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diagrams/drawing2.xml" ContentType="application/vnd.ms-office.drawingml.diagramDrawing+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ppt/notesSlides/notesSlide14.xml" ContentType="application/vnd.openxmlformats-officedocument.presentationml.notesSlide+xml"/>
  <Override PartName="/docProps/custom.xml" ContentType="application/vnd.openxmlformats-officedocument.custom-properties+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34.xml" ContentType="application/vnd.openxmlformats-officedocument.presentationml.tags+xml"/>
  <Override PartName="/ppt/notesSlides/notesSlide12.xml" ContentType="application/vnd.openxmlformats-officedocument.presentationml.notesSlide+xml"/>
  <Override PartName="/ppt/diagrams/layout3.xml" ContentType="application/vnd.openxmlformats-officedocument.drawingml.diagramLayout+xml"/>
  <Override PartName="/ppt/tags/tag12.xml" ContentType="application/vnd.openxmlformats-officedocument.presentationml.tags+xml"/>
  <Default Extension="xlsx" ContentType="application/vnd.openxmlformats-officedocument.spreadsheetml.sheet"/>
  <Override PartName="/ppt/notesSlides/notesSlide7.xml" ContentType="application/vnd.openxmlformats-officedocument.presentationml.notesSlide+xml"/>
  <Override PartName="/ppt/tags/tag23.xml" ContentType="application/vnd.openxmlformats-officedocument.presentationml.tags+xml"/>
  <Override PartName="/ppt/diagrams/layout1.xml" ContentType="application/vnd.openxmlformats-officedocument.drawingml.diagramLayout+xml"/>
  <Override PartName="/ppt/notesSlides/notesSlide10.xml" ContentType="application/vnd.openxmlformats-officedocument.presentationml.notesSlide+xml"/>
  <Override PartName="/ppt/tags/tag32.xml" ContentType="application/vnd.openxmlformats-officedocument.presentationml.tags+xml"/>
  <Override PartName="/ppt/diagrams/data2.xml" ContentType="application/vnd.openxmlformats-officedocument.drawingml.diagramData+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tags/tag21.xml" ContentType="application/vnd.openxmlformats-officedocument.presentationml.tags+xml"/>
  <Override PartName="/ppt/notesSlides/notesSlide5.xml" ContentType="application/vnd.openxmlformats-officedocument.presentationml.notesSlide+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diagrams/colors2.xml" ContentType="application/vnd.openxmlformats-officedocument.drawingml.diagramColors+xml"/>
  <Override PartName="/ppt/diagrams/drawing3.xml" ContentType="application/vnd.ms-office.drawingml.diagramDrawing+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diagrams/drawing1.xml" ContentType="application/vnd.ms-office.drawingml.diagramDrawing+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diagrams/quickStyle1.xml" ContentType="application/vnd.openxmlformats-officedocument.drawingml.diagramStyle+xml"/>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notesSlides/notesSlide13.xml" ContentType="application/vnd.openxmlformats-officedocument.presentationml.notesSlide+xml"/>
  <Default Extension="gif" ContentType="image/gif"/>
  <Override PartName="/ppt/tags/tag15.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notesSlides/notesSlide11.xml" ContentType="application/vnd.openxmlformats-officedocument.presentationml.notesSlide+xml"/>
  <Override PartName="/ppt/diagrams/layout2.xml" ContentType="application/vnd.openxmlformats-officedocument.drawingml.diagramLayout+xml"/>
  <Override PartName="/ppt/tags/tag13.xml" ContentType="application/vnd.openxmlformats-officedocument.presentationml.tags+xml"/>
  <Override PartName="/ppt/notesSlides/notesSlide6.xml" ContentType="application/vnd.openxmlformats-officedocument.presentationml.notesSlide+xml"/>
  <Override PartName="/ppt/tags/tag22.xml" ContentType="application/vnd.openxmlformats-officedocument.presentationml.tags+xml"/>
  <Override PartName="/ppt/tags/tag31.xml" ContentType="application/vnd.openxmlformats-officedocument.presentationml.tags+xml"/>
  <Override PartName="/ppt/diagrams/data3.xml" ContentType="application/vnd.openxmlformats-officedocument.drawingml.diagramData+xml"/>
  <Override PartName="/ppt/tags/tag40.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colors3.xml" ContentType="application/vnd.openxmlformats-officedocument.drawingml.diagramColor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Default Extension="rels" ContentType="application/vnd.openxmlformats-package.relationships+xml"/>
  <Override PartName="/ppt/tags/tag29.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microsoft.com/office/2006/relationships/ui/userCustomization" Target="userCustomization/customUI.xml"/><Relationship Id="rId1" Type="http://schemas.openxmlformats.org/officeDocument/2006/relationships/officeDocument" Target="ppt/presentation.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Props.xml><?xml version="1.0" encoding="utf-8"?>
<p:presentationPr xmlns:a="http://schemas.openxmlformats.org/drawingml/2006/main" xmlns:r="http://schemas.openxmlformats.org/officeDocument/2006/relationships" xmlns:p="http://schemas.openxmlformats.org/presentationml/2006/main">
  <p:clrMru>
    <a:srgbClr val="E28700"/>
    <a:srgbClr val="FFFFCC"/>
    <a:srgbClr val="A6A6A6"/>
    <a:srgbClr val="FFC266"/>
    <a:srgbClr val="FF9900"/>
    <a:srgbClr val="FFDECB"/>
    <a:srgbClr val="BF7300"/>
    <a:srgbClr val="747474"/>
    <a:srgbClr val="262626"/>
    <a:srgbClr val="5F5F5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677" autoAdjust="0"/>
    <p:restoredTop sz="68305" autoAdjust="0"/>
  </p:normalViewPr>
  <p:slideViewPr>
    <p:cSldViewPr showGuides="1">
      <p:cViewPr>
        <p:scale>
          <a:sx n="70" d="100"/>
          <a:sy n="70" d="100"/>
        </p:scale>
        <p:origin x="-810" y="-78"/>
      </p:cViewPr>
      <p:guideLst>
        <p:guide orient="horz" pos="482"/>
        <p:guide orient="horz" pos="3793"/>
        <p:guide pos="204"/>
        <p:guide pos="2858"/>
        <p:guide pos="2880"/>
        <p:guide pos="3787"/>
        <p:guide pos="3742"/>
        <p:guide pos="2018"/>
        <p:guide pos="1973"/>
        <p:guide pos="5556"/>
      </p:guideLst>
    </p:cSldViewPr>
  </p:slideViewPr>
  <p:notesTextViewPr>
    <p:cViewPr>
      <p:scale>
        <a:sx n="100" d="100"/>
        <a:sy n="100" d="100"/>
      </p:scale>
      <p:origin x="0" y="0"/>
    </p:cViewPr>
  </p:notesTextViewPr>
  <p:sorterViewPr>
    <p:cViewPr>
      <p:scale>
        <a:sx n="66" d="100"/>
        <a:sy n="66" d="100"/>
      </p:scale>
      <p:origin x="0" y="0"/>
    </p:cViewPr>
  </p:sorterViewPr>
  <p:notesViewPr>
    <p:cSldViewPr showGuides="1">
      <p:cViewPr varScale="1">
        <p:scale>
          <a:sx n="74" d="100"/>
          <a:sy n="74" d="100"/>
        </p:scale>
        <p:origin x="-2154" y="-96"/>
      </p:cViewPr>
      <p:guideLst>
        <p:guide orient="horz" pos="3120"/>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de-DE"/>
  <c:chart>
    <c:autoTitleDeleted val="1"/>
    <c:plotArea>
      <c:layout>
        <c:manualLayout>
          <c:layoutTarget val="inner"/>
          <c:xMode val="edge"/>
          <c:yMode val="edge"/>
          <c:x val="0.11550956382833558"/>
          <c:y val="9.8058941209455727E-2"/>
          <c:w val="0.74617068616376725"/>
          <c:h val="0.79569316853341165"/>
        </c:manualLayout>
      </c:layout>
      <c:doughnutChart>
        <c:varyColors val="1"/>
        <c:ser>
          <c:idx val="0"/>
          <c:order val="0"/>
          <c:tx>
            <c:strRef>
              <c:f>Sheet1!$A$2</c:f>
              <c:strCache>
                <c:ptCount val="1"/>
                <c:pt idx="0">
                  <c:v>Umsatzanteile</c:v>
                </c:pt>
              </c:strCache>
            </c:strRef>
          </c:tx>
          <c:spPr>
            <a:ln w="12700">
              <a:solidFill>
                <a:schemeClr val="tx2"/>
              </a:solidFill>
            </a:ln>
            <a:effectLst>
              <a:outerShdw blurRad="50800" dist="38100" dir="2700000" algn="tl" rotWithShape="0">
                <a:prstClr val="black">
                  <a:alpha val="40000"/>
                </a:prstClr>
              </a:outerShdw>
            </a:effectLst>
          </c:spPr>
          <c:dPt>
            <c:idx val="0"/>
            <c:spPr>
              <a:solidFill>
                <a:schemeClr val="accent2"/>
              </a:solidFill>
              <a:ln w="12700">
                <a:solidFill>
                  <a:schemeClr val="tx2"/>
                </a:solidFill>
              </a:ln>
              <a:effectLst>
                <a:outerShdw blurRad="50800" dist="38100" dir="2700000" algn="tl" rotWithShape="0">
                  <a:prstClr val="black">
                    <a:alpha val="40000"/>
                  </a:prstClr>
                </a:outerShdw>
              </a:effectLst>
            </c:spPr>
          </c:dPt>
          <c:dPt>
            <c:idx val="1"/>
            <c:spPr>
              <a:solidFill>
                <a:schemeClr val="accent3"/>
              </a:solidFill>
              <a:ln w="12700">
                <a:solidFill>
                  <a:schemeClr val="tx2"/>
                </a:solidFill>
              </a:ln>
              <a:effectLst>
                <a:outerShdw blurRad="50800" dist="38100" dir="2700000" algn="tl" rotWithShape="0">
                  <a:prstClr val="black">
                    <a:alpha val="40000"/>
                  </a:prstClr>
                </a:outerShdw>
              </a:effectLst>
            </c:spPr>
          </c:dPt>
          <c:dPt>
            <c:idx val="2"/>
            <c:spPr>
              <a:solidFill>
                <a:schemeClr val="accent4"/>
              </a:solidFill>
              <a:ln w="12700">
                <a:solidFill>
                  <a:schemeClr val="tx2"/>
                </a:solidFill>
              </a:ln>
              <a:effectLst>
                <a:outerShdw blurRad="50800" dist="38100" dir="2700000" algn="tl" rotWithShape="0">
                  <a:prstClr val="black">
                    <a:alpha val="40000"/>
                  </a:prstClr>
                </a:outerShdw>
              </a:effectLst>
            </c:spPr>
          </c:dPt>
          <c:dPt>
            <c:idx val="3"/>
            <c:spPr>
              <a:solidFill>
                <a:schemeClr val="accent5"/>
              </a:solidFill>
              <a:ln w="12700">
                <a:solidFill>
                  <a:schemeClr val="tx2"/>
                </a:solidFill>
              </a:ln>
              <a:effectLst>
                <a:outerShdw blurRad="50800" dist="38100" dir="2700000" algn="tl" rotWithShape="0">
                  <a:prstClr val="black">
                    <a:alpha val="40000"/>
                  </a:prstClr>
                </a:outerShdw>
              </a:effectLst>
            </c:spPr>
          </c:dPt>
          <c:dPt>
            <c:idx val="4"/>
            <c:spPr>
              <a:solidFill>
                <a:srgbClr val="A6A6A6"/>
              </a:solidFill>
              <a:ln w="12700">
                <a:solidFill>
                  <a:schemeClr val="tx2"/>
                </a:solidFill>
              </a:ln>
              <a:effectLst>
                <a:outerShdw blurRad="50800" dist="38100" dir="2700000" algn="tl" rotWithShape="0">
                  <a:prstClr val="black">
                    <a:alpha val="40000"/>
                  </a:prstClr>
                </a:outerShdw>
              </a:effectLst>
            </c:spPr>
          </c:dPt>
          <c:dPt>
            <c:idx val="5"/>
            <c:spPr>
              <a:solidFill>
                <a:schemeClr val="bg1">
                  <a:lumMod val="65000"/>
                </a:schemeClr>
              </a:solidFill>
              <a:ln w="12700">
                <a:solidFill>
                  <a:schemeClr val="tx2"/>
                </a:solidFill>
              </a:ln>
              <a:effectLst>
                <a:outerShdw blurRad="50800" dist="38100" dir="2700000" algn="tl" rotWithShape="0">
                  <a:prstClr val="black">
                    <a:alpha val="40000"/>
                  </a:prstClr>
                </a:outerShdw>
              </a:effectLst>
            </c:spPr>
          </c:dPt>
          <c:dLbls>
            <c:dLbl>
              <c:idx val="0"/>
              <c:layout>
                <c:manualLayout>
                  <c:x val="1.4254756786908499E-2"/>
                  <c:y val="2.3698538961348537E-2"/>
                </c:manualLayout>
              </c:layout>
              <c:showVal val="1"/>
            </c:dLbl>
            <c:dLbl>
              <c:idx val="1"/>
              <c:layout>
                <c:manualLayout>
                  <c:x val="2.2010048399930112E-3"/>
                  <c:y val="5.6785791251314034E-2"/>
                </c:manualLayout>
              </c:layout>
              <c:showVal val="1"/>
            </c:dLbl>
            <c:dLbl>
              <c:idx val="2"/>
              <c:layout>
                <c:manualLayout>
                  <c:x val="-3.2988425186133992E-2"/>
                  <c:y val="1.2339397314404598E-2"/>
                </c:manualLayout>
              </c:layout>
              <c:tx>
                <c:rich>
                  <a:bodyPr/>
                  <a:lstStyle/>
                  <a:p>
                    <a:r>
                      <a:rPr lang="en-US" sz="1400" dirty="0" smtClean="0"/>
                      <a:t>20%</a:t>
                    </a:r>
                    <a:endParaRPr lang="en-US" sz="1400" dirty="0"/>
                  </a:p>
                </c:rich>
              </c:tx>
              <c:showVal val="1"/>
            </c:dLbl>
            <c:dLbl>
              <c:idx val="3"/>
              <c:layout>
                <c:manualLayout>
                  <c:x val="6.1353434663850032E-3"/>
                  <c:y val="2.4249885096490342E-2"/>
                </c:manualLayout>
              </c:layout>
              <c:numFmt formatCode="0%" sourceLinked="0"/>
              <c:spPr/>
              <c:txPr>
                <a:bodyPr/>
                <a:lstStyle/>
                <a:p>
                  <a:pPr>
                    <a:defRPr>
                      <a:solidFill>
                        <a:schemeClr val="bg1"/>
                      </a:solidFill>
                    </a:defRPr>
                  </a:pPr>
                  <a:endParaRPr lang="de-DE"/>
                </a:p>
              </c:txPr>
              <c:showVal val="1"/>
            </c:dLbl>
            <c:dLbl>
              <c:idx val="4"/>
              <c:layout>
                <c:manualLayout>
                  <c:x val="5.3929715568366956E-3"/>
                  <c:y val="1.0166815103565781E-3"/>
                </c:manualLayout>
              </c:layout>
              <c:showVal val="1"/>
            </c:dLbl>
            <c:dLbl>
              <c:idx val="5"/>
              <c:layout>
                <c:manualLayout>
                  <c:x val="2.6783333455542412E-2"/>
                  <c:y val="-3.9667933624868059E-3"/>
                </c:manualLayout>
              </c:layout>
              <c:showVal val="1"/>
            </c:dLbl>
            <c:numFmt formatCode="0%" sourceLinked="0"/>
            <c:showVal val="1"/>
            <c:showLeaderLines val="1"/>
          </c:dLbls>
          <c:cat>
            <c:strRef>
              <c:f>Sheet1!$B$1:$F$1</c:f>
              <c:strCache>
                <c:ptCount val="5"/>
                <c:pt idx="0">
                  <c:v>Chassis &amp; Safety</c:v>
                </c:pt>
                <c:pt idx="1">
                  <c:v>Powertrain</c:v>
                </c:pt>
                <c:pt idx="2">
                  <c:v>Interior</c:v>
                </c:pt>
                <c:pt idx="3">
                  <c:v>Reifen</c:v>
                </c:pt>
                <c:pt idx="4">
                  <c:v>ContiTech</c:v>
                </c:pt>
              </c:strCache>
            </c:strRef>
          </c:cat>
          <c:val>
            <c:numRef>
              <c:f>Sheet1!$B$2:$F$2</c:f>
              <c:numCache>
                <c:formatCode>0%</c:formatCode>
                <c:ptCount val="5"/>
                <c:pt idx="0">
                  <c:v>0.21000000000000021</c:v>
                </c:pt>
                <c:pt idx="1">
                  <c:v>0.19</c:v>
                </c:pt>
                <c:pt idx="2">
                  <c:v>0.2</c:v>
                </c:pt>
                <c:pt idx="3">
                  <c:v>0.28000000000000008</c:v>
                </c:pt>
                <c:pt idx="4">
                  <c:v>0.12000000000000002</c:v>
                </c:pt>
              </c:numCache>
            </c:numRef>
          </c:val>
        </c:ser>
        <c:firstSliceAng val="70"/>
        <c:holeSize val="30"/>
      </c:doughnutChart>
    </c:plotArea>
    <c:plotVisOnly val="1"/>
    <c:dispBlanksAs val="zero"/>
  </c:chart>
  <c:txPr>
    <a:bodyPr/>
    <a:lstStyle/>
    <a:p>
      <a:pPr>
        <a:defRPr kumimoji="0" lang="de-DE" sz="1400" b="0" i="0" u="none" strike="noStrike" kern="1200" cap="none" normalizeH="0" baseline="0" dirty="0" smtClean="0">
          <a:ln>
            <a:noFill/>
          </a:ln>
          <a:solidFill>
            <a:schemeClr val="tx1"/>
          </a:solidFill>
          <a:effectLst/>
          <a:latin typeface="Arial" charset="0"/>
          <a:ea typeface="+mn-ea"/>
          <a:cs typeface="+mn-cs"/>
        </a:defRPr>
      </a:pPr>
      <a:endParaRPr lang="de-DE"/>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2.xml><?xml version="1.0" encoding="utf-8"?>
<dgm:dataModel xmlns:dgm="http://schemas.openxmlformats.org/drawingml/2006/diagram" xmlns:a="http://schemas.openxmlformats.org/drawingml/2006/main">
  <dgm:ptLst>
    <dgm:pt modelId="{70DD7EAC-619B-4561-B48C-16C0D89F0EBD}" type="doc">
      <dgm:prSet loTypeId="urn:microsoft.com/office/officeart/2005/8/layout/matrix3" loCatId="matrix" qsTypeId="urn:microsoft.com/office/officeart/2005/8/quickstyle/simple1" qsCatId="simple" csTypeId="urn:microsoft.com/office/officeart/2005/8/colors/accent1_2" csCatId="accent1" phldr="1"/>
      <dgm:spPr/>
      <dgm:t>
        <a:bodyPr/>
        <a:lstStyle/>
        <a:p>
          <a:endParaRPr lang="en-US"/>
        </a:p>
      </dgm:t>
    </dgm:pt>
    <dgm:pt modelId="{71864BD7-BF09-4F4E-AD39-78229AEB74F3}">
      <dgm:prSet phldrT="[Text]" custT="1"/>
      <dgm:spPr>
        <a:solidFill>
          <a:schemeClr val="accent1">
            <a:alpha val="80000"/>
          </a:schemeClr>
        </a:solidFill>
        <a:effectLst>
          <a:outerShdw blurRad="50800" dist="38100" dir="18900000" algn="bl" rotWithShape="0">
            <a:prstClr val="black">
              <a:alpha val="40000"/>
            </a:prstClr>
          </a:outerShdw>
        </a:effectLst>
      </dgm:spPr>
      <dgm:t>
        <a:bodyPr/>
        <a:lstStyle/>
        <a:p>
          <a:r>
            <a:rPr lang="en-US" sz="1400" b="1" i="0" dirty="0" smtClean="0">
              <a:solidFill>
                <a:schemeClr val="bg1"/>
              </a:solidFill>
              <a:latin typeface="Arial"/>
            </a:rPr>
            <a:t>Trainings-material</a:t>
          </a:r>
        </a:p>
      </dgm:t>
    </dgm:pt>
    <dgm:pt modelId="{6002118C-C94E-4F29-B580-3E4E78608690}" type="parTrans" cxnId="{155663D0-9BEE-4F52-A99B-BFCC488C4E3F}">
      <dgm:prSet/>
      <dgm:spPr/>
      <dgm:t>
        <a:bodyPr/>
        <a:lstStyle/>
        <a:p>
          <a:endParaRPr lang="en-US" sz="1000"/>
        </a:p>
      </dgm:t>
    </dgm:pt>
    <dgm:pt modelId="{F063EF39-405D-4A31-8803-3842DCB2229F}" type="sibTrans" cxnId="{155663D0-9BEE-4F52-A99B-BFCC488C4E3F}">
      <dgm:prSet/>
      <dgm:spPr/>
      <dgm:t>
        <a:bodyPr/>
        <a:lstStyle/>
        <a:p>
          <a:endParaRPr lang="en-US" sz="1000"/>
        </a:p>
      </dgm:t>
    </dgm:pt>
    <dgm:pt modelId="{F7634DD6-B942-4F3C-B7E9-7AB6997E883A}">
      <dgm:prSet phldrT="[Text]" custT="1"/>
      <dgm:spPr>
        <a:solidFill>
          <a:schemeClr val="accent1">
            <a:alpha val="80000"/>
          </a:schemeClr>
        </a:solidFill>
        <a:effectLst>
          <a:outerShdw blurRad="50800" dist="38100" dir="18900000" algn="bl" rotWithShape="0">
            <a:prstClr val="black">
              <a:alpha val="40000"/>
            </a:prstClr>
          </a:outerShdw>
        </a:effectLst>
      </dgm:spPr>
      <dgm:t>
        <a:bodyPr/>
        <a:lstStyle/>
        <a:p>
          <a:r>
            <a:rPr lang="en-US" sz="1400" b="1" i="0" dirty="0" err="1" smtClean="0">
              <a:solidFill>
                <a:schemeClr val="bg1"/>
              </a:solidFill>
              <a:latin typeface="Arial"/>
            </a:rPr>
            <a:t>Benutzer-oberfläche</a:t>
          </a:r>
          <a:endParaRPr lang="en-US" sz="1400" b="1" i="0" dirty="0">
            <a:solidFill>
              <a:schemeClr val="bg1"/>
            </a:solidFill>
            <a:latin typeface="Arial"/>
          </a:endParaRPr>
        </a:p>
      </dgm:t>
    </dgm:pt>
    <dgm:pt modelId="{7DB8EF58-AB12-4628-B16F-4FF8DDE72CD8}" type="sibTrans" cxnId="{21CCC164-015D-425E-9B98-380D5E424027}">
      <dgm:prSet/>
      <dgm:spPr/>
      <dgm:t>
        <a:bodyPr/>
        <a:lstStyle/>
        <a:p>
          <a:endParaRPr lang="en-US" sz="1000"/>
        </a:p>
      </dgm:t>
    </dgm:pt>
    <dgm:pt modelId="{B1C83E57-01B6-47E8-89CB-A9A2ED51845A}" type="parTrans" cxnId="{21CCC164-015D-425E-9B98-380D5E424027}">
      <dgm:prSet/>
      <dgm:spPr/>
      <dgm:t>
        <a:bodyPr/>
        <a:lstStyle/>
        <a:p>
          <a:endParaRPr lang="en-US" sz="1000"/>
        </a:p>
      </dgm:t>
    </dgm:pt>
    <dgm:pt modelId="{7543BB5B-A437-44A6-A5F5-9D7194A21E19}">
      <dgm:prSet phldrT="[Text]" custT="1"/>
      <dgm:spPr>
        <a:solidFill>
          <a:schemeClr val="tx1">
            <a:alpha val="50000"/>
          </a:schemeClr>
        </a:solidFill>
        <a:effectLst>
          <a:outerShdw blurRad="50800" dist="38100" dir="18900000" algn="bl" rotWithShape="0">
            <a:prstClr val="black">
              <a:alpha val="40000"/>
            </a:prstClr>
          </a:outerShdw>
        </a:effectLst>
      </dgm:spPr>
      <dgm:t>
        <a:bodyPr/>
        <a:lstStyle/>
        <a:p>
          <a:r>
            <a:rPr lang="en-US" sz="1400" b="1" i="0" dirty="0" err="1" smtClean="0">
              <a:solidFill>
                <a:srgbClr val="FFFFFF"/>
              </a:solidFill>
              <a:latin typeface="Arial"/>
            </a:rPr>
            <a:t>Funktions</a:t>
          </a:r>
          <a:r>
            <a:rPr lang="en-US" sz="1400" b="1" i="0" dirty="0" smtClean="0">
              <a:solidFill>
                <a:srgbClr val="FFFFFF"/>
              </a:solidFill>
              <a:latin typeface="Arial"/>
            </a:rPr>
            <a:t>-</a:t>
          </a:r>
          <a:br>
            <a:rPr lang="en-US" sz="1400" b="1" i="0" dirty="0" smtClean="0">
              <a:solidFill>
                <a:srgbClr val="FFFFFF"/>
              </a:solidFill>
              <a:latin typeface="Arial"/>
            </a:rPr>
          </a:br>
          <a:r>
            <a:rPr lang="en-US" sz="1400" b="1" i="0" dirty="0" err="1" smtClean="0">
              <a:solidFill>
                <a:srgbClr val="FFFFFF"/>
              </a:solidFill>
              <a:latin typeface="Arial"/>
            </a:rPr>
            <a:t>umfang</a:t>
          </a:r>
          <a:endParaRPr lang="en-US" sz="1400" b="1" i="0" dirty="0">
            <a:solidFill>
              <a:srgbClr val="FFFFFF"/>
            </a:solidFill>
            <a:latin typeface="Arial"/>
          </a:endParaRPr>
        </a:p>
      </dgm:t>
    </dgm:pt>
    <dgm:pt modelId="{4DE3E094-AD1E-4527-AF14-805565357E03}" type="sibTrans" cxnId="{14603067-2A96-42A1-9B45-4762037E86F3}">
      <dgm:prSet/>
      <dgm:spPr/>
      <dgm:t>
        <a:bodyPr/>
        <a:lstStyle/>
        <a:p>
          <a:endParaRPr lang="en-US" sz="1000"/>
        </a:p>
      </dgm:t>
    </dgm:pt>
    <dgm:pt modelId="{56952821-C05E-446C-ABC3-F5AD5DA86335}" type="parTrans" cxnId="{14603067-2A96-42A1-9B45-4762037E86F3}">
      <dgm:prSet/>
      <dgm:spPr/>
      <dgm:t>
        <a:bodyPr/>
        <a:lstStyle/>
        <a:p>
          <a:endParaRPr lang="en-US" sz="1000"/>
        </a:p>
      </dgm:t>
    </dgm:pt>
    <dgm:pt modelId="{647ECBEB-DD4C-4D6E-A066-895CCF4D5082}">
      <dgm:prSet phldrT="[Text]" custT="1"/>
      <dgm:spPr>
        <a:solidFill>
          <a:schemeClr val="tx1">
            <a:lumMod val="95000"/>
            <a:lumOff val="5000"/>
            <a:alpha val="50000"/>
          </a:schemeClr>
        </a:solidFill>
        <a:effectLst>
          <a:outerShdw blurRad="50800" dist="38100" dir="18900000" algn="bl" rotWithShape="0">
            <a:prstClr val="black">
              <a:alpha val="40000"/>
            </a:prstClr>
          </a:outerShdw>
        </a:effectLst>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400" b="1" i="0" dirty="0" err="1" smtClean="0">
              <a:solidFill>
                <a:schemeClr val="bg1"/>
              </a:solidFill>
              <a:latin typeface="+mn-lt"/>
            </a:rPr>
            <a:t>Programm-leistung</a:t>
          </a:r>
          <a:endParaRPr lang="en-US" sz="1400" b="1" i="0" dirty="0" smtClean="0">
            <a:solidFill>
              <a:schemeClr val="bg1"/>
            </a:solidFill>
            <a:latin typeface="+mn-lt"/>
          </a:endParaRPr>
        </a:p>
      </dgm:t>
    </dgm:pt>
    <dgm:pt modelId="{1D8E61CC-21C0-41F6-84E5-71A5516A8CD7}" type="sibTrans" cxnId="{9AEC9B92-B3EB-4A9C-806A-DAB6F58C54F3}">
      <dgm:prSet/>
      <dgm:spPr/>
      <dgm:t>
        <a:bodyPr/>
        <a:lstStyle/>
        <a:p>
          <a:endParaRPr lang="en-US" sz="1000"/>
        </a:p>
      </dgm:t>
    </dgm:pt>
    <dgm:pt modelId="{14CB8559-D272-4660-8EDF-EDDB7276D1E2}" type="parTrans" cxnId="{9AEC9B92-B3EB-4A9C-806A-DAB6F58C54F3}">
      <dgm:prSet/>
      <dgm:spPr/>
      <dgm:t>
        <a:bodyPr/>
        <a:lstStyle/>
        <a:p>
          <a:endParaRPr lang="en-US" sz="1000"/>
        </a:p>
      </dgm:t>
    </dgm:pt>
    <dgm:pt modelId="{4C51C111-BF15-4A9A-9DD6-770226933518}" type="pres">
      <dgm:prSet presAssocID="{70DD7EAC-619B-4561-B48C-16C0D89F0EBD}" presName="matrix" presStyleCnt="0">
        <dgm:presLayoutVars>
          <dgm:chMax val="1"/>
          <dgm:dir/>
          <dgm:resizeHandles val="exact"/>
        </dgm:presLayoutVars>
      </dgm:prSet>
      <dgm:spPr/>
      <dgm:t>
        <a:bodyPr/>
        <a:lstStyle/>
        <a:p>
          <a:endParaRPr lang="de-DE"/>
        </a:p>
      </dgm:t>
    </dgm:pt>
    <dgm:pt modelId="{B1A641B9-EEC0-4273-A1C7-4DBD5464DECE}" type="pres">
      <dgm:prSet presAssocID="{70DD7EAC-619B-4561-B48C-16C0D89F0EBD}" presName="diamond" presStyleLbl="bgShp" presStyleIdx="0" presStyleCnt="1"/>
      <dgm:spPr>
        <a:solidFill>
          <a:schemeClr val="bg2">
            <a:lumMod val="75000"/>
            <a:alpha val="29000"/>
          </a:schemeClr>
        </a:solidFill>
        <a:effectLst>
          <a:outerShdw blurRad="50800" dist="38100" dir="18900000" algn="bl" rotWithShape="0">
            <a:prstClr val="black">
              <a:alpha val="40000"/>
            </a:prstClr>
          </a:outerShdw>
        </a:effectLst>
      </dgm:spPr>
      <dgm:t>
        <a:bodyPr/>
        <a:lstStyle/>
        <a:p>
          <a:endParaRPr lang="de-DE"/>
        </a:p>
      </dgm:t>
    </dgm:pt>
    <dgm:pt modelId="{1DCE106B-A46D-4523-A1E8-9BC5814544DD}" type="pres">
      <dgm:prSet presAssocID="{70DD7EAC-619B-4561-B48C-16C0D89F0EBD}" presName="quad1" presStyleLbl="node1" presStyleIdx="0" presStyleCnt="4" custScaleX="118699" custLinFactNeighborX="-7505" custLinFactNeighborY="-399">
        <dgm:presLayoutVars>
          <dgm:chMax val="0"/>
          <dgm:chPref val="0"/>
          <dgm:bulletEnabled val="1"/>
        </dgm:presLayoutVars>
      </dgm:prSet>
      <dgm:spPr/>
      <dgm:t>
        <a:bodyPr/>
        <a:lstStyle/>
        <a:p>
          <a:endParaRPr lang="en-US"/>
        </a:p>
      </dgm:t>
    </dgm:pt>
    <dgm:pt modelId="{24C47061-27D4-4597-BFB6-46B498F8DA68}" type="pres">
      <dgm:prSet presAssocID="{70DD7EAC-619B-4561-B48C-16C0D89F0EBD}" presName="quad2" presStyleLbl="node1" presStyleIdx="1" presStyleCnt="4" custScaleX="116208" custLinFactNeighborX="11140" custLinFactNeighborY="-399">
        <dgm:presLayoutVars>
          <dgm:chMax val="0"/>
          <dgm:chPref val="0"/>
          <dgm:bulletEnabled val="1"/>
        </dgm:presLayoutVars>
      </dgm:prSet>
      <dgm:spPr/>
      <dgm:t>
        <a:bodyPr/>
        <a:lstStyle/>
        <a:p>
          <a:endParaRPr lang="en-US"/>
        </a:p>
      </dgm:t>
    </dgm:pt>
    <dgm:pt modelId="{DC6520AC-06DB-4F68-A8F1-6AF6C02C51E8}" type="pres">
      <dgm:prSet presAssocID="{70DD7EAC-619B-4561-B48C-16C0D89F0EBD}" presName="quad3" presStyleLbl="node1" presStyleIdx="2" presStyleCnt="4" custScaleX="118699" custLinFactNeighborX="-7505" custLinFactNeighborY="-3024">
        <dgm:presLayoutVars>
          <dgm:chMax val="0"/>
          <dgm:chPref val="0"/>
          <dgm:bulletEnabled val="1"/>
        </dgm:presLayoutVars>
      </dgm:prSet>
      <dgm:spPr/>
      <dgm:t>
        <a:bodyPr/>
        <a:lstStyle/>
        <a:p>
          <a:endParaRPr lang="en-US"/>
        </a:p>
      </dgm:t>
    </dgm:pt>
    <dgm:pt modelId="{8E484277-4C73-49FF-8443-28604BBEE920}" type="pres">
      <dgm:prSet presAssocID="{70DD7EAC-619B-4561-B48C-16C0D89F0EBD}" presName="quad4" presStyleLbl="node1" presStyleIdx="3" presStyleCnt="4" custScaleX="112452" custLinFactNeighborX="9262" custLinFactNeighborY="-3024">
        <dgm:presLayoutVars>
          <dgm:chMax val="0"/>
          <dgm:chPref val="0"/>
          <dgm:bulletEnabled val="1"/>
        </dgm:presLayoutVars>
      </dgm:prSet>
      <dgm:spPr/>
      <dgm:t>
        <a:bodyPr/>
        <a:lstStyle/>
        <a:p>
          <a:endParaRPr lang="en-US"/>
        </a:p>
      </dgm:t>
    </dgm:pt>
  </dgm:ptLst>
  <dgm:cxnLst>
    <dgm:cxn modelId="{2988CF54-9CBF-4EBA-8A37-FB9DBD7CE0E3}" type="presOf" srcId="{70DD7EAC-619B-4561-B48C-16C0D89F0EBD}" destId="{4C51C111-BF15-4A9A-9DD6-770226933518}" srcOrd="0" destOrd="0" presId="urn:microsoft.com/office/officeart/2005/8/layout/matrix3"/>
    <dgm:cxn modelId="{21CCC164-015D-425E-9B98-380D5E424027}" srcId="{70DD7EAC-619B-4561-B48C-16C0D89F0EBD}" destId="{F7634DD6-B942-4F3C-B7E9-7AB6997E883A}" srcOrd="2" destOrd="0" parTransId="{B1C83E57-01B6-47E8-89CB-A9A2ED51845A}" sibTransId="{7DB8EF58-AB12-4628-B16F-4FF8DDE72CD8}"/>
    <dgm:cxn modelId="{155663D0-9BEE-4F52-A99B-BFCC488C4E3F}" srcId="{70DD7EAC-619B-4561-B48C-16C0D89F0EBD}" destId="{71864BD7-BF09-4F4E-AD39-78229AEB74F3}" srcOrd="3" destOrd="0" parTransId="{6002118C-C94E-4F29-B580-3E4E78608690}" sibTransId="{F063EF39-405D-4A31-8803-3842DCB2229F}"/>
    <dgm:cxn modelId="{D1C55261-ABE6-433E-9CCE-E6D76EBC646F}" type="presOf" srcId="{647ECBEB-DD4C-4D6E-A066-895CCF4D5082}" destId="{24C47061-27D4-4597-BFB6-46B498F8DA68}" srcOrd="0" destOrd="0" presId="urn:microsoft.com/office/officeart/2005/8/layout/matrix3"/>
    <dgm:cxn modelId="{F8E88365-891F-4D7E-BE88-8EE3D32940A5}" type="presOf" srcId="{71864BD7-BF09-4F4E-AD39-78229AEB74F3}" destId="{8E484277-4C73-49FF-8443-28604BBEE920}" srcOrd="0" destOrd="0" presId="urn:microsoft.com/office/officeart/2005/8/layout/matrix3"/>
    <dgm:cxn modelId="{9AEC9B92-B3EB-4A9C-806A-DAB6F58C54F3}" srcId="{70DD7EAC-619B-4561-B48C-16C0D89F0EBD}" destId="{647ECBEB-DD4C-4D6E-A066-895CCF4D5082}" srcOrd="1" destOrd="0" parTransId="{14CB8559-D272-4660-8EDF-EDDB7276D1E2}" sibTransId="{1D8E61CC-21C0-41F6-84E5-71A5516A8CD7}"/>
    <dgm:cxn modelId="{14603067-2A96-42A1-9B45-4762037E86F3}" srcId="{70DD7EAC-619B-4561-B48C-16C0D89F0EBD}" destId="{7543BB5B-A437-44A6-A5F5-9D7194A21E19}" srcOrd="0" destOrd="0" parTransId="{56952821-C05E-446C-ABC3-F5AD5DA86335}" sibTransId="{4DE3E094-AD1E-4527-AF14-805565357E03}"/>
    <dgm:cxn modelId="{3B1AE6A9-700C-4EC3-A8BE-D9541480513A}" type="presOf" srcId="{F7634DD6-B942-4F3C-B7E9-7AB6997E883A}" destId="{DC6520AC-06DB-4F68-A8F1-6AF6C02C51E8}" srcOrd="0" destOrd="0" presId="urn:microsoft.com/office/officeart/2005/8/layout/matrix3"/>
    <dgm:cxn modelId="{2CED2528-3AB7-46AC-8978-B9CAEB000B70}" type="presOf" srcId="{7543BB5B-A437-44A6-A5F5-9D7194A21E19}" destId="{1DCE106B-A46D-4523-A1E8-9BC5814544DD}" srcOrd="0" destOrd="0" presId="urn:microsoft.com/office/officeart/2005/8/layout/matrix3"/>
    <dgm:cxn modelId="{42AC5DF4-E686-4D1B-8185-975AE8A59847}" type="presParOf" srcId="{4C51C111-BF15-4A9A-9DD6-770226933518}" destId="{B1A641B9-EEC0-4273-A1C7-4DBD5464DECE}" srcOrd="0" destOrd="0" presId="urn:microsoft.com/office/officeart/2005/8/layout/matrix3"/>
    <dgm:cxn modelId="{FA8773FC-669E-4CF8-87FF-6B315DFB1F31}" type="presParOf" srcId="{4C51C111-BF15-4A9A-9DD6-770226933518}" destId="{1DCE106B-A46D-4523-A1E8-9BC5814544DD}" srcOrd="1" destOrd="0" presId="urn:microsoft.com/office/officeart/2005/8/layout/matrix3"/>
    <dgm:cxn modelId="{4483A31C-8B67-41D8-9FCF-65FF9FDA1E84}" type="presParOf" srcId="{4C51C111-BF15-4A9A-9DD6-770226933518}" destId="{24C47061-27D4-4597-BFB6-46B498F8DA68}" srcOrd="2" destOrd="0" presId="urn:microsoft.com/office/officeart/2005/8/layout/matrix3"/>
    <dgm:cxn modelId="{CD1293F4-4796-4144-9402-36257F9463C4}" type="presParOf" srcId="{4C51C111-BF15-4A9A-9DD6-770226933518}" destId="{DC6520AC-06DB-4F68-A8F1-6AF6C02C51E8}" srcOrd="3" destOrd="0" presId="urn:microsoft.com/office/officeart/2005/8/layout/matrix3"/>
    <dgm:cxn modelId="{CD2DA962-440B-4175-86F6-7BC861C74023}" type="presParOf" srcId="{4C51C111-BF15-4A9A-9DD6-770226933518}" destId="{8E484277-4C73-49FF-8443-28604BBEE920}" srcOrd="4" destOrd="0" presId="urn:microsoft.com/office/officeart/2005/8/layout/matrix3"/>
  </dgm:cxnLst>
  <dgm:bg>
    <a:noFill/>
    <a:effectLst/>
  </dgm:bg>
  <dgm:whole/>
  <dgm:extLst>
    <a:ext uri="http://schemas.microsoft.com/office/drawing/2008/diagram">
      <dsp:dataModelExt xmlns:dsp="http://schemas.microsoft.com/office/drawing/2008/diagram" xmlns=""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9EA30FD-1791-46A2-BAB0-878A62BE52E9}" type="doc">
      <dgm:prSet loTypeId="urn:microsoft.com/office/officeart/2005/8/layout/gear1" loCatId="relationship" qsTypeId="urn:microsoft.com/office/officeart/2005/8/quickstyle/simple2" qsCatId="simple" csTypeId="urn:microsoft.com/office/officeart/2005/8/colors/accent1_2" csCatId="accent1" phldr="1"/>
      <dgm:spPr/>
    </dgm:pt>
    <dgm:pt modelId="{FDA2C295-8039-41D8-A13E-D394CB700A6A}">
      <dgm:prSet phldrT="[Text]" custT="1"/>
      <dgm:spPr>
        <a:solidFill>
          <a:schemeClr val="accent1"/>
        </a:solidFill>
      </dgm:spPr>
      <dgm:t>
        <a:bodyPr/>
        <a:lstStyle/>
        <a:p>
          <a:r>
            <a:rPr lang="en-US" sz="1900" b="1" i="0" dirty="0" err="1">
              <a:latin typeface="Arial"/>
            </a:rPr>
            <a:t>ermöglichen</a:t>
          </a:r>
          <a:endParaRPr lang="en-US" sz="1900" b="1" i="0" dirty="0">
            <a:latin typeface="Arial"/>
          </a:endParaRPr>
        </a:p>
      </dgm:t>
    </dgm:pt>
    <dgm:pt modelId="{8437C57B-7373-4E83-91BF-7A3F965DEE0B}" type="parTrans" cxnId="{9913EC20-6F1C-43D2-9BB0-17A5D0ED0B86}">
      <dgm:prSet/>
      <dgm:spPr/>
      <dgm:t>
        <a:bodyPr/>
        <a:lstStyle/>
        <a:p>
          <a:endParaRPr lang="de-DE"/>
        </a:p>
      </dgm:t>
    </dgm:pt>
    <dgm:pt modelId="{7BB046FD-AC3B-4E2D-B5C6-F171190C1FAF}" type="sibTrans" cxnId="{9913EC20-6F1C-43D2-9BB0-17A5D0ED0B86}">
      <dgm:prSet/>
      <dgm:spPr>
        <a:solidFill>
          <a:srgbClr val="FFFFCC"/>
        </a:solidFill>
      </dgm:spPr>
      <dgm:t>
        <a:bodyPr/>
        <a:lstStyle/>
        <a:p>
          <a:endParaRPr lang="de-DE"/>
        </a:p>
      </dgm:t>
    </dgm:pt>
    <dgm:pt modelId="{629B93F7-E51A-4D2D-B3B5-80F694FFACD0}">
      <dgm:prSet phldrT="[Text]"/>
      <dgm:spPr>
        <a:solidFill>
          <a:schemeClr val="accent1"/>
        </a:solidFill>
      </dgm:spPr>
      <dgm:t>
        <a:bodyPr/>
        <a:lstStyle/>
        <a:p>
          <a:r>
            <a:rPr lang="en-US" b="1" i="0" dirty="0" err="1">
              <a:latin typeface="Arial"/>
            </a:rPr>
            <a:t>motivieren</a:t>
          </a:r>
          <a:endParaRPr lang="en-US" b="1" i="0" dirty="0">
            <a:latin typeface="Arial"/>
          </a:endParaRPr>
        </a:p>
      </dgm:t>
    </dgm:pt>
    <dgm:pt modelId="{363FC3A9-9BA8-4947-B55D-20E1435ED931}" type="parTrans" cxnId="{1697370B-08BA-46CD-89B3-F9A808F5F9BB}">
      <dgm:prSet/>
      <dgm:spPr/>
      <dgm:t>
        <a:bodyPr/>
        <a:lstStyle/>
        <a:p>
          <a:endParaRPr lang="de-DE"/>
        </a:p>
      </dgm:t>
    </dgm:pt>
    <dgm:pt modelId="{2DDF200A-63AA-4AE0-9CDD-51402C8050C3}" type="sibTrans" cxnId="{1697370B-08BA-46CD-89B3-F9A808F5F9BB}">
      <dgm:prSet/>
      <dgm:spPr>
        <a:solidFill>
          <a:srgbClr val="FFFFCC"/>
        </a:solidFill>
      </dgm:spPr>
      <dgm:t>
        <a:bodyPr/>
        <a:lstStyle/>
        <a:p>
          <a:endParaRPr lang="de-DE"/>
        </a:p>
      </dgm:t>
    </dgm:pt>
    <dgm:pt modelId="{D9789710-C1F6-499D-9309-198E50D73FD9}">
      <dgm:prSet phldrT="[Text]"/>
      <dgm:spPr>
        <a:solidFill>
          <a:schemeClr val="accent1"/>
        </a:solidFill>
      </dgm:spPr>
      <dgm:t>
        <a:bodyPr/>
        <a:lstStyle/>
        <a:p>
          <a:r>
            <a:rPr lang="en-US" b="1" i="0">
              <a:latin typeface="Arial"/>
            </a:rPr>
            <a:t>bekannt machen</a:t>
          </a:r>
        </a:p>
      </dgm:t>
    </dgm:pt>
    <dgm:pt modelId="{D0494704-03D1-4C67-A261-89F64B320F23}" type="parTrans" cxnId="{69AE206E-C9CE-499A-811F-62FEAD90EC14}">
      <dgm:prSet/>
      <dgm:spPr/>
      <dgm:t>
        <a:bodyPr/>
        <a:lstStyle/>
        <a:p>
          <a:endParaRPr lang="de-DE"/>
        </a:p>
      </dgm:t>
    </dgm:pt>
    <dgm:pt modelId="{543C2B91-FB40-4914-A410-10573CAAEEF1}" type="sibTrans" cxnId="{69AE206E-C9CE-499A-811F-62FEAD90EC14}">
      <dgm:prSet/>
      <dgm:spPr>
        <a:solidFill>
          <a:srgbClr val="FFFFCC"/>
        </a:solidFill>
      </dgm:spPr>
      <dgm:t>
        <a:bodyPr/>
        <a:lstStyle/>
        <a:p>
          <a:endParaRPr lang="de-DE"/>
        </a:p>
      </dgm:t>
    </dgm:pt>
    <dgm:pt modelId="{C8D0DC65-77C2-4E6A-9D83-BB3B4A14FC8F}" type="pres">
      <dgm:prSet presAssocID="{19EA30FD-1791-46A2-BAB0-878A62BE52E9}" presName="composite" presStyleCnt="0">
        <dgm:presLayoutVars>
          <dgm:chMax val="3"/>
          <dgm:animLvl val="lvl"/>
          <dgm:resizeHandles val="exact"/>
        </dgm:presLayoutVars>
      </dgm:prSet>
      <dgm:spPr/>
    </dgm:pt>
    <dgm:pt modelId="{931C9744-9F33-471A-AA3E-0A9C82415A87}" type="pres">
      <dgm:prSet presAssocID="{FDA2C295-8039-41D8-A13E-D394CB700A6A}" presName="gear1" presStyleLbl="node1" presStyleIdx="0" presStyleCnt="3">
        <dgm:presLayoutVars>
          <dgm:chMax val="1"/>
          <dgm:bulletEnabled val="1"/>
        </dgm:presLayoutVars>
      </dgm:prSet>
      <dgm:spPr/>
      <dgm:t>
        <a:bodyPr/>
        <a:lstStyle/>
        <a:p>
          <a:endParaRPr lang="de-DE"/>
        </a:p>
      </dgm:t>
    </dgm:pt>
    <dgm:pt modelId="{B3C43D40-A041-4ECD-8436-8C44FFEF09B1}" type="pres">
      <dgm:prSet presAssocID="{FDA2C295-8039-41D8-A13E-D394CB700A6A}" presName="gear1srcNode" presStyleLbl="node1" presStyleIdx="0" presStyleCnt="3"/>
      <dgm:spPr/>
      <dgm:t>
        <a:bodyPr/>
        <a:lstStyle/>
        <a:p>
          <a:endParaRPr lang="de-DE"/>
        </a:p>
      </dgm:t>
    </dgm:pt>
    <dgm:pt modelId="{E432FA2C-3E9A-4D57-B9C9-7FB190868B13}" type="pres">
      <dgm:prSet presAssocID="{FDA2C295-8039-41D8-A13E-D394CB700A6A}" presName="gear1dstNode" presStyleLbl="node1" presStyleIdx="0" presStyleCnt="3"/>
      <dgm:spPr/>
      <dgm:t>
        <a:bodyPr/>
        <a:lstStyle/>
        <a:p>
          <a:endParaRPr lang="de-DE"/>
        </a:p>
      </dgm:t>
    </dgm:pt>
    <dgm:pt modelId="{67B0CFAC-D0AA-4DFE-AA0D-12DAE8DEFAC9}" type="pres">
      <dgm:prSet presAssocID="{629B93F7-E51A-4D2D-B3B5-80F694FFACD0}" presName="gear2" presStyleLbl="node1" presStyleIdx="1" presStyleCnt="3">
        <dgm:presLayoutVars>
          <dgm:chMax val="1"/>
          <dgm:bulletEnabled val="1"/>
        </dgm:presLayoutVars>
      </dgm:prSet>
      <dgm:spPr/>
      <dgm:t>
        <a:bodyPr/>
        <a:lstStyle/>
        <a:p>
          <a:endParaRPr lang="de-DE"/>
        </a:p>
      </dgm:t>
    </dgm:pt>
    <dgm:pt modelId="{93571209-A4A8-4E0A-B0FE-74ABFACFEFA1}" type="pres">
      <dgm:prSet presAssocID="{629B93F7-E51A-4D2D-B3B5-80F694FFACD0}" presName="gear2srcNode" presStyleLbl="node1" presStyleIdx="1" presStyleCnt="3"/>
      <dgm:spPr/>
      <dgm:t>
        <a:bodyPr/>
        <a:lstStyle/>
        <a:p>
          <a:endParaRPr lang="de-DE"/>
        </a:p>
      </dgm:t>
    </dgm:pt>
    <dgm:pt modelId="{15A85517-A587-4DA7-8245-913891AA2B50}" type="pres">
      <dgm:prSet presAssocID="{629B93F7-E51A-4D2D-B3B5-80F694FFACD0}" presName="gear2dstNode" presStyleLbl="node1" presStyleIdx="1" presStyleCnt="3"/>
      <dgm:spPr/>
      <dgm:t>
        <a:bodyPr/>
        <a:lstStyle/>
        <a:p>
          <a:endParaRPr lang="de-DE"/>
        </a:p>
      </dgm:t>
    </dgm:pt>
    <dgm:pt modelId="{E2389A69-358E-48EB-9164-E896D6672E5E}" type="pres">
      <dgm:prSet presAssocID="{D9789710-C1F6-499D-9309-198E50D73FD9}" presName="gear3" presStyleLbl="node1" presStyleIdx="2" presStyleCnt="3"/>
      <dgm:spPr/>
      <dgm:t>
        <a:bodyPr/>
        <a:lstStyle/>
        <a:p>
          <a:endParaRPr lang="de-DE"/>
        </a:p>
      </dgm:t>
    </dgm:pt>
    <dgm:pt modelId="{E6FBF49C-E2B4-486F-99DF-72633C992DAD}" type="pres">
      <dgm:prSet presAssocID="{D9789710-C1F6-499D-9309-198E50D73FD9}" presName="gear3tx" presStyleLbl="node1" presStyleIdx="2" presStyleCnt="3">
        <dgm:presLayoutVars>
          <dgm:chMax val="1"/>
          <dgm:bulletEnabled val="1"/>
        </dgm:presLayoutVars>
      </dgm:prSet>
      <dgm:spPr/>
      <dgm:t>
        <a:bodyPr/>
        <a:lstStyle/>
        <a:p>
          <a:endParaRPr lang="de-DE"/>
        </a:p>
      </dgm:t>
    </dgm:pt>
    <dgm:pt modelId="{5E1B4B4C-224C-43FE-AE91-C1C88F860010}" type="pres">
      <dgm:prSet presAssocID="{D9789710-C1F6-499D-9309-198E50D73FD9}" presName="gear3srcNode" presStyleLbl="node1" presStyleIdx="2" presStyleCnt="3"/>
      <dgm:spPr/>
      <dgm:t>
        <a:bodyPr/>
        <a:lstStyle/>
        <a:p>
          <a:endParaRPr lang="de-DE"/>
        </a:p>
      </dgm:t>
    </dgm:pt>
    <dgm:pt modelId="{F95D7A83-4BE3-4AE6-A75B-B3F10D98B789}" type="pres">
      <dgm:prSet presAssocID="{D9789710-C1F6-499D-9309-198E50D73FD9}" presName="gear3dstNode" presStyleLbl="node1" presStyleIdx="2" presStyleCnt="3"/>
      <dgm:spPr/>
      <dgm:t>
        <a:bodyPr/>
        <a:lstStyle/>
        <a:p>
          <a:endParaRPr lang="de-DE"/>
        </a:p>
      </dgm:t>
    </dgm:pt>
    <dgm:pt modelId="{FE89E3E0-D5FA-4DEB-AEAE-E6A6FCFF5645}" type="pres">
      <dgm:prSet presAssocID="{7BB046FD-AC3B-4E2D-B5C6-F171190C1FAF}" presName="connector1" presStyleLbl="sibTrans2D1" presStyleIdx="0" presStyleCnt="3"/>
      <dgm:spPr/>
      <dgm:t>
        <a:bodyPr/>
        <a:lstStyle/>
        <a:p>
          <a:endParaRPr lang="de-DE"/>
        </a:p>
      </dgm:t>
    </dgm:pt>
    <dgm:pt modelId="{74E5C27B-6AAB-47EA-AEE9-4AA5D1797311}" type="pres">
      <dgm:prSet presAssocID="{2DDF200A-63AA-4AE0-9CDD-51402C8050C3}" presName="connector2" presStyleLbl="sibTrans2D1" presStyleIdx="1" presStyleCnt="3"/>
      <dgm:spPr/>
      <dgm:t>
        <a:bodyPr/>
        <a:lstStyle/>
        <a:p>
          <a:endParaRPr lang="de-DE"/>
        </a:p>
      </dgm:t>
    </dgm:pt>
    <dgm:pt modelId="{8A2100EC-CCDF-4FB4-8287-795B8234D26B}" type="pres">
      <dgm:prSet presAssocID="{543C2B91-FB40-4914-A410-10573CAAEEF1}" presName="connector3" presStyleLbl="sibTrans2D1" presStyleIdx="2" presStyleCnt="3"/>
      <dgm:spPr/>
      <dgm:t>
        <a:bodyPr/>
        <a:lstStyle/>
        <a:p>
          <a:endParaRPr lang="de-DE"/>
        </a:p>
      </dgm:t>
    </dgm:pt>
  </dgm:ptLst>
  <dgm:cxnLst>
    <dgm:cxn modelId="{59BA2142-5D34-4F0C-B595-6ACB20413024}" type="presOf" srcId="{FDA2C295-8039-41D8-A13E-D394CB700A6A}" destId="{B3C43D40-A041-4ECD-8436-8C44FFEF09B1}" srcOrd="1" destOrd="0" presId="urn:microsoft.com/office/officeart/2005/8/layout/gear1"/>
    <dgm:cxn modelId="{6E03D66C-5DD8-43E2-BD94-D8409F7DE723}" type="presOf" srcId="{FDA2C295-8039-41D8-A13E-D394CB700A6A}" destId="{E432FA2C-3E9A-4D57-B9C9-7FB190868B13}" srcOrd="2" destOrd="0" presId="urn:microsoft.com/office/officeart/2005/8/layout/gear1"/>
    <dgm:cxn modelId="{F815B97A-2CCB-4B4C-B894-640AA9A5CED3}" type="presOf" srcId="{629B93F7-E51A-4D2D-B3B5-80F694FFACD0}" destId="{67B0CFAC-D0AA-4DFE-AA0D-12DAE8DEFAC9}" srcOrd="0" destOrd="0" presId="urn:microsoft.com/office/officeart/2005/8/layout/gear1"/>
    <dgm:cxn modelId="{42361A5F-1020-4729-A488-FFACC2E9FCDE}" type="presOf" srcId="{D9789710-C1F6-499D-9309-198E50D73FD9}" destId="{E6FBF49C-E2B4-486F-99DF-72633C992DAD}" srcOrd="1" destOrd="0" presId="urn:microsoft.com/office/officeart/2005/8/layout/gear1"/>
    <dgm:cxn modelId="{661C021B-1AFB-4EED-AAFB-7218FF416040}" type="presOf" srcId="{629B93F7-E51A-4D2D-B3B5-80F694FFACD0}" destId="{15A85517-A587-4DA7-8245-913891AA2B50}" srcOrd="2" destOrd="0" presId="urn:microsoft.com/office/officeart/2005/8/layout/gear1"/>
    <dgm:cxn modelId="{0BB5CC9A-309B-4E3E-97B1-56D884508F92}" type="presOf" srcId="{7BB046FD-AC3B-4E2D-B5C6-F171190C1FAF}" destId="{FE89E3E0-D5FA-4DEB-AEAE-E6A6FCFF5645}" srcOrd="0" destOrd="0" presId="urn:microsoft.com/office/officeart/2005/8/layout/gear1"/>
    <dgm:cxn modelId="{AF822CD5-654D-4CFB-BB69-21ECB774A586}" type="presOf" srcId="{D9789710-C1F6-499D-9309-198E50D73FD9}" destId="{E2389A69-358E-48EB-9164-E896D6672E5E}" srcOrd="0" destOrd="0" presId="urn:microsoft.com/office/officeart/2005/8/layout/gear1"/>
    <dgm:cxn modelId="{04653FD0-8B11-4FD4-8A24-F068BE9C0C08}" type="presOf" srcId="{2DDF200A-63AA-4AE0-9CDD-51402C8050C3}" destId="{74E5C27B-6AAB-47EA-AEE9-4AA5D1797311}" srcOrd="0" destOrd="0" presId="urn:microsoft.com/office/officeart/2005/8/layout/gear1"/>
    <dgm:cxn modelId="{9913EC20-6F1C-43D2-9BB0-17A5D0ED0B86}" srcId="{19EA30FD-1791-46A2-BAB0-878A62BE52E9}" destId="{FDA2C295-8039-41D8-A13E-D394CB700A6A}" srcOrd="0" destOrd="0" parTransId="{8437C57B-7373-4E83-91BF-7A3F965DEE0B}" sibTransId="{7BB046FD-AC3B-4E2D-B5C6-F171190C1FAF}"/>
    <dgm:cxn modelId="{254E5C5E-A352-4A28-9B5C-71EC2A48CA25}" type="presOf" srcId="{D9789710-C1F6-499D-9309-198E50D73FD9}" destId="{F95D7A83-4BE3-4AE6-A75B-B3F10D98B789}" srcOrd="3" destOrd="0" presId="urn:microsoft.com/office/officeart/2005/8/layout/gear1"/>
    <dgm:cxn modelId="{DDAEC8FC-FAE0-4CC9-BC16-D2C8842850C9}" type="presOf" srcId="{543C2B91-FB40-4914-A410-10573CAAEEF1}" destId="{8A2100EC-CCDF-4FB4-8287-795B8234D26B}" srcOrd="0" destOrd="0" presId="urn:microsoft.com/office/officeart/2005/8/layout/gear1"/>
    <dgm:cxn modelId="{1697370B-08BA-46CD-89B3-F9A808F5F9BB}" srcId="{19EA30FD-1791-46A2-BAB0-878A62BE52E9}" destId="{629B93F7-E51A-4D2D-B3B5-80F694FFACD0}" srcOrd="1" destOrd="0" parTransId="{363FC3A9-9BA8-4947-B55D-20E1435ED931}" sibTransId="{2DDF200A-63AA-4AE0-9CDD-51402C8050C3}"/>
    <dgm:cxn modelId="{5F230036-BF53-432E-BD33-853C0375819C}" type="presOf" srcId="{FDA2C295-8039-41D8-A13E-D394CB700A6A}" destId="{931C9744-9F33-471A-AA3E-0A9C82415A87}" srcOrd="0" destOrd="0" presId="urn:microsoft.com/office/officeart/2005/8/layout/gear1"/>
    <dgm:cxn modelId="{78D18E1A-3B7D-4189-84D9-85981911CDBF}" type="presOf" srcId="{19EA30FD-1791-46A2-BAB0-878A62BE52E9}" destId="{C8D0DC65-77C2-4E6A-9D83-BB3B4A14FC8F}" srcOrd="0" destOrd="0" presId="urn:microsoft.com/office/officeart/2005/8/layout/gear1"/>
    <dgm:cxn modelId="{2E5D2316-7BA0-47F2-BDA5-D3D299706802}" type="presOf" srcId="{D9789710-C1F6-499D-9309-198E50D73FD9}" destId="{5E1B4B4C-224C-43FE-AE91-C1C88F860010}" srcOrd="2" destOrd="0" presId="urn:microsoft.com/office/officeart/2005/8/layout/gear1"/>
    <dgm:cxn modelId="{69AE206E-C9CE-499A-811F-62FEAD90EC14}" srcId="{19EA30FD-1791-46A2-BAB0-878A62BE52E9}" destId="{D9789710-C1F6-499D-9309-198E50D73FD9}" srcOrd="2" destOrd="0" parTransId="{D0494704-03D1-4C67-A261-89F64B320F23}" sibTransId="{543C2B91-FB40-4914-A410-10573CAAEEF1}"/>
    <dgm:cxn modelId="{2DFE54DA-AE21-41F4-BB1E-D014F3DC026D}" type="presOf" srcId="{629B93F7-E51A-4D2D-B3B5-80F694FFACD0}" destId="{93571209-A4A8-4E0A-B0FE-74ABFACFEFA1}" srcOrd="1" destOrd="0" presId="urn:microsoft.com/office/officeart/2005/8/layout/gear1"/>
    <dgm:cxn modelId="{421B7F37-E637-4EC7-A3CF-2915A4E77BD0}" type="presParOf" srcId="{C8D0DC65-77C2-4E6A-9D83-BB3B4A14FC8F}" destId="{931C9744-9F33-471A-AA3E-0A9C82415A87}" srcOrd="0" destOrd="0" presId="urn:microsoft.com/office/officeart/2005/8/layout/gear1"/>
    <dgm:cxn modelId="{D51C5E9B-AF33-4911-8710-15963144D2DC}" type="presParOf" srcId="{C8D0DC65-77C2-4E6A-9D83-BB3B4A14FC8F}" destId="{B3C43D40-A041-4ECD-8436-8C44FFEF09B1}" srcOrd="1" destOrd="0" presId="urn:microsoft.com/office/officeart/2005/8/layout/gear1"/>
    <dgm:cxn modelId="{441032F2-7681-4D39-A116-158384BA2B20}" type="presParOf" srcId="{C8D0DC65-77C2-4E6A-9D83-BB3B4A14FC8F}" destId="{E432FA2C-3E9A-4D57-B9C9-7FB190868B13}" srcOrd="2" destOrd="0" presId="urn:microsoft.com/office/officeart/2005/8/layout/gear1"/>
    <dgm:cxn modelId="{0A53501E-FB5F-4C97-A603-FD9D1A609CB9}" type="presParOf" srcId="{C8D0DC65-77C2-4E6A-9D83-BB3B4A14FC8F}" destId="{67B0CFAC-D0AA-4DFE-AA0D-12DAE8DEFAC9}" srcOrd="3" destOrd="0" presId="urn:microsoft.com/office/officeart/2005/8/layout/gear1"/>
    <dgm:cxn modelId="{25075E48-C8BA-44EE-9B22-FA54B4B41085}" type="presParOf" srcId="{C8D0DC65-77C2-4E6A-9D83-BB3B4A14FC8F}" destId="{93571209-A4A8-4E0A-B0FE-74ABFACFEFA1}" srcOrd="4" destOrd="0" presId="urn:microsoft.com/office/officeart/2005/8/layout/gear1"/>
    <dgm:cxn modelId="{48FF0DA5-5244-4614-9695-00D896D6AECA}" type="presParOf" srcId="{C8D0DC65-77C2-4E6A-9D83-BB3B4A14FC8F}" destId="{15A85517-A587-4DA7-8245-913891AA2B50}" srcOrd="5" destOrd="0" presId="urn:microsoft.com/office/officeart/2005/8/layout/gear1"/>
    <dgm:cxn modelId="{7BA2E24C-71CD-4964-B3B8-D4FCC4F9CBB3}" type="presParOf" srcId="{C8D0DC65-77C2-4E6A-9D83-BB3B4A14FC8F}" destId="{E2389A69-358E-48EB-9164-E896D6672E5E}" srcOrd="6" destOrd="0" presId="urn:microsoft.com/office/officeart/2005/8/layout/gear1"/>
    <dgm:cxn modelId="{C176CEC0-ABDB-488C-9FF7-51C41863AA61}" type="presParOf" srcId="{C8D0DC65-77C2-4E6A-9D83-BB3B4A14FC8F}" destId="{E6FBF49C-E2B4-486F-99DF-72633C992DAD}" srcOrd="7" destOrd="0" presId="urn:microsoft.com/office/officeart/2005/8/layout/gear1"/>
    <dgm:cxn modelId="{575353F3-7260-4C9A-B714-9FB402BD017D}" type="presParOf" srcId="{C8D0DC65-77C2-4E6A-9D83-BB3B4A14FC8F}" destId="{5E1B4B4C-224C-43FE-AE91-C1C88F860010}" srcOrd="8" destOrd="0" presId="urn:microsoft.com/office/officeart/2005/8/layout/gear1"/>
    <dgm:cxn modelId="{FB56D37D-8A0C-49E9-A078-C26DC9F3D438}" type="presParOf" srcId="{C8D0DC65-77C2-4E6A-9D83-BB3B4A14FC8F}" destId="{F95D7A83-4BE3-4AE6-A75B-B3F10D98B789}" srcOrd="9" destOrd="0" presId="urn:microsoft.com/office/officeart/2005/8/layout/gear1"/>
    <dgm:cxn modelId="{C8CC289A-39DA-4B8F-A64C-0AC13BC8BEAE}" type="presParOf" srcId="{C8D0DC65-77C2-4E6A-9D83-BB3B4A14FC8F}" destId="{FE89E3E0-D5FA-4DEB-AEAE-E6A6FCFF5645}" srcOrd="10" destOrd="0" presId="urn:microsoft.com/office/officeart/2005/8/layout/gear1"/>
    <dgm:cxn modelId="{C5965D38-2007-45D3-98D7-B5949FB086F6}" type="presParOf" srcId="{C8D0DC65-77C2-4E6A-9D83-BB3B4A14FC8F}" destId="{74E5C27B-6AAB-47EA-AEE9-4AA5D1797311}" srcOrd="11" destOrd="0" presId="urn:microsoft.com/office/officeart/2005/8/layout/gear1"/>
    <dgm:cxn modelId="{E42236E1-F927-4D51-9B68-FD75BA1FEC96}" type="presParOf" srcId="{C8D0DC65-77C2-4E6A-9D83-BB3B4A14FC8F}" destId="{8A2100EC-CCDF-4FB4-8287-795B8234D26B}" srcOrd="12" destOrd="0" presId="urn:microsoft.com/office/officeart/2005/8/layout/gear1"/>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7B1E771-3F37-4FCF-9421-AA3E1A00AA6F}">
      <dsp:nvSpPr>
        <dsp:cNvPr id="0" name=""/>
        <dsp:cNvSpPr/>
      </dsp:nvSpPr>
      <dsp:spPr>
        <a:xfrm>
          <a:off x="1120067" y="0"/>
          <a:ext cx="4624287" cy="4624287"/>
        </a:xfrm>
        <a:prstGeom prst="ellipse">
          <a:avLst/>
        </a:prstGeom>
        <a:solidFill>
          <a:schemeClr val="tx2">
            <a:lumMod val="85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de-DE" sz="1600" b="1" i="0" kern="1200" dirty="0" smtClean="0">
              <a:latin typeface="Arial"/>
            </a:rPr>
            <a:t>Team-Informationen</a:t>
          </a:r>
          <a:endParaRPr lang="de-DE" sz="1600" b="1" i="0" kern="1200" dirty="0">
            <a:latin typeface="Arial"/>
          </a:endParaRPr>
        </a:p>
      </dsp:txBody>
      <dsp:txXfrm>
        <a:off x="2624117" y="231214"/>
        <a:ext cx="1616188" cy="693643"/>
      </dsp:txXfrm>
    </dsp:sp>
    <dsp:sp modelId="{38721598-697E-4565-A973-AB019F693153}">
      <dsp:nvSpPr>
        <dsp:cNvPr id="0" name=""/>
        <dsp:cNvSpPr/>
      </dsp:nvSpPr>
      <dsp:spPr>
        <a:xfrm>
          <a:off x="1698103" y="1156071"/>
          <a:ext cx="3468216" cy="3468216"/>
        </a:xfrm>
        <a:prstGeom prst="ellipse">
          <a:avLst/>
        </a:prstGeom>
        <a:solidFill>
          <a:schemeClr val="accent1">
            <a:lumMod val="60000"/>
            <a:lumOff val="4000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a:lnSpc>
              <a:spcPct val="90000"/>
            </a:lnSpc>
            <a:spcBef>
              <a:spcPct val="0"/>
            </a:spcBef>
            <a:spcAft>
              <a:spcPct val="35000"/>
            </a:spcAft>
          </a:pPr>
          <a:r>
            <a:rPr lang="de-DE" sz="1400" b="1" i="0" kern="1200" dirty="0" smtClean="0">
              <a:latin typeface="Arial"/>
            </a:rPr>
            <a:t>Individuelle Informationen</a:t>
          </a:r>
          <a:endParaRPr lang="de-DE" sz="1400" b="1" i="0" kern="1200" dirty="0">
            <a:latin typeface="Arial"/>
          </a:endParaRPr>
        </a:p>
      </dsp:txBody>
      <dsp:txXfrm>
        <a:off x="2624117" y="1372835"/>
        <a:ext cx="1616188" cy="650290"/>
      </dsp:txXfrm>
    </dsp:sp>
    <dsp:sp modelId="{0289104F-FD52-4401-9313-BEDD8F6E6274}">
      <dsp:nvSpPr>
        <dsp:cNvPr id="0" name=""/>
        <dsp:cNvSpPr/>
      </dsp:nvSpPr>
      <dsp:spPr>
        <a:xfrm>
          <a:off x="2276139" y="2312143"/>
          <a:ext cx="2312143" cy="2312143"/>
        </a:xfrm>
        <a:prstGeom prst="ellipse">
          <a:avLst/>
        </a:prstGeom>
        <a:solidFill>
          <a:schemeClr val="accent1">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3792" tIns="113792" rIns="113792" bIns="113792" numCol="1" spcCol="1270" anchor="ctr" anchorCtr="0">
          <a:noAutofit/>
        </a:bodyPr>
        <a:lstStyle/>
        <a:p>
          <a:pPr lvl="0" algn="ctr" defTabSz="711200">
            <a:lnSpc>
              <a:spcPct val="90000"/>
            </a:lnSpc>
            <a:spcBef>
              <a:spcPct val="0"/>
            </a:spcBef>
            <a:spcAft>
              <a:spcPct val="35000"/>
            </a:spcAft>
          </a:pPr>
          <a:r>
            <a:rPr lang="de-DE" sz="1600" b="1" i="0" kern="1200">
              <a:latin typeface="Arial"/>
            </a:rPr>
            <a:t>Person</a:t>
          </a:r>
        </a:p>
      </dsp:txBody>
      <dsp:txXfrm>
        <a:off x="2614745" y="2890179"/>
        <a:ext cx="1634932" cy="1156071"/>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1A641B9-EEC0-4273-A1C7-4DBD5464DECE}">
      <dsp:nvSpPr>
        <dsp:cNvPr id="0" name=""/>
        <dsp:cNvSpPr/>
      </dsp:nvSpPr>
      <dsp:spPr>
        <a:xfrm>
          <a:off x="0" y="172244"/>
          <a:ext cx="3255910" cy="3255910"/>
        </a:xfrm>
        <a:prstGeom prst="diamond">
          <a:avLst/>
        </a:prstGeom>
        <a:solidFill>
          <a:schemeClr val="bg2">
            <a:lumMod val="75000"/>
            <a:alpha val="29000"/>
          </a:schemeClr>
        </a:solidFill>
        <a:ln>
          <a:noFill/>
        </a:ln>
        <a:effectLst>
          <a:outerShdw blurRad="50800" dist="38100" dir="18900000" algn="bl" rotWithShape="0">
            <a:prstClr val="black">
              <a:alpha val="40000"/>
            </a:prstClr>
          </a:outerShdw>
        </a:effectLst>
      </dsp:spPr>
      <dsp:style>
        <a:lnRef idx="0">
          <a:scrgbClr r="0" g="0" b="0"/>
        </a:lnRef>
        <a:fillRef idx="1">
          <a:scrgbClr r="0" g="0" b="0"/>
        </a:fillRef>
        <a:effectRef idx="0">
          <a:scrgbClr r="0" g="0" b="0"/>
        </a:effectRef>
        <a:fontRef idx="minor"/>
      </dsp:style>
    </dsp:sp>
    <dsp:sp modelId="{1DCE106B-A46D-4523-A1E8-9BC5814544DD}">
      <dsp:nvSpPr>
        <dsp:cNvPr id="0" name=""/>
        <dsp:cNvSpPr/>
      </dsp:nvSpPr>
      <dsp:spPr>
        <a:xfrm>
          <a:off x="95292" y="476489"/>
          <a:ext cx="1507245" cy="1269804"/>
        </a:xfrm>
        <a:prstGeom prst="roundRect">
          <a:avLst/>
        </a:prstGeom>
        <a:solidFill>
          <a:schemeClr val="tx1">
            <a:alpha val="50000"/>
          </a:schemeClr>
        </a:solidFill>
        <a:ln w="25400" cap="flat" cmpd="sng" algn="ctr">
          <a:solidFill>
            <a:schemeClr val="lt1">
              <a:hueOff val="0"/>
              <a:satOff val="0"/>
              <a:lumOff val="0"/>
              <a:alphaOff val="0"/>
            </a:schemeClr>
          </a:solidFill>
          <a:prstDash val="solid"/>
        </a:ln>
        <a:effectLst>
          <a:outerShdw blurRad="50800" dist="38100" dir="18900000" algn="b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i="0" kern="1200" dirty="0" err="1" smtClean="0">
              <a:solidFill>
                <a:srgbClr val="FFFFFF"/>
              </a:solidFill>
              <a:latin typeface="Arial"/>
            </a:rPr>
            <a:t>Funktions</a:t>
          </a:r>
          <a:r>
            <a:rPr lang="en-US" sz="1400" b="1" i="0" kern="1200" dirty="0" smtClean="0">
              <a:solidFill>
                <a:srgbClr val="FFFFFF"/>
              </a:solidFill>
              <a:latin typeface="Arial"/>
            </a:rPr>
            <a:t>-</a:t>
          </a:r>
          <a:br>
            <a:rPr lang="en-US" sz="1400" b="1" i="0" kern="1200" dirty="0" smtClean="0">
              <a:solidFill>
                <a:srgbClr val="FFFFFF"/>
              </a:solidFill>
              <a:latin typeface="Arial"/>
            </a:rPr>
          </a:br>
          <a:r>
            <a:rPr lang="en-US" sz="1400" b="1" i="0" kern="1200" dirty="0" err="1" smtClean="0">
              <a:solidFill>
                <a:srgbClr val="FFFFFF"/>
              </a:solidFill>
              <a:latin typeface="Arial"/>
            </a:rPr>
            <a:t>umfang</a:t>
          </a:r>
          <a:endParaRPr lang="en-US" sz="1400" b="1" i="0" kern="1200" dirty="0">
            <a:solidFill>
              <a:srgbClr val="FFFFFF"/>
            </a:solidFill>
            <a:latin typeface="Arial"/>
          </a:endParaRPr>
        </a:p>
      </dsp:txBody>
      <dsp:txXfrm>
        <a:off x="95292" y="476489"/>
        <a:ext cx="1507245" cy="1269804"/>
      </dsp:txXfrm>
    </dsp:sp>
    <dsp:sp modelId="{24C47061-27D4-4597-BFB6-46B498F8DA68}">
      <dsp:nvSpPr>
        <dsp:cNvPr id="0" name=""/>
        <dsp:cNvSpPr/>
      </dsp:nvSpPr>
      <dsp:spPr>
        <a:xfrm>
          <a:off x="1715344" y="476489"/>
          <a:ext cx="1475614" cy="1269804"/>
        </a:xfrm>
        <a:prstGeom prst="roundRect">
          <a:avLst/>
        </a:prstGeom>
        <a:solidFill>
          <a:schemeClr val="tx1">
            <a:lumMod val="95000"/>
            <a:lumOff val="5000"/>
            <a:alpha val="50000"/>
          </a:schemeClr>
        </a:solidFill>
        <a:ln w="25400" cap="flat" cmpd="sng" algn="ctr">
          <a:solidFill>
            <a:schemeClr val="lt1">
              <a:hueOff val="0"/>
              <a:satOff val="0"/>
              <a:lumOff val="0"/>
              <a:alphaOff val="0"/>
            </a:schemeClr>
          </a:solidFill>
          <a:prstDash val="solid"/>
        </a:ln>
        <a:effectLst>
          <a:outerShdw blurRad="50800" dist="38100" dir="18900000" algn="b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n-US" sz="1400" b="1" i="0" kern="1200" dirty="0" err="1" smtClean="0">
              <a:solidFill>
                <a:schemeClr val="bg1"/>
              </a:solidFill>
              <a:latin typeface="+mn-lt"/>
            </a:rPr>
            <a:t>Programm-leistung</a:t>
          </a:r>
          <a:endParaRPr lang="en-US" sz="1400" b="1" i="0" kern="1200" dirty="0" smtClean="0">
            <a:solidFill>
              <a:schemeClr val="bg1"/>
            </a:solidFill>
            <a:latin typeface="+mn-lt"/>
          </a:endParaRPr>
        </a:p>
      </dsp:txBody>
      <dsp:txXfrm>
        <a:off x="1715344" y="476489"/>
        <a:ext cx="1475614" cy="1269804"/>
      </dsp:txXfrm>
    </dsp:sp>
    <dsp:sp modelId="{DC6520AC-06DB-4F68-A8F1-6AF6C02C51E8}">
      <dsp:nvSpPr>
        <dsp:cNvPr id="0" name=""/>
        <dsp:cNvSpPr/>
      </dsp:nvSpPr>
      <dsp:spPr>
        <a:xfrm>
          <a:off x="95292" y="1810639"/>
          <a:ext cx="1507245" cy="1269804"/>
        </a:xfrm>
        <a:prstGeom prst="roundRect">
          <a:avLst/>
        </a:prstGeom>
        <a:solidFill>
          <a:schemeClr val="accent1">
            <a:alpha val="80000"/>
          </a:schemeClr>
        </a:solidFill>
        <a:ln w="25400" cap="flat" cmpd="sng" algn="ctr">
          <a:solidFill>
            <a:schemeClr val="lt1">
              <a:hueOff val="0"/>
              <a:satOff val="0"/>
              <a:lumOff val="0"/>
              <a:alphaOff val="0"/>
            </a:schemeClr>
          </a:solidFill>
          <a:prstDash val="solid"/>
        </a:ln>
        <a:effectLst>
          <a:outerShdw blurRad="50800" dist="38100" dir="18900000" algn="b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i="0" kern="1200" dirty="0" err="1" smtClean="0">
              <a:solidFill>
                <a:schemeClr val="bg1"/>
              </a:solidFill>
              <a:latin typeface="Arial"/>
            </a:rPr>
            <a:t>Benutzer-oberfläche</a:t>
          </a:r>
          <a:endParaRPr lang="en-US" sz="1400" b="1" i="0" kern="1200" dirty="0">
            <a:solidFill>
              <a:schemeClr val="bg1"/>
            </a:solidFill>
            <a:latin typeface="Arial"/>
          </a:endParaRPr>
        </a:p>
      </dsp:txBody>
      <dsp:txXfrm>
        <a:off x="95292" y="1810639"/>
        <a:ext cx="1507245" cy="1269804"/>
      </dsp:txXfrm>
    </dsp:sp>
    <dsp:sp modelId="{8E484277-4C73-49FF-8443-28604BBEE920}">
      <dsp:nvSpPr>
        <dsp:cNvPr id="0" name=""/>
        <dsp:cNvSpPr/>
      </dsp:nvSpPr>
      <dsp:spPr>
        <a:xfrm>
          <a:off x="1715344" y="1810639"/>
          <a:ext cx="1427921" cy="1269804"/>
        </a:xfrm>
        <a:prstGeom prst="roundRect">
          <a:avLst/>
        </a:prstGeom>
        <a:solidFill>
          <a:schemeClr val="accent1">
            <a:alpha val="80000"/>
          </a:schemeClr>
        </a:solidFill>
        <a:ln w="25400" cap="flat" cmpd="sng" algn="ctr">
          <a:solidFill>
            <a:schemeClr val="lt1">
              <a:hueOff val="0"/>
              <a:satOff val="0"/>
              <a:lumOff val="0"/>
              <a:alphaOff val="0"/>
            </a:schemeClr>
          </a:solidFill>
          <a:prstDash val="solid"/>
        </a:ln>
        <a:effectLst>
          <a:outerShdw blurRad="50800" dist="38100" dir="18900000" algn="b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b="1" i="0" kern="1200" dirty="0" smtClean="0">
              <a:solidFill>
                <a:schemeClr val="bg1"/>
              </a:solidFill>
              <a:latin typeface="Arial"/>
            </a:rPr>
            <a:t>Trainings-material</a:t>
          </a:r>
        </a:p>
      </dsp:txBody>
      <dsp:txXfrm>
        <a:off x="1715344" y="1810639"/>
        <a:ext cx="1427921" cy="1269804"/>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931C9744-9F33-471A-AA3E-0A9C82415A87}">
      <dsp:nvSpPr>
        <dsp:cNvPr id="0" name=""/>
        <dsp:cNvSpPr/>
      </dsp:nvSpPr>
      <dsp:spPr>
        <a:xfrm>
          <a:off x="3220560" y="2122408"/>
          <a:ext cx="2594054" cy="2594054"/>
        </a:xfrm>
        <a:prstGeom prst="gear9">
          <a:avLst/>
        </a:prstGeom>
        <a:solidFill>
          <a:schemeClr val="accent1"/>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b="1" i="0" kern="1200" dirty="0" err="1">
              <a:latin typeface="Arial"/>
            </a:rPr>
            <a:t>ermöglichen</a:t>
          </a:r>
          <a:endParaRPr lang="en-US" sz="1900" b="1" i="0" kern="1200" dirty="0">
            <a:latin typeface="Arial"/>
          </a:endParaRPr>
        </a:p>
      </dsp:txBody>
      <dsp:txXfrm>
        <a:off x="3220560" y="2122408"/>
        <a:ext cx="2594054" cy="2594054"/>
      </dsp:txXfrm>
    </dsp:sp>
    <dsp:sp modelId="{67B0CFAC-D0AA-4DFE-AA0D-12DAE8DEFAC9}">
      <dsp:nvSpPr>
        <dsp:cNvPr id="0" name=""/>
        <dsp:cNvSpPr/>
      </dsp:nvSpPr>
      <dsp:spPr>
        <a:xfrm>
          <a:off x="1711292" y="1509268"/>
          <a:ext cx="1886585" cy="1886585"/>
        </a:xfrm>
        <a:prstGeom prst="gear6">
          <a:avLst/>
        </a:prstGeom>
        <a:solidFill>
          <a:schemeClr val="accent1"/>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i="0" kern="1200" dirty="0" err="1">
              <a:latin typeface="Arial"/>
            </a:rPr>
            <a:t>motivieren</a:t>
          </a:r>
          <a:endParaRPr lang="en-US" sz="1400" b="1" i="0" kern="1200" dirty="0">
            <a:latin typeface="Arial"/>
          </a:endParaRPr>
        </a:p>
      </dsp:txBody>
      <dsp:txXfrm>
        <a:off x="1711292" y="1509268"/>
        <a:ext cx="1886585" cy="1886585"/>
      </dsp:txXfrm>
    </dsp:sp>
    <dsp:sp modelId="{E2389A69-358E-48EB-9164-E896D6672E5E}">
      <dsp:nvSpPr>
        <dsp:cNvPr id="0" name=""/>
        <dsp:cNvSpPr/>
      </dsp:nvSpPr>
      <dsp:spPr>
        <a:xfrm rot="20700000">
          <a:off x="2767972" y="207716"/>
          <a:ext cx="1848468" cy="1848468"/>
        </a:xfrm>
        <a:prstGeom prst="gear6">
          <a:avLst/>
        </a:prstGeom>
        <a:solidFill>
          <a:schemeClr val="accent1"/>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en-US" sz="1400" b="1" i="0" kern="1200">
              <a:latin typeface="Arial"/>
            </a:rPr>
            <a:t>bekannt machen</a:t>
          </a:r>
        </a:p>
      </dsp:txBody>
      <dsp:txXfrm>
        <a:off x="3173396" y="613140"/>
        <a:ext cx="1037621" cy="1037621"/>
      </dsp:txXfrm>
    </dsp:sp>
    <dsp:sp modelId="{FE89E3E0-D5FA-4DEB-AEAE-E6A6FCFF5645}">
      <dsp:nvSpPr>
        <dsp:cNvPr id="0" name=""/>
        <dsp:cNvSpPr/>
      </dsp:nvSpPr>
      <dsp:spPr>
        <a:xfrm>
          <a:off x="3026867" y="1727679"/>
          <a:ext cx="3320389" cy="3320389"/>
        </a:xfrm>
        <a:prstGeom prst="circularArrow">
          <a:avLst>
            <a:gd name="adj1" fmla="val 4688"/>
            <a:gd name="adj2" fmla="val 299029"/>
            <a:gd name="adj3" fmla="val 2527369"/>
            <a:gd name="adj4" fmla="val 15837350"/>
            <a:gd name="adj5" fmla="val 5469"/>
          </a:avLst>
        </a:prstGeom>
        <a:solidFill>
          <a:srgbClr val="FFFFCC"/>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74E5C27B-6AAB-47EA-AEE9-4AA5D1797311}">
      <dsp:nvSpPr>
        <dsp:cNvPr id="0" name=""/>
        <dsp:cNvSpPr/>
      </dsp:nvSpPr>
      <dsp:spPr>
        <a:xfrm>
          <a:off x="1377182" y="1089597"/>
          <a:ext cx="2412470" cy="2412470"/>
        </a:xfrm>
        <a:prstGeom prst="leftCircularArrow">
          <a:avLst>
            <a:gd name="adj1" fmla="val 6452"/>
            <a:gd name="adj2" fmla="val 429999"/>
            <a:gd name="adj3" fmla="val 10489124"/>
            <a:gd name="adj4" fmla="val 14837806"/>
            <a:gd name="adj5" fmla="val 7527"/>
          </a:avLst>
        </a:prstGeom>
        <a:solidFill>
          <a:srgbClr val="FFFFCC"/>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8A2100EC-CCDF-4FB4-8287-795B8234D26B}">
      <dsp:nvSpPr>
        <dsp:cNvPr id="0" name=""/>
        <dsp:cNvSpPr/>
      </dsp:nvSpPr>
      <dsp:spPr>
        <a:xfrm>
          <a:off x="2340403" y="-199408"/>
          <a:ext cx="2601129" cy="2601129"/>
        </a:xfrm>
        <a:prstGeom prst="circularArrow">
          <a:avLst>
            <a:gd name="adj1" fmla="val 5984"/>
            <a:gd name="adj2" fmla="val 394124"/>
            <a:gd name="adj3" fmla="val 13313824"/>
            <a:gd name="adj4" fmla="val 10508221"/>
            <a:gd name="adj5" fmla="val 6981"/>
          </a:avLst>
        </a:prstGeom>
        <a:solidFill>
          <a:srgbClr val="FFFFCC"/>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Fußzeilenplatzhalter 10"/>
          <p:cNvSpPr>
            <a:spLocks noGrp="1"/>
          </p:cNvSpPr>
          <p:nvPr>
            <p:ph type="ftr" sz="quarter" idx="2"/>
          </p:nvPr>
        </p:nvSpPr>
        <p:spPr>
          <a:xfrm>
            <a:off x="1381969" y="9622296"/>
            <a:ext cx="2950949" cy="215504"/>
          </a:xfrm>
          <a:prstGeom prst="rect">
            <a:avLst/>
          </a:prstGeom>
        </p:spPr>
        <p:txBody>
          <a:bodyPr vert="horz" lIns="35716" tIns="45360" rIns="35716" bIns="45360" rtlCol="0" anchor="ctr"/>
          <a:lstStyle>
            <a:lvl1pPr algn="l">
              <a:defRPr sz="1200"/>
            </a:lvl1pPr>
          </a:lstStyle>
          <a:p>
            <a:r>
              <a:rPr lang="de-DE" sz="900" dirty="0" smtClean="0">
                <a:latin typeface="Arial" pitchFamily="34" charset="0"/>
                <a:cs typeface="Arial" pitchFamily="34" charset="0"/>
              </a:rPr>
              <a:t>Autor,   ©  Continental AG</a:t>
            </a:r>
            <a:endParaRPr lang="de-DE" sz="900" dirty="0">
              <a:latin typeface="Arial" pitchFamily="34" charset="0"/>
              <a:cs typeface="Arial" pitchFamily="34" charset="0"/>
            </a:endParaRPr>
          </a:p>
        </p:txBody>
      </p:sp>
      <p:sp>
        <p:nvSpPr>
          <p:cNvPr id="12" name="Foliennummernplatzhalter 11"/>
          <p:cNvSpPr>
            <a:spLocks noGrp="1"/>
          </p:cNvSpPr>
          <p:nvPr>
            <p:ph type="sldNum" sz="quarter" idx="3"/>
          </p:nvPr>
        </p:nvSpPr>
        <p:spPr>
          <a:xfrm>
            <a:off x="82857" y="9622297"/>
            <a:ext cx="446301" cy="215505"/>
          </a:xfrm>
          <a:prstGeom prst="rect">
            <a:avLst/>
          </a:prstGeom>
        </p:spPr>
        <p:txBody>
          <a:bodyPr vert="horz" lIns="35716" tIns="45360" rIns="35716" bIns="45360" rtlCol="0" anchor="ctr"/>
          <a:lstStyle>
            <a:lvl1pPr algn="r">
              <a:defRPr sz="1200"/>
            </a:lvl1pPr>
          </a:lstStyle>
          <a:p>
            <a:fld id="{0602BE49-D4B5-4488-BBDD-01723D8ABAC8}" type="slidenum">
              <a:rPr lang="de-DE" sz="900" smtClean="0">
                <a:latin typeface="Arial" pitchFamily="34" charset="0"/>
                <a:cs typeface="Arial" pitchFamily="34" charset="0"/>
              </a:rPr>
              <a:pPr/>
              <a:t>‹Nr.›</a:t>
            </a:fld>
            <a:endParaRPr lang="de-DE" sz="900" dirty="0">
              <a:latin typeface="Arial" pitchFamily="34" charset="0"/>
              <a:cs typeface="Arial" pitchFamily="34" charset="0"/>
            </a:endParaRPr>
          </a:p>
        </p:txBody>
      </p:sp>
      <p:sp>
        <p:nvSpPr>
          <p:cNvPr id="13" name="Datumsplatzhalter 12"/>
          <p:cNvSpPr>
            <a:spLocks noGrp="1"/>
          </p:cNvSpPr>
          <p:nvPr>
            <p:ph type="dt" sz="quarter" idx="1"/>
          </p:nvPr>
        </p:nvSpPr>
        <p:spPr>
          <a:xfrm>
            <a:off x="518275" y="9622297"/>
            <a:ext cx="863692" cy="215505"/>
          </a:xfrm>
          <a:prstGeom prst="rect">
            <a:avLst/>
          </a:prstGeom>
        </p:spPr>
        <p:txBody>
          <a:bodyPr vert="horz" lIns="35716" tIns="45360" rIns="35716" bIns="45360" rtlCol="0" anchor="ctr"/>
          <a:lstStyle>
            <a:lvl1pPr algn="r">
              <a:defRPr sz="1200"/>
            </a:lvl1pPr>
          </a:lstStyle>
          <a:p>
            <a:pPr algn="ctr"/>
            <a:fld id="{9695B045-A456-46EB-84A5-8109F3B3A10B}" type="datetime5">
              <a:rPr lang="de-DE" sz="900" smtClean="0">
                <a:latin typeface="Arial" pitchFamily="34" charset="0"/>
                <a:cs typeface="Arial" pitchFamily="34" charset="0"/>
              </a:rPr>
              <a:pPr algn="ctr"/>
              <a:t>12-10-09</a:t>
            </a:fld>
            <a:r>
              <a:rPr lang="de-DE" sz="900" dirty="0" smtClean="0">
                <a:latin typeface="Arial" pitchFamily="34" charset="0"/>
                <a:cs typeface="Arial" pitchFamily="34" charset="0"/>
              </a:rPr>
              <a:t> </a:t>
            </a:r>
            <a:endParaRPr lang="de-DE" sz="900" dirty="0">
              <a:latin typeface="Arial" pitchFamily="34" charset="0"/>
              <a:cs typeface="Arial" pitchFamily="34" charset="0"/>
            </a:endParaRPr>
          </a:p>
        </p:txBody>
      </p:sp>
    </p:spTree>
    <p:extLst>
      <p:ext uri="{BB962C8B-B14F-4D97-AF65-F5344CB8AC3E}">
        <p14:creationId xmlns:p14="http://schemas.microsoft.com/office/powerpoint/2010/main" xmlns="" val="100300341"/>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5301"/>
          </a:xfrm>
          <a:prstGeom prst="rect">
            <a:avLst/>
          </a:prstGeom>
        </p:spPr>
        <p:txBody>
          <a:bodyPr vert="horz" lIns="90719" tIns="45360" rIns="90719" bIns="45360" rtlCol="0"/>
          <a:lstStyle>
            <a:lvl1pPr algn="l">
              <a:defRPr sz="1200"/>
            </a:lvl1pPr>
          </a:lstStyle>
          <a:p>
            <a:endParaRPr lang="de-DE"/>
          </a:p>
        </p:txBody>
      </p:sp>
      <p:sp>
        <p:nvSpPr>
          <p:cNvPr id="3" name="Datumsplatzhalter 2"/>
          <p:cNvSpPr>
            <a:spLocks noGrp="1"/>
          </p:cNvSpPr>
          <p:nvPr>
            <p:ph type="dt" idx="1"/>
          </p:nvPr>
        </p:nvSpPr>
        <p:spPr>
          <a:xfrm>
            <a:off x="3848645" y="0"/>
            <a:ext cx="2944283" cy="495301"/>
          </a:xfrm>
          <a:prstGeom prst="rect">
            <a:avLst/>
          </a:prstGeom>
        </p:spPr>
        <p:txBody>
          <a:bodyPr vert="horz" lIns="90719" tIns="45360" rIns="90719" bIns="45360" rtlCol="0"/>
          <a:lstStyle>
            <a:lvl1pPr algn="r">
              <a:defRPr sz="1200"/>
            </a:lvl1pPr>
          </a:lstStyle>
          <a:p>
            <a:fld id="{EF4E8E4B-7F5B-4FEA-B977-716F7093D0FA}" type="datetime5">
              <a:rPr lang="de-DE" smtClean="0"/>
              <a:pPr/>
              <a:t>12-10-09</a:t>
            </a:fld>
            <a:endParaRPr lang="de-DE"/>
          </a:p>
        </p:txBody>
      </p:sp>
      <p:sp>
        <p:nvSpPr>
          <p:cNvPr id="4" name="Folienbildplatzhalter 3"/>
          <p:cNvSpPr>
            <a:spLocks noGrp="1" noRot="1" noChangeAspect="1"/>
          </p:cNvSpPr>
          <p:nvPr>
            <p:ph type="sldImg" idx="2"/>
          </p:nvPr>
        </p:nvSpPr>
        <p:spPr>
          <a:xfrm>
            <a:off x="919163" y="742950"/>
            <a:ext cx="4956175" cy="3716338"/>
          </a:xfrm>
          <a:prstGeom prst="rect">
            <a:avLst/>
          </a:prstGeom>
          <a:noFill/>
          <a:ln w="12700">
            <a:solidFill>
              <a:prstClr val="black"/>
            </a:solidFill>
          </a:ln>
        </p:spPr>
        <p:txBody>
          <a:bodyPr vert="horz" lIns="90719" tIns="45360" rIns="90719" bIns="45360" rtlCol="0" anchor="ctr"/>
          <a:lstStyle/>
          <a:p>
            <a:endParaRPr lang="de-DE"/>
          </a:p>
        </p:txBody>
      </p:sp>
      <p:sp>
        <p:nvSpPr>
          <p:cNvPr id="5" name="Notizenplatzhalter 4"/>
          <p:cNvSpPr>
            <a:spLocks noGrp="1"/>
          </p:cNvSpPr>
          <p:nvPr>
            <p:ph type="body" sz="quarter" idx="3"/>
          </p:nvPr>
        </p:nvSpPr>
        <p:spPr>
          <a:xfrm>
            <a:off x="679450" y="4705351"/>
            <a:ext cx="5435600" cy="4457700"/>
          </a:xfrm>
          <a:prstGeom prst="rect">
            <a:avLst/>
          </a:prstGeom>
        </p:spPr>
        <p:txBody>
          <a:bodyPr vert="horz" lIns="90719" tIns="45360" rIns="90719" bIns="4536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08982"/>
            <a:ext cx="2944283" cy="495301"/>
          </a:xfrm>
          <a:prstGeom prst="rect">
            <a:avLst/>
          </a:prstGeom>
        </p:spPr>
        <p:txBody>
          <a:bodyPr vert="horz" lIns="90719" tIns="45360" rIns="90719" bIns="45360" rtlCol="0" anchor="b"/>
          <a:lstStyle>
            <a:lvl1pPr algn="l">
              <a:defRPr sz="1200"/>
            </a:lvl1pPr>
          </a:lstStyle>
          <a:p>
            <a:r>
              <a:rPr lang="de-DE" smtClean="0"/>
              <a:t>Autor | ©  Continental AG</a:t>
            </a:r>
            <a:endParaRPr lang="de-DE"/>
          </a:p>
        </p:txBody>
      </p:sp>
      <p:sp>
        <p:nvSpPr>
          <p:cNvPr id="7" name="Foliennummernplatzhalter 6"/>
          <p:cNvSpPr>
            <a:spLocks noGrp="1"/>
          </p:cNvSpPr>
          <p:nvPr>
            <p:ph type="sldNum" sz="quarter" idx="5"/>
          </p:nvPr>
        </p:nvSpPr>
        <p:spPr>
          <a:xfrm>
            <a:off x="3848645" y="9408982"/>
            <a:ext cx="2944283" cy="495301"/>
          </a:xfrm>
          <a:prstGeom prst="rect">
            <a:avLst/>
          </a:prstGeom>
        </p:spPr>
        <p:txBody>
          <a:bodyPr vert="horz" lIns="90719" tIns="45360" rIns="90719" bIns="45360" rtlCol="0" anchor="b"/>
          <a:lstStyle>
            <a:lvl1pPr algn="r">
              <a:defRPr sz="1200"/>
            </a:lvl1pPr>
          </a:lstStyle>
          <a:p>
            <a:fld id="{85C809E2-A699-42BB-ABC4-0EEDC136ABDC}" type="slidenum">
              <a:rPr lang="de-DE" smtClean="0"/>
              <a:pPr/>
              <a:t>‹Nr.›</a:t>
            </a:fld>
            <a:endParaRPr lang="de-DE"/>
          </a:p>
        </p:txBody>
      </p:sp>
    </p:spTree>
    <p:extLst>
      <p:ext uri="{BB962C8B-B14F-4D97-AF65-F5344CB8AC3E}">
        <p14:creationId xmlns:p14="http://schemas.microsoft.com/office/powerpoint/2010/main" xmlns="" val="1076157586"/>
      </p:ext>
    </p:extLst>
  </p:cSld>
  <p:clrMap bg1="lt1" tx1="dk1" bg2="lt2" tx2="dk2" accent1="accent1" accent2="accent2" accent3="accent3" accent4="accent4" accent5="accent5" accent6="accent6" hlink="hlink" folHlink="folHlink"/>
  <p:hf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p:spPr>
        <p:txBody>
          <a:bodyPr/>
          <a:lstStyle/>
          <a:p>
            <a:endParaRPr lang="de-DE" smtClean="0">
              <a:latin typeface="Arial" charset="0"/>
              <a:ea typeface="ＭＳ Ｐゴシック"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smtClean="0"/>
              <a:t>Nun ist es so, dass sie ein Programm wie das unsere selten</a:t>
            </a:r>
            <a:r>
              <a:rPr lang="de-DE" baseline="0" dirty="0" smtClean="0"/>
              <a:t> einfach </a:t>
            </a:r>
            <a:r>
              <a:rPr lang="de-DE" dirty="0" smtClean="0"/>
              <a:t>zentral vorgeben können, um dann zu hoffen, dass sich</a:t>
            </a:r>
            <a:r>
              <a:rPr lang="de-DE" baseline="0" dirty="0" smtClean="0"/>
              <a:t> Ihnen alle automatisch anschließen.</a:t>
            </a:r>
          </a:p>
          <a:p>
            <a:endParaRPr lang="de-DE" baseline="0" dirty="0" smtClean="0"/>
          </a:p>
          <a:p>
            <a:r>
              <a:rPr lang="de-DE" baseline="0" dirty="0" smtClean="0"/>
              <a:t>Die Information wird früher oder später an einer Ebene/Stelle hängen bleiben. Ob unbeabsichtigt – durch die naturgegebene Fragilität einer Kaskade – oder gesteuert, weil nicht jeder ein Interesse an der Einführung hat.</a:t>
            </a:r>
          </a:p>
          <a:p>
            <a:endParaRPr lang="de-DE" baseline="0" dirty="0" smtClean="0"/>
          </a:p>
          <a:p>
            <a:r>
              <a:rPr lang="de-DE" baseline="0" dirty="0" smtClean="0"/>
              <a:t>Dieses Phänomen wird um so deutlicher, wenn Sie zur Unterstützung eines Kulturwandel ein Frameworks eine Software/Plattform einführen …</a:t>
            </a:r>
            <a:br>
              <a:rPr lang="de-DE" baseline="0" dirty="0" smtClean="0"/>
            </a:br>
            <a:r>
              <a:rPr lang="de-DE" baseline="0" dirty="0" smtClean="0"/>
              <a:t>in den meisten Unternehmen dürfte es reichlich Vorbehalte geben, gegen die Tools „die einem die IT einfach mal so über den Zaun wirft“</a:t>
            </a:r>
          </a:p>
          <a:p>
            <a:endParaRPr lang="de-DE" baseline="0" dirty="0" smtClean="0"/>
          </a:p>
          <a:p>
            <a:r>
              <a:rPr lang="de-DE" baseline="0" dirty="0" smtClean="0"/>
              <a:t>Wir haben uns aus diesem Grund entschlossen, bereits vor und während der Einführung der einzelnen Funktionalitäten (die Netzwerkbildung und -Kommunikation unterstützen sollen) auf Mitarbeiter-Netzwerke  zu setzen und diese auch gezielt zu initiieren. Auf diese Weise schließen wir gezielt verschiedene Ebenen in der Informations-/Kommunikationskette kurz.</a:t>
            </a:r>
          </a:p>
          <a:p>
            <a:endParaRPr lang="de-DE" baseline="0" dirty="0" smtClean="0"/>
          </a:p>
          <a:p>
            <a:r>
              <a:rPr lang="de-DE" baseline="0" dirty="0" smtClean="0"/>
              <a:t>1. Beispiel: Unsere User Feedback Gruppe:</a:t>
            </a:r>
            <a:br>
              <a:rPr lang="de-DE" baseline="0" dirty="0" smtClean="0"/>
            </a:br>
            <a:r>
              <a:rPr lang="de-DE" baseline="0" dirty="0" smtClean="0"/>
              <a:t>Diese besteht bis dato fast 600 MA aller Funktionen, und Divisionen an den verschiedenen Standorten angesprochen. Wir bitten diese Kollegen die geplanten Funktionaltäten zu testen und zu bewerten.</a:t>
            </a:r>
            <a:endParaRPr lang="de-DE" dirty="0"/>
          </a:p>
        </p:txBody>
      </p:sp>
      <p:sp>
        <p:nvSpPr>
          <p:cNvPr id="4" name="Datumsplatzhalter 3"/>
          <p:cNvSpPr>
            <a:spLocks noGrp="1"/>
          </p:cNvSpPr>
          <p:nvPr>
            <p:ph type="dt" idx="10"/>
          </p:nvPr>
        </p:nvSpPr>
        <p:spPr/>
        <p:txBody>
          <a:bodyPr/>
          <a:lstStyle/>
          <a:p>
            <a:fld id="{EF4E8E4B-7F5B-4FEA-B977-716F7093D0FA}" type="datetime5">
              <a:rPr lang="de-DE" smtClean="0"/>
              <a:pPr/>
              <a:t>12-10-09</a:t>
            </a:fld>
            <a:endParaRPr lang="de-DE"/>
          </a:p>
        </p:txBody>
      </p:sp>
      <p:sp>
        <p:nvSpPr>
          <p:cNvPr id="5" name="Fußzeilenplatzhalter 4"/>
          <p:cNvSpPr>
            <a:spLocks noGrp="1"/>
          </p:cNvSpPr>
          <p:nvPr>
            <p:ph type="ftr" sz="quarter" idx="11"/>
          </p:nvPr>
        </p:nvSpPr>
        <p:spPr/>
        <p:txBody>
          <a:bodyPr/>
          <a:lstStyle/>
          <a:p>
            <a:r>
              <a:rPr lang="de-DE" smtClean="0"/>
              <a:t>Autor | ©  Continental AG</a:t>
            </a:r>
            <a:endParaRPr lang="de-DE"/>
          </a:p>
        </p:txBody>
      </p:sp>
      <p:sp>
        <p:nvSpPr>
          <p:cNvPr id="6" name="Foliennummernplatzhalter 5"/>
          <p:cNvSpPr>
            <a:spLocks noGrp="1"/>
          </p:cNvSpPr>
          <p:nvPr>
            <p:ph type="sldNum" sz="quarter" idx="12"/>
          </p:nvPr>
        </p:nvSpPr>
        <p:spPr/>
        <p:txBody>
          <a:bodyPr/>
          <a:lstStyle/>
          <a:p>
            <a:fld id="{85C809E2-A699-42BB-ABC4-0EEDC136ABDC}" type="slidenum">
              <a:rPr lang="de-DE" smtClean="0"/>
              <a:pPr/>
              <a:t>11</a:t>
            </a:fld>
            <a:endParaRPr lang="de-DE"/>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smtClean="0"/>
          </a:p>
          <a:p>
            <a:r>
              <a:rPr lang="de-DE" dirty="0" smtClean="0"/>
              <a:t>Und zwar hinsichtlich</a:t>
            </a:r>
          </a:p>
          <a:p>
            <a:pPr>
              <a:buFontTx/>
              <a:buChar char="-"/>
            </a:pPr>
            <a:r>
              <a:rPr lang="de-DE" baseline="0" dirty="0" smtClean="0"/>
              <a:t>Funktionsumfang</a:t>
            </a:r>
          </a:p>
          <a:p>
            <a:pPr>
              <a:buFontTx/>
              <a:buChar char="-"/>
            </a:pPr>
            <a:r>
              <a:rPr lang="de-DE" baseline="0" dirty="0" smtClean="0"/>
              <a:t>Performance in ihrer Region/ am Standort</a:t>
            </a:r>
          </a:p>
          <a:p>
            <a:pPr>
              <a:buFontTx/>
              <a:buChar char="-"/>
            </a:pPr>
            <a:r>
              <a:rPr lang="de-DE" baseline="0" dirty="0" smtClean="0"/>
              <a:t> Wie gefällt die Benutzeroberfläche</a:t>
            </a:r>
          </a:p>
          <a:p>
            <a:pPr>
              <a:buFontTx/>
              <a:buChar char="-"/>
            </a:pPr>
            <a:r>
              <a:rPr lang="de-DE" baseline="0" dirty="0" smtClean="0"/>
              <a:t> Was muss über die Trainingsmaterialien abgedeckte werden</a:t>
            </a:r>
          </a:p>
          <a:p>
            <a:pPr>
              <a:buFontTx/>
              <a:buChar char="-"/>
            </a:pPr>
            <a:r>
              <a:rPr lang="de-DE" baseline="0" dirty="0" smtClean="0"/>
              <a:t>- wofür würdet Ihr die Applikation im Business Umfeld nutzen </a:t>
            </a:r>
          </a:p>
          <a:p>
            <a:pPr>
              <a:buFontTx/>
              <a:buChar char="-"/>
            </a:pPr>
            <a:endParaRPr lang="de-DE" baseline="0" dirty="0" smtClean="0"/>
          </a:p>
          <a:p>
            <a:pPr>
              <a:buFontTx/>
              <a:buChar char="-"/>
            </a:pPr>
            <a:endParaRPr lang="de-DE" dirty="0" smtClean="0"/>
          </a:p>
          <a:p>
            <a:r>
              <a:rPr lang="de-DE" dirty="0" smtClean="0"/>
              <a:t>Wir geben diesen Nutzern gemeinsam (Kommunikation &amp; IT) eine telefonische Einführung in das Gesamtprogramm sowie die zu bewertenden Funktionen/Unterlagen</a:t>
            </a:r>
            <a:r>
              <a:rPr lang="de-DE" baseline="0" dirty="0" smtClean="0"/>
              <a:t> und lassen die Kollegen dann für einen bestimmten Zeitraum mit einem Fragebogen und der Pilotplattform alleine, bevor wir das Feedback einsammeln, konsolidieren und bewerten.</a:t>
            </a:r>
          </a:p>
          <a:p>
            <a:endParaRPr lang="de-DE" baseline="0" dirty="0" smtClean="0"/>
          </a:p>
          <a:p>
            <a:r>
              <a:rPr lang="de-DE" sz="1200" kern="1200" dirty="0" smtClean="0">
                <a:solidFill>
                  <a:schemeClr val="tx1"/>
                </a:solidFill>
                <a:latin typeface="+mn-lt"/>
                <a:ea typeface="+mn-ea"/>
                <a:cs typeface="+mn-cs"/>
              </a:rPr>
              <a:t>Aus den verschiedenen User Feedback Gruppen entwickelt sich ein starkes Multiplikatoren-Netzwerk aus  engagierten und kritischen (und deshalb glaubwürdigen) Nutzern.</a:t>
            </a:r>
            <a:endParaRPr lang="de-DE" dirty="0"/>
          </a:p>
        </p:txBody>
      </p:sp>
      <p:sp>
        <p:nvSpPr>
          <p:cNvPr id="4" name="Datumsplatzhalter 3"/>
          <p:cNvSpPr>
            <a:spLocks noGrp="1"/>
          </p:cNvSpPr>
          <p:nvPr>
            <p:ph type="dt" idx="10"/>
          </p:nvPr>
        </p:nvSpPr>
        <p:spPr/>
        <p:txBody>
          <a:bodyPr/>
          <a:lstStyle/>
          <a:p>
            <a:fld id="{EF4E8E4B-7F5B-4FEA-B977-716F7093D0FA}" type="datetime5">
              <a:rPr lang="de-DE" smtClean="0"/>
              <a:pPr/>
              <a:t>12-10-09</a:t>
            </a:fld>
            <a:endParaRPr lang="de-DE"/>
          </a:p>
        </p:txBody>
      </p:sp>
      <p:sp>
        <p:nvSpPr>
          <p:cNvPr id="5" name="Fußzeilenplatzhalter 4"/>
          <p:cNvSpPr>
            <a:spLocks noGrp="1"/>
          </p:cNvSpPr>
          <p:nvPr>
            <p:ph type="ftr" sz="quarter" idx="11"/>
          </p:nvPr>
        </p:nvSpPr>
        <p:spPr/>
        <p:txBody>
          <a:bodyPr/>
          <a:lstStyle/>
          <a:p>
            <a:r>
              <a:rPr lang="de-DE" smtClean="0"/>
              <a:t>Autor | ©  Continental AG</a:t>
            </a:r>
            <a:endParaRPr lang="de-DE"/>
          </a:p>
        </p:txBody>
      </p:sp>
      <p:sp>
        <p:nvSpPr>
          <p:cNvPr id="6" name="Foliennummernplatzhalter 5"/>
          <p:cNvSpPr>
            <a:spLocks noGrp="1"/>
          </p:cNvSpPr>
          <p:nvPr>
            <p:ph type="sldNum" sz="quarter" idx="12"/>
          </p:nvPr>
        </p:nvSpPr>
        <p:spPr/>
        <p:txBody>
          <a:bodyPr/>
          <a:lstStyle/>
          <a:p>
            <a:fld id="{85C809E2-A699-42BB-ABC4-0EEDC136ABDC}" type="slidenum">
              <a:rPr lang="de-DE" smtClean="0"/>
              <a:pPr/>
              <a:t>12</a:t>
            </a:fld>
            <a:endParaRPr lang="de-DE"/>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lnSpcReduction="10000"/>
          </a:bodyPr>
          <a:lstStyle/>
          <a:p>
            <a:r>
              <a:rPr lang="de-DE" dirty="0" smtClean="0"/>
              <a:t>Auch, wenn</a:t>
            </a:r>
            <a:r>
              <a:rPr lang="de-DE" baseline="0" dirty="0" smtClean="0"/>
              <a:t> </a:t>
            </a:r>
            <a:r>
              <a:rPr lang="de-DE" dirty="0" smtClean="0"/>
              <a:t>es um Kommunikation und Training geht, setzten wir nicht nur auf zentrale</a:t>
            </a:r>
            <a:r>
              <a:rPr lang="de-DE" baseline="0" dirty="0" smtClean="0"/>
              <a:t> Verteilung der Inhalte … </a:t>
            </a:r>
          </a:p>
          <a:p>
            <a:r>
              <a:rPr lang="de-DE" baseline="0" dirty="0" smtClean="0"/>
              <a:t>Natürlich haben wir Kommunikationsmaterialien vorbereitet, </a:t>
            </a:r>
          </a:p>
          <a:p>
            <a:pPr>
              <a:buFontTx/>
              <a:buChar char="-"/>
            </a:pPr>
            <a:r>
              <a:rPr lang="de-DE" baseline="0" dirty="0" smtClean="0"/>
              <a:t>Präsentationen, </a:t>
            </a:r>
          </a:p>
          <a:p>
            <a:pPr>
              <a:buFontTx/>
              <a:buChar char="-"/>
            </a:pPr>
            <a:r>
              <a:rPr lang="de-DE" baseline="0" dirty="0" smtClean="0"/>
              <a:t>- Artikel, </a:t>
            </a:r>
          </a:p>
          <a:p>
            <a:pPr>
              <a:buFontTx/>
              <a:buChar char="-"/>
            </a:pPr>
            <a:r>
              <a:rPr lang="de-DE" baseline="0" dirty="0" smtClean="0"/>
              <a:t>- Flyer, </a:t>
            </a:r>
          </a:p>
          <a:p>
            <a:pPr>
              <a:buFontTx/>
              <a:buChar char="-"/>
            </a:pPr>
            <a:r>
              <a:rPr lang="de-DE" baseline="0" dirty="0" smtClean="0"/>
              <a:t>- Poster, </a:t>
            </a:r>
          </a:p>
          <a:p>
            <a:pPr>
              <a:buFontTx/>
              <a:buChar char="-"/>
            </a:pPr>
            <a:r>
              <a:rPr lang="de-DE" baseline="0" dirty="0" smtClean="0"/>
              <a:t>- FAQ-Dokumente, </a:t>
            </a:r>
          </a:p>
          <a:p>
            <a:pPr>
              <a:buFontTx/>
              <a:buChar char="-"/>
            </a:pPr>
            <a:r>
              <a:rPr lang="de-DE" baseline="0" dirty="0" smtClean="0"/>
              <a:t> Selbstlernmaterialien  … usw. </a:t>
            </a:r>
          </a:p>
          <a:p>
            <a:pPr>
              <a:buFontTx/>
              <a:buChar char="-"/>
            </a:pPr>
            <a:endParaRPr lang="de-DE" baseline="0" dirty="0" smtClean="0"/>
          </a:p>
          <a:p>
            <a:pPr>
              <a:buFontTx/>
              <a:buNone/>
            </a:pPr>
            <a:r>
              <a:rPr lang="de-DE" baseline="0" dirty="0" smtClean="0"/>
              <a:t>die wir unserem Netzwerk an </a:t>
            </a:r>
            <a:r>
              <a:rPr lang="de-DE" baseline="0" dirty="0" err="1" smtClean="0"/>
              <a:t>Kommunikateuren</a:t>
            </a:r>
            <a:r>
              <a:rPr lang="de-DE" baseline="0" dirty="0" smtClean="0"/>
              <a:t> zur Verfügung stellen.</a:t>
            </a:r>
          </a:p>
          <a:p>
            <a:r>
              <a:rPr lang="de-DE" baseline="0" dirty="0" smtClean="0"/>
              <a:t>Wir setzen aber nur in geringem Maße auf Push-Kommunikation … man kann keinen Paradigmenwechsel von Push zu Pull  ausrufen und dann regelmäßig „Mail an alle“ versenden.</a:t>
            </a:r>
          </a:p>
          <a:p>
            <a:endParaRPr lang="de-DE" baseline="0" dirty="0" smtClean="0"/>
          </a:p>
          <a:p>
            <a:r>
              <a:rPr lang="de-DE" baseline="0" dirty="0" smtClean="0"/>
              <a:t>Hinzukommt, dass die Nutzung von </a:t>
            </a:r>
            <a:r>
              <a:rPr lang="de-DE" baseline="0" dirty="0" err="1" smtClean="0"/>
              <a:t>SocMed</a:t>
            </a:r>
            <a:r>
              <a:rPr lang="de-DE" baseline="0" dirty="0" smtClean="0"/>
              <a:t> Tools etwas höchst individuelles ist. Jeder nutzt sie anders, jeder nutzt einen anderen Teil davon … </a:t>
            </a:r>
          </a:p>
          <a:p>
            <a:endParaRPr lang="de-DE" baseline="0" dirty="0" smtClean="0"/>
          </a:p>
          <a:p>
            <a:r>
              <a:rPr lang="de-DE" baseline="0" dirty="0" smtClean="0"/>
              <a:t>Die Vorerfahrungen sind unterschiedlich … die Art und Weise der Nutzung unterscheidet sich auch von Land zu Land …</a:t>
            </a:r>
          </a:p>
          <a:p>
            <a:r>
              <a:rPr lang="de-DE" baseline="0" dirty="0" smtClean="0"/>
              <a:t>All diese Aspekte können Sie über Trainings gar nicht abbilden.</a:t>
            </a:r>
          </a:p>
          <a:p>
            <a:endParaRPr lang="de-DE" baseline="0" dirty="0" smtClean="0"/>
          </a:p>
          <a:p>
            <a:r>
              <a:rPr lang="de-DE" baseline="0" dirty="0" smtClean="0"/>
              <a:t>Es geht um den Erwerb von Medienkompetenz, nicht darum, welchen Knopf man drücken muss, um eine Statusmessage zu veröffentlichen.</a:t>
            </a:r>
            <a:endParaRPr lang="de-DE" dirty="0"/>
          </a:p>
        </p:txBody>
      </p:sp>
      <p:sp>
        <p:nvSpPr>
          <p:cNvPr id="4" name="Datumsplatzhalter 3"/>
          <p:cNvSpPr>
            <a:spLocks noGrp="1"/>
          </p:cNvSpPr>
          <p:nvPr>
            <p:ph type="dt" idx="10"/>
          </p:nvPr>
        </p:nvSpPr>
        <p:spPr/>
        <p:txBody>
          <a:bodyPr/>
          <a:lstStyle/>
          <a:p>
            <a:fld id="{EF4E8E4B-7F5B-4FEA-B977-716F7093D0FA}" type="datetime5">
              <a:rPr lang="de-DE" smtClean="0"/>
              <a:pPr/>
              <a:t>12-10-09</a:t>
            </a:fld>
            <a:endParaRPr lang="de-DE"/>
          </a:p>
        </p:txBody>
      </p:sp>
      <p:sp>
        <p:nvSpPr>
          <p:cNvPr id="5" name="Fußzeilenplatzhalter 4"/>
          <p:cNvSpPr>
            <a:spLocks noGrp="1"/>
          </p:cNvSpPr>
          <p:nvPr>
            <p:ph type="ftr" sz="quarter" idx="11"/>
          </p:nvPr>
        </p:nvSpPr>
        <p:spPr/>
        <p:txBody>
          <a:bodyPr/>
          <a:lstStyle/>
          <a:p>
            <a:r>
              <a:rPr lang="de-DE" smtClean="0"/>
              <a:t>Autor | ©  Continental AG</a:t>
            </a:r>
            <a:endParaRPr lang="de-DE"/>
          </a:p>
        </p:txBody>
      </p:sp>
      <p:sp>
        <p:nvSpPr>
          <p:cNvPr id="6" name="Foliennummernplatzhalter 5"/>
          <p:cNvSpPr>
            <a:spLocks noGrp="1"/>
          </p:cNvSpPr>
          <p:nvPr>
            <p:ph type="sldNum" sz="quarter" idx="12"/>
          </p:nvPr>
        </p:nvSpPr>
        <p:spPr/>
        <p:txBody>
          <a:bodyPr/>
          <a:lstStyle/>
          <a:p>
            <a:fld id="{85C809E2-A699-42BB-ABC4-0EEDC136ABDC}" type="slidenum">
              <a:rPr lang="de-DE" smtClean="0"/>
              <a:pPr/>
              <a:t>13</a:t>
            </a:fld>
            <a:endParaRPr lang="de-DE"/>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a:xfrm>
            <a:off x="679133" y="4705152"/>
            <a:ext cx="5436235" cy="4458095"/>
          </a:xfrm>
        </p:spPr>
        <p:txBody>
          <a:bodyPr>
            <a:normAutofit/>
          </a:bodyPr>
          <a:lstStyle/>
          <a:p>
            <a:r>
              <a:rPr lang="en-US" dirty="0" err="1" smtClean="0"/>
              <a:t>Seitens</a:t>
            </a:r>
            <a:r>
              <a:rPr lang="en-US" dirty="0" smtClean="0"/>
              <a:t> des </a:t>
            </a:r>
            <a:r>
              <a:rPr lang="en-US" dirty="0" err="1" smtClean="0"/>
              <a:t>Projekt</a:t>
            </a:r>
            <a:r>
              <a:rPr lang="en-US" dirty="0" smtClean="0"/>
              <a:t>-Teams</a:t>
            </a:r>
            <a:r>
              <a:rPr lang="en-US" baseline="0" dirty="0" smtClean="0"/>
              <a:t> </a:t>
            </a:r>
            <a:r>
              <a:rPr lang="en-US" baseline="0" dirty="0" err="1" smtClean="0"/>
              <a:t>haben</a:t>
            </a:r>
            <a:r>
              <a:rPr lang="en-US" baseline="0" dirty="0" smtClean="0"/>
              <a:t> </a:t>
            </a:r>
            <a:r>
              <a:rPr lang="en-US" baseline="0" dirty="0" err="1" smtClean="0"/>
              <a:t>wir</a:t>
            </a:r>
            <a:r>
              <a:rPr lang="en-US" baseline="0" dirty="0" smtClean="0"/>
              <a:t> </a:t>
            </a:r>
            <a:r>
              <a:rPr lang="en-US" baseline="0" dirty="0" err="1" smtClean="0"/>
              <a:t>deshalb</a:t>
            </a:r>
            <a:r>
              <a:rPr lang="en-US" baseline="0" dirty="0" smtClean="0"/>
              <a:t> </a:t>
            </a:r>
            <a:r>
              <a:rPr lang="en-US" baseline="0" dirty="0" err="1" smtClean="0"/>
              <a:t>ein</a:t>
            </a:r>
            <a:r>
              <a:rPr lang="en-US" baseline="0" dirty="0" smtClean="0"/>
              <a:t> </a:t>
            </a:r>
            <a:r>
              <a:rPr lang="en-US" baseline="0" dirty="0" err="1" smtClean="0"/>
              <a:t>sogenanntes</a:t>
            </a:r>
            <a:r>
              <a:rPr lang="en-US" baseline="0" dirty="0" smtClean="0"/>
              <a:t> GUIDE-</a:t>
            </a:r>
            <a:r>
              <a:rPr lang="en-US" baseline="0" dirty="0" err="1" smtClean="0"/>
              <a:t>Netzwerk</a:t>
            </a:r>
            <a:r>
              <a:rPr lang="en-US" baseline="0" dirty="0" smtClean="0"/>
              <a:t> ins </a:t>
            </a:r>
            <a:r>
              <a:rPr lang="en-US" baseline="0" dirty="0" err="1" smtClean="0"/>
              <a:t>Leben</a:t>
            </a:r>
            <a:r>
              <a:rPr lang="en-US" baseline="0" dirty="0" smtClean="0"/>
              <a:t> </a:t>
            </a:r>
            <a:r>
              <a:rPr lang="en-US" baseline="0" dirty="0" err="1" smtClean="0"/>
              <a:t>gerufen</a:t>
            </a:r>
            <a:endParaRPr lang="en-US" baseline="0" dirty="0" smtClean="0"/>
          </a:p>
          <a:p>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GUIDEs </a:t>
            </a:r>
            <a:r>
              <a:rPr lang="en-US" baseline="0" dirty="0" err="1" smtClean="0"/>
              <a:t>sind</a:t>
            </a:r>
            <a:r>
              <a:rPr lang="en-US" baseline="0" dirty="0" smtClean="0"/>
              <a:t> power user (</a:t>
            </a:r>
            <a:r>
              <a:rPr lang="en-US" baseline="0" dirty="0" err="1" smtClean="0"/>
              <a:t>zentral</a:t>
            </a:r>
            <a:r>
              <a:rPr lang="en-US" baseline="0" dirty="0" smtClean="0"/>
              <a:t> </a:t>
            </a:r>
            <a:r>
              <a:rPr lang="en-US" baseline="0" dirty="0" err="1" smtClean="0"/>
              <a:t>geschult</a:t>
            </a:r>
            <a:r>
              <a:rPr lang="en-US" baseline="0" dirty="0" smtClean="0"/>
              <a:t> und </a:t>
            </a:r>
            <a:r>
              <a:rPr lang="en-US" baseline="0" dirty="0" err="1" smtClean="0"/>
              <a:t>mit</a:t>
            </a:r>
            <a:r>
              <a:rPr lang="en-US" baseline="0" dirty="0" smtClean="0"/>
              <a:t> </a:t>
            </a:r>
            <a:r>
              <a:rPr lang="en-US" baseline="0" dirty="0" err="1" smtClean="0"/>
              <a:t>allen</a:t>
            </a:r>
            <a:r>
              <a:rPr lang="en-US" baseline="0" dirty="0" smtClean="0"/>
              <a:t> </a:t>
            </a:r>
            <a:r>
              <a:rPr lang="en-US" baseline="0" dirty="0" err="1" smtClean="0"/>
              <a:t>relevanten</a:t>
            </a:r>
            <a:r>
              <a:rPr lang="en-US" baseline="0" dirty="0" smtClean="0"/>
              <a:t> </a:t>
            </a:r>
            <a:r>
              <a:rPr lang="en-US" baseline="0" dirty="0" err="1" smtClean="0"/>
              <a:t>Materialien</a:t>
            </a:r>
            <a:r>
              <a:rPr lang="en-US" baseline="0" dirty="0" smtClean="0"/>
              <a:t> </a:t>
            </a:r>
            <a:r>
              <a:rPr lang="en-US" baseline="0" dirty="0" err="1" smtClean="0"/>
              <a:t>ausgestattet</a:t>
            </a:r>
            <a:r>
              <a:rPr lang="en-US" baseline="0" dirty="0" smtClean="0"/>
              <a:t>)</a:t>
            </a:r>
          </a:p>
          <a:p>
            <a:r>
              <a:rPr lang="en-US" dirty="0" smtClean="0"/>
              <a:t>GUIDES</a:t>
            </a:r>
            <a:r>
              <a:rPr lang="en-US" baseline="0" dirty="0" smtClean="0"/>
              <a:t> </a:t>
            </a:r>
            <a:r>
              <a:rPr lang="en-US" baseline="0" dirty="0" err="1" smtClean="0"/>
              <a:t>helfen</a:t>
            </a:r>
            <a:r>
              <a:rPr lang="en-US" baseline="0" dirty="0" smtClean="0"/>
              <a:t> in </a:t>
            </a:r>
            <a:r>
              <a:rPr lang="en-US" baseline="0" dirty="0" err="1" smtClean="0"/>
              <a:t>Sprache</a:t>
            </a:r>
            <a:r>
              <a:rPr lang="en-US" baseline="0" dirty="0" smtClean="0"/>
              <a:t> und </a:t>
            </a:r>
            <a:r>
              <a:rPr lang="en-US" baseline="0" dirty="0" err="1" smtClean="0"/>
              <a:t>im</a:t>
            </a:r>
            <a:r>
              <a:rPr lang="en-US" baseline="0" dirty="0" smtClean="0"/>
              <a:t> </a:t>
            </a:r>
            <a:r>
              <a:rPr lang="en-US" baseline="0" dirty="0" err="1" smtClean="0"/>
              <a:t>kulturellen</a:t>
            </a:r>
            <a:r>
              <a:rPr lang="en-US" baseline="0" dirty="0" smtClean="0"/>
              <a:t> </a:t>
            </a:r>
            <a:r>
              <a:rPr lang="en-US" baseline="0" dirty="0" err="1" smtClean="0"/>
              <a:t>Umfeld</a:t>
            </a:r>
            <a:r>
              <a:rPr lang="en-US" baseline="0" dirty="0" smtClean="0"/>
              <a:t> </a:t>
            </a:r>
            <a:r>
              <a:rPr lang="en-US" baseline="0" dirty="0" err="1" smtClean="0"/>
              <a:t>der</a:t>
            </a:r>
            <a:r>
              <a:rPr lang="en-US" baseline="0" dirty="0" smtClean="0"/>
              <a:t> </a:t>
            </a:r>
            <a:r>
              <a:rPr lang="en-US" baseline="0" dirty="0" err="1" smtClean="0"/>
              <a:t>Nutzer</a:t>
            </a:r>
            <a:endParaRPr lang="en-US" baseline="0" dirty="0" smtClean="0"/>
          </a:p>
          <a:p>
            <a:r>
              <a:rPr lang="en-US" baseline="0" dirty="0" err="1" smtClean="0"/>
              <a:t>Sie</a:t>
            </a:r>
            <a:r>
              <a:rPr lang="en-US" baseline="0" dirty="0" smtClean="0"/>
              <a:t> </a:t>
            </a:r>
            <a:r>
              <a:rPr lang="en-US" baseline="0" dirty="0" err="1" smtClean="0"/>
              <a:t>kennen</a:t>
            </a:r>
            <a:r>
              <a:rPr lang="en-US" baseline="0" dirty="0" smtClean="0"/>
              <a:t> </a:t>
            </a:r>
            <a:r>
              <a:rPr lang="en-US" baseline="0" dirty="0" err="1" smtClean="0"/>
              <a:t>ihr</a:t>
            </a:r>
            <a:r>
              <a:rPr lang="en-US" baseline="0" dirty="0" smtClean="0"/>
              <a:t> </a:t>
            </a:r>
            <a:r>
              <a:rPr lang="en-US" baseline="0" dirty="0" err="1" smtClean="0"/>
              <a:t>lokales</a:t>
            </a:r>
            <a:r>
              <a:rPr lang="en-US" baseline="0" dirty="0" smtClean="0"/>
              <a:t> </a:t>
            </a:r>
            <a:r>
              <a:rPr lang="en-US" baseline="0" dirty="0" err="1" smtClean="0"/>
              <a:t>Umfeld</a:t>
            </a:r>
            <a:r>
              <a:rPr lang="en-US" baseline="0" dirty="0" smtClean="0"/>
              <a:t> – </a:t>
            </a:r>
            <a:r>
              <a:rPr lang="en-US" baseline="0" dirty="0" err="1" smtClean="0"/>
              <a:t>hinsichtlich</a:t>
            </a:r>
            <a:r>
              <a:rPr lang="en-US" baseline="0" dirty="0" smtClean="0"/>
              <a:t> </a:t>
            </a:r>
            <a:r>
              <a:rPr lang="en-US" baseline="0" dirty="0" err="1" smtClean="0"/>
              <a:t>Kultur</a:t>
            </a:r>
            <a:r>
              <a:rPr lang="en-US" baseline="0" dirty="0" smtClean="0"/>
              <a:t> </a:t>
            </a:r>
            <a:r>
              <a:rPr lang="en-US" baseline="0" dirty="0" err="1" smtClean="0"/>
              <a:t>aber</a:t>
            </a:r>
            <a:r>
              <a:rPr lang="en-US" baseline="0" dirty="0" smtClean="0"/>
              <a:t> </a:t>
            </a:r>
            <a:r>
              <a:rPr lang="en-US" baseline="0" dirty="0" err="1" smtClean="0"/>
              <a:t>auch</a:t>
            </a:r>
            <a:r>
              <a:rPr lang="en-US" baseline="0" dirty="0" smtClean="0"/>
              <a:t> Business Requirements</a:t>
            </a:r>
          </a:p>
          <a:p>
            <a:r>
              <a:rPr lang="en-US" baseline="0" dirty="0" err="1" smtClean="0"/>
              <a:t>Sie</a:t>
            </a:r>
            <a:r>
              <a:rPr lang="en-US" baseline="0" dirty="0" smtClean="0"/>
              <a:t> </a:t>
            </a:r>
            <a:r>
              <a:rPr lang="en-US" baseline="0" dirty="0" err="1" smtClean="0"/>
              <a:t>sind</a:t>
            </a:r>
            <a:r>
              <a:rPr lang="en-US" baseline="0" dirty="0" smtClean="0"/>
              <a:t> “</a:t>
            </a:r>
            <a:r>
              <a:rPr lang="en-US" baseline="0" dirty="0" err="1" smtClean="0"/>
              <a:t>der</a:t>
            </a:r>
            <a:r>
              <a:rPr lang="en-US" baseline="0" dirty="0" smtClean="0"/>
              <a:t> </a:t>
            </a:r>
            <a:r>
              <a:rPr lang="en-US" baseline="0" dirty="0" err="1" smtClean="0"/>
              <a:t>Kollege</a:t>
            </a:r>
            <a:r>
              <a:rPr lang="en-US" baseline="0" dirty="0" smtClean="0"/>
              <a:t> von </a:t>
            </a:r>
            <a:r>
              <a:rPr lang="en-US" baseline="0" dirty="0" err="1" smtClean="0"/>
              <a:t>nebenan</a:t>
            </a:r>
            <a:r>
              <a:rPr lang="en-US" baseline="0" dirty="0" smtClean="0"/>
              <a:t>” </a:t>
            </a:r>
            <a:r>
              <a:rPr lang="en-US" baseline="0" dirty="0" err="1" smtClean="0"/>
              <a:t>nicht</a:t>
            </a:r>
            <a:r>
              <a:rPr lang="en-US" baseline="0" dirty="0" smtClean="0"/>
              <a:t> </a:t>
            </a:r>
            <a:r>
              <a:rPr lang="en-US" baseline="0" dirty="0" err="1" smtClean="0"/>
              <a:t>einer</a:t>
            </a:r>
            <a:r>
              <a:rPr lang="en-US" baseline="0" dirty="0" smtClean="0"/>
              <a:t> </a:t>
            </a:r>
            <a:r>
              <a:rPr lang="en-US" baseline="0" dirty="0" err="1" smtClean="0"/>
              <a:t>aus</a:t>
            </a:r>
            <a:r>
              <a:rPr lang="en-US" baseline="0" dirty="0" smtClean="0"/>
              <a:t> </a:t>
            </a:r>
            <a:r>
              <a:rPr lang="en-US" baseline="0" dirty="0" err="1" smtClean="0"/>
              <a:t>der</a:t>
            </a:r>
            <a:r>
              <a:rPr lang="en-US" baseline="0" dirty="0" smtClean="0"/>
              <a:t> </a:t>
            </a:r>
            <a:r>
              <a:rPr lang="en-US" baseline="0" dirty="0" err="1" smtClean="0"/>
              <a:t>Zentrale</a:t>
            </a:r>
            <a:endParaRPr lang="en-US" baseline="0" dirty="0" smtClean="0"/>
          </a:p>
          <a:p>
            <a:r>
              <a:rPr lang="en-US" baseline="0" dirty="0" err="1" smtClean="0"/>
              <a:t>Sie</a:t>
            </a:r>
            <a:r>
              <a:rPr lang="en-US" baseline="0" dirty="0" smtClean="0"/>
              <a:t> </a:t>
            </a:r>
            <a:r>
              <a:rPr lang="en-US" baseline="0" dirty="0" err="1" smtClean="0"/>
              <a:t>sind</a:t>
            </a:r>
            <a:r>
              <a:rPr lang="en-US" baseline="0" dirty="0" smtClean="0"/>
              <a:t> </a:t>
            </a:r>
            <a:r>
              <a:rPr lang="en-US" baseline="0" dirty="0" err="1" smtClean="0"/>
              <a:t>Teil</a:t>
            </a:r>
            <a:r>
              <a:rPr lang="en-US" baseline="0" dirty="0" smtClean="0"/>
              <a:t> </a:t>
            </a:r>
            <a:r>
              <a:rPr lang="en-US" baseline="0" dirty="0" err="1" smtClean="0"/>
              <a:t>eines</a:t>
            </a:r>
            <a:r>
              <a:rPr lang="en-US" baseline="0" dirty="0" smtClean="0"/>
              <a:t> </a:t>
            </a:r>
            <a:r>
              <a:rPr lang="en-US" baseline="0" dirty="0" err="1" smtClean="0"/>
              <a:t>weltweiten</a:t>
            </a:r>
            <a:r>
              <a:rPr lang="en-US" baseline="0" dirty="0" smtClean="0"/>
              <a:t> </a:t>
            </a:r>
            <a:r>
              <a:rPr lang="en-US" baseline="0" dirty="0" err="1" smtClean="0"/>
              <a:t>Netzwerks</a:t>
            </a:r>
            <a:endParaRPr lang="en-US" baseline="0" dirty="0" smtClean="0"/>
          </a:p>
          <a:p>
            <a:r>
              <a:rPr lang="en-US" baseline="0" dirty="0" smtClean="0"/>
              <a:t>Es </a:t>
            </a:r>
            <a:r>
              <a:rPr lang="en-US" baseline="0" dirty="0" err="1" smtClean="0"/>
              <a:t>sind</a:t>
            </a:r>
            <a:r>
              <a:rPr lang="en-US" baseline="0" dirty="0" smtClean="0"/>
              <a:t> </a:t>
            </a:r>
            <a:r>
              <a:rPr lang="en-US" baseline="0" dirty="0" err="1" smtClean="0"/>
              <a:t>über</a:t>
            </a:r>
            <a:r>
              <a:rPr lang="en-US" baseline="0" dirty="0" smtClean="0"/>
              <a:t> 400 </a:t>
            </a:r>
            <a:r>
              <a:rPr lang="en-US" baseline="0" dirty="0" err="1" smtClean="0"/>
              <a:t>weltweit</a:t>
            </a:r>
            <a:r>
              <a:rPr lang="en-US" baseline="0" dirty="0" smtClean="0"/>
              <a:t> – </a:t>
            </a:r>
            <a:r>
              <a:rPr lang="en-US" baseline="0" dirty="0" err="1" smtClean="0"/>
              <a:t>jeder</a:t>
            </a:r>
            <a:r>
              <a:rPr lang="en-US" baseline="0" dirty="0" smtClean="0"/>
              <a:t> </a:t>
            </a:r>
            <a:r>
              <a:rPr lang="en-US" baseline="0" dirty="0" err="1" smtClean="0"/>
              <a:t>betreut</a:t>
            </a:r>
            <a:r>
              <a:rPr lang="en-US" baseline="0" dirty="0" smtClean="0"/>
              <a:t> ca. 200 User</a:t>
            </a:r>
          </a:p>
          <a:p>
            <a:endParaRPr lang="en-US" baseline="0" dirty="0" smtClean="0"/>
          </a:p>
          <a:p>
            <a:r>
              <a:rPr lang="de-DE" sz="1200" kern="1200" dirty="0" smtClean="0">
                <a:solidFill>
                  <a:schemeClr val="tx1"/>
                </a:solidFill>
                <a:latin typeface="+mn-lt"/>
                <a:ea typeface="+mn-ea"/>
                <a:cs typeface="+mn-cs"/>
              </a:rPr>
              <a:t>Dies  soll die Sicherheit, Qualität und Eigenverantwortung im Umgang mit Social Media Funktionen und sensiblen Daten erhöhen.</a:t>
            </a:r>
            <a:endParaRPr lang="en-US" baseline="0" dirty="0" smtClean="0"/>
          </a:p>
          <a:p>
            <a:endParaRPr lang="en-US" baseline="0" dirty="0" smtClean="0"/>
          </a:p>
          <a:p>
            <a:r>
              <a:rPr lang="en-US" baseline="0" dirty="0" smtClean="0"/>
              <a:t>Support </a:t>
            </a:r>
            <a:r>
              <a:rPr lang="en-US" baseline="0" dirty="0" err="1" smtClean="0"/>
              <a:t>seitens</a:t>
            </a:r>
            <a:r>
              <a:rPr lang="en-US" baseline="0" dirty="0" smtClean="0"/>
              <a:t> </a:t>
            </a:r>
            <a:r>
              <a:rPr lang="en-US" baseline="0" dirty="0" err="1" smtClean="0"/>
              <a:t>der</a:t>
            </a:r>
            <a:r>
              <a:rPr lang="en-US" baseline="0" dirty="0" smtClean="0"/>
              <a:t> GUIDES hat </a:t>
            </a:r>
            <a:r>
              <a:rPr lang="en-US" baseline="0" dirty="0" err="1" smtClean="0"/>
              <a:t>eine</a:t>
            </a:r>
            <a:r>
              <a:rPr lang="en-US" baseline="0" dirty="0" smtClean="0"/>
              <a:t> </a:t>
            </a:r>
            <a:r>
              <a:rPr lang="en-US" baseline="0" dirty="0" err="1" smtClean="0"/>
              <a:t>starke</a:t>
            </a:r>
            <a:r>
              <a:rPr lang="en-US" baseline="0" dirty="0" smtClean="0"/>
              <a:t> </a:t>
            </a:r>
            <a:r>
              <a:rPr lang="en-US" baseline="0" dirty="0" err="1" smtClean="0"/>
              <a:t>multiplizierende</a:t>
            </a:r>
            <a:r>
              <a:rPr lang="en-US" baseline="0" dirty="0" smtClean="0"/>
              <a:t> </a:t>
            </a:r>
            <a:r>
              <a:rPr lang="en-US" baseline="0" dirty="0" err="1" smtClean="0"/>
              <a:t>Wirkung</a:t>
            </a:r>
            <a:r>
              <a:rPr lang="en-US" baseline="0" dirty="0" smtClean="0"/>
              <a:t>. </a:t>
            </a:r>
            <a:r>
              <a:rPr lang="en-US" baseline="0" dirty="0" err="1" smtClean="0"/>
              <a:t>Allerdings</a:t>
            </a:r>
            <a:r>
              <a:rPr lang="en-US" baseline="0" dirty="0" smtClean="0"/>
              <a:t> </a:t>
            </a:r>
            <a:r>
              <a:rPr lang="en-US" baseline="0" dirty="0" err="1" smtClean="0"/>
              <a:t>weniger</a:t>
            </a:r>
            <a:r>
              <a:rPr lang="en-US" baseline="0" dirty="0" smtClean="0"/>
              <a:t> </a:t>
            </a:r>
            <a:r>
              <a:rPr lang="en-US" baseline="0" dirty="0" err="1" smtClean="0"/>
              <a:t>im</a:t>
            </a:r>
            <a:r>
              <a:rPr lang="en-US" baseline="0" dirty="0" smtClean="0"/>
              <a:t> </a:t>
            </a:r>
            <a:r>
              <a:rPr lang="en-US" baseline="0" dirty="0" err="1" smtClean="0"/>
              <a:t>Sinne</a:t>
            </a:r>
            <a:r>
              <a:rPr lang="en-US" baseline="0" dirty="0" smtClean="0"/>
              <a:t> </a:t>
            </a:r>
            <a:r>
              <a:rPr lang="en-US" baseline="0" dirty="0" err="1" smtClean="0"/>
              <a:t>zentral</a:t>
            </a:r>
            <a:r>
              <a:rPr lang="en-US" baseline="0" dirty="0" smtClean="0"/>
              <a:t> </a:t>
            </a:r>
            <a:r>
              <a:rPr lang="en-US" baseline="0" dirty="0" err="1" smtClean="0"/>
              <a:t>gesteuerten</a:t>
            </a:r>
            <a:r>
              <a:rPr lang="en-US" baseline="0" dirty="0" smtClean="0"/>
              <a:t> </a:t>
            </a:r>
            <a:r>
              <a:rPr lang="en-US" baseline="0" dirty="0" err="1" smtClean="0"/>
              <a:t>Projektmarketings</a:t>
            </a:r>
            <a:r>
              <a:rPr lang="en-US" baseline="0" dirty="0" smtClean="0"/>
              <a:t> – </a:t>
            </a:r>
            <a:r>
              <a:rPr lang="en-US" baseline="0" dirty="0" err="1" smtClean="0"/>
              <a:t>eher</a:t>
            </a:r>
            <a:r>
              <a:rPr lang="en-US" baseline="0" dirty="0" smtClean="0"/>
              <a:t> </a:t>
            </a:r>
            <a:r>
              <a:rPr lang="en-US" baseline="0" dirty="0" err="1" smtClean="0"/>
              <a:t>als</a:t>
            </a:r>
            <a:r>
              <a:rPr lang="en-US" baseline="0" dirty="0" smtClean="0"/>
              <a:t> </a:t>
            </a:r>
            <a:r>
              <a:rPr lang="en-US" baseline="0" dirty="0" err="1" smtClean="0"/>
              <a:t>Empfehlungsmarketing</a:t>
            </a:r>
            <a:r>
              <a:rPr lang="en-US" baseline="0" dirty="0" smtClean="0"/>
              <a:t> </a:t>
            </a:r>
            <a:r>
              <a:rPr lang="en-US" baseline="0" dirty="0" err="1" smtClean="0"/>
              <a:t>durch</a:t>
            </a:r>
            <a:r>
              <a:rPr lang="en-US" baseline="0" dirty="0" smtClean="0"/>
              <a:t> </a:t>
            </a:r>
            <a:r>
              <a:rPr lang="en-US" baseline="0" dirty="0" err="1" smtClean="0"/>
              <a:t>einen</a:t>
            </a:r>
            <a:r>
              <a:rPr lang="en-US" baseline="0" dirty="0" smtClean="0"/>
              <a:t> </a:t>
            </a:r>
            <a:r>
              <a:rPr lang="en-US" baseline="0" dirty="0" err="1" smtClean="0"/>
              <a:t>guten</a:t>
            </a:r>
            <a:r>
              <a:rPr lang="en-US" baseline="0" dirty="0" smtClean="0"/>
              <a:t> </a:t>
            </a:r>
            <a:r>
              <a:rPr lang="en-US" baseline="0" dirty="0" err="1" smtClean="0"/>
              <a:t>Bekannten</a:t>
            </a:r>
            <a:r>
              <a:rPr lang="en-US" baseline="0" dirty="0" smtClean="0"/>
              <a:t> </a:t>
            </a:r>
            <a:r>
              <a:rPr lang="en-US" baseline="0" dirty="0" err="1" smtClean="0"/>
              <a:t>oder</a:t>
            </a:r>
            <a:r>
              <a:rPr lang="en-US" baseline="0" dirty="0" smtClean="0"/>
              <a:t> Freund.</a:t>
            </a:r>
          </a:p>
          <a:p>
            <a:endParaRPr lang="en-US" baseline="0" dirty="0" smtClean="0"/>
          </a:p>
          <a:p>
            <a:r>
              <a:rPr lang="en-US" baseline="0" dirty="0" smtClean="0"/>
              <a:t>Die </a:t>
            </a:r>
            <a:r>
              <a:rPr lang="en-US" baseline="0" dirty="0" err="1" smtClean="0"/>
              <a:t>Glaubwürdigkeit</a:t>
            </a:r>
            <a:r>
              <a:rPr lang="en-US" baseline="0" dirty="0" smtClean="0"/>
              <a:t> </a:t>
            </a:r>
            <a:r>
              <a:rPr lang="en-US" baseline="0" dirty="0" err="1" smtClean="0"/>
              <a:t>ist</a:t>
            </a:r>
            <a:r>
              <a:rPr lang="en-US" baseline="0" dirty="0" smtClean="0"/>
              <a:t> </a:t>
            </a:r>
            <a:r>
              <a:rPr lang="en-US" baseline="0" dirty="0" err="1" smtClean="0"/>
              <a:t>höher</a:t>
            </a:r>
            <a:r>
              <a:rPr lang="en-US" baseline="0" dirty="0" smtClean="0"/>
              <a:t>.</a:t>
            </a:r>
          </a:p>
          <a:p>
            <a:endParaRPr lang="en-US" baseline="0" dirty="0" smtClean="0"/>
          </a:p>
          <a:p>
            <a:endParaRPr lang="en-US" dirty="0"/>
          </a:p>
        </p:txBody>
      </p:sp>
      <p:sp>
        <p:nvSpPr>
          <p:cNvPr id="4" name="Foliennummernplatzhalter 3"/>
          <p:cNvSpPr>
            <a:spLocks noGrp="1"/>
          </p:cNvSpPr>
          <p:nvPr>
            <p:ph type="sldNum" sz="quarter" idx="10"/>
          </p:nvPr>
        </p:nvSpPr>
        <p:spPr/>
        <p:txBody>
          <a:bodyPr/>
          <a:lstStyle/>
          <a:p>
            <a:fld id="{FF9F1AD3-2C2E-4BCB-ADE4-5EA1A5E178B5}" type="slidenum">
              <a:rPr lang="en-US" smtClean="0"/>
              <a:pPr/>
              <a:t>14</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latin typeface="+mn-lt"/>
                <a:ea typeface="+mn-ea"/>
                <a:cs typeface="+mn-cs"/>
              </a:rPr>
              <a:t>Bereits in Planung und Umsetzung dieses Projekt hat es sich bewährt, auf den Aufbau von Netzwerken und Gemeinschaften sowie verstärkte Selbstorganisation zu  setzen.  Durch eine frühzeitige Einbindung relevanter Nutzergruppen bei Projekt-Themen, erfolgt ein beschleunigter und hochwertiger Wissensaufbau.  </a:t>
            </a:r>
          </a:p>
          <a:p>
            <a:endParaRPr lang="de-DE" dirty="0"/>
          </a:p>
        </p:txBody>
      </p:sp>
      <p:sp>
        <p:nvSpPr>
          <p:cNvPr id="4" name="Datumsplatzhalter 3"/>
          <p:cNvSpPr>
            <a:spLocks noGrp="1"/>
          </p:cNvSpPr>
          <p:nvPr>
            <p:ph type="dt" idx="10"/>
          </p:nvPr>
        </p:nvSpPr>
        <p:spPr/>
        <p:txBody>
          <a:bodyPr/>
          <a:lstStyle/>
          <a:p>
            <a:fld id="{EF4E8E4B-7F5B-4FEA-B977-716F7093D0FA}" type="datetime5">
              <a:rPr lang="de-DE" smtClean="0"/>
              <a:pPr/>
              <a:t>12-10-09</a:t>
            </a:fld>
            <a:endParaRPr lang="de-DE"/>
          </a:p>
        </p:txBody>
      </p:sp>
      <p:sp>
        <p:nvSpPr>
          <p:cNvPr id="5" name="Fußzeilenplatzhalter 4"/>
          <p:cNvSpPr>
            <a:spLocks noGrp="1"/>
          </p:cNvSpPr>
          <p:nvPr>
            <p:ph type="ftr" sz="quarter" idx="11"/>
          </p:nvPr>
        </p:nvSpPr>
        <p:spPr/>
        <p:txBody>
          <a:bodyPr/>
          <a:lstStyle/>
          <a:p>
            <a:r>
              <a:rPr lang="de-DE" smtClean="0"/>
              <a:t>Autor | ©  Continental AG</a:t>
            </a:r>
            <a:endParaRPr lang="de-DE"/>
          </a:p>
        </p:txBody>
      </p:sp>
      <p:sp>
        <p:nvSpPr>
          <p:cNvPr id="6" name="Foliennummernplatzhalter 5"/>
          <p:cNvSpPr>
            <a:spLocks noGrp="1"/>
          </p:cNvSpPr>
          <p:nvPr>
            <p:ph type="sldNum" sz="quarter" idx="12"/>
          </p:nvPr>
        </p:nvSpPr>
        <p:spPr/>
        <p:txBody>
          <a:bodyPr/>
          <a:lstStyle/>
          <a:p>
            <a:fld id="{85C809E2-A699-42BB-ABC4-0EEDC136ABDC}" type="slidenum">
              <a:rPr lang="de-DE" smtClean="0"/>
              <a:pPr/>
              <a:t>15</a:t>
            </a:fld>
            <a:endParaRPr lang="de-DE"/>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ChangeArrowheads="1" noTextEdit="1"/>
          </p:cNvSpPr>
          <p:nvPr>
            <p:ph type="sldImg"/>
          </p:nvPr>
        </p:nvSpPr>
        <p:spPr>
          <a:ln/>
        </p:spPr>
      </p:sp>
      <p:sp>
        <p:nvSpPr>
          <p:cNvPr id="13315" name="Rectangle 3"/>
          <p:cNvSpPr>
            <a:spLocks noGrp="1" noChangeArrowheads="1"/>
          </p:cNvSpPr>
          <p:nvPr>
            <p:ph type="body" idx="1"/>
          </p:nvPr>
        </p:nvSpPr>
        <p:spPr>
          <a:noFill/>
          <a:ln/>
        </p:spPr>
        <p:txBody>
          <a:bodyPr/>
          <a:lstStyle/>
          <a:p>
            <a:endParaRPr lang="de-DE" smtClean="0">
              <a:latin typeface="Arial"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endParaRPr lang="de-DE" dirty="0"/>
          </a:p>
        </p:txBody>
      </p:sp>
      <p:sp>
        <p:nvSpPr>
          <p:cNvPr id="4" name="Datumsplatzhalter 3"/>
          <p:cNvSpPr>
            <a:spLocks noGrp="1"/>
          </p:cNvSpPr>
          <p:nvPr>
            <p:ph type="dt" idx="10"/>
          </p:nvPr>
        </p:nvSpPr>
        <p:spPr/>
        <p:txBody>
          <a:bodyPr/>
          <a:lstStyle/>
          <a:p>
            <a:fld id="{EF4E8E4B-7F5B-4FEA-B977-716F7093D0FA}" type="datetime5">
              <a:rPr lang="de-DE" smtClean="0"/>
              <a:pPr/>
              <a:t>12-10-09</a:t>
            </a:fld>
            <a:endParaRPr lang="de-DE"/>
          </a:p>
        </p:txBody>
      </p:sp>
      <p:sp>
        <p:nvSpPr>
          <p:cNvPr id="5" name="Fußzeilenplatzhalter 4"/>
          <p:cNvSpPr>
            <a:spLocks noGrp="1"/>
          </p:cNvSpPr>
          <p:nvPr>
            <p:ph type="ftr" sz="quarter" idx="11"/>
          </p:nvPr>
        </p:nvSpPr>
        <p:spPr/>
        <p:txBody>
          <a:bodyPr/>
          <a:lstStyle/>
          <a:p>
            <a:r>
              <a:rPr lang="de-DE" smtClean="0"/>
              <a:t>Autor | ©  Continental AG</a:t>
            </a:r>
            <a:endParaRPr lang="de-DE"/>
          </a:p>
        </p:txBody>
      </p:sp>
      <p:sp>
        <p:nvSpPr>
          <p:cNvPr id="6" name="Foliennummernplatzhalter 5"/>
          <p:cNvSpPr>
            <a:spLocks noGrp="1"/>
          </p:cNvSpPr>
          <p:nvPr>
            <p:ph type="sldNum" sz="quarter" idx="12"/>
          </p:nvPr>
        </p:nvSpPr>
        <p:spPr/>
        <p:txBody>
          <a:bodyPr/>
          <a:lstStyle/>
          <a:p>
            <a:fld id="{85C809E2-A699-42BB-ABC4-0EEDC136ABDC}" type="slidenum">
              <a:rPr lang="de-DE" smtClean="0"/>
              <a:pPr/>
              <a:t>2</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a:spLocks noGrp="1" noChangeArrowheads="1"/>
          </p:cNvSpPr>
          <p:nvPr>
            <p:ph type="sldNum" sz="quarter" idx="5"/>
          </p:nvPr>
        </p:nvSpPr>
        <p:spPr>
          <a:ln/>
        </p:spPr>
        <p:txBody>
          <a:bodyPr/>
          <a:lstStyle/>
          <a:p>
            <a:fld id="{D9839090-603A-43DF-A8CD-A2111ADCC423}" type="slidenum">
              <a:rPr lang="de-DE"/>
              <a:pPr/>
              <a:t>3</a:t>
            </a:fld>
            <a:endParaRPr lang="de-DE" dirty="0"/>
          </a:p>
        </p:txBody>
      </p:sp>
      <p:sp>
        <p:nvSpPr>
          <p:cNvPr id="934915" name="Rectangle 2"/>
          <p:cNvSpPr>
            <a:spLocks noGrp="1" noRot="1" noChangeAspect="1" noChangeArrowheads="1" noTextEdit="1"/>
          </p:cNvSpPr>
          <p:nvPr>
            <p:ph type="sldImg"/>
          </p:nvPr>
        </p:nvSpPr>
        <p:spPr>
          <a:ln/>
        </p:spPr>
      </p:sp>
      <p:sp>
        <p:nvSpPr>
          <p:cNvPr id="934916" name="Rectangle 3"/>
          <p:cNvSpPr>
            <a:spLocks noGrp="1" noChangeArrowheads="1"/>
          </p:cNvSpPr>
          <p:nvPr>
            <p:ph type="body" idx="1"/>
          </p:nvPr>
        </p:nvSpPr>
        <p:spPr>
          <a:xfrm>
            <a:off x="906041" y="4705075"/>
            <a:ext cx="4982422" cy="4457938"/>
          </a:xfrm>
        </p:spPr>
        <p:txBody>
          <a:bodyPr lIns="90828" tIns="45414" rIns="90828" bIns="45414"/>
          <a:lstStyle/>
          <a:p>
            <a:endParaRPr lang="en-GB" dirty="0"/>
          </a:p>
        </p:txBody>
      </p:sp>
      <p:sp>
        <p:nvSpPr>
          <p:cNvPr id="6" name="Datumsplatzhalter 5"/>
          <p:cNvSpPr>
            <a:spLocks noGrp="1"/>
          </p:cNvSpPr>
          <p:nvPr>
            <p:ph type="dt" idx="10"/>
          </p:nvPr>
        </p:nvSpPr>
        <p:spPr/>
        <p:txBody>
          <a:bodyPr/>
          <a:lstStyle/>
          <a:p>
            <a:fld id="{EF4E8E4B-7F5B-4FEA-B977-716F7093D0FA}" type="datetime5">
              <a:rPr lang="de-DE" smtClean="0"/>
              <a:pPr/>
              <a:t>12-10-09</a:t>
            </a:fld>
            <a:endParaRPr lang="de-DE"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2"/>
          <p:cNvSpPr>
            <a:spLocks noGrp="1" noRot="1" noChangeAspect="1" noChangeArrowheads="1" noTextEdit="1"/>
          </p:cNvSpPr>
          <p:nvPr>
            <p:ph type="sldImg"/>
          </p:nvPr>
        </p:nvSpPr>
        <p:spPr>
          <a:xfrm>
            <a:off x="923925" y="741363"/>
            <a:ext cx="4956175" cy="3716337"/>
          </a:xfrm>
          <a:ln/>
        </p:spPr>
      </p:sp>
      <p:sp>
        <p:nvSpPr>
          <p:cNvPr id="55299" name="Rectangle 3"/>
          <p:cNvSpPr>
            <a:spLocks noGrp="1" noChangeArrowheads="1"/>
          </p:cNvSpPr>
          <p:nvPr>
            <p:ph type="body" idx="1"/>
          </p:nvPr>
        </p:nvSpPr>
        <p:spPr>
          <a:xfrm>
            <a:off x="680720" y="4704556"/>
            <a:ext cx="5433061" cy="4460886"/>
          </a:xfrm>
          <a:noFill/>
          <a:ln/>
        </p:spPr>
        <p:txBody>
          <a:bodyPr/>
          <a:lstStyle/>
          <a:p>
            <a:pPr eaLnBrk="1" hangingPunct="1"/>
            <a:endParaRPr lang="en-US" dirty="0" smtClean="0"/>
          </a:p>
        </p:txBody>
      </p:sp>
      <p:sp>
        <p:nvSpPr>
          <p:cNvPr id="4" name="Datumsplatzhalter 3"/>
          <p:cNvSpPr>
            <a:spLocks noGrp="1"/>
          </p:cNvSpPr>
          <p:nvPr>
            <p:ph type="dt" idx="10"/>
          </p:nvPr>
        </p:nvSpPr>
        <p:spPr/>
        <p:txBody>
          <a:bodyPr/>
          <a:lstStyle/>
          <a:p>
            <a:fld id="{EF4E8E4B-7F5B-4FEA-B977-716F7093D0FA}" type="datetime5">
              <a:rPr lang="de-DE" smtClean="0"/>
              <a:pPr/>
              <a:t>12-10-09</a:t>
            </a:fld>
            <a:endParaRPr lang="de-DE"/>
          </a:p>
        </p:txBody>
      </p:sp>
      <p:sp>
        <p:nvSpPr>
          <p:cNvPr id="5" name="Foliennummernplatzhalter 4"/>
          <p:cNvSpPr>
            <a:spLocks noGrp="1"/>
          </p:cNvSpPr>
          <p:nvPr>
            <p:ph type="sldNum" sz="quarter" idx="11"/>
          </p:nvPr>
        </p:nvSpPr>
        <p:spPr/>
        <p:txBody>
          <a:bodyPr/>
          <a:lstStyle/>
          <a:p>
            <a:fld id="{85C809E2-A699-42BB-ABC4-0EEDC136ABDC}" type="slidenum">
              <a:rPr lang="de-DE" smtClean="0"/>
              <a:pPr/>
              <a:t>5</a:t>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Rectangle 2"/>
          <p:cNvSpPr>
            <a:spLocks noGrp="1" noRot="1" noChangeAspect="1" noChangeArrowheads="1" noTextEdit="1"/>
          </p:cNvSpPr>
          <p:nvPr>
            <p:ph type="sldImg"/>
          </p:nvPr>
        </p:nvSpPr>
        <p:spPr>
          <a:ln/>
        </p:spPr>
      </p:sp>
      <p:sp>
        <p:nvSpPr>
          <p:cNvPr id="8194" name="Rectangle 3"/>
          <p:cNvSpPr>
            <a:spLocks noGrp="1" noChangeArrowheads="1"/>
          </p:cNvSpPr>
          <p:nvPr>
            <p:ph type="body" idx="1"/>
          </p:nvPr>
        </p:nvSpPr>
        <p:spPr>
          <a:noFill/>
          <a:ln/>
        </p:spPr>
        <p:txBody>
          <a:bodyPr/>
          <a:lstStyle/>
          <a:p>
            <a:endParaRPr lang="de-DE" smtClean="0">
              <a:latin typeface="Arial" pitchFamily="34" charset="0"/>
              <a:ea typeface="ＭＳ Ｐゴシック" pitchFamily="34" charset="-128"/>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Rot="1" noChangeAspect="1" noChangeArrowheads="1" noTextEdit="1"/>
          </p:cNvSpPr>
          <p:nvPr>
            <p:ph type="sldImg"/>
          </p:nvPr>
        </p:nvSpPr>
        <p:spPr>
          <a:ln/>
        </p:spPr>
      </p:sp>
      <p:sp>
        <p:nvSpPr>
          <p:cNvPr id="15363" name="Rectangle 3"/>
          <p:cNvSpPr>
            <a:spLocks noGrp="1" noChangeArrowheads="1"/>
          </p:cNvSpPr>
          <p:nvPr>
            <p:ph type="body" idx="1"/>
          </p:nvPr>
        </p:nvSpPr>
        <p:spPr>
          <a:noFill/>
          <a:ln/>
        </p:spPr>
        <p:txBody>
          <a:bodyPr/>
          <a:lstStyle/>
          <a:p>
            <a:r>
              <a:rPr lang="de-DE" smtClean="0">
                <a:latin typeface="Arial" charset="0"/>
                <a:ea typeface="ＭＳ Ｐゴシック" pitchFamily="34" charset="-128"/>
              </a:rPr>
              <a:t>… auch zwischen </a:t>
            </a:r>
            <a:r>
              <a:rPr lang="de-DE" dirty="0" smtClean="0">
                <a:latin typeface="Arial" charset="0"/>
                <a:ea typeface="ＭＳ Ｐゴシック" pitchFamily="34" charset="-128"/>
              </a:rPr>
              <a:t>den einzelnen Einheiten</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2"/>
          <p:cNvSpPr>
            <a:spLocks noGrp="1" noRot="1" noChangeAspect="1" noChangeArrowheads="1" noTextEdit="1"/>
          </p:cNvSpPr>
          <p:nvPr>
            <p:ph type="sldImg"/>
          </p:nvPr>
        </p:nvSpPr>
        <p:spPr>
          <a:ln/>
        </p:spPr>
      </p:sp>
      <p:sp>
        <p:nvSpPr>
          <p:cNvPr id="15363" name="Rectangle 3"/>
          <p:cNvSpPr>
            <a:spLocks noGrp="1" noChangeArrowheads="1"/>
          </p:cNvSpPr>
          <p:nvPr>
            <p:ph type="body" idx="1"/>
          </p:nvPr>
        </p:nvSpPr>
        <p:spPr>
          <a:noFill/>
          <a:ln/>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b="1" i="0" dirty="0" err="1" smtClean="0">
                <a:solidFill>
                  <a:srgbClr val="000000"/>
                </a:solidFill>
                <a:latin typeface="Arial"/>
                <a:ea typeface="+mn-ea"/>
                <a:cs typeface="Arial"/>
              </a:rPr>
              <a:t>Wir</a:t>
            </a:r>
            <a:r>
              <a:rPr lang="en-US" sz="1200" b="1" i="0" dirty="0" smtClean="0">
                <a:solidFill>
                  <a:srgbClr val="000000"/>
                </a:solidFill>
                <a:latin typeface="Arial"/>
                <a:ea typeface="+mn-ea"/>
                <a:cs typeface="Arial"/>
              </a:rPr>
              <a:t> </a:t>
            </a:r>
            <a:r>
              <a:rPr lang="en-US" sz="1200" b="1" i="0" dirty="0" err="1" smtClean="0">
                <a:solidFill>
                  <a:srgbClr val="000000"/>
                </a:solidFill>
                <a:latin typeface="Arial"/>
                <a:ea typeface="+mn-ea"/>
                <a:cs typeface="Arial"/>
              </a:rPr>
              <a:t>haben</a:t>
            </a:r>
            <a:r>
              <a:rPr lang="en-US" sz="1200" b="1" i="0" dirty="0" smtClean="0">
                <a:solidFill>
                  <a:srgbClr val="000000"/>
                </a:solidFill>
                <a:latin typeface="Arial"/>
                <a:ea typeface="+mn-ea"/>
                <a:cs typeface="Arial"/>
              </a:rPr>
              <a:t> das </a:t>
            </a:r>
            <a:r>
              <a:rPr lang="en-US" sz="1200" b="1" i="0" dirty="0" err="1" smtClean="0">
                <a:solidFill>
                  <a:srgbClr val="000000"/>
                </a:solidFill>
                <a:latin typeface="Arial"/>
                <a:ea typeface="+mn-ea"/>
                <a:cs typeface="Arial"/>
              </a:rPr>
              <a:t>Ziel</a:t>
            </a:r>
            <a:endParaRPr lang="en-US" sz="1200" b="1" i="0" dirty="0" smtClean="0">
              <a:solidFill>
                <a:srgbClr val="000000"/>
              </a:solidFill>
              <a:latin typeface="Arial"/>
              <a:ea typeface="+mn-ea"/>
              <a:cs typeface="Arial"/>
            </a:endParaRP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0" i="0" dirty="0" err="1" smtClean="0">
                <a:solidFill>
                  <a:srgbClr val="000000"/>
                </a:solidFill>
                <a:latin typeface="Arial"/>
                <a:ea typeface="+mn-ea"/>
                <a:cs typeface="Arial"/>
              </a:rPr>
              <a:t>Informationen</a:t>
            </a:r>
            <a:r>
              <a:rPr lang="en-US" sz="1200" b="0" i="0" dirty="0" smtClean="0">
                <a:solidFill>
                  <a:srgbClr val="000000"/>
                </a:solidFill>
                <a:latin typeface="Arial"/>
                <a:ea typeface="+mn-ea"/>
                <a:cs typeface="Arial"/>
              </a:rPr>
              <a:t> </a:t>
            </a:r>
            <a:r>
              <a:rPr lang="en-US" sz="1200" b="0" i="0" dirty="0" err="1" smtClean="0">
                <a:solidFill>
                  <a:srgbClr val="000000"/>
                </a:solidFill>
                <a:latin typeface="Arial"/>
                <a:ea typeface="+mn-ea"/>
                <a:cs typeface="Arial"/>
              </a:rPr>
              <a:t>auszutauschen</a:t>
            </a:r>
            <a:endParaRPr lang="de-DE" sz="1200" b="0" dirty="0" smtClean="0">
              <a:latin typeface="Arial" pitchFamily="34" charset="0"/>
              <a:cs typeface="Arial" pitchFamily="34" charset="0"/>
            </a:endParaRP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0" i="0" dirty="0" smtClean="0">
                <a:solidFill>
                  <a:srgbClr val="000000"/>
                </a:solidFill>
                <a:latin typeface="Arial"/>
                <a:ea typeface="+mn-ea"/>
                <a:cs typeface="Arial"/>
              </a:rPr>
              <a:t>Feedback </a:t>
            </a:r>
            <a:r>
              <a:rPr lang="en-US" sz="1200" b="0" i="0" dirty="0" err="1" smtClean="0">
                <a:solidFill>
                  <a:srgbClr val="000000"/>
                </a:solidFill>
                <a:latin typeface="Arial"/>
                <a:ea typeface="+mn-ea"/>
                <a:cs typeface="Arial"/>
              </a:rPr>
              <a:t>direkt</a:t>
            </a:r>
            <a:r>
              <a:rPr lang="en-US" sz="1200" b="0" i="0" dirty="0" smtClean="0">
                <a:solidFill>
                  <a:srgbClr val="000000"/>
                </a:solidFill>
                <a:latin typeface="Arial"/>
                <a:ea typeface="+mn-ea"/>
                <a:cs typeface="Arial"/>
              </a:rPr>
              <a:t> </a:t>
            </a:r>
            <a:r>
              <a:rPr lang="en-US" sz="1200" b="0" i="0" dirty="0" err="1" smtClean="0">
                <a:solidFill>
                  <a:srgbClr val="000000"/>
                </a:solidFill>
                <a:latin typeface="Arial"/>
                <a:ea typeface="+mn-ea"/>
                <a:cs typeface="Arial"/>
              </a:rPr>
              <a:t>weiterzugeben</a:t>
            </a:r>
            <a:endParaRPr lang="en-US" sz="1200" b="0" i="0" dirty="0" smtClean="0">
              <a:solidFill>
                <a:srgbClr val="000000"/>
              </a:solidFill>
              <a:latin typeface="Arial"/>
              <a:ea typeface="+mn-ea"/>
              <a:cs typeface="Arial"/>
            </a:endParaRP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0" i="0" dirty="0" err="1" smtClean="0">
                <a:solidFill>
                  <a:srgbClr val="000000"/>
                </a:solidFill>
                <a:latin typeface="Arial"/>
                <a:ea typeface="+mn-ea"/>
                <a:cs typeface="Arial"/>
              </a:rPr>
              <a:t>Einander</a:t>
            </a:r>
            <a:r>
              <a:rPr lang="en-US" sz="1200" b="0" i="0" dirty="0" smtClean="0">
                <a:solidFill>
                  <a:srgbClr val="000000"/>
                </a:solidFill>
                <a:latin typeface="Arial"/>
                <a:ea typeface="+mn-ea"/>
                <a:cs typeface="Arial"/>
              </a:rPr>
              <a:t> </a:t>
            </a:r>
            <a:r>
              <a:rPr lang="en-US" sz="1200" b="0" i="0" dirty="0" err="1" smtClean="0">
                <a:solidFill>
                  <a:srgbClr val="000000"/>
                </a:solidFill>
                <a:latin typeface="Arial"/>
                <a:ea typeface="+mn-ea"/>
                <a:cs typeface="Arial"/>
              </a:rPr>
              <a:t>zuzuhören</a:t>
            </a:r>
            <a:endParaRPr lang="en-US" sz="1200" b="0" i="0" dirty="0" smtClean="0">
              <a:solidFill>
                <a:srgbClr val="000000"/>
              </a:solidFill>
              <a:latin typeface="Arial"/>
              <a:ea typeface="+mn-ea"/>
              <a:cs typeface="Arial"/>
            </a:endParaRP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0" i="0" dirty="0" smtClean="0">
                <a:solidFill>
                  <a:srgbClr val="000000"/>
                </a:solidFill>
                <a:latin typeface="Arial"/>
                <a:ea typeface="+mn-ea"/>
                <a:cs typeface="Arial"/>
              </a:rPr>
              <a:t>Das </a:t>
            </a:r>
            <a:r>
              <a:rPr lang="en-US" sz="1200" b="0" i="0" dirty="0" err="1" smtClean="0">
                <a:solidFill>
                  <a:srgbClr val="000000"/>
                </a:solidFill>
                <a:latin typeface="Arial"/>
                <a:ea typeface="+mn-ea"/>
                <a:cs typeface="Arial"/>
              </a:rPr>
              <a:t>gesamte</a:t>
            </a:r>
            <a:r>
              <a:rPr lang="en-US" sz="1200" b="0" i="0" dirty="0" smtClean="0">
                <a:solidFill>
                  <a:srgbClr val="000000"/>
                </a:solidFill>
                <a:latin typeface="Arial"/>
                <a:ea typeface="+mn-ea"/>
                <a:cs typeface="Arial"/>
              </a:rPr>
              <a:t> </a:t>
            </a:r>
            <a:r>
              <a:rPr lang="en-US" sz="1200" b="0" i="0" dirty="0" err="1" smtClean="0">
                <a:solidFill>
                  <a:srgbClr val="000000"/>
                </a:solidFill>
                <a:latin typeface="Arial"/>
                <a:ea typeface="+mn-ea"/>
                <a:cs typeface="Arial"/>
              </a:rPr>
              <a:t>Unternehmen</a:t>
            </a:r>
            <a:r>
              <a:rPr lang="en-US" sz="1200" b="0" i="0" dirty="0" smtClean="0">
                <a:solidFill>
                  <a:srgbClr val="000000"/>
                </a:solidFill>
                <a:latin typeface="Arial"/>
                <a:ea typeface="+mn-ea"/>
                <a:cs typeface="Arial"/>
              </a:rPr>
              <a:t> </a:t>
            </a:r>
            <a:r>
              <a:rPr lang="en-US" sz="1200" b="0" i="0" dirty="0" err="1" smtClean="0">
                <a:solidFill>
                  <a:srgbClr val="000000"/>
                </a:solidFill>
                <a:latin typeface="Arial"/>
                <a:ea typeface="+mn-ea"/>
                <a:cs typeface="Arial"/>
              </a:rPr>
              <a:t>einzubeziehen</a:t>
            </a:r>
            <a:endParaRPr lang="en-US" sz="1200" b="0" i="0" dirty="0" smtClean="0">
              <a:solidFill>
                <a:srgbClr val="000000"/>
              </a:solidFill>
              <a:latin typeface="Arial"/>
              <a:ea typeface="+mn-ea"/>
              <a:cs typeface="Arial"/>
            </a:endParaRPr>
          </a:p>
          <a:p>
            <a:pPr marL="0" marR="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0" i="0" dirty="0" smtClean="0">
                <a:solidFill>
                  <a:srgbClr val="000000"/>
                </a:solidFill>
                <a:latin typeface="Arial"/>
                <a:ea typeface="+mn-ea"/>
                <a:cs typeface="Arial"/>
              </a:rPr>
              <a:t>Und </a:t>
            </a:r>
            <a:r>
              <a:rPr lang="en-US" sz="1200" b="0" i="0" dirty="0" err="1" smtClean="0">
                <a:solidFill>
                  <a:srgbClr val="000000"/>
                </a:solidFill>
                <a:latin typeface="Arial"/>
                <a:ea typeface="+mn-ea"/>
                <a:cs typeface="Arial"/>
              </a:rPr>
              <a:t>gemeinsam</a:t>
            </a:r>
            <a:r>
              <a:rPr lang="en-US" sz="1200" b="0" i="0" dirty="0" smtClean="0">
                <a:solidFill>
                  <a:srgbClr val="000000"/>
                </a:solidFill>
                <a:latin typeface="Arial"/>
                <a:ea typeface="+mn-ea"/>
                <a:cs typeface="Arial"/>
              </a:rPr>
              <a:t> </a:t>
            </a:r>
            <a:r>
              <a:rPr lang="en-US" sz="1200" b="0" i="0" dirty="0" err="1" smtClean="0">
                <a:solidFill>
                  <a:srgbClr val="000000"/>
                </a:solidFill>
                <a:latin typeface="Arial"/>
                <a:ea typeface="+mn-ea"/>
                <a:cs typeface="Arial"/>
              </a:rPr>
              <a:t>zu</a:t>
            </a:r>
            <a:r>
              <a:rPr lang="en-US" sz="1200" b="0" i="0" dirty="0" smtClean="0">
                <a:solidFill>
                  <a:srgbClr val="000000"/>
                </a:solidFill>
                <a:latin typeface="Arial"/>
                <a:ea typeface="+mn-ea"/>
                <a:cs typeface="Arial"/>
              </a:rPr>
              <a:t>  </a:t>
            </a:r>
            <a:r>
              <a:rPr lang="en-US" sz="1200" b="0" i="0" dirty="0" err="1" smtClean="0">
                <a:solidFill>
                  <a:srgbClr val="000000"/>
                </a:solidFill>
                <a:latin typeface="Arial"/>
                <a:ea typeface="+mn-ea"/>
                <a:cs typeface="Arial"/>
              </a:rPr>
              <a:t>netzwerken</a:t>
            </a:r>
            <a:r>
              <a:rPr lang="en-US" sz="1200" b="0" i="0" dirty="0" smtClean="0">
                <a:solidFill>
                  <a:srgbClr val="000000"/>
                </a:solidFill>
                <a:latin typeface="Arial"/>
                <a:ea typeface="+mn-ea"/>
                <a:cs typeface="Arial"/>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dirty="0" smtClean="0">
                <a:solidFill>
                  <a:srgbClr val="000000"/>
                </a:solidFill>
                <a:latin typeface="Arial"/>
                <a:ea typeface="+mn-ea"/>
                <a:cs typeface="Arial"/>
              </a:rPr>
              <a:t> …. um </a:t>
            </a:r>
            <a:r>
              <a:rPr lang="en-US" sz="1200" b="0" i="0" dirty="0" err="1" smtClean="0">
                <a:solidFill>
                  <a:srgbClr val="000000"/>
                </a:solidFill>
                <a:latin typeface="Arial"/>
                <a:ea typeface="+mn-ea"/>
                <a:cs typeface="Arial"/>
              </a:rPr>
              <a:t>miteinander</a:t>
            </a:r>
            <a:r>
              <a:rPr lang="en-US" sz="1200" b="0" i="0" dirty="0" smtClean="0">
                <a:solidFill>
                  <a:srgbClr val="000000"/>
                </a:solidFill>
                <a:latin typeface="Arial"/>
                <a:ea typeface="+mn-ea"/>
                <a:cs typeface="Arial"/>
              </a:rPr>
              <a:t> </a:t>
            </a:r>
            <a:r>
              <a:rPr lang="en-US" sz="1200" b="0" i="0" baseline="0" dirty="0" smtClean="0">
                <a:solidFill>
                  <a:srgbClr val="000000"/>
                </a:solidFill>
                <a:latin typeface="Arial"/>
                <a:ea typeface="+mn-ea"/>
                <a:cs typeface="Arial"/>
              </a:rPr>
              <a:t>“das </a:t>
            </a:r>
            <a:r>
              <a:rPr lang="en-US" sz="1200" b="0" i="0" baseline="0" dirty="0" err="1" smtClean="0">
                <a:solidFill>
                  <a:srgbClr val="000000"/>
                </a:solidFill>
                <a:latin typeface="Arial"/>
                <a:ea typeface="+mn-ea"/>
                <a:cs typeface="Arial"/>
              </a:rPr>
              <a:t>soziale</a:t>
            </a:r>
            <a:r>
              <a:rPr lang="en-US" sz="1200" b="0" i="0" baseline="0" dirty="0" smtClean="0">
                <a:solidFill>
                  <a:srgbClr val="000000"/>
                </a:solidFill>
                <a:latin typeface="Arial"/>
                <a:ea typeface="+mn-ea"/>
                <a:cs typeface="Arial"/>
              </a:rPr>
              <a:t> </a:t>
            </a:r>
            <a:r>
              <a:rPr lang="en-US" sz="1200" b="0" i="0" baseline="0" dirty="0" err="1" smtClean="0">
                <a:solidFill>
                  <a:srgbClr val="000000"/>
                </a:solidFill>
                <a:latin typeface="Arial"/>
                <a:ea typeface="+mn-ea"/>
                <a:cs typeface="Arial"/>
              </a:rPr>
              <a:t>Gehirn</a:t>
            </a:r>
            <a:r>
              <a:rPr lang="en-US" sz="1200" b="0" i="0" baseline="0" dirty="0" smtClean="0">
                <a:solidFill>
                  <a:srgbClr val="000000"/>
                </a:solidFill>
                <a:latin typeface="Arial"/>
                <a:ea typeface="+mn-ea"/>
                <a:cs typeface="Arial"/>
              </a:rPr>
              <a:t>” von Continental </a:t>
            </a:r>
            <a:r>
              <a:rPr lang="en-US" sz="1200" b="0" i="0" baseline="0" dirty="0" err="1" smtClean="0">
                <a:solidFill>
                  <a:srgbClr val="000000"/>
                </a:solidFill>
                <a:latin typeface="Arial"/>
                <a:ea typeface="+mn-ea"/>
                <a:cs typeface="Arial"/>
              </a:rPr>
              <a:t>zu</a:t>
            </a:r>
            <a:r>
              <a:rPr lang="en-US" sz="1200" b="0" i="0" baseline="0" dirty="0" smtClean="0">
                <a:solidFill>
                  <a:srgbClr val="000000"/>
                </a:solidFill>
                <a:latin typeface="Arial"/>
                <a:ea typeface="+mn-ea"/>
                <a:cs typeface="Arial"/>
              </a:rPr>
              <a:t> </a:t>
            </a:r>
            <a:r>
              <a:rPr lang="en-US" sz="1200" b="0" i="0" baseline="0" dirty="0" err="1" smtClean="0">
                <a:solidFill>
                  <a:srgbClr val="000000"/>
                </a:solidFill>
                <a:latin typeface="Arial"/>
                <a:ea typeface="+mn-ea"/>
                <a:cs typeface="Arial"/>
              </a:rPr>
              <a:t>bilden</a:t>
            </a:r>
            <a:endParaRPr lang="en-US" sz="1200" b="0" i="0" dirty="0" smtClean="0">
              <a:solidFill>
                <a:srgbClr val="000000"/>
              </a:solidFill>
              <a:latin typeface="Arial"/>
              <a:ea typeface="+mn-ea"/>
              <a:cs typeface="Aria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de-DE" sz="1200" b="1" dirty="0" smtClean="0">
              <a:latin typeface="Arial" pitchFamily="34" charset="0"/>
              <a:cs typeface="Arial" pitchFamily="34" charset="0"/>
            </a:endParaRPr>
          </a:p>
          <a:p>
            <a:endParaRPr lang="de-DE" dirty="0" smtClean="0">
              <a:latin typeface="Arial" charset="0"/>
              <a:ea typeface="ＭＳ Ｐゴシック" pitchFamily="34" charset="-128"/>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sz="1200" kern="1200" dirty="0" smtClean="0">
                <a:solidFill>
                  <a:schemeClr val="tx1"/>
                </a:solidFill>
                <a:latin typeface="+mn-lt"/>
                <a:ea typeface="+mn-ea"/>
                <a:cs typeface="+mn-cs"/>
              </a:rPr>
              <a:t>- ConNext ist damit elementarer Bestandteil der aktuell laufenden Initiative zur Weiterentwicklung der Continental-Unternehmenskultur. Im Kern geht es dabei darum, das gewohnte hierarchische Verhalten durch verstärktes, dezentrales Netzwerkverhalten zu ergänzen und schnell zwischen beiden Verhaltensweisen je nach Anforderung der Situation hin und her zu schalten.</a:t>
            </a:r>
            <a:endParaRPr lang="de-DE" dirty="0"/>
          </a:p>
        </p:txBody>
      </p:sp>
      <p:sp>
        <p:nvSpPr>
          <p:cNvPr id="4" name="Datumsplatzhalter 3"/>
          <p:cNvSpPr>
            <a:spLocks noGrp="1"/>
          </p:cNvSpPr>
          <p:nvPr>
            <p:ph type="dt" idx="10"/>
          </p:nvPr>
        </p:nvSpPr>
        <p:spPr/>
        <p:txBody>
          <a:bodyPr/>
          <a:lstStyle/>
          <a:p>
            <a:fld id="{EF4E8E4B-7F5B-4FEA-B977-716F7093D0FA}" type="datetime5">
              <a:rPr lang="de-DE" smtClean="0"/>
              <a:pPr/>
              <a:t>12-10-09</a:t>
            </a:fld>
            <a:endParaRPr lang="de-DE"/>
          </a:p>
        </p:txBody>
      </p:sp>
      <p:sp>
        <p:nvSpPr>
          <p:cNvPr id="5" name="Fußzeilenplatzhalter 4"/>
          <p:cNvSpPr>
            <a:spLocks noGrp="1"/>
          </p:cNvSpPr>
          <p:nvPr>
            <p:ph type="ftr" sz="quarter" idx="11"/>
          </p:nvPr>
        </p:nvSpPr>
        <p:spPr/>
        <p:txBody>
          <a:bodyPr/>
          <a:lstStyle/>
          <a:p>
            <a:r>
              <a:rPr lang="de-DE" smtClean="0"/>
              <a:t>Autor | ©  Continental AG</a:t>
            </a:r>
            <a:endParaRPr lang="de-DE"/>
          </a:p>
        </p:txBody>
      </p:sp>
      <p:sp>
        <p:nvSpPr>
          <p:cNvPr id="6" name="Foliennummernplatzhalter 5"/>
          <p:cNvSpPr>
            <a:spLocks noGrp="1"/>
          </p:cNvSpPr>
          <p:nvPr>
            <p:ph type="sldNum" sz="quarter" idx="12"/>
          </p:nvPr>
        </p:nvSpPr>
        <p:spPr/>
        <p:txBody>
          <a:bodyPr/>
          <a:lstStyle/>
          <a:p>
            <a:fld id="{85C809E2-A699-42BB-ABC4-0EEDC136ABDC}" type="slidenum">
              <a:rPr lang="de-DE" smtClean="0"/>
              <a:pPr/>
              <a:t>9</a:t>
            </a:fld>
            <a:endParaRPr 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sz="1200" b="1" kern="1200" dirty="0" smtClean="0">
                <a:solidFill>
                  <a:schemeClr val="tx1"/>
                </a:solidFill>
                <a:latin typeface="+mn-lt"/>
                <a:ea typeface="+mn-ea"/>
                <a:cs typeface="+mn-cs"/>
              </a:rPr>
              <a:t>Mehr als nur eine Software</a:t>
            </a:r>
            <a:endParaRPr lang="de-DE" sz="1200" kern="1200" dirty="0" smtClean="0">
              <a:solidFill>
                <a:schemeClr val="tx1"/>
              </a:solidFill>
              <a:latin typeface="+mn-lt"/>
              <a:ea typeface="+mn-ea"/>
              <a:cs typeface="+mn-cs"/>
            </a:endParaRPr>
          </a:p>
          <a:p>
            <a:r>
              <a:rPr lang="de-DE" sz="1200" kern="1200" dirty="0" smtClean="0">
                <a:solidFill>
                  <a:schemeClr val="tx1"/>
                </a:solidFill>
                <a:latin typeface="+mn-lt"/>
                <a:ea typeface="+mn-ea"/>
                <a:cs typeface="+mn-cs"/>
              </a:rPr>
              <a:t>- Durch ConNext erhält jeder Mitarbeiter und jeder Mitarbeiterin die Chance, sich hierarchiefrei durch Kommunikation und Austausch an der fortwährenden Gestaltung der Organisation zu beteiligen. </a:t>
            </a:r>
          </a:p>
          <a:p>
            <a:r>
              <a:rPr lang="de-DE" sz="1200" kern="1200" dirty="0" smtClean="0">
                <a:solidFill>
                  <a:schemeClr val="tx1"/>
                </a:solidFill>
                <a:latin typeface="+mn-lt"/>
                <a:ea typeface="+mn-ea"/>
                <a:cs typeface="+mn-cs"/>
              </a:rPr>
              <a:t/>
            </a:r>
            <a:br>
              <a:rPr lang="de-DE" sz="1200" kern="1200" dirty="0" smtClean="0">
                <a:solidFill>
                  <a:schemeClr val="tx1"/>
                </a:solidFill>
                <a:latin typeface="+mn-lt"/>
                <a:ea typeface="+mn-ea"/>
                <a:cs typeface="+mn-cs"/>
              </a:rPr>
            </a:br>
            <a:r>
              <a:rPr lang="de-DE" sz="1200" kern="1200" dirty="0" smtClean="0">
                <a:solidFill>
                  <a:schemeClr val="tx1"/>
                </a:solidFill>
                <a:latin typeface="+mn-lt"/>
                <a:ea typeface="+mn-ea"/>
                <a:cs typeface="+mn-cs"/>
              </a:rPr>
              <a:t>- Jeder kann die eigene Stimme  erheben und sich in Diskussionen einschalten. </a:t>
            </a:r>
          </a:p>
          <a:p>
            <a:pPr>
              <a:buFontTx/>
              <a:buChar char="-"/>
            </a:pPr>
            <a:r>
              <a:rPr lang="de-DE" sz="1200" kern="1200" dirty="0" smtClean="0">
                <a:solidFill>
                  <a:schemeClr val="tx1"/>
                </a:solidFill>
                <a:latin typeface="+mn-lt"/>
                <a:ea typeface="+mn-ea"/>
                <a:cs typeface="+mn-cs"/>
              </a:rPr>
              <a:t>Jeder hat die Möglichkeit, sich gezielt</a:t>
            </a:r>
            <a:r>
              <a:rPr lang="de-DE" sz="1200" kern="1200" baseline="0" dirty="0" smtClean="0">
                <a:solidFill>
                  <a:schemeClr val="tx1"/>
                </a:solidFill>
                <a:latin typeface="+mn-lt"/>
                <a:ea typeface="+mn-ea"/>
                <a:cs typeface="+mn-cs"/>
              </a:rPr>
              <a:t> auf die Art Informationen zu abonnieren, die ihn interessieren</a:t>
            </a:r>
          </a:p>
          <a:p>
            <a:pPr>
              <a:buFontTx/>
              <a:buChar char="-"/>
            </a:pPr>
            <a:r>
              <a:rPr lang="de-DE" sz="1200" kern="1200" baseline="0" dirty="0" smtClean="0">
                <a:solidFill>
                  <a:schemeClr val="tx1"/>
                </a:solidFill>
                <a:latin typeface="+mn-lt"/>
                <a:ea typeface="+mn-ea"/>
                <a:cs typeface="+mn-cs"/>
              </a:rPr>
              <a:t>- jeder bekommt die Möglichkeit anderen zuzuhören</a:t>
            </a:r>
          </a:p>
          <a:p>
            <a:pPr>
              <a:buFontTx/>
              <a:buChar char="-"/>
            </a:pPr>
            <a:endParaRPr lang="de-DE" sz="1200" kern="1200" baseline="0" dirty="0" smtClean="0">
              <a:solidFill>
                <a:schemeClr val="tx1"/>
              </a:solidFill>
              <a:latin typeface="+mn-lt"/>
              <a:ea typeface="+mn-ea"/>
              <a:cs typeface="+mn-cs"/>
            </a:endParaRPr>
          </a:p>
          <a:p>
            <a:pPr>
              <a:buFontTx/>
              <a:buChar char="-"/>
            </a:pPr>
            <a:r>
              <a:rPr lang="de-DE" sz="1200" kern="1200" baseline="0" dirty="0" smtClean="0">
                <a:solidFill>
                  <a:schemeClr val="tx1"/>
                </a:solidFill>
                <a:latin typeface="+mn-lt"/>
                <a:ea typeface="+mn-ea"/>
                <a:cs typeface="+mn-cs"/>
              </a:rPr>
              <a:t>GEBEN &lt;&gt;NEHMEN</a:t>
            </a:r>
          </a:p>
          <a:p>
            <a:pPr>
              <a:buFontTx/>
              <a:buChar char="-"/>
            </a:pPr>
            <a:r>
              <a:rPr lang="de-DE" sz="1200" kern="1200" baseline="0" dirty="0" smtClean="0">
                <a:solidFill>
                  <a:schemeClr val="tx1"/>
                </a:solidFill>
                <a:latin typeface="+mn-lt"/>
                <a:ea typeface="+mn-ea"/>
                <a:cs typeface="+mn-cs"/>
              </a:rPr>
              <a:t>Der Nutzer wird vom reinen Konsument von Informationen zum aktiven Teilnehmer</a:t>
            </a:r>
            <a:endParaRPr lang="de-DE" sz="1200" kern="1200" dirty="0" smtClean="0">
              <a:solidFill>
                <a:schemeClr val="tx1"/>
              </a:solidFill>
              <a:latin typeface="+mn-lt"/>
              <a:ea typeface="+mn-ea"/>
              <a:cs typeface="+mn-cs"/>
            </a:endParaRPr>
          </a:p>
          <a:p>
            <a:r>
              <a:rPr lang="de-DE" sz="1200" kern="1200" dirty="0" smtClean="0">
                <a:solidFill>
                  <a:schemeClr val="tx1"/>
                </a:solidFill>
                <a:latin typeface="+mn-lt"/>
                <a:ea typeface="+mn-ea"/>
                <a:cs typeface="+mn-cs"/>
              </a:rPr>
              <a:t/>
            </a:r>
            <a:br>
              <a:rPr lang="de-DE" sz="1200" kern="1200" dirty="0" smtClean="0">
                <a:solidFill>
                  <a:schemeClr val="tx1"/>
                </a:solidFill>
                <a:latin typeface="+mn-lt"/>
                <a:ea typeface="+mn-ea"/>
                <a:cs typeface="+mn-cs"/>
              </a:rPr>
            </a:br>
            <a:r>
              <a:rPr lang="de-DE" sz="1200" kern="1200" dirty="0" smtClean="0">
                <a:solidFill>
                  <a:schemeClr val="tx1"/>
                </a:solidFill>
                <a:latin typeface="+mn-lt"/>
                <a:ea typeface="+mn-ea"/>
                <a:cs typeface="+mn-cs"/>
              </a:rPr>
              <a:t>- Wir erwarten daraus schnellere Reaktionszeiten auf Marktveränderungen, auf durch frühere und gezieltere Hinweise unserer miteinander vernetzten Mitarbeiter.</a:t>
            </a:r>
          </a:p>
          <a:p>
            <a:endParaRPr lang="de-DE" dirty="0"/>
          </a:p>
        </p:txBody>
      </p:sp>
      <p:sp>
        <p:nvSpPr>
          <p:cNvPr id="4" name="Datumsplatzhalter 3"/>
          <p:cNvSpPr>
            <a:spLocks noGrp="1"/>
          </p:cNvSpPr>
          <p:nvPr>
            <p:ph type="dt" idx="10"/>
          </p:nvPr>
        </p:nvSpPr>
        <p:spPr/>
        <p:txBody>
          <a:bodyPr/>
          <a:lstStyle/>
          <a:p>
            <a:fld id="{EF4E8E4B-7F5B-4FEA-B977-716F7093D0FA}" type="datetime5">
              <a:rPr lang="de-DE" smtClean="0"/>
              <a:pPr/>
              <a:t>12-10-09</a:t>
            </a:fld>
            <a:endParaRPr lang="de-DE"/>
          </a:p>
        </p:txBody>
      </p:sp>
      <p:sp>
        <p:nvSpPr>
          <p:cNvPr id="5" name="Fußzeilenplatzhalter 4"/>
          <p:cNvSpPr>
            <a:spLocks noGrp="1"/>
          </p:cNvSpPr>
          <p:nvPr>
            <p:ph type="ftr" sz="quarter" idx="11"/>
          </p:nvPr>
        </p:nvSpPr>
        <p:spPr/>
        <p:txBody>
          <a:bodyPr/>
          <a:lstStyle/>
          <a:p>
            <a:r>
              <a:rPr lang="de-DE" smtClean="0"/>
              <a:t>Autor | ©  Continental AG</a:t>
            </a:r>
            <a:endParaRPr lang="de-DE"/>
          </a:p>
        </p:txBody>
      </p:sp>
      <p:sp>
        <p:nvSpPr>
          <p:cNvPr id="6" name="Foliennummernplatzhalter 5"/>
          <p:cNvSpPr>
            <a:spLocks noGrp="1"/>
          </p:cNvSpPr>
          <p:nvPr>
            <p:ph type="sldNum" sz="quarter" idx="12"/>
          </p:nvPr>
        </p:nvSpPr>
        <p:spPr/>
        <p:txBody>
          <a:bodyPr/>
          <a:lstStyle/>
          <a:p>
            <a:fld id="{85C809E2-A699-42BB-ABC4-0EEDC136ABDC}" type="slidenum">
              <a:rPr lang="de-DE" smtClean="0"/>
              <a:pPr/>
              <a:t>10</a:t>
            </a:fld>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gi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cSld name="1_Titelfolie">
    <p:spTree>
      <p:nvGrpSpPr>
        <p:cNvPr id="1" name=""/>
        <p:cNvGrpSpPr/>
        <p:nvPr/>
      </p:nvGrpSpPr>
      <p:grpSpPr>
        <a:xfrm>
          <a:off x="0" y="0"/>
          <a:ext cx="0" cy="0"/>
          <a:chOff x="0" y="0"/>
          <a:chExt cx="0" cy="0"/>
        </a:xfrm>
      </p:grpSpPr>
      <p:sp>
        <p:nvSpPr>
          <p:cNvPr id="3" name="Rechteck 2"/>
          <p:cNvSpPr/>
          <p:nvPr userDrawn="1"/>
        </p:nvSpPr>
        <p:spPr>
          <a:xfrm>
            <a:off x="0" y="5816989"/>
            <a:ext cx="9144000" cy="1041011"/>
          </a:xfrm>
          <a:prstGeom prst="rect">
            <a:avLst/>
          </a:prstGeom>
          <a:solidFill>
            <a:schemeClr val="tx1"/>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anchor="ctr"/>
          <a:lstStyle/>
          <a:p>
            <a:pPr>
              <a:defRPr/>
            </a:pPr>
            <a:endParaRPr lang="en-US" sz="1600" dirty="0">
              <a:solidFill>
                <a:srgbClr val="FFFFFF"/>
              </a:solidFill>
              <a:ea typeface="ＭＳ Ｐゴシック" pitchFamily="-111" charset="-128"/>
              <a:cs typeface="ＭＳ Ｐゴシック" pitchFamily="-111" charset="-128"/>
            </a:endParaRPr>
          </a:p>
        </p:txBody>
      </p:sp>
      <p:pic>
        <p:nvPicPr>
          <p:cNvPr id="4" name="Picture 2" descr="I:\ContiTech\Bildarchiv\CT_Logos_Claims_Fonts\0_CT_logo_vorlagen\01_logos_continental\continental_ppt.png"/>
          <p:cNvPicPr>
            <a:picLocks noChangeAspect="1" noChangeArrowheads="1"/>
          </p:cNvPicPr>
          <p:nvPr userDrawn="1"/>
        </p:nvPicPr>
        <p:blipFill>
          <a:blip r:embed="rId2"/>
          <a:srcRect/>
          <a:stretch>
            <a:fillRect/>
          </a:stretch>
        </p:blipFill>
        <p:spPr bwMode="auto">
          <a:xfrm>
            <a:off x="6631301" y="6162553"/>
            <a:ext cx="2196406" cy="400278"/>
          </a:xfrm>
          <a:prstGeom prst="rect">
            <a:avLst/>
          </a:prstGeom>
          <a:noFill/>
          <a:ln w="9525">
            <a:noFill/>
            <a:miter lim="800000"/>
            <a:headEnd/>
            <a:tailEnd/>
          </a:ln>
        </p:spPr>
      </p:pic>
      <p:sp>
        <p:nvSpPr>
          <p:cNvPr id="5" name="Rectangle 7"/>
          <p:cNvSpPr>
            <a:spLocks noChangeArrowheads="1"/>
          </p:cNvSpPr>
          <p:nvPr userDrawn="1"/>
        </p:nvSpPr>
        <p:spPr bwMode="auto">
          <a:xfrm>
            <a:off x="8940378" y="534184"/>
            <a:ext cx="200907" cy="6323816"/>
          </a:xfrm>
          <a:prstGeom prst="rect">
            <a:avLst/>
          </a:prstGeom>
          <a:solidFill>
            <a:srgbClr val="FF9A01"/>
          </a:solidFill>
          <a:ln w="9525">
            <a:solidFill>
              <a:srgbClr val="FF9A01"/>
            </a:solidFill>
            <a:miter lim="800000"/>
            <a:headEnd/>
            <a:tailEnd/>
          </a:ln>
        </p:spPr>
        <p:txBody>
          <a:bodyPr wrap="none" lIns="70249" tIns="35125" rIns="70249" bIns="35125" anchor="ctr"/>
          <a:lstStyle/>
          <a:p>
            <a:pPr algn="l">
              <a:defRPr/>
            </a:pPr>
            <a:endParaRPr lang="en-US" sz="1600" dirty="0">
              <a:latin typeface="Arial" pitchFamily="34" charset="0"/>
            </a:endParaRPr>
          </a:p>
        </p:txBody>
      </p:sp>
      <p:sp>
        <p:nvSpPr>
          <p:cNvPr id="6" name="Rectangle 25"/>
          <p:cNvSpPr>
            <a:spLocks noChangeArrowheads="1"/>
          </p:cNvSpPr>
          <p:nvPr userDrawn="1"/>
        </p:nvSpPr>
        <p:spPr bwMode="auto">
          <a:xfrm>
            <a:off x="-339371" y="4631570"/>
            <a:ext cx="161924" cy="357930"/>
          </a:xfrm>
          <a:prstGeom prst="rect">
            <a:avLst/>
          </a:prstGeom>
          <a:noFill/>
          <a:ln w="9525">
            <a:noFill/>
            <a:miter lim="800000"/>
            <a:headEnd/>
            <a:tailEnd/>
          </a:ln>
        </p:spPr>
        <p:txBody>
          <a:bodyPr wrap="none" lIns="80147" tIns="40074" rIns="80147" bIns="40074" anchor="ctr">
            <a:spAutoFit/>
          </a:bodyPr>
          <a:lstStyle/>
          <a:p>
            <a:pPr>
              <a:defRPr/>
            </a:pPr>
            <a:endParaRPr lang="de-DE">
              <a:latin typeface="Arial" pitchFamily="34" charset="0"/>
            </a:endParaRPr>
          </a:p>
        </p:txBody>
      </p:sp>
      <p:pic>
        <p:nvPicPr>
          <p:cNvPr id="7" name="Picture 11" descr="Bild_StatusUpdates"/>
          <p:cNvPicPr>
            <a:picLocks noChangeAspect="1" noChangeArrowheads="1"/>
          </p:cNvPicPr>
          <p:nvPr userDrawn="1"/>
        </p:nvPicPr>
        <p:blipFill>
          <a:blip r:embed="rId3"/>
          <a:srcRect/>
          <a:stretch>
            <a:fillRect/>
          </a:stretch>
        </p:blipFill>
        <p:spPr bwMode="auto">
          <a:xfrm>
            <a:off x="0" y="0"/>
            <a:ext cx="8949880" cy="4112208"/>
          </a:xfrm>
          <a:prstGeom prst="rect">
            <a:avLst/>
          </a:prstGeom>
          <a:noFill/>
          <a:ln w="9525">
            <a:noFill/>
            <a:miter lim="800000"/>
            <a:headEnd/>
            <a:tailEnd/>
          </a:ln>
        </p:spPr>
      </p:pic>
      <p:sp>
        <p:nvSpPr>
          <p:cNvPr id="26626" name="Rectangle 2"/>
          <p:cNvSpPr>
            <a:spLocks noGrp="1" noChangeArrowheads="1"/>
          </p:cNvSpPr>
          <p:nvPr>
            <p:ph type="ctrTitle"/>
          </p:nvPr>
        </p:nvSpPr>
        <p:spPr>
          <a:xfrm>
            <a:off x="849784" y="4359862"/>
            <a:ext cx="7443075" cy="1470086"/>
          </a:xfrm>
        </p:spPr>
        <p:txBody>
          <a:bodyPr anchor="t"/>
          <a:lstStyle>
            <a:lvl1pPr algn="ctr">
              <a:defRPr/>
            </a:lvl1pPr>
          </a:lstStyle>
          <a:p>
            <a:r>
              <a:rPr lang="de-DE"/>
              <a:t>Titel</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50" y="980729"/>
            <a:ext cx="8496300" cy="4896196"/>
          </a:xfrm>
        </p:spPr>
        <p:txBody>
          <a:bodyPr/>
          <a:lstStyle>
            <a:lvl1pPr>
              <a:buSzPct val="100000"/>
              <a:buFontTx/>
              <a:buBlip>
                <a:blip r:embed="rId2"/>
              </a:buBlip>
              <a:defRPr/>
            </a:lvl1pPr>
            <a:lvl2pPr>
              <a:buSzPct val="100000"/>
              <a:buFontTx/>
              <a:buBlip>
                <a:blip r:embed="rId2"/>
              </a:buBlip>
              <a:defRPr/>
            </a:lvl2pPr>
            <a:lvl3pPr>
              <a:buSzPct val="100000"/>
              <a:buFontTx/>
              <a:buBlip>
                <a:blip r:embed="rId2"/>
              </a:buBlip>
              <a:defRPr/>
            </a:lvl3pPr>
            <a:lvl4pPr>
              <a:buSzPct val="100000"/>
              <a:buFontTx/>
              <a:buBlip>
                <a:blip r:embed="rId2"/>
              </a:buBlip>
              <a:defRPr/>
            </a:lvl4pPr>
            <a:lvl5pPr>
              <a:buSzPct val="100000"/>
              <a:buFontTx/>
              <a:buBlip>
                <a:blip r:embed="rId2"/>
              </a:buBlip>
              <a:defRPr/>
            </a:lvl5p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Titel 7"/>
          <p:cNvSpPr>
            <a:spLocks noGrp="1"/>
          </p:cNvSpPr>
          <p:nvPr>
            <p:ph type="title"/>
          </p:nvPr>
        </p:nvSpPr>
        <p:spPr/>
        <p:txBody>
          <a:bodyPr/>
          <a:lstStyle>
            <a:lvl1pPr>
              <a:defRPr/>
            </a:lvl1pPr>
          </a:lstStyle>
          <a:p>
            <a:r>
              <a:rPr lang="de-DE" smtClean="0"/>
              <a:t>Titelmasterformat durch Klicken bearbeiten</a:t>
            </a:r>
            <a:endParaRPr lang="de-DE" dirty="0"/>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_Benutzerdefiniertes Layou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Only ">
    <p:spTree>
      <p:nvGrpSpPr>
        <p:cNvPr id="1" name=""/>
        <p:cNvGrpSpPr/>
        <p:nvPr/>
      </p:nvGrpSpPr>
      <p:grpSpPr>
        <a:xfrm>
          <a:off x="0" y="0"/>
          <a:ext cx="0" cy="0"/>
          <a:chOff x="0" y="0"/>
          <a:chExt cx="0" cy="0"/>
        </a:xfrm>
      </p:grpSpPr>
      <p:sp>
        <p:nvSpPr>
          <p:cNvPr id="6" name="Titel 5"/>
          <p:cNvSpPr>
            <a:spLocks noGrp="1"/>
          </p:cNvSpPr>
          <p:nvPr>
            <p:ph type="title"/>
          </p:nvPr>
        </p:nvSpPr>
        <p:spPr/>
        <p:txBody>
          <a:bodyPr/>
          <a:lstStyle/>
          <a:p>
            <a:r>
              <a:rPr lang="de-DE" smtClean="0"/>
              <a:t>Titelmasterformat durch Klicken bearbeiten</a:t>
            </a:r>
            <a:endParaRPr lang="de-DE"/>
          </a:p>
        </p:txBody>
      </p:sp>
      <p:pic>
        <p:nvPicPr>
          <p:cNvPr id="10" name="Picture 2" descr="I:\ContiTech\Bildarchiv\CT_Logos_Claims_Fonts\0_CT_logo_vorlagen\01_logos_continental\continental_ppt.png"/>
          <p:cNvPicPr>
            <a:picLocks noChangeAspect="1" noChangeArrowheads="1"/>
          </p:cNvPicPr>
          <p:nvPr userDrawn="1"/>
        </p:nvPicPr>
        <p:blipFill>
          <a:blip r:embed="rId2" cstate="print"/>
          <a:stretch>
            <a:fillRect/>
          </a:stretch>
        </p:blipFill>
        <p:spPr bwMode="auto">
          <a:xfrm>
            <a:off x="6631459" y="6202441"/>
            <a:ext cx="2196642" cy="377201"/>
          </a:xfrm>
          <a:prstGeom prst="rect">
            <a:avLst/>
          </a:prstGeom>
          <a:noFill/>
        </p:spPr>
      </p:pic>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nd Content ">
    <p:spTree>
      <p:nvGrpSpPr>
        <p:cNvPr id="1" name=""/>
        <p:cNvGrpSpPr/>
        <p:nvPr/>
      </p:nvGrpSpPr>
      <p:grpSpPr>
        <a:xfrm>
          <a:off x="0" y="0"/>
          <a:ext cx="0" cy="0"/>
          <a:chOff x="0" y="0"/>
          <a:chExt cx="0" cy="0"/>
        </a:xfrm>
      </p:grpSpPr>
      <p:sp>
        <p:nvSpPr>
          <p:cNvPr id="3" name="Inhaltsplatzhalter 2"/>
          <p:cNvSpPr>
            <a:spLocks noGrp="1"/>
          </p:cNvSpPr>
          <p:nvPr>
            <p:ph idx="1"/>
          </p:nvPr>
        </p:nvSpPr>
        <p:spPr>
          <a:xfrm>
            <a:off x="323850" y="980729"/>
            <a:ext cx="8496300" cy="4896196"/>
          </a:xfrm>
        </p:spPr>
        <p:txBody>
          <a:bodyPr/>
          <a:lstStyle>
            <a:lvl1pPr>
              <a:buSzPct val="100000"/>
              <a:buFontTx/>
              <a:buBlip>
                <a:blip r:embed="rId2"/>
              </a:buBlip>
              <a:defRPr/>
            </a:lvl1pPr>
            <a:lvl2pPr>
              <a:buSzPct val="100000"/>
              <a:buFontTx/>
              <a:buBlip>
                <a:blip r:embed="rId2"/>
              </a:buBlip>
              <a:defRPr/>
            </a:lvl2pPr>
            <a:lvl3pPr>
              <a:buSzPct val="100000"/>
              <a:buFontTx/>
              <a:buBlip>
                <a:blip r:embed="rId2"/>
              </a:buBlip>
              <a:defRPr/>
            </a:lvl3pPr>
            <a:lvl4pPr>
              <a:buSzPct val="100000"/>
              <a:buFontTx/>
              <a:buBlip>
                <a:blip r:embed="rId2"/>
              </a:buBlip>
              <a:defRPr/>
            </a:lvl4pPr>
            <a:lvl5pPr>
              <a:buSzPct val="100000"/>
              <a:buFontTx/>
              <a:buBlip>
                <a:blip r:embed="rId2"/>
              </a:buBlip>
              <a:defRPr/>
            </a:lvl5pPr>
          </a:lstStyle>
          <a:p>
            <a:pPr lvl="0"/>
            <a:r>
              <a:rPr lang="en-US" noProof="0" smtClean="0"/>
              <a:t>Textmasterformate durch Klicken bearbeiten</a:t>
            </a:r>
          </a:p>
          <a:p>
            <a:pPr lvl="1"/>
            <a:r>
              <a:rPr lang="en-US" noProof="0" smtClean="0"/>
              <a:t>Zweite Ebene</a:t>
            </a:r>
          </a:p>
          <a:p>
            <a:pPr lvl="2"/>
            <a:r>
              <a:rPr lang="en-US" noProof="0" smtClean="0"/>
              <a:t>Dritte Ebene</a:t>
            </a:r>
          </a:p>
          <a:p>
            <a:pPr lvl="3"/>
            <a:r>
              <a:rPr lang="en-US" noProof="0" smtClean="0"/>
              <a:t>Vierte Ebene</a:t>
            </a:r>
          </a:p>
          <a:p>
            <a:pPr lvl="4"/>
            <a:r>
              <a:rPr lang="en-US" noProof="0" smtClean="0"/>
              <a:t>Fünfte Ebene</a:t>
            </a:r>
            <a:endParaRPr lang="en-US" noProof="0"/>
          </a:p>
        </p:txBody>
      </p:sp>
      <p:sp>
        <p:nvSpPr>
          <p:cNvPr id="8" name="Titel 7"/>
          <p:cNvSpPr>
            <a:spLocks noGrp="1"/>
          </p:cNvSpPr>
          <p:nvPr>
            <p:ph type="title"/>
          </p:nvPr>
        </p:nvSpPr>
        <p:spPr/>
        <p:txBody>
          <a:bodyPr/>
          <a:lstStyle>
            <a:lvl1pPr>
              <a:defRPr>
                <a:latin typeface="+mj-lt"/>
              </a:defRPr>
            </a:lvl1pPr>
          </a:lstStyle>
          <a:p>
            <a:r>
              <a:rPr lang="en-US" noProof="0" smtClean="0"/>
              <a:t>Titelmasterformat durch Klicken bearbeiten</a:t>
            </a:r>
            <a:endParaRPr lang="en-US" noProof="0"/>
          </a:p>
        </p:txBody>
      </p:sp>
      <p:sp>
        <p:nvSpPr>
          <p:cNvPr id="9" name="Datumsplatzhalter 8"/>
          <p:cNvSpPr>
            <a:spLocks noGrp="1"/>
          </p:cNvSpPr>
          <p:nvPr>
            <p:ph type="dt" sz="half" idx="10"/>
          </p:nvPr>
        </p:nvSpPr>
        <p:spPr>
          <a:xfrm>
            <a:off x="611559" y="6591600"/>
            <a:ext cx="792000" cy="150440"/>
          </a:xfrm>
          <a:prstGeom prst="rect">
            <a:avLst/>
          </a:prstGeom>
        </p:spPr>
        <p:txBody>
          <a:bodyPr/>
          <a:lstStyle/>
          <a:p>
            <a:fld id="{A74ADFB1-DC0C-473E-AAC6-67726C0F3D62}" type="datetime5">
              <a:rPr lang="de-DE" noProof="0" smtClean="0"/>
              <a:pPr/>
              <a:t>12-10-09</a:t>
            </a:fld>
            <a:endParaRPr lang="en-US" noProof="0"/>
          </a:p>
        </p:txBody>
      </p:sp>
      <p:sp>
        <p:nvSpPr>
          <p:cNvPr id="10" name="Foliennummernplatzhalter 9"/>
          <p:cNvSpPr>
            <a:spLocks noGrp="1"/>
          </p:cNvSpPr>
          <p:nvPr>
            <p:ph type="sldNum" sz="quarter" idx="11"/>
          </p:nvPr>
        </p:nvSpPr>
        <p:spPr>
          <a:xfrm>
            <a:off x="323528" y="6590928"/>
            <a:ext cx="216024" cy="150440"/>
          </a:xfrm>
          <a:prstGeom prst="rect">
            <a:avLst/>
          </a:prstGeom>
        </p:spPr>
        <p:txBody>
          <a:bodyPr/>
          <a:lstStyle/>
          <a:p>
            <a:fld id="{ADA48181-2C78-49CB-8C52-912A07842C2E}" type="slidenum">
              <a:rPr lang="en-US" noProof="0" smtClean="0"/>
              <a:pPr/>
              <a:t>‹Nr.›</a:t>
            </a:fld>
            <a:endParaRPr lang="en-US" noProof="0"/>
          </a:p>
        </p:txBody>
      </p:sp>
      <p:sp>
        <p:nvSpPr>
          <p:cNvPr id="11" name="Fußzeilenplatzhalter 10"/>
          <p:cNvSpPr>
            <a:spLocks noGrp="1"/>
          </p:cNvSpPr>
          <p:nvPr>
            <p:ph type="ftr" sz="quarter" idx="12"/>
          </p:nvPr>
        </p:nvSpPr>
        <p:spPr>
          <a:xfrm>
            <a:off x="1476000" y="6590928"/>
            <a:ext cx="4176464" cy="150440"/>
          </a:xfrm>
          <a:prstGeom prst="rect">
            <a:avLst/>
          </a:prstGeom>
        </p:spPr>
        <p:txBody>
          <a:bodyPr/>
          <a:lstStyle/>
          <a:p>
            <a:r>
              <a:rPr lang="en-US" noProof="0" smtClean="0"/>
              <a:t>Harald Schirmer, Corporate HRD &amp; Organizational Development © Continental AG</a:t>
            </a:r>
            <a:endParaRPr lang="en-US" noProof="0"/>
          </a:p>
        </p:txBody>
      </p:sp>
      <p:pic>
        <p:nvPicPr>
          <p:cNvPr id="7" name="Picture 2" descr="I:\ContiTech\Bildarchiv\CT_Logos_Claims_Fonts\0_CT_logo_vorlagen\01_logos_continental\continental_ppt.png"/>
          <p:cNvPicPr>
            <a:picLocks noChangeAspect="1" noChangeArrowheads="1"/>
          </p:cNvPicPr>
          <p:nvPr userDrawn="1"/>
        </p:nvPicPr>
        <p:blipFill>
          <a:blip r:embed="rId3" cstate="screen"/>
          <a:stretch>
            <a:fillRect/>
          </a:stretch>
        </p:blipFill>
        <p:spPr bwMode="auto">
          <a:xfrm>
            <a:off x="6631459" y="6202441"/>
            <a:ext cx="2196642" cy="377201"/>
          </a:xfrm>
          <a:prstGeom prst="rect">
            <a:avLst/>
          </a:prstGeom>
          <a:noFill/>
        </p:spPr>
      </p:pic>
    </p:spTree>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323851" y="116633"/>
            <a:ext cx="8496299" cy="648071"/>
          </a:xfrm>
          <a:prstGeom prst="rect">
            <a:avLst/>
          </a:prstGeom>
        </p:spPr>
        <p:txBody>
          <a:bodyPr vert="horz" lIns="0" tIns="0" rIns="91440" bIns="0" rtlCol="0" anchor="b" anchorCtr="0">
            <a:normAutofit/>
          </a:bodyPr>
          <a:lstStyle/>
          <a:p>
            <a:r>
              <a:rPr lang="de-DE" dirty="0" smtClean="0"/>
              <a:t>Titelmasterformat durch Klicken bearbeiten</a:t>
            </a:r>
            <a:endParaRPr lang="de-DE" dirty="0"/>
          </a:p>
        </p:txBody>
      </p:sp>
      <p:sp>
        <p:nvSpPr>
          <p:cNvPr id="3" name="Textplatzhalter 2"/>
          <p:cNvSpPr>
            <a:spLocks noGrp="1"/>
          </p:cNvSpPr>
          <p:nvPr>
            <p:ph type="body" idx="1"/>
          </p:nvPr>
        </p:nvSpPr>
        <p:spPr>
          <a:xfrm>
            <a:off x="323850" y="981074"/>
            <a:ext cx="8496300" cy="4895851"/>
          </a:xfrm>
          <a:prstGeom prst="rect">
            <a:avLst/>
          </a:prstGeom>
        </p:spPr>
        <p:txBody>
          <a:bodyPr vert="horz" lIns="0" tIns="18000" rIns="0" bIns="18000" rtlCol="0">
            <a:normAutofit/>
          </a:body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0" name="Text Box 23"/>
          <p:cNvSpPr txBox="1">
            <a:spLocks noChangeArrowheads="1"/>
          </p:cNvSpPr>
          <p:nvPr/>
        </p:nvSpPr>
        <p:spPr bwMode="auto">
          <a:xfrm>
            <a:off x="323850" y="6237287"/>
            <a:ext cx="4392166" cy="287337"/>
          </a:xfrm>
          <a:prstGeom prst="rect">
            <a:avLst/>
          </a:prstGeom>
          <a:noFill/>
          <a:ln w="9525">
            <a:noFill/>
            <a:miter lim="800000"/>
            <a:headEnd/>
            <a:tailEnd/>
          </a:ln>
          <a:effectLst/>
        </p:spPr>
        <p:txBody>
          <a:bodyPr lIns="0" tIns="0" rIns="0" bIns="0" anchor="b"/>
          <a:lstStyle/>
          <a:p>
            <a:pPr algn="l" defTabSz="895929">
              <a:buNone/>
            </a:pPr>
            <a:r>
              <a:rPr lang="de-DE" sz="900" b="1" i="0" dirty="0" err="1" smtClean="0">
                <a:solidFill>
                  <a:schemeClr val="tx1"/>
                </a:solidFill>
                <a:latin typeface="Arial"/>
                <a:ea typeface="+mn-ea"/>
                <a:cs typeface="+mn-cs"/>
              </a:rPr>
              <a:t>ConNext</a:t>
            </a:r>
            <a:r>
              <a:rPr lang="de-DE" sz="900" b="1" i="0" dirty="0" smtClean="0">
                <a:solidFill>
                  <a:schemeClr val="tx1"/>
                </a:solidFill>
                <a:latin typeface="Arial"/>
                <a:ea typeface="+mn-ea"/>
                <a:cs typeface="+mn-cs"/>
              </a:rPr>
              <a:t> </a:t>
            </a:r>
            <a:r>
              <a:rPr lang="de-DE" sz="900" b="1" i="0" baseline="0" dirty="0" smtClean="0">
                <a:solidFill>
                  <a:schemeClr val="tx1"/>
                </a:solidFill>
                <a:latin typeface="Arial"/>
                <a:ea typeface="+mn-ea"/>
                <a:cs typeface="+mn-cs"/>
              </a:rPr>
              <a:t>Projektübersicht  </a:t>
            </a:r>
            <a:endParaRPr lang="de-DE" sz="900" b="1" dirty="0"/>
          </a:p>
        </p:txBody>
      </p:sp>
      <p:sp>
        <p:nvSpPr>
          <p:cNvPr id="31" name="Rechteck 30"/>
          <p:cNvSpPr/>
          <p:nvPr/>
        </p:nvSpPr>
        <p:spPr>
          <a:xfrm>
            <a:off x="323850" y="5991119"/>
            <a:ext cx="8496000" cy="36000"/>
          </a:xfrm>
          <a:prstGeom prst="rect">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smtClean="0"/>
          </a:p>
        </p:txBody>
      </p:sp>
      <p:sp>
        <p:nvSpPr>
          <p:cNvPr id="32" name="Rechteck 31"/>
          <p:cNvSpPr/>
          <p:nvPr/>
        </p:nvSpPr>
        <p:spPr>
          <a:xfrm>
            <a:off x="323850" y="5949280"/>
            <a:ext cx="8496000" cy="43200"/>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smtClean="0"/>
          </a:p>
        </p:txBody>
      </p:sp>
      <p:sp>
        <p:nvSpPr>
          <p:cNvPr id="18" name="Rechteck 17"/>
          <p:cNvSpPr/>
          <p:nvPr/>
        </p:nvSpPr>
        <p:spPr>
          <a:xfrm>
            <a:off x="323850" y="836712"/>
            <a:ext cx="8496000" cy="43200"/>
          </a:xfrm>
          <a:prstGeom prst="rect">
            <a:avLst/>
          </a:prstGeom>
          <a:solidFill>
            <a:schemeClr val="accent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smtClean="0"/>
          </a:p>
        </p:txBody>
      </p:sp>
      <p:pic>
        <p:nvPicPr>
          <p:cNvPr id="13" name="Picture 2" descr="I:\ContiTech\Bildarchiv\CT_Logos_Claims_Fonts\0_CT_logo_vorlagen\01_logos_continental\continental_ppt.png"/>
          <p:cNvPicPr>
            <a:picLocks noChangeAspect="1" noChangeArrowheads="1"/>
          </p:cNvPicPr>
          <p:nvPr/>
        </p:nvPicPr>
        <p:blipFill>
          <a:blip r:embed="rId8" cstate="print"/>
          <a:stretch>
            <a:fillRect/>
          </a:stretch>
        </p:blipFill>
        <p:spPr bwMode="auto">
          <a:xfrm>
            <a:off x="6631459" y="6202441"/>
            <a:ext cx="2196642" cy="377201"/>
          </a:xfrm>
          <a:prstGeom prst="rect">
            <a:avLst/>
          </a:prstGeom>
          <a:noFill/>
        </p:spPr>
      </p:pic>
      <p:sp>
        <p:nvSpPr>
          <p:cNvPr id="17" name="Datumsplatzhalter 23"/>
          <p:cNvSpPr txBox="1">
            <a:spLocks/>
          </p:cNvSpPr>
          <p:nvPr userDrawn="1"/>
        </p:nvSpPr>
        <p:spPr>
          <a:xfrm>
            <a:off x="611560" y="6590928"/>
            <a:ext cx="503049" cy="150440"/>
          </a:xfrm>
          <a:prstGeom prst="rect">
            <a:avLst/>
          </a:prstGeom>
        </p:spPr>
        <p:txBody>
          <a:bodyPr vert="horz" wrap="none" lIns="0" tIns="0" rIns="0" bIns="0" rtlCol="0" anchor="ctr" anchorCtr="0"/>
          <a:lstStyle>
            <a:lvl1pPr algn="ctr">
              <a:defRPr sz="700">
                <a:solidFill>
                  <a:schemeClr val="tx1"/>
                </a:solidFill>
              </a:defRPr>
            </a:lvl1pPr>
          </a:lstStyle>
          <a:p>
            <a:pPr marL="0" marR="0" indent="0" algn="ctr" defTabSz="914400">
              <a:lnSpc>
                <a:spcPct val="100000"/>
              </a:lnSpc>
              <a:spcBef>
                <a:spcPts val="0"/>
              </a:spcBef>
              <a:spcAft>
                <a:spcPts val="0"/>
              </a:spcAft>
              <a:buNone/>
              <a:tabLst/>
            </a:pPr>
            <a:r>
              <a:rPr lang="de-DE" sz="700" b="0" i="0" u="none" strike="noStrike" kern="1200" cap="none" spc="0" baseline="0" dirty="0" smtClean="0">
                <a:ln>
                  <a:noFill/>
                </a:ln>
                <a:solidFill>
                  <a:srgbClr val="000000"/>
                </a:solidFill>
                <a:effectLst/>
                <a:latin typeface="Arial"/>
                <a:ea typeface="+mn-ea"/>
                <a:cs typeface="+mn-cs"/>
              </a:rPr>
              <a:t>Oktober 2012</a:t>
            </a:r>
            <a:endParaRPr kumimoji="0" lang="de-DE" sz="700" b="0" i="0" u="none" strike="noStrike" kern="1200" cap="none" spc="0" normalizeH="0" baseline="0" noProof="0" dirty="0">
              <a:ln>
                <a:noFill/>
              </a:ln>
              <a:solidFill>
                <a:schemeClr val="tx1"/>
              </a:solidFill>
              <a:effectLst/>
              <a:uLnTx/>
              <a:uFillTx/>
              <a:latin typeface="+mn-lt"/>
              <a:ea typeface="+mn-ea"/>
              <a:cs typeface="+mn-cs"/>
            </a:endParaRPr>
          </a:p>
        </p:txBody>
      </p:sp>
      <p:sp>
        <p:nvSpPr>
          <p:cNvPr id="19" name="Foliennummernplatzhalter 25"/>
          <p:cNvSpPr txBox="1">
            <a:spLocks/>
          </p:cNvSpPr>
          <p:nvPr userDrawn="1"/>
        </p:nvSpPr>
        <p:spPr>
          <a:xfrm>
            <a:off x="323528" y="6584206"/>
            <a:ext cx="216024" cy="150440"/>
          </a:xfrm>
          <a:prstGeom prst="rect">
            <a:avLst/>
          </a:prstGeom>
        </p:spPr>
        <p:txBody>
          <a:bodyPr vert="horz" wrap="none" lIns="0" tIns="0" rIns="0" bIns="0" rtlCol="0" anchor="ctr" anchorCtr="0"/>
          <a:lstStyle>
            <a:lvl1pPr algn="l">
              <a:defRPr sz="700">
                <a:solidFill>
                  <a:schemeClr val="tx1"/>
                </a:solidFill>
              </a:defRPr>
            </a:lvl1pPr>
          </a:lstStyle>
          <a:p>
            <a:pPr marL="0" marR="0" indent="0" algn="l" defTabSz="914400">
              <a:lnSpc>
                <a:spcPct val="100000"/>
              </a:lnSpc>
              <a:spcBef>
                <a:spcPts val="0"/>
              </a:spcBef>
              <a:spcAft>
                <a:spcPts val="0"/>
              </a:spcAft>
              <a:buNone/>
              <a:tabLst/>
            </a:pPr>
            <a:fld id="{ADA48181-2C78-49CB-8C52-912A07842C2E}" type="slidenum">
              <a:rPr lang="de-DE" sz="700" b="0" i="0" u="none" strike="noStrike" kern="1200" cap="none" spc="0" baseline="0">
                <a:ln>
                  <a:noFill/>
                </a:ln>
                <a:solidFill>
                  <a:srgbClr val="000000"/>
                </a:solidFill>
                <a:effectLst/>
                <a:latin typeface="Arial"/>
                <a:ea typeface="+mn-ea"/>
                <a:cs typeface="+mn-cs"/>
              </a:rPr>
              <a:pPr marL="0" marR="0" indent="0" algn="l" defTabSz="914400">
                <a:lnSpc>
                  <a:spcPct val="100000"/>
                </a:lnSpc>
                <a:spcBef>
                  <a:spcPts val="0"/>
                </a:spcBef>
                <a:spcAft>
                  <a:spcPts val="0"/>
                </a:spcAft>
                <a:buNone/>
                <a:tabLst/>
              </a:pPr>
              <a:t>‹Nr.›</a:t>
            </a:fld>
            <a:endParaRPr kumimoji="0" lang="de-DE" sz="700" b="0" i="0" u="none" strike="noStrike" kern="1200" cap="none" spc="0" normalizeH="0" baseline="0" noProof="0" dirty="0">
              <a:ln>
                <a:noFill/>
              </a:ln>
              <a:solidFill>
                <a:schemeClr val="tx1"/>
              </a:solidFill>
              <a:effectLst/>
              <a:uLnTx/>
              <a:uFillTx/>
              <a:latin typeface="+mn-lt"/>
              <a:ea typeface="+mn-ea"/>
              <a:cs typeface="+mn-cs"/>
            </a:endParaRPr>
          </a:p>
        </p:txBody>
      </p:sp>
      <p:sp>
        <p:nvSpPr>
          <p:cNvPr id="20" name="Fußzeilenplatzhalter 24"/>
          <p:cNvSpPr txBox="1">
            <a:spLocks/>
          </p:cNvSpPr>
          <p:nvPr userDrawn="1"/>
        </p:nvSpPr>
        <p:spPr>
          <a:xfrm>
            <a:off x="1259632" y="6584206"/>
            <a:ext cx="4176464" cy="150440"/>
          </a:xfrm>
          <a:prstGeom prst="rect">
            <a:avLst/>
          </a:prstGeom>
        </p:spPr>
        <p:txBody>
          <a:bodyPr vert="horz" wrap="none" lIns="0" tIns="0" rIns="0" bIns="0" rtlCol="0" anchor="ctr" anchorCtr="0"/>
          <a:lstStyle>
            <a:lvl1pPr algn="l">
              <a:defRPr sz="700">
                <a:solidFill>
                  <a:schemeClr val="tx1"/>
                </a:solidFill>
              </a:defRPr>
            </a:lvl1pPr>
          </a:lstStyle>
          <a:p>
            <a:pPr marL="0" marR="0" indent="0" algn="l" defTabSz="914400">
              <a:lnSpc>
                <a:spcPct val="100000"/>
              </a:lnSpc>
              <a:spcBef>
                <a:spcPts val="0"/>
              </a:spcBef>
              <a:spcAft>
                <a:spcPts val="0"/>
              </a:spcAft>
              <a:buNone/>
              <a:tabLst/>
            </a:pPr>
            <a:r>
              <a:rPr lang="de-DE" sz="700" b="0" i="0" u="none" strike="noStrike" kern="1200" cap="none" spc="0" baseline="0" dirty="0" err="1">
                <a:ln>
                  <a:noFill/>
                </a:ln>
                <a:solidFill>
                  <a:srgbClr val="000000"/>
                </a:solidFill>
                <a:effectLst/>
                <a:latin typeface="Arial"/>
                <a:ea typeface="+mn-ea"/>
                <a:cs typeface="+mn-cs"/>
              </a:rPr>
              <a:t>ConNext</a:t>
            </a:r>
            <a:r>
              <a:rPr lang="de-DE" sz="700" b="0" i="0" u="none" strike="noStrike" kern="1200" cap="none" spc="0" baseline="0" dirty="0" smtClean="0">
                <a:ln>
                  <a:noFill/>
                </a:ln>
                <a:solidFill>
                  <a:srgbClr val="000000"/>
                </a:solidFill>
                <a:effectLst/>
                <a:latin typeface="Arial"/>
                <a:ea typeface="+mn-ea"/>
                <a:cs typeface="+mn-cs"/>
              </a:rPr>
              <a:t>/ Monika </a:t>
            </a:r>
            <a:r>
              <a:rPr lang="de-DE" sz="700" b="0" i="0" u="none" strike="noStrike" kern="1200" cap="none" spc="0" baseline="0" dirty="0">
                <a:ln>
                  <a:noFill/>
                </a:ln>
                <a:solidFill>
                  <a:srgbClr val="000000"/>
                </a:solidFill>
                <a:effectLst/>
                <a:latin typeface="Arial"/>
                <a:ea typeface="+mn-ea"/>
                <a:cs typeface="+mn-cs"/>
              </a:rPr>
              <a:t>Andrae, © Continental AG</a:t>
            </a:r>
            <a:endParaRPr kumimoji="0" lang="de-DE" sz="700" b="0" i="0" u="none" strike="noStrike" kern="1200" cap="none" spc="0" normalizeH="0" baseline="0" noProof="0" dirty="0">
              <a:ln>
                <a:noFill/>
              </a:ln>
              <a:solidFill>
                <a:schemeClr val="tx1"/>
              </a:solidFill>
              <a:effectLst/>
              <a:uLnTx/>
              <a:uFillTx/>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3750" r:id="rId1"/>
    <p:sldLayoutId id="2147483731" r:id="rId2"/>
    <p:sldLayoutId id="2147483746" r:id="rId3"/>
    <p:sldLayoutId id="2147483749" r:id="rId4"/>
    <p:sldLayoutId id="2147483751" r:id="rId5"/>
    <p:sldLayoutId id="2147483752" r:id="rId6"/>
  </p:sldLayoutIdLst>
  <p:timing>
    <p:tnLst>
      <p:par>
        <p:cTn id="1" dur="indefinite" restart="never" nodeType="tmRoot"/>
      </p:par>
    </p:tnLst>
  </p:timing>
  <p:hf hdr="0"/>
  <p:txStyles>
    <p:titleStyle>
      <a:lvl1pPr algn="l" defTabSz="914400" rtl="0" eaLnBrk="1" latinLnBrk="0" hangingPunct="1">
        <a:spcBef>
          <a:spcPct val="0"/>
        </a:spcBef>
        <a:buNone/>
        <a:defRPr sz="2100" b="1" kern="1200">
          <a:solidFill>
            <a:schemeClr val="tx1"/>
          </a:solidFill>
          <a:latin typeface="Arial" pitchFamily="34" charset="0"/>
          <a:ea typeface="+mj-ea"/>
          <a:cs typeface="Arial" pitchFamily="34" charset="0"/>
        </a:defRPr>
      </a:lvl1pPr>
    </p:titleStyle>
    <p:bodyStyle>
      <a:lvl1pPr marL="177800" indent="-177800" algn="l" defTabSz="914400" rtl="0" eaLnBrk="1" latinLnBrk="0" hangingPunct="1">
        <a:lnSpc>
          <a:spcPct val="100000"/>
        </a:lnSpc>
        <a:spcBef>
          <a:spcPts val="0"/>
        </a:spcBef>
        <a:spcAft>
          <a:spcPts val="1200"/>
        </a:spcAft>
        <a:buClr>
          <a:schemeClr val="accent1"/>
        </a:buClr>
        <a:buSzPct val="100000"/>
        <a:buFontTx/>
        <a:buBlip>
          <a:blip r:embed="rId9"/>
        </a:buBlip>
        <a:defRPr sz="1600" b="0" kern="1200">
          <a:solidFill>
            <a:schemeClr val="tx1"/>
          </a:solidFill>
          <a:latin typeface="Arial" pitchFamily="34" charset="0"/>
          <a:ea typeface="+mn-ea"/>
          <a:cs typeface="Arial" pitchFamily="34" charset="0"/>
        </a:defRPr>
      </a:lvl1pPr>
      <a:lvl2pPr marL="541338" indent="-184150" algn="l" defTabSz="914400" rtl="0" eaLnBrk="1" latinLnBrk="0" hangingPunct="1">
        <a:lnSpc>
          <a:spcPct val="100000"/>
        </a:lnSpc>
        <a:spcBef>
          <a:spcPts val="0"/>
        </a:spcBef>
        <a:spcAft>
          <a:spcPts val="1200"/>
        </a:spcAft>
        <a:buClr>
          <a:schemeClr val="bg2">
            <a:lumMod val="75000"/>
          </a:schemeClr>
        </a:buClr>
        <a:buSzPct val="100000"/>
        <a:buFontTx/>
        <a:buBlip>
          <a:blip r:embed="rId9"/>
        </a:buBlip>
        <a:defRPr sz="1600" b="0" kern="1200">
          <a:solidFill>
            <a:schemeClr val="tx1"/>
          </a:solidFill>
          <a:latin typeface="Arial" pitchFamily="34" charset="0"/>
          <a:ea typeface="+mn-ea"/>
          <a:cs typeface="Arial" pitchFamily="34" charset="0"/>
        </a:defRPr>
      </a:lvl2pPr>
      <a:lvl3pPr marL="896938" indent="-177800" algn="l" defTabSz="914400" rtl="0" eaLnBrk="1" latinLnBrk="0" hangingPunct="1">
        <a:lnSpc>
          <a:spcPct val="100000"/>
        </a:lnSpc>
        <a:spcBef>
          <a:spcPts val="0"/>
        </a:spcBef>
        <a:spcAft>
          <a:spcPts val="1200"/>
        </a:spcAft>
        <a:buClr>
          <a:schemeClr val="accent1"/>
        </a:buClr>
        <a:buSzPct val="100000"/>
        <a:buFontTx/>
        <a:buBlip>
          <a:blip r:embed="rId9"/>
        </a:buBlip>
        <a:defRPr sz="1600" b="0" kern="1200">
          <a:solidFill>
            <a:schemeClr val="tx1"/>
          </a:solidFill>
          <a:latin typeface="Arial" pitchFamily="34" charset="0"/>
          <a:ea typeface="+mn-ea"/>
          <a:cs typeface="Arial" pitchFamily="34" charset="0"/>
        </a:defRPr>
      </a:lvl3pPr>
      <a:lvl4pPr marL="1254125" indent="-179388" algn="l" defTabSz="914400" rtl="0" eaLnBrk="1" latinLnBrk="0" hangingPunct="1">
        <a:lnSpc>
          <a:spcPct val="100000"/>
        </a:lnSpc>
        <a:spcBef>
          <a:spcPts val="0"/>
        </a:spcBef>
        <a:spcAft>
          <a:spcPts val="1200"/>
        </a:spcAft>
        <a:buClr>
          <a:schemeClr val="tx1">
            <a:lumMod val="95000"/>
            <a:lumOff val="5000"/>
          </a:schemeClr>
        </a:buClr>
        <a:buSzPct val="100000"/>
        <a:buFontTx/>
        <a:buBlip>
          <a:blip r:embed="rId9"/>
        </a:buBlip>
        <a:defRPr sz="1600" b="0" kern="1200">
          <a:solidFill>
            <a:schemeClr val="tx1"/>
          </a:solidFill>
          <a:latin typeface="Arial" pitchFamily="34" charset="0"/>
          <a:ea typeface="+mn-ea"/>
          <a:cs typeface="Arial" pitchFamily="34" charset="0"/>
        </a:defRPr>
      </a:lvl4pPr>
      <a:lvl5pPr marL="1616075" indent="-177800" algn="l" defTabSz="914400" rtl="0" eaLnBrk="1" latinLnBrk="0" hangingPunct="1">
        <a:lnSpc>
          <a:spcPct val="100000"/>
        </a:lnSpc>
        <a:spcBef>
          <a:spcPts val="0"/>
        </a:spcBef>
        <a:spcAft>
          <a:spcPts val="1200"/>
        </a:spcAft>
        <a:buClr>
          <a:schemeClr val="accent1"/>
        </a:buClr>
        <a:buSzPct val="100000"/>
        <a:buFontTx/>
        <a:buBlip>
          <a:blip r:embed="rId9"/>
        </a:buBlip>
        <a:defRPr sz="1600" b="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13" Type="http://schemas.microsoft.com/office/2007/relationships/diagramDrawing" Target="../diagrams/drawing2.xml"/><Relationship Id="rId3" Type="http://schemas.openxmlformats.org/officeDocument/2006/relationships/tags" Target="../tags/tag33.xml"/><Relationship Id="rId7" Type="http://schemas.openxmlformats.org/officeDocument/2006/relationships/notesSlide" Target="../notesSlides/notesSlide11.xml"/><Relationship Id="rId12" Type="http://schemas.openxmlformats.org/officeDocument/2006/relationships/diagramColors" Target="../diagrams/colors2.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Layout" Target="../slideLayouts/slideLayout2.xml"/><Relationship Id="rId11" Type="http://schemas.openxmlformats.org/officeDocument/2006/relationships/diagramQuickStyle" Target="../diagrams/quickStyle2.xml"/><Relationship Id="rId5" Type="http://schemas.openxmlformats.org/officeDocument/2006/relationships/tags" Target="../tags/tag35.xml"/><Relationship Id="rId10" Type="http://schemas.openxmlformats.org/officeDocument/2006/relationships/diagramLayout" Target="../diagrams/layout2.xml"/><Relationship Id="rId4" Type="http://schemas.openxmlformats.org/officeDocument/2006/relationships/tags" Target="../tags/tag34.xml"/><Relationship Id="rId9" Type="http://schemas.openxmlformats.org/officeDocument/2006/relationships/diagramData" Target="../diagrams/data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8.jpeg"/><Relationship Id="rId5" Type="http://schemas.openxmlformats.org/officeDocument/2006/relationships/image" Target="../media/image27.png"/><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notesSlide" Target="../notesSlides/notesSlide14.xml"/><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slideLayout" Target="../slideLayouts/slideLayout5.xml"/><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slide" Target="slide14.xml"/><Relationship Id="rId2" Type="http://schemas.openxmlformats.org/officeDocument/2006/relationships/tags" Target="../tags/tag3.xml"/><Relationship Id="rId16" Type="http://schemas.openxmlformats.org/officeDocument/2006/relationships/slide" Target="slide10.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slide" Target="slide9.xml"/><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chart" Target="../charts/chart1.xml"/></Relationships>
</file>

<file path=ppt/slides/_rels/slide4.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tags" Target="../tags/tag16.xml"/><Relationship Id="rId7" Type="http://schemas.openxmlformats.org/officeDocument/2006/relationships/tags" Target="../tags/tag2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tags" Target="../tags/tag19.xml"/><Relationship Id="rId5" Type="http://schemas.openxmlformats.org/officeDocument/2006/relationships/tags" Target="../tags/tag18.xml"/><Relationship Id="rId10" Type="http://schemas.openxmlformats.org/officeDocument/2006/relationships/image" Target="../media/image7.jpeg"/><Relationship Id="rId4" Type="http://schemas.openxmlformats.org/officeDocument/2006/relationships/tags" Target="../tags/tag17.xml"/><Relationship Id="rId9"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5.xml"/><Relationship Id="rId1" Type="http://schemas.openxmlformats.org/officeDocument/2006/relationships/tags" Target="../tags/tag22.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5"/>
          <p:cNvSpPr>
            <a:spLocks noGrp="1" noChangeArrowheads="1"/>
          </p:cNvSpPr>
          <p:nvPr>
            <p:ph type="ctrTitle"/>
          </p:nvPr>
        </p:nvSpPr>
        <p:spPr>
          <a:xfrm>
            <a:off x="0" y="4437112"/>
            <a:ext cx="9144000" cy="1224136"/>
          </a:xfrm>
          <a:noFill/>
        </p:spPr>
        <p:txBody>
          <a:bodyPr>
            <a:noAutofit/>
          </a:bodyPr>
          <a:lstStyle/>
          <a:p>
            <a:r>
              <a:rPr lang="de-DE" sz="2000" dirty="0" smtClean="0">
                <a:ea typeface="ＭＳ Ｐゴシック" pitchFamily="34" charset="-128"/>
              </a:rPr>
              <a:t>Förderung der Netzwerkkultur bei Continental - </a:t>
            </a:r>
            <a:br>
              <a:rPr lang="de-DE" sz="2000" dirty="0" smtClean="0">
                <a:ea typeface="ＭＳ Ｐゴシック" pitchFamily="34" charset="-128"/>
              </a:rPr>
            </a:br>
            <a:r>
              <a:rPr lang="de-DE" sz="2000" dirty="0" smtClean="0">
                <a:ea typeface="ＭＳ Ｐゴシック" pitchFamily="34" charset="-128"/>
              </a:rPr>
              <a:t>Erfahrungen und Einsichten aus dem Projekt "ConNext“</a:t>
            </a:r>
            <a:br>
              <a:rPr lang="de-DE" sz="2000" dirty="0" smtClean="0">
                <a:ea typeface="ＭＳ Ｐゴシック" pitchFamily="34" charset="-128"/>
              </a:rPr>
            </a:br>
            <a:r>
              <a:rPr lang="en-GB" sz="2000" dirty="0" smtClean="0">
                <a:ea typeface="ＭＳ Ｐゴシック" pitchFamily="34" charset="-128"/>
              </a:rPr>
              <a:t/>
            </a:r>
            <a:br>
              <a:rPr lang="en-GB" sz="2000" dirty="0" smtClean="0">
                <a:ea typeface="ＭＳ Ｐゴシック" pitchFamily="34" charset="-128"/>
              </a:rPr>
            </a:br>
            <a:r>
              <a:rPr lang="en-GB" sz="2000" b="0" dirty="0" smtClean="0">
                <a:ea typeface="ＭＳ Ｐゴシック" pitchFamily="34" charset="-128"/>
              </a:rPr>
              <a:t>von Monika </a:t>
            </a:r>
            <a:r>
              <a:rPr lang="en-GB" sz="2000" b="0" dirty="0" err="1" smtClean="0">
                <a:ea typeface="ＭＳ Ｐゴシック" pitchFamily="34" charset="-128"/>
              </a:rPr>
              <a:t>Andrae</a:t>
            </a:r>
            <a:endParaRPr lang="en-GB" sz="2000" dirty="0" smtClean="0">
              <a:ea typeface="ＭＳ Ｐゴシック" pitchFamily="34" charset="-128"/>
            </a:endParaRPr>
          </a:p>
        </p:txBody>
      </p:sp>
      <p:sp>
        <p:nvSpPr>
          <p:cNvPr id="3075" name="Rectangle 3"/>
          <p:cNvSpPr>
            <a:spLocks noChangeArrowheads="1"/>
          </p:cNvSpPr>
          <p:nvPr/>
        </p:nvSpPr>
        <p:spPr bwMode="auto">
          <a:xfrm>
            <a:off x="8905083" y="7116749"/>
            <a:ext cx="161924" cy="357930"/>
          </a:xfrm>
          <a:prstGeom prst="rect">
            <a:avLst/>
          </a:prstGeom>
          <a:noFill/>
          <a:ln w="9525">
            <a:noFill/>
            <a:miter lim="800000"/>
            <a:headEnd/>
            <a:tailEnd/>
          </a:ln>
        </p:spPr>
        <p:txBody>
          <a:bodyPr wrap="none" lIns="80147" tIns="40074" rIns="80147" bIns="40074" anchor="ctr">
            <a:spAutoFit/>
          </a:bodyPr>
          <a:lstStyle/>
          <a:p>
            <a:endParaRPr lang="de-DE"/>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wrap="square">
            <a:noAutofit/>
          </a:bodyPr>
          <a:lstStyle/>
          <a:p>
            <a:pPr algn="l" defTabSz="914400">
              <a:spcBef>
                <a:spcPct val="0"/>
              </a:spcBef>
              <a:buNone/>
            </a:pPr>
            <a:r>
              <a:rPr lang="en-US" sz="2100" b="1" i="0" dirty="0" err="1">
                <a:solidFill>
                  <a:srgbClr val="000000"/>
                </a:solidFill>
                <a:latin typeface="Arial"/>
                <a:ea typeface="+mj-ea"/>
                <a:cs typeface="Arial"/>
              </a:rPr>
              <a:t>Eine</a:t>
            </a:r>
            <a:r>
              <a:rPr lang="en-US" sz="2100" b="1" i="0" dirty="0">
                <a:solidFill>
                  <a:srgbClr val="000000"/>
                </a:solidFill>
                <a:latin typeface="Arial"/>
                <a:ea typeface="+mj-ea"/>
                <a:cs typeface="Arial"/>
              </a:rPr>
              <a:t> </a:t>
            </a:r>
            <a:r>
              <a:rPr lang="en-US" sz="2100" b="1" i="0" dirty="0" err="1">
                <a:solidFill>
                  <a:srgbClr val="000000"/>
                </a:solidFill>
                <a:latin typeface="Arial"/>
                <a:ea typeface="+mj-ea"/>
                <a:cs typeface="Arial"/>
              </a:rPr>
              <a:t>neue</a:t>
            </a:r>
            <a:r>
              <a:rPr lang="en-US" sz="2100" b="1" i="0" dirty="0">
                <a:solidFill>
                  <a:srgbClr val="000000"/>
                </a:solidFill>
                <a:latin typeface="Arial"/>
                <a:ea typeface="+mj-ea"/>
                <a:cs typeface="Arial"/>
              </a:rPr>
              <a:t> </a:t>
            </a:r>
            <a:r>
              <a:rPr lang="en-US" sz="2100" b="1" i="0" dirty="0" err="1">
                <a:solidFill>
                  <a:srgbClr val="000000"/>
                </a:solidFill>
                <a:latin typeface="Arial"/>
                <a:ea typeface="+mj-ea"/>
                <a:cs typeface="Arial"/>
              </a:rPr>
              <a:t>Ära</a:t>
            </a:r>
            <a:r>
              <a:rPr lang="en-US" sz="2100" b="1" i="0" dirty="0">
                <a:solidFill>
                  <a:srgbClr val="000000"/>
                </a:solidFill>
                <a:latin typeface="Arial"/>
                <a:ea typeface="+mj-ea"/>
                <a:cs typeface="Arial"/>
              </a:rPr>
              <a:t> des Networking: </a:t>
            </a:r>
            <a:r>
              <a:rPr lang="en-US" sz="2100" b="1" i="0" dirty="0" smtClean="0">
                <a:solidFill>
                  <a:srgbClr val="000000"/>
                </a:solidFill>
                <a:latin typeface="Arial"/>
                <a:ea typeface="+mj-ea"/>
                <a:cs typeface="Arial"/>
              </a:rPr>
              <a:t/>
            </a:r>
            <a:br>
              <a:rPr lang="en-US" sz="2100" b="1" i="0" dirty="0" smtClean="0">
                <a:solidFill>
                  <a:srgbClr val="000000"/>
                </a:solidFill>
                <a:latin typeface="Arial"/>
                <a:ea typeface="+mj-ea"/>
                <a:cs typeface="Arial"/>
              </a:rPr>
            </a:br>
            <a:r>
              <a:rPr lang="en-US" sz="2100" b="1" i="0" dirty="0" err="1" smtClean="0">
                <a:solidFill>
                  <a:srgbClr val="000000"/>
                </a:solidFill>
                <a:latin typeface="Arial"/>
                <a:ea typeface="+mj-ea"/>
                <a:cs typeface="Arial"/>
              </a:rPr>
              <a:t>Unsere</a:t>
            </a:r>
            <a:r>
              <a:rPr lang="en-US" sz="2100" b="1" i="0" dirty="0" smtClean="0">
                <a:solidFill>
                  <a:srgbClr val="000000"/>
                </a:solidFill>
                <a:latin typeface="Arial"/>
                <a:ea typeface="+mj-ea"/>
                <a:cs typeface="Arial"/>
              </a:rPr>
              <a:t> interne Social Media-</a:t>
            </a:r>
            <a:r>
              <a:rPr lang="en-US" sz="2100" b="1" i="0" dirty="0" err="1" smtClean="0">
                <a:solidFill>
                  <a:srgbClr val="000000"/>
                </a:solidFill>
                <a:latin typeface="Arial"/>
                <a:ea typeface="+mj-ea"/>
                <a:cs typeface="Arial"/>
              </a:rPr>
              <a:t>Plattform</a:t>
            </a:r>
            <a:endParaRPr lang="en-US" sz="2100" b="1" i="0" dirty="0">
              <a:solidFill>
                <a:srgbClr val="000000"/>
              </a:solidFill>
              <a:latin typeface="Arial"/>
              <a:ea typeface="+mj-ea"/>
              <a:cs typeface="Arial"/>
            </a:endParaRPr>
          </a:p>
        </p:txBody>
      </p:sp>
      <p:grpSp>
        <p:nvGrpSpPr>
          <p:cNvPr id="45" name="Gruppieren 44"/>
          <p:cNvGrpSpPr/>
          <p:nvPr/>
        </p:nvGrpSpPr>
        <p:grpSpPr>
          <a:xfrm>
            <a:off x="35496" y="1008844"/>
            <a:ext cx="6864424" cy="4624288"/>
            <a:chOff x="755576" y="980728"/>
            <a:chExt cx="6864424" cy="4624288"/>
          </a:xfrm>
        </p:grpSpPr>
        <p:graphicFrame>
          <p:nvGraphicFramePr>
            <p:cNvPr id="8" name="Diagramm 7"/>
            <p:cNvGraphicFramePr/>
            <p:nvPr>
              <p:extLst>
                <p:ext uri="{D42A27DB-BD31-4B8C-83A1-F6EECF244321}">
                  <p14:modId xmlns:p14="http://schemas.microsoft.com/office/powerpoint/2010/main" xmlns="" val="1791221056"/>
                </p:ext>
              </p:extLst>
            </p:nvPr>
          </p:nvGraphicFramePr>
          <p:xfrm>
            <a:off x="755576" y="980728"/>
            <a:ext cx="6864424" cy="46242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6" name="Gruppieren 15"/>
            <p:cNvGrpSpPr/>
            <p:nvPr/>
          </p:nvGrpSpPr>
          <p:grpSpPr>
            <a:xfrm>
              <a:off x="3419872" y="3573016"/>
              <a:ext cx="907621" cy="693658"/>
              <a:chOff x="3923928" y="3645024"/>
              <a:chExt cx="907621" cy="693658"/>
            </a:xfrm>
          </p:grpSpPr>
          <p:sp>
            <p:nvSpPr>
              <p:cNvPr id="10" name="Textfeld 9"/>
              <p:cNvSpPr txBox="1"/>
              <p:nvPr/>
            </p:nvSpPr>
            <p:spPr>
              <a:xfrm>
                <a:off x="3923928" y="4077072"/>
                <a:ext cx="907621" cy="261610"/>
              </a:xfrm>
              <a:prstGeom prst="rect">
                <a:avLst/>
              </a:prstGeom>
              <a:noFill/>
            </p:spPr>
            <p:txBody>
              <a:bodyPr wrap="square" rtlCol="0">
                <a:noAutofit/>
              </a:bodyPr>
              <a:lstStyle/>
              <a:p>
                <a:pPr algn="l" defTabSz="914400">
                  <a:buNone/>
                </a:pPr>
                <a:r>
                  <a:rPr lang="de-DE" sz="1100" b="1" i="0">
                    <a:solidFill>
                      <a:schemeClr val="tx1"/>
                    </a:solidFill>
                    <a:latin typeface="Arial"/>
                    <a:ea typeface="+mn-ea"/>
                    <a:cs typeface="+mn-cs"/>
                  </a:rPr>
                  <a:t>Homepage</a:t>
                </a:r>
                <a:endParaRPr lang="de-DE" sz="1100" b="1" dirty="0"/>
              </a:p>
            </p:txBody>
          </p:sp>
          <p:pic>
            <p:nvPicPr>
              <p:cNvPr id="15" name="Grafik 14" descr="home.gif"/>
              <p:cNvPicPr>
                <a:picLocks noChangeAspect="1"/>
              </p:cNvPicPr>
              <p:nvPr/>
            </p:nvPicPr>
            <p:blipFill>
              <a:blip r:embed="rId8"/>
              <a:stretch>
                <a:fillRect/>
              </a:stretch>
            </p:blipFill>
            <p:spPr>
              <a:xfrm>
                <a:off x="4139952" y="3645024"/>
                <a:ext cx="476250" cy="476250"/>
              </a:xfrm>
              <a:prstGeom prst="rect">
                <a:avLst/>
              </a:prstGeom>
            </p:spPr>
          </p:pic>
        </p:grpSp>
        <p:grpSp>
          <p:nvGrpSpPr>
            <p:cNvPr id="19" name="Gruppieren 18"/>
            <p:cNvGrpSpPr/>
            <p:nvPr/>
          </p:nvGrpSpPr>
          <p:grpSpPr>
            <a:xfrm>
              <a:off x="3995936" y="4797152"/>
              <a:ext cx="700833" cy="693658"/>
              <a:chOff x="4087191" y="4725144"/>
              <a:chExt cx="700833" cy="693658"/>
            </a:xfrm>
          </p:grpSpPr>
          <p:pic>
            <p:nvPicPr>
              <p:cNvPr id="17" name="Grafik 16" descr="profiles.gif"/>
              <p:cNvPicPr>
                <a:picLocks noChangeAspect="1"/>
              </p:cNvPicPr>
              <p:nvPr/>
            </p:nvPicPr>
            <p:blipFill>
              <a:blip r:embed="rId9"/>
              <a:stretch>
                <a:fillRect/>
              </a:stretch>
            </p:blipFill>
            <p:spPr>
              <a:xfrm>
                <a:off x="4211960" y="4725144"/>
                <a:ext cx="476250" cy="476250"/>
              </a:xfrm>
              <a:prstGeom prst="rect">
                <a:avLst/>
              </a:prstGeom>
            </p:spPr>
          </p:pic>
          <p:sp>
            <p:nvSpPr>
              <p:cNvPr id="18" name="Textfeld 17"/>
              <p:cNvSpPr txBox="1"/>
              <p:nvPr/>
            </p:nvSpPr>
            <p:spPr>
              <a:xfrm>
                <a:off x="4087191" y="5157192"/>
                <a:ext cx="700833" cy="261610"/>
              </a:xfrm>
              <a:prstGeom prst="rect">
                <a:avLst/>
              </a:prstGeom>
              <a:noFill/>
            </p:spPr>
            <p:txBody>
              <a:bodyPr wrap="square" rtlCol="0">
                <a:noAutofit/>
              </a:bodyPr>
              <a:lstStyle/>
              <a:p>
                <a:pPr algn="l" defTabSz="914400">
                  <a:buNone/>
                </a:pPr>
                <a:r>
                  <a:rPr lang="de-DE" sz="1100" b="1" i="0">
                    <a:solidFill>
                      <a:schemeClr val="tx1"/>
                    </a:solidFill>
                    <a:latin typeface="Arial"/>
                    <a:ea typeface="+mn-ea"/>
                    <a:cs typeface="+mn-cs"/>
                  </a:rPr>
                  <a:t>Profile</a:t>
                </a:r>
                <a:endParaRPr lang="de-DE" sz="1100" b="1" dirty="0" smtClean="0"/>
              </a:p>
            </p:txBody>
          </p:sp>
        </p:grpSp>
        <p:grpSp>
          <p:nvGrpSpPr>
            <p:cNvPr id="25" name="Gruppieren 24"/>
            <p:cNvGrpSpPr/>
            <p:nvPr/>
          </p:nvGrpSpPr>
          <p:grpSpPr>
            <a:xfrm>
              <a:off x="2411759" y="3501008"/>
              <a:ext cx="792089" cy="693658"/>
              <a:chOff x="2411759" y="3501008"/>
              <a:chExt cx="792089" cy="693658"/>
            </a:xfrm>
          </p:grpSpPr>
          <p:pic>
            <p:nvPicPr>
              <p:cNvPr id="21" name="Grafik 20" descr="files.gif"/>
              <p:cNvPicPr>
                <a:picLocks noChangeAspect="1"/>
              </p:cNvPicPr>
              <p:nvPr/>
            </p:nvPicPr>
            <p:blipFill>
              <a:blip r:embed="rId10"/>
              <a:stretch>
                <a:fillRect/>
              </a:stretch>
            </p:blipFill>
            <p:spPr>
              <a:xfrm>
                <a:off x="2555776" y="3501008"/>
                <a:ext cx="476250" cy="476250"/>
              </a:xfrm>
              <a:prstGeom prst="rect">
                <a:avLst/>
              </a:prstGeom>
            </p:spPr>
          </p:pic>
          <p:sp>
            <p:nvSpPr>
              <p:cNvPr id="24" name="Textfeld 23"/>
              <p:cNvSpPr txBox="1"/>
              <p:nvPr/>
            </p:nvSpPr>
            <p:spPr>
              <a:xfrm>
                <a:off x="2411759" y="3933056"/>
                <a:ext cx="792089" cy="261610"/>
              </a:xfrm>
              <a:prstGeom prst="rect">
                <a:avLst/>
              </a:prstGeom>
              <a:noFill/>
            </p:spPr>
            <p:txBody>
              <a:bodyPr wrap="square" rtlCol="0">
                <a:noAutofit/>
              </a:bodyPr>
              <a:lstStyle/>
              <a:p>
                <a:pPr algn="l" defTabSz="914400">
                  <a:buNone/>
                </a:pPr>
                <a:r>
                  <a:rPr lang="de-DE" sz="1100" b="1" i="0" dirty="0">
                    <a:solidFill>
                      <a:schemeClr val="tx1"/>
                    </a:solidFill>
                    <a:latin typeface="Arial"/>
                    <a:ea typeface="+mn-ea"/>
                    <a:cs typeface="+mn-cs"/>
                  </a:rPr>
                  <a:t>Dateien</a:t>
                </a:r>
                <a:endParaRPr lang="de-DE" sz="1100" b="1" dirty="0"/>
              </a:p>
            </p:txBody>
          </p:sp>
        </p:grpSp>
        <p:grpSp>
          <p:nvGrpSpPr>
            <p:cNvPr id="27" name="Gruppieren 26"/>
            <p:cNvGrpSpPr/>
            <p:nvPr/>
          </p:nvGrpSpPr>
          <p:grpSpPr>
            <a:xfrm>
              <a:off x="2699792" y="2708920"/>
              <a:ext cx="1080121" cy="720080"/>
              <a:chOff x="4878035" y="3140968"/>
              <a:chExt cx="1080121" cy="720080"/>
            </a:xfrm>
          </p:grpSpPr>
          <p:pic>
            <p:nvPicPr>
              <p:cNvPr id="23" name="Grafik 22" descr="bookmarks.gif"/>
              <p:cNvPicPr>
                <a:picLocks noChangeAspect="1"/>
              </p:cNvPicPr>
              <p:nvPr/>
            </p:nvPicPr>
            <p:blipFill>
              <a:blip r:embed="rId11"/>
              <a:stretch>
                <a:fillRect/>
              </a:stretch>
            </p:blipFill>
            <p:spPr>
              <a:xfrm>
                <a:off x="5220072" y="3140968"/>
                <a:ext cx="476250" cy="476250"/>
              </a:xfrm>
              <a:prstGeom prst="rect">
                <a:avLst/>
              </a:prstGeom>
            </p:spPr>
          </p:pic>
          <p:sp>
            <p:nvSpPr>
              <p:cNvPr id="26" name="Textfeld 25"/>
              <p:cNvSpPr txBox="1"/>
              <p:nvPr/>
            </p:nvSpPr>
            <p:spPr>
              <a:xfrm>
                <a:off x="4878035" y="3599438"/>
                <a:ext cx="1080121" cy="261610"/>
              </a:xfrm>
              <a:prstGeom prst="rect">
                <a:avLst/>
              </a:prstGeom>
              <a:noFill/>
            </p:spPr>
            <p:txBody>
              <a:bodyPr wrap="square" rtlCol="0">
                <a:noAutofit/>
              </a:bodyPr>
              <a:lstStyle/>
              <a:p>
                <a:pPr algn="l" defTabSz="914400">
                  <a:buNone/>
                </a:pPr>
                <a:r>
                  <a:rPr lang="de-DE" sz="1100" b="1" i="0" dirty="0">
                    <a:solidFill>
                      <a:schemeClr val="tx1"/>
                    </a:solidFill>
                    <a:latin typeface="Arial"/>
                    <a:ea typeface="+mn-ea"/>
                    <a:cs typeface="+mn-cs"/>
                  </a:rPr>
                  <a:t>Lesezeichen</a:t>
                </a:r>
                <a:endParaRPr lang="de-DE" sz="1100" b="1" dirty="0"/>
              </a:p>
            </p:txBody>
          </p:sp>
        </p:grpSp>
        <p:grpSp>
          <p:nvGrpSpPr>
            <p:cNvPr id="29" name="Gruppieren 28"/>
            <p:cNvGrpSpPr/>
            <p:nvPr/>
          </p:nvGrpSpPr>
          <p:grpSpPr>
            <a:xfrm>
              <a:off x="5292080" y="3645024"/>
              <a:ext cx="577402" cy="693658"/>
              <a:chOff x="5218734" y="3212976"/>
              <a:chExt cx="577402" cy="693658"/>
            </a:xfrm>
          </p:grpSpPr>
          <p:pic>
            <p:nvPicPr>
              <p:cNvPr id="20" name="Grafik 19" descr="blogs.gif"/>
              <p:cNvPicPr>
                <a:picLocks noChangeAspect="1"/>
              </p:cNvPicPr>
              <p:nvPr/>
            </p:nvPicPr>
            <p:blipFill>
              <a:blip r:embed="rId12"/>
              <a:stretch>
                <a:fillRect/>
              </a:stretch>
            </p:blipFill>
            <p:spPr>
              <a:xfrm>
                <a:off x="5269310" y="3212976"/>
                <a:ext cx="476250" cy="476250"/>
              </a:xfrm>
              <a:prstGeom prst="rect">
                <a:avLst/>
              </a:prstGeom>
            </p:spPr>
          </p:pic>
          <p:sp>
            <p:nvSpPr>
              <p:cNvPr id="28" name="Textfeld 27"/>
              <p:cNvSpPr txBox="1"/>
              <p:nvPr/>
            </p:nvSpPr>
            <p:spPr>
              <a:xfrm>
                <a:off x="5218734" y="3645024"/>
                <a:ext cx="577402" cy="261610"/>
              </a:xfrm>
              <a:prstGeom prst="rect">
                <a:avLst/>
              </a:prstGeom>
              <a:noFill/>
            </p:spPr>
            <p:txBody>
              <a:bodyPr wrap="square" rtlCol="0">
                <a:noAutofit/>
              </a:bodyPr>
              <a:lstStyle/>
              <a:p>
                <a:pPr algn="l" defTabSz="914400">
                  <a:buNone/>
                </a:pPr>
                <a:r>
                  <a:rPr lang="de-DE" sz="1100" b="1" i="0">
                    <a:solidFill>
                      <a:schemeClr val="tx1"/>
                    </a:solidFill>
                    <a:latin typeface="Arial"/>
                    <a:ea typeface="+mn-ea"/>
                    <a:cs typeface="+mn-cs"/>
                  </a:rPr>
                  <a:t>Blogs</a:t>
                </a:r>
                <a:endParaRPr lang="de-DE" sz="1100" b="1" dirty="0"/>
              </a:p>
            </p:txBody>
          </p:sp>
        </p:grpSp>
        <p:grpSp>
          <p:nvGrpSpPr>
            <p:cNvPr id="31" name="Gruppieren 30"/>
            <p:cNvGrpSpPr/>
            <p:nvPr/>
          </p:nvGrpSpPr>
          <p:grpSpPr>
            <a:xfrm>
              <a:off x="4644008" y="2663334"/>
              <a:ext cx="1224136" cy="827028"/>
              <a:chOff x="4644008" y="2564904"/>
              <a:chExt cx="1224136" cy="827028"/>
            </a:xfrm>
          </p:grpSpPr>
          <p:pic>
            <p:nvPicPr>
              <p:cNvPr id="22" name="Grafik 21" descr="status_updates.gif"/>
              <p:cNvPicPr>
                <a:picLocks noChangeAspect="1"/>
              </p:cNvPicPr>
              <p:nvPr/>
            </p:nvPicPr>
            <p:blipFill>
              <a:blip r:embed="rId13"/>
              <a:stretch>
                <a:fillRect/>
              </a:stretch>
            </p:blipFill>
            <p:spPr>
              <a:xfrm>
                <a:off x="4835952" y="2564904"/>
                <a:ext cx="476250" cy="476250"/>
              </a:xfrm>
              <a:prstGeom prst="rect">
                <a:avLst/>
              </a:prstGeom>
            </p:spPr>
          </p:pic>
          <p:sp>
            <p:nvSpPr>
              <p:cNvPr id="30" name="Textfeld 29"/>
              <p:cNvSpPr txBox="1"/>
              <p:nvPr/>
            </p:nvSpPr>
            <p:spPr>
              <a:xfrm>
                <a:off x="4644008" y="2942414"/>
                <a:ext cx="1224136" cy="449518"/>
              </a:xfrm>
              <a:prstGeom prst="rect">
                <a:avLst/>
              </a:prstGeom>
              <a:noFill/>
            </p:spPr>
            <p:txBody>
              <a:bodyPr wrap="square" rtlCol="0">
                <a:noAutofit/>
              </a:bodyPr>
              <a:lstStyle/>
              <a:p>
                <a:pPr algn="l" defTabSz="914400">
                  <a:buNone/>
                </a:pPr>
                <a:r>
                  <a:rPr lang="de-DE" sz="1100" b="1" i="0" dirty="0" err="1" smtClean="0">
                    <a:solidFill>
                      <a:schemeClr val="tx1"/>
                    </a:solidFill>
                    <a:latin typeface="Arial"/>
                    <a:ea typeface="+mn-ea"/>
                    <a:cs typeface="+mn-cs"/>
                  </a:rPr>
                  <a:t>Statusaktuali-sierungen</a:t>
                </a:r>
                <a:endParaRPr lang="de-DE" sz="1100" b="1" dirty="0"/>
              </a:p>
            </p:txBody>
          </p:sp>
        </p:grpSp>
        <p:grpSp>
          <p:nvGrpSpPr>
            <p:cNvPr id="37" name="Gruppieren 36"/>
            <p:cNvGrpSpPr/>
            <p:nvPr/>
          </p:nvGrpSpPr>
          <p:grpSpPr>
            <a:xfrm>
              <a:off x="2627784" y="1412776"/>
              <a:ext cx="1077539" cy="704691"/>
              <a:chOff x="2051720" y="2060848"/>
              <a:chExt cx="1077539" cy="704691"/>
            </a:xfrm>
          </p:grpSpPr>
          <p:pic>
            <p:nvPicPr>
              <p:cNvPr id="32" name="Grafik 31" descr="communities.gif"/>
              <p:cNvPicPr>
                <a:picLocks noChangeAspect="1"/>
              </p:cNvPicPr>
              <p:nvPr/>
            </p:nvPicPr>
            <p:blipFill>
              <a:blip r:embed="rId14"/>
              <a:stretch>
                <a:fillRect/>
              </a:stretch>
            </p:blipFill>
            <p:spPr>
              <a:xfrm>
                <a:off x="2393241" y="2060848"/>
                <a:ext cx="476250" cy="476250"/>
              </a:xfrm>
              <a:prstGeom prst="rect">
                <a:avLst/>
              </a:prstGeom>
            </p:spPr>
          </p:pic>
          <p:sp>
            <p:nvSpPr>
              <p:cNvPr id="36" name="Textfeld 35"/>
              <p:cNvSpPr txBox="1"/>
              <p:nvPr/>
            </p:nvSpPr>
            <p:spPr>
              <a:xfrm>
                <a:off x="2051720" y="2503929"/>
                <a:ext cx="1077539" cy="261610"/>
              </a:xfrm>
              <a:prstGeom prst="rect">
                <a:avLst/>
              </a:prstGeom>
              <a:noFill/>
            </p:spPr>
            <p:txBody>
              <a:bodyPr wrap="square" rtlCol="0">
                <a:noAutofit/>
              </a:bodyPr>
              <a:lstStyle/>
              <a:p>
                <a:pPr algn="l" defTabSz="914400">
                  <a:buNone/>
                </a:pPr>
                <a:r>
                  <a:rPr lang="de-DE" sz="1100" b="1" i="0">
                    <a:solidFill>
                      <a:schemeClr val="tx1"/>
                    </a:solidFill>
                    <a:latin typeface="Arial"/>
                    <a:ea typeface="+mn-ea"/>
                    <a:cs typeface="+mn-cs"/>
                  </a:rPr>
                  <a:t>Communities</a:t>
                </a:r>
                <a:endParaRPr lang="de-DE" sz="1100" b="1" dirty="0"/>
              </a:p>
            </p:txBody>
          </p:sp>
        </p:grpSp>
        <p:grpSp>
          <p:nvGrpSpPr>
            <p:cNvPr id="41" name="Gruppieren 40"/>
            <p:cNvGrpSpPr/>
            <p:nvPr/>
          </p:nvGrpSpPr>
          <p:grpSpPr>
            <a:xfrm>
              <a:off x="2195736" y="2132856"/>
              <a:ext cx="617222" cy="737550"/>
              <a:chOff x="2195736" y="2132856"/>
              <a:chExt cx="617222" cy="737550"/>
            </a:xfrm>
          </p:grpSpPr>
          <p:pic>
            <p:nvPicPr>
              <p:cNvPr id="33" name="Grafik 32" descr="wiki.gif"/>
              <p:cNvPicPr>
                <a:picLocks noChangeAspect="1"/>
              </p:cNvPicPr>
              <p:nvPr/>
            </p:nvPicPr>
            <p:blipFill>
              <a:blip r:embed="rId15"/>
              <a:stretch>
                <a:fillRect/>
              </a:stretch>
            </p:blipFill>
            <p:spPr>
              <a:xfrm>
                <a:off x="2267744" y="2132856"/>
                <a:ext cx="476250" cy="476250"/>
              </a:xfrm>
              <a:prstGeom prst="rect">
                <a:avLst/>
              </a:prstGeom>
            </p:spPr>
          </p:pic>
          <p:sp>
            <p:nvSpPr>
              <p:cNvPr id="38" name="Textfeld 37"/>
              <p:cNvSpPr txBox="1"/>
              <p:nvPr/>
            </p:nvSpPr>
            <p:spPr>
              <a:xfrm>
                <a:off x="2195736" y="2608796"/>
                <a:ext cx="617222" cy="261610"/>
              </a:xfrm>
              <a:prstGeom prst="rect">
                <a:avLst/>
              </a:prstGeom>
              <a:noFill/>
            </p:spPr>
            <p:txBody>
              <a:bodyPr wrap="square" rtlCol="0">
                <a:noAutofit/>
              </a:bodyPr>
              <a:lstStyle/>
              <a:p>
                <a:pPr algn="l" defTabSz="914400">
                  <a:buNone/>
                </a:pPr>
                <a:r>
                  <a:rPr lang="de-DE" sz="1100" b="1" i="0" dirty="0">
                    <a:solidFill>
                      <a:schemeClr val="tx1"/>
                    </a:solidFill>
                    <a:latin typeface="Arial"/>
                    <a:ea typeface="+mn-ea"/>
                    <a:cs typeface="+mn-cs"/>
                  </a:rPr>
                  <a:t>Wikis</a:t>
                </a:r>
                <a:endParaRPr lang="de-DE" sz="1100" b="1" dirty="0"/>
              </a:p>
            </p:txBody>
          </p:sp>
        </p:grpSp>
        <p:grpSp>
          <p:nvGrpSpPr>
            <p:cNvPr id="40" name="Gruppieren 39"/>
            <p:cNvGrpSpPr/>
            <p:nvPr/>
          </p:nvGrpSpPr>
          <p:grpSpPr>
            <a:xfrm>
              <a:off x="5508104" y="2132856"/>
              <a:ext cx="702436" cy="693658"/>
              <a:chOff x="4932040" y="1484784"/>
              <a:chExt cx="702436" cy="693658"/>
            </a:xfrm>
          </p:grpSpPr>
          <p:pic>
            <p:nvPicPr>
              <p:cNvPr id="34" name="Grafik 33" descr="forums.gif"/>
              <p:cNvPicPr>
                <a:picLocks noChangeAspect="1"/>
              </p:cNvPicPr>
              <p:nvPr/>
            </p:nvPicPr>
            <p:blipFill>
              <a:blip r:embed="rId16"/>
              <a:stretch>
                <a:fillRect/>
              </a:stretch>
            </p:blipFill>
            <p:spPr>
              <a:xfrm>
                <a:off x="5045133" y="1484784"/>
                <a:ext cx="476250" cy="476250"/>
              </a:xfrm>
              <a:prstGeom prst="rect">
                <a:avLst/>
              </a:prstGeom>
            </p:spPr>
          </p:pic>
          <p:sp>
            <p:nvSpPr>
              <p:cNvPr id="39" name="Textfeld 38"/>
              <p:cNvSpPr txBox="1"/>
              <p:nvPr/>
            </p:nvSpPr>
            <p:spPr>
              <a:xfrm>
                <a:off x="4932040" y="1916832"/>
                <a:ext cx="702436" cy="261610"/>
              </a:xfrm>
              <a:prstGeom prst="rect">
                <a:avLst/>
              </a:prstGeom>
              <a:noFill/>
            </p:spPr>
            <p:txBody>
              <a:bodyPr wrap="square" rtlCol="0">
                <a:noAutofit/>
              </a:bodyPr>
              <a:lstStyle/>
              <a:p>
                <a:pPr algn="l" defTabSz="914400">
                  <a:buNone/>
                </a:pPr>
                <a:r>
                  <a:rPr lang="de-DE" sz="1100" b="1" i="0">
                    <a:solidFill>
                      <a:schemeClr val="tx1"/>
                    </a:solidFill>
                    <a:latin typeface="Arial"/>
                    <a:ea typeface="+mn-ea"/>
                    <a:cs typeface="+mn-cs"/>
                  </a:rPr>
                  <a:t>Foren</a:t>
                </a:r>
                <a:endParaRPr lang="de-DE" sz="1100" b="1" dirty="0"/>
              </a:p>
            </p:txBody>
          </p:sp>
        </p:grpSp>
        <p:grpSp>
          <p:nvGrpSpPr>
            <p:cNvPr id="43" name="Gruppieren 42"/>
            <p:cNvGrpSpPr/>
            <p:nvPr/>
          </p:nvGrpSpPr>
          <p:grpSpPr>
            <a:xfrm>
              <a:off x="4716016" y="1412776"/>
              <a:ext cx="881845" cy="693658"/>
              <a:chOff x="5364088" y="2204864"/>
              <a:chExt cx="881845" cy="693658"/>
            </a:xfrm>
          </p:grpSpPr>
          <p:pic>
            <p:nvPicPr>
              <p:cNvPr id="35" name="Grafik 34" descr="activities.gif"/>
              <p:cNvPicPr>
                <a:picLocks noChangeAspect="1"/>
              </p:cNvPicPr>
              <p:nvPr/>
            </p:nvPicPr>
            <p:blipFill>
              <a:blip r:embed="rId17"/>
              <a:stretch>
                <a:fillRect/>
              </a:stretch>
            </p:blipFill>
            <p:spPr>
              <a:xfrm>
                <a:off x="5580112" y="2204864"/>
                <a:ext cx="476250" cy="476250"/>
              </a:xfrm>
              <a:prstGeom prst="rect">
                <a:avLst/>
              </a:prstGeom>
            </p:spPr>
          </p:pic>
          <p:sp>
            <p:nvSpPr>
              <p:cNvPr id="42" name="Textfeld 41"/>
              <p:cNvSpPr txBox="1"/>
              <p:nvPr/>
            </p:nvSpPr>
            <p:spPr>
              <a:xfrm>
                <a:off x="5364088" y="2636912"/>
                <a:ext cx="881845" cy="261610"/>
              </a:xfrm>
              <a:prstGeom prst="rect">
                <a:avLst/>
              </a:prstGeom>
              <a:noFill/>
            </p:spPr>
            <p:txBody>
              <a:bodyPr wrap="square" rtlCol="0">
                <a:noAutofit/>
              </a:bodyPr>
              <a:lstStyle/>
              <a:p>
                <a:pPr algn="l" defTabSz="914400">
                  <a:buNone/>
                </a:pPr>
                <a:r>
                  <a:rPr lang="de-DE" sz="1100" b="1" i="0" dirty="0">
                    <a:solidFill>
                      <a:schemeClr val="tx1"/>
                    </a:solidFill>
                    <a:latin typeface="Arial"/>
                    <a:ea typeface="+mn-ea"/>
                    <a:cs typeface="+mn-cs"/>
                  </a:rPr>
                  <a:t>Aufgaben</a:t>
                </a:r>
                <a:endParaRPr lang="de-DE" sz="1100" b="1" dirty="0"/>
              </a:p>
            </p:txBody>
          </p:sp>
        </p:grpSp>
      </p:grpSp>
      <p:sp>
        <p:nvSpPr>
          <p:cNvPr id="44" name="Legende mit Pfeil nach links 43"/>
          <p:cNvSpPr/>
          <p:nvPr/>
        </p:nvSpPr>
        <p:spPr>
          <a:xfrm>
            <a:off x="6084168" y="1016732"/>
            <a:ext cx="2304256" cy="4608512"/>
          </a:xfrm>
          <a:prstGeom prst="leftArrowCallout">
            <a:avLst/>
          </a:prstGeom>
          <a:solidFill>
            <a:schemeClr val="bg1">
              <a:lumMod val="85000"/>
            </a:schemeClr>
          </a:solidFill>
          <a:ln w="28575">
            <a:solidFill>
              <a:schemeClr val="bg1"/>
            </a:solidFill>
          </a:ln>
        </p:spPr>
        <p:style>
          <a:lnRef idx="1">
            <a:schemeClr val="accent5"/>
          </a:lnRef>
          <a:fillRef idx="2">
            <a:schemeClr val="accent5"/>
          </a:fillRef>
          <a:effectRef idx="1">
            <a:schemeClr val="accent5"/>
          </a:effectRef>
          <a:fontRef idx="minor">
            <a:schemeClr val="dk1"/>
          </a:fontRef>
        </p:style>
        <p:txBody>
          <a:bodyPr wrap="square" rtlCol="0" anchor="ctr">
            <a:noAutofit/>
          </a:bodyPr>
          <a:lstStyle/>
          <a:p>
            <a:pPr algn="ctr" defTabSz="914400">
              <a:buNone/>
            </a:pPr>
            <a:r>
              <a:rPr lang="de-DE" sz="1600" b="1" i="0">
                <a:solidFill>
                  <a:schemeClr val="dk1"/>
                </a:solidFill>
                <a:latin typeface="Arial"/>
                <a:ea typeface="+mn-ea"/>
                <a:cs typeface="+mn-cs"/>
              </a:rPr>
              <a:t>IBM Connections als</a:t>
            </a:r>
            <a:endParaRPr lang="de-DE" sz="1600" b="1" dirty="0" smtClean="0"/>
          </a:p>
          <a:p>
            <a:pPr algn="ctr" defTabSz="914400">
              <a:buNone/>
            </a:pPr>
            <a:endParaRPr lang="de-DE" sz="1600" b="1" dirty="0" smtClean="0"/>
          </a:p>
          <a:p>
            <a:pPr algn="ctr" defTabSz="914400">
              <a:buNone/>
            </a:pPr>
            <a:r>
              <a:rPr lang="en-US" sz="1600" b="1" i="0">
                <a:solidFill>
                  <a:srgbClr val="FF9900"/>
                </a:solidFill>
                <a:latin typeface="Arial"/>
                <a:ea typeface="+mn-ea"/>
                <a:cs typeface="+mn-cs"/>
              </a:rPr>
              <a:t>„Business-Facebook“ </a:t>
            </a:r>
            <a:br>
              <a:rPr lang="en-US" sz="1600" b="1" i="0">
                <a:solidFill>
                  <a:srgbClr val="FF9900"/>
                </a:solidFill>
                <a:latin typeface="Arial"/>
                <a:ea typeface="+mn-ea"/>
                <a:cs typeface="+mn-cs"/>
              </a:rPr>
            </a:br>
            <a:endParaRPr lang="en-US" sz="1600" b="1" dirty="0" smtClean="0">
              <a:solidFill>
                <a:schemeClr val="accent1"/>
              </a:solidFill>
            </a:endParaRPr>
          </a:p>
          <a:p>
            <a:pPr algn="ctr" defTabSz="914400">
              <a:buNone/>
            </a:pPr>
            <a:r>
              <a:rPr lang="en-US" sz="1600" b="1" i="0">
                <a:solidFill>
                  <a:schemeClr val="dk1"/>
                </a:solidFill>
                <a:latin typeface="Arial"/>
                <a:ea typeface="+mn-ea"/>
                <a:cs typeface="+mn-cs"/>
              </a:rPr>
              <a:t>von Continental</a:t>
            </a:r>
            <a:endParaRPr lang="de-DE" sz="1600" b="1" dirty="0" smtClean="0"/>
          </a:p>
        </p:txBody>
      </p:sp>
      <p:pic>
        <p:nvPicPr>
          <p:cNvPr id="5122" name="Picture 2" descr="http://www.danijel-stanic.de/wp-content/uploads/2010/11/connections_logo.png"/>
          <p:cNvPicPr>
            <a:picLocks noChangeAspect="1" noChangeArrowheads="1"/>
          </p:cNvPicPr>
          <p:nvPr/>
        </p:nvPicPr>
        <p:blipFill>
          <a:blip r:embed="rId18" cstate="print"/>
          <a:srcRect/>
          <a:stretch>
            <a:fillRect/>
          </a:stretch>
        </p:blipFill>
        <p:spPr bwMode="auto">
          <a:xfrm>
            <a:off x="7236296" y="1196752"/>
            <a:ext cx="864096" cy="893969"/>
          </a:xfrm>
          <a:prstGeom prst="rect">
            <a:avLst/>
          </a:prstGeom>
          <a:noFill/>
        </p:spPr>
      </p:pic>
      <p:pic>
        <p:nvPicPr>
          <p:cNvPr id="46" name="Grafik 45" descr="searchlupe.gif"/>
          <p:cNvPicPr>
            <a:picLocks noChangeAspect="1"/>
          </p:cNvPicPr>
          <p:nvPr/>
        </p:nvPicPr>
        <p:blipFill>
          <a:blip r:embed="rId19"/>
          <a:stretch>
            <a:fillRect/>
          </a:stretch>
        </p:blipFill>
        <p:spPr>
          <a:xfrm>
            <a:off x="5361605" y="4509120"/>
            <a:ext cx="794571" cy="720080"/>
          </a:xfrm>
          <a:prstGeom prst="rect">
            <a:avLst/>
          </a:prstGeom>
        </p:spPr>
      </p:pic>
      <p:grpSp>
        <p:nvGrpSpPr>
          <p:cNvPr id="48" name="Gruppieren 58"/>
          <p:cNvGrpSpPr/>
          <p:nvPr/>
        </p:nvGrpSpPr>
        <p:grpSpPr>
          <a:xfrm>
            <a:off x="467544" y="1196752"/>
            <a:ext cx="1080120" cy="780371"/>
            <a:chOff x="2555776" y="2649401"/>
            <a:chExt cx="3770065" cy="2723815"/>
          </a:xfrm>
          <a:effectLst/>
        </p:grpSpPr>
        <p:sp>
          <p:nvSpPr>
            <p:cNvPr id="50" name="Ellipse 49"/>
            <p:cNvSpPr/>
            <p:nvPr/>
          </p:nvSpPr>
          <p:spPr bwMode="auto">
            <a:xfrm>
              <a:off x="2555776" y="2649401"/>
              <a:ext cx="3770065" cy="2723815"/>
            </a:xfrm>
            <a:prstGeom prst="ellipse">
              <a:avLst/>
            </a:prstGeom>
            <a:ln>
              <a:headEnd type="none" w="sm" len="sm"/>
              <a:tailEnd type="none" w="sm" len="sm"/>
            </a:ln>
            <a:effectLst>
              <a:outerShdw blurRad="50800" dist="38100" dir="2700000" algn="tl" rotWithShape="0">
                <a:prstClr val="black">
                  <a:alpha val="40000"/>
                </a:prstClr>
              </a:outerShdw>
            </a:effectLst>
          </p:spPr>
          <p:style>
            <a:lnRef idx="2">
              <a:schemeClr val="accent4"/>
            </a:lnRef>
            <a:fillRef idx="1">
              <a:schemeClr val="lt1"/>
            </a:fillRef>
            <a:effectRef idx="0">
              <a:schemeClr val="accent4"/>
            </a:effectRef>
            <a:fontRef idx="minor">
              <a:schemeClr val="dk1"/>
            </a:fontRef>
          </p:style>
          <p:txBody>
            <a:bodyPr vert="horz" wrap="square" lIns="80165" tIns="40083" rIns="80165" bIns="40083" numCol="1" rtlCol="0" anchor="t" anchorCtr="0" compatLnSpc="1">
              <a:prstTxWarp prst="textNoShape">
                <a:avLst/>
              </a:prstTxWarp>
              <a:noAutofit/>
            </a:bodyPr>
            <a:lstStyle/>
            <a:p>
              <a:pPr defTabSz="801654"/>
              <a:endParaRPr lang="de-DE" sz="1200" dirty="0"/>
            </a:p>
          </p:txBody>
        </p:sp>
        <p:sp>
          <p:nvSpPr>
            <p:cNvPr id="51" name="Textfeld 50"/>
            <p:cNvSpPr txBox="1"/>
            <p:nvPr/>
          </p:nvSpPr>
          <p:spPr>
            <a:xfrm>
              <a:off x="2765883" y="3147373"/>
              <a:ext cx="3386247" cy="2016224"/>
            </a:xfrm>
            <a:prstGeom prst="rect">
              <a:avLst/>
            </a:prstGeom>
            <a:noFill/>
            <a:ln w="28575">
              <a:noFill/>
            </a:ln>
          </p:spPr>
          <p:txBody>
            <a:bodyPr wrap="square" lIns="0" tIns="40083" rIns="0" bIns="40083" rtlCol="0" anchor="ctr" anchorCtr="0">
              <a:prstTxWarp prst="textArchDown">
                <a:avLst>
                  <a:gd name="adj" fmla="val 1"/>
                </a:avLst>
              </a:prstTxWarp>
              <a:noAutofit/>
            </a:bodyPr>
            <a:lstStyle/>
            <a:p>
              <a:pPr algn="ctr"/>
              <a:endParaRPr lang="en-US" sz="800" dirty="0"/>
            </a:p>
          </p:txBody>
        </p:sp>
        <p:pic>
          <p:nvPicPr>
            <p:cNvPr id="52" name="Picture 3"/>
            <p:cNvPicPr>
              <a:picLocks noChangeAspect="1" noChangeArrowheads="1"/>
            </p:cNvPicPr>
            <p:nvPr/>
          </p:nvPicPr>
          <p:blipFill>
            <a:blip r:embed="rId20"/>
            <a:srcRect/>
            <a:stretch>
              <a:fillRect/>
            </a:stretch>
          </p:blipFill>
          <p:spPr bwMode="auto">
            <a:xfrm>
              <a:off x="3480187" y="2931349"/>
              <a:ext cx="1939156" cy="1656005"/>
            </a:xfrm>
            <a:prstGeom prst="rect">
              <a:avLst/>
            </a:prstGeom>
            <a:noFill/>
            <a:ln w="9525">
              <a:noFill/>
              <a:miter lim="800000"/>
              <a:headEnd/>
              <a:tailEnd/>
            </a:ln>
          </p:spPr>
        </p:pic>
      </p:grpSp>
      <p:pic>
        <p:nvPicPr>
          <p:cNvPr id="53" name="Picture 10" descr="http://www.topbyte.net/__C125703F00433F89.NSF/0E5DA3C7D3A2BD2AC12575660073C896/$FILE/logo.jpg"/>
          <p:cNvPicPr>
            <a:picLocks noChangeAspect="1" noChangeArrowheads="1"/>
          </p:cNvPicPr>
          <p:nvPr/>
        </p:nvPicPr>
        <p:blipFill>
          <a:blip r:embed="rId21" cstate="print"/>
          <a:srcRect/>
          <a:stretch>
            <a:fillRect/>
          </a:stretch>
        </p:blipFill>
        <p:spPr bwMode="auto">
          <a:xfrm>
            <a:off x="504654" y="4509120"/>
            <a:ext cx="610962" cy="648072"/>
          </a:xfrm>
          <a:prstGeom prst="rect">
            <a:avLst/>
          </a:prstGeom>
          <a:noFill/>
        </p:spPr>
      </p:pic>
      <p:sp>
        <p:nvSpPr>
          <p:cNvPr id="49" name="Textfeld 48"/>
          <p:cNvSpPr txBox="1"/>
          <p:nvPr/>
        </p:nvSpPr>
        <p:spPr>
          <a:xfrm>
            <a:off x="395536" y="5157192"/>
            <a:ext cx="1728192" cy="432048"/>
          </a:xfrm>
          <a:prstGeom prst="rect">
            <a:avLst/>
          </a:prstGeom>
          <a:noFill/>
        </p:spPr>
        <p:txBody>
          <a:bodyPr wrap="square" rtlCol="0">
            <a:noAutofit/>
          </a:bodyPr>
          <a:lstStyle/>
          <a:p>
            <a:pPr algn="l" defTabSz="914400">
              <a:buNone/>
            </a:pPr>
            <a:r>
              <a:rPr lang="de-DE" sz="1200" b="1" i="0" dirty="0" err="1" smtClean="0">
                <a:solidFill>
                  <a:schemeClr val="tx1"/>
                </a:solidFill>
                <a:latin typeface="Arial"/>
                <a:ea typeface="+mn-ea"/>
                <a:cs typeface="+mn-cs"/>
              </a:rPr>
              <a:t>Sametime</a:t>
            </a:r>
            <a:r>
              <a:rPr lang="de-DE" sz="1200" b="1" i="0" dirty="0" smtClean="0">
                <a:solidFill>
                  <a:schemeClr val="tx1"/>
                </a:solidFill>
                <a:latin typeface="Arial"/>
                <a:ea typeface="+mn-ea"/>
                <a:cs typeface="+mn-cs"/>
              </a:rPr>
              <a:t>: IM </a:t>
            </a:r>
            <a:r>
              <a:rPr lang="de-DE" sz="1200" b="1" i="0" dirty="0">
                <a:solidFill>
                  <a:schemeClr val="tx1"/>
                </a:solidFill>
                <a:latin typeface="Arial"/>
                <a:ea typeface="+mn-ea"/>
                <a:cs typeface="+mn-cs"/>
              </a:rPr>
              <a:t>und </a:t>
            </a:r>
            <a:r>
              <a:rPr lang="de-DE" sz="1200" b="1" i="0" dirty="0" smtClean="0">
                <a:solidFill>
                  <a:schemeClr val="tx1"/>
                </a:solidFill>
                <a:latin typeface="Arial"/>
                <a:ea typeface="+mn-ea"/>
                <a:cs typeface="+mn-cs"/>
              </a:rPr>
              <a:t>Online-Konferenzen</a:t>
            </a:r>
            <a:endParaRPr lang="de-DE" sz="1200" b="1"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uppieren 226"/>
          <p:cNvGrpSpPr/>
          <p:nvPr/>
        </p:nvGrpSpPr>
        <p:grpSpPr>
          <a:xfrm>
            <a:off x="768124" y="1078614"/>
            <a:ext cx="7492031" cy="4654642"/>
            <a:chOff x="797446" y="855284"/>
            <a:chExt cx="7431836" cy="4654642"/>
          </a:xfrm>
        </p:grpSpPr>
        <p:grpSp>
          <p:nvGrpSpPr>
            <p:cNvPr id="39" name="Gruppieren 651"/>
            <p:cNvGrpSpPr/>
            <p:nvPr/>
          </p:nvGrpSpPr>
          <p:grpSpPr>
            <a:xfrm>
              <a:off x="797446" y="1831448"/>
              <a:ext cx="7378994" cy="3678478"/>
              <a:chOff x="797446" y="2207364"/>
              <a:chExt cx="7378994" cy="3678478"/>
            </a:xfrm>
            <a:solidFill>
              <a:schemeClr val="bg1">
                <a:lumMod val="75000"/>
              </a:schemeClr>
            </a:solidFill>
            <a:effectLst>
              <a:outerShdw blurRad="50800" dist="38100" dir="2700000" algn="tl" rotWithShape="0">
                <a:prstClr val="black">
                  <a:alpha val="40000"/>
                </a:prstClr>
              </a:outerShdw>
            </a:effectLst>
          </p:grpSpPr>
          <p:grpSp>
            <p:nvGrpSpPr>
              <p:cNvPr id="61" name="Gruppieren 401"/>
              <p:cNvGrpSpPr/>
              <p:nvPr/>
            </p:nvGrpSpPr>
            <p:grpSpPr>
              <a:xfrm>
                <a:off x="797448" y="2207362"/>
                <a:ext cx="7378994" cy="3678477"/>
                <a:chOff x="103194" y="1500172"/>
                <a:chExt cx="8755080" cy="4359290"/>
              </a:xfrm>
              <a:grpFill/>
            </p:grpSpPr>
            <p:grpSp>
              <p:nvGrpSpPr>
                <p:cNvPr id="64" name="Group 2"/>
                <p:cNvGrpSpPr>
                  <a:grpSpLocks/>
                </p:cNvGrpSpPr>
                <p:nvPr/>
              </p:nvGrpSpPr>
              <p:grpSpPr bwMode="auto">
                <a:xfrm>
                  <a:off x="103194" y="1500172"/>
                  <a:ext cx="8755080" cy="4359290"/>
                  <a:chOff x="65" y="702"/>
                  <a:chExt cx="5628" cy="2746"/>
                </a:xfrm>
                <a:grpFill/>
              </p:grpSpPr>
              <p:sp>
                <p:nvSpPr>
                  <p:cNvPr id="75" name="Zimbabwe"/>
                  <p:cNvSpPr>
                    <a:spLocks/>
                  </p:cNvSpPr>
                  <p:nvPr/>
                </p:nvSpPr>
                <p:spPr bwMode="gray">
                  <a:xfrm>
                    <a:off x="3108" y="2632"/>
                    <a:ext cx="141" cy="141"/>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76" name="Zambia"/>
                  <p:cNvSpPr>
                    <a:spLocks/>
                  </p:cNvSpPr>
                  <p:nvPr/>
                </p:nvSpPr>
                <p:spPr bwMode="gray">
                  <a:xfrm>
                    <a:off x="3051" y="2478"/>
                    <a:ext cx="213" cy="204"/>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77" name="Yemen"/>
                  <p:cNvSpPr>
                    <a:spLocks/>
                  </p:cNvSpPr>
                  <p:nvPr/>
                </p:nvSpPr>
                <p:spPr bwMode="gray">
                  <a:xfrm>
                    <a:off x="3422" y="1918"/>
                    <a:ext cx="187" cy="128"/>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78" name="Western Sahara"/>
                  <p:cNvSpPr>
                    <a:spLocks/>
                  </p:cNvSpPr>
                  <p:nvPr/>
                </p:nvSpPr>
                <p:spPr bwMode="gray">
                  <a:xfrm>
                    <a:off x="2353" y="1740"/>
                    <a:ext cx="153" cy="131"/>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79" name="West Bank"/>
                  <p:cNvSpPr>
                    <a:spLocks/>
                  </p:cNvSpPr>
                  <p:nvPr/>
                </p:nvSpPr>
                <p:spPr bwMode="gray">
                  <a:xfrm>
                    <a:off x="3269" y="1641"/>
                    <a:ext cx="11" cy="24"/>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80" name="Uzbekistan"/>
                  <p:cNvSpPr>
                    <a:spLocks/>
                  </p:cNvSpPr>
                  <p:nvPr/>
                </p:nvSpPr>
                <p:spPr bwMode="gray">
                  <a:xfrm>
                    <a:off x="3586" y="1374"/>
                    <a:ext cx="303" cy="170"/>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81" name="Vietnam"/>
                  <p:cNvSpPr>
                    <a:spLocks/>
                  </p:cNvSpPr>
                  <p:nvPr/>
                </p:nvSpPr>
                <p:spPr bwMode="gray">
                  <a:xfrm>
                    <a:off x="4478" y="1828"/>
                    <a:ext cx="155" cy="305"/>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82" name="Venezuela"/>
                  <p:cNvSpPr>
                    <a:spLocks noEditPoints="1"/>
                  </p:cNvSpPr>
                  <p:nvPr/>
                </p:nvSpPr>
                <p:spPr bwMode="gray">
                  <a:xfrm>
                    <a:off x="1323" y="2059"/>
                    <a:ext cx="244" cy="238"/>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83" name="USA (Alaska)"/>
                  <p:cNvSpPr>
                    <a:spLocks noEditPoints="1"/>
                  </p:cNvSpPr>
                  <p:nvPr/>
                </p:nvSpPr>
                <p:spPr bwMode="gray">
                  <a:xfrm>
                    <a:off x="65" y="886"/>
                    <a:ext cx="786" cy="340"/>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84" name="USA"/>
                  <p:cNvSpPr>
                    <a:spLocks noEditPoints="1"/>
                  </p:cNvSpPr>
                  <p:nvPr/>
                </p:nvSpPr>
                <p:spPr bwMode="gray">
                  <a:xfrm>
                    <a:off x="579" y="1295"/>
                    <a:ext cx="1002" cy="497"/>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accent1"/>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85" name="Uruguay"/>
                  <p:cNvSpPr>
                    <a:spLocks/>
                  </p:cNvSpPr>
                  <p:nvPr/>
                </p:nvSpPr>
                <p:spPr bwMode="gray">
                  <a:xfrm>
                    <a:off x="1648" y="2931"/>
                    <a:ext cx="94" cy="98"/>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86" name="United Kingdom"/>
                  <p:cNvSpPr>
                    <a:spLocks noEditPoints="1"/>
                  </p:cNvSpPr>
                  <p:nvPr/>
                </p:nvSpPr>
                <p:spPr bwMode="gray">
                  <a:xfrm>
                    <a:off x="2558" y="1074"/>
                    <a:ext cx="148" cy="21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87" name="United Arab Emirates"/>
                  <p:cNvSpPr>
                    <a:spLocks/>
                  </p:cNvSpPr>
                  <p:nvPr/>
                </p:nvSpPr>
                <p:spPr bwMode="gray">
                  <a:xfrm>
                    <a:off x="3573" y="1763"/>
                    <a:ext cx="86" cy="82"/>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88" name="Ukraine"/>
                  <p:cNvSpPr>
                    <a:spLocks/>
                  </p:cNvSpPr>
                  <p:nvPr/>
                </p:nvSpPr>
                <p:spPr bwMode="gray">
                  <a:xfrm>
                    <a:off x="3029" y="1237"/>
                    <a:ext cx="286" cy="160"/>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89" name="Uganda"/>
                  <p:cNvSpPr>
                    <a:spLocks noEditPoints="1"/>
                  </p:cNvSpPr>
                  <p:nvPr/>
                </p:nvSpPr>
                <p:spPr bwMode="gray">
                  <a:xfrm>
                    <a:off x="3192" y="2224"/>
                    <a:ext cx="100" cy="118"/>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90" name="Turkmenistan"/>
                  <p:cNvSpPr>
                    <a:spLocks/>
                  </p:cNvSpPr>
                  <p:nvPr/>
                </p:nvSpPr>
                <p:spPr bwMode="gray">
                  <a:xfrm>
                    <a:off x="3540" y="1429"/>
                    <a:ext cx="258" cy="155"/>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91" name="Turkey"/>
                  <p:cNvSpPr>
                    <a:spLocks noEditPoints="1"/>
                  </p:cNvSpPr>
                  <p:nvPr/>
                </p:nvSpPr>
                <p:spPr bwMode="gray">
                  <a:xfrm>
                    <a:off x="3088" y="1441"/>
                    <a:ext cx="340" cy="130"/>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92" name="Tunisia"/>
                  <p:cNvSpPr>
                    <a:spLocks/>
                  </p:cNvSpPr>
                  <p:nvPr/>
                </p:nvSpPr>
                <p:spPr bwMode="gray">
                  <a:xfrm>
                    <a:off x="2792" y="1541"/>
                    <a:ext cx="70" cy="146"/>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93" name="Togo"/>
                  <p:cNvSpPr>
                    <a:spLocks/>
                  </p:cNvSpPr>
                  <p:nvPr/>
                </p:nvSpPr>
                <p:spPr bwMode="gray">
                  <a:xfrm>
                    <a:off x="2650" y="2082"/>
                    <a:ext cx="36" cy="103"/>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94" name="Thailand"/>
                  <p:cNvSpPr>
                    <a:spLocks/>
                  </p:cNvSpPr>
                  <p:nvPr/>
                </p:nvSpPr>
                <p:spPr bwMode="gray">
                  <a:xfrm>
                    <a:off x="4403" y="1889"/>
                    <a:ext cx="158" cy="304"/>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95" name="Tanzania"/>
                  <p:cNvSpPr>
                    <a:spLocks noEditPoints="1"/>
                  </p:cNvSpPr>
                  <p:nvPr/>
                </p:nvSpPr>
                <p:spPr bwMode="gray">
                  <a:xfrm>
                    <a:off x="3191" y="2331"/>
                    <a:ext cx="196" cy="222"/>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96" name="Tajikistan"/>
                  <p:cNvSpPr>
                    <a:spLocks/>
                  </p:cNvSpPr>
                  <p:nvPr/>
                </p:nvSpPr>
                <p:spPr bwMode="gray">
                  <a:xfrm>
                    <a:off x="3801" y="1466"/>
                    <a:ext cx="141" cy="89"/>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97" name="Taiwan"/>
                  <p:cNvSpPr>
                    <a:spLocks/>
                  </p:cNvSpPr>
                  <p:nvPr/>
                </p:nvSpPr>
                <p:spPr bwMode="gray">
                  <a:xfrm>
                    <a:off x="4789" y="1788"/>
                    <a:ext cx="31" cy="69"/>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rgbClr val="FF99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98" name="Syria"/>
                  <p:cNvSpPr>
                    <a:spLocks/>
                  </p:cNvSpPr>
                  <p:nvPr/>
                </p:nvSpPr>
                <p:spPr bwMode="gray">
                  <a:xfrm>
                    <a:off x="3272" y="1539"/>
                    <a:ext cx="115" cy="106"/>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99" name="Switzerland"/>
                  <p:cNvSpPr>
                    <a:spLocks/>
                  </p:cNvSpPr>
                  <p:nvPr/>
                </p:nvSpPr>
                <p:spPr bwMode="gray">
                  <a:xfrm>
                    <a:off x="2770" y="1326"/>
                    <a:ext cx="74" cy="41"/>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00" name="Sweden"/>
                  <p:cNvSpPr>
                    <a:spLocks noEditPoints="1"/>
                  </p:cNvSpPr>
                  <p:nvPr/>
                </p:nvSpPr>
                <p:spPr bwMode="gray">
                  <a:xfrm>
                    <a:off x="2854" y="924"/>
                    <a:ext cx="177" cy="253"/>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01" name="Swaziland"/>
                  <p:cNvSpPr>
                    <a:spLocks/>
                  </p:cNvSpPr>
                  <p:nvPr/>
                </p:nvSpPr>
                <p:spPr bwMode="gray">
                  <a:xfrm>
                    <a:off x="3203" y="2840"/>
                    <a:ext cx="26" cy="34"/>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02" name="Suriname"/>
                  <p:cNvSpPr>
                    <a:spLocks/>
                  </p:cNvSpPr>
                  <p:nvPr/>
                </p:nvSpPr>
                <p:spPr bwMode="gray">
                  <a:xfrm>
                    <a:off x="1596" y="2187"/>
                    <a:ext cx="75" cy="86"/>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03" name="Sudan"/>
                  <p:cNvSpPr>
                    <a:spLocks/>
                  </p:cNvSpPr>
                  <p:nvPr/>
                </p:nvSpPr>
                <p:spPr bwMode="gray">
                  <a:xfrm>
                    <a:off x="3049" y="1834"/>
                    <a:ext cx="298" cy="405"/>
                  </a:xfrm>
                  <a:custGeom>
                    <a:avLst/>
                    <a:gdLst>
                      <a:gd name="T0" fmla="*/ 2147483647 w 1164"/>
                      <a:gd name="T1" fmla="*/ 2147483647 h 1584"/>
                      <a:gd name="T2" fmla="*/ 2147483647 w 1164"/>
                      <a:gd name="T3" fmla="*/ 2147483647 h 1584"/>
                      <a:gd name="T4" fmla="*/ 2147483647 w 1164"/>
                      <a:gd name="T5" fmla="*/ 2147483647 h 1584"/>
                      <a:gd name="T6" fmla="*/ 2147483647 w 1164"/>
                      <a:gd name="T7" fmla="*/ 2147483647 h 1584"/>
                      <a:gd name="T8" fmla="*/ 2147483647 w 1164"/>
                      <a:gd name="T9" fmla="*/ 2147483647 h 1584"/>
                      <a:gd name="T10" fmla="*/ 2147483647 w 1164"/>
                      <a:gd name="T11" fmla="*/ 2147483647 h 1584"/>
                      <a:gd name="T12" fmla="*/ 2147483647 w 1164"/>
                      <a:gd name="T13" fmla="*/ 2147483647 h 1584"/>
                      <a:gd name="T14" fmla="*/ 2147483647 w 1164"/>
                      <a:gd name="T15" fmla="*/ 2147483647 h 1584"/>
                      <a:gd name="T16" fmla="*/ 0 w 1164"/>
                      <a:gd name="T17" fmla="*/ 2147483647 h 1584"/>
                      <a:gd name="T18" fmla="*/ 2147483647 w 1164"/>
                      <a:gd name="T19" fmla="*/ 2147483647 h 1584"/>
                      <a:gd name="T20" fmla="*/ 2147483647 w 1164"/>
                      <a:gd name="T21" fmla="*/ 2147483647 h 1584"/>
                      <a:gd name="T22" fmla="*/ 2147483647 w 1164"/>
                      <a:gd name="T23" fmla="*/ 2147483647 h 1584"/>
                      <a:gd name="T24" fmla="*/ 2147483647 w 1164"/>
                      <a:gd name="T25" fmla="*/ 2147483647 h 1584"/>
                      <a:gd name="T26" fmla="*/ 2147483647 w 1164"/>
                      <a:gd name="T27" fmla="*/ 2147483647 h 1584"/>
                      <a:gd name="T28" fmla="*/ 2147483647 w 1164"/>
                      <a:gd name="T29" fmla="*/ 2147483647 h 1584"/>
                      <a:gd name="T30" fmla="*/ 2147483647 w 1164"/>
                      <a:gd name="T31" fmla="*/ 2147483647 h 1584"/>
                      <a:gd name="T32" fmla="*/ 2147483647 w 1164"/>
                      <a:gd name="T33" fmla="*/ 2147483647 h 1584"/>
                      <a:gd name="T34" fmla="*/ 2147483647 w 1164"/>
                      <a:gd name="T35" fmla="*/ 2147483647 h 1584"/>
                      <a:gd name="T36" fmla="*/ 2147483647 w 1164"/>
                      <a:gd name="T37" fmla="*/ 2147483647 h 1584"/>
                      <a:gd name="T38" fmla="*/ 2147483647 w 1164"/>
                      <a:gd name="T39" fmla="*/ 2147483647 h 1584"/>
                      <a:gd name="T40" fmla="*/ 2147483647 w 1164"/>
                      <a:gd name="T41" fmla="*/ 2147483647 h 1584"/>
                      <a:gd name="T42" fmla="*/ 2147483647 w 1164"/>
                      <a:gd name="T43" fmla="*/ 2147483647 h 1584"/>
                      <a:gd name="T44" fmla="*/ 2147483647 w 1164"/>
                      <a:gd name="T45" fmla="*/ 2147483647 h 1584"/>
                      <a:gd name="T46" fmla="*/ 2147483647 w 1164"/>
                      <a:gd name="T47" fmla="*/ 2147483647 h 1584"/>
                      <a:gd name="T48" fmla="*/ 2147483647 w 1164"/>
                      <a:gd name="T49" fmla="*/ 2147483647 h 1584"/>
                      <a:gd name="T50" fmla="*/ 2147483647 w 1164"/>
                      <a:gd name="T51" fmla="*/ 2147483647 h 1584"/>
                      <a:gd name="T52" fmla="*/ 2147483647 w 1164"/>
                      <a:gd name="T53" fmla="*/ 2147483647 h 1584"/>
                      <a:gd name="T54" fmla="*/ 2147483647 w 1164"/>
                      <a:gd name="T55" fmla="*/ 2147483647 h 1584"/>
                      <a:gd name="T56" fmla="*/ 2147483647 w 1164"/>
                      <a:gd name="T57" fmla="*/ 2147483647 h 1584"/>
                      <a:gd name="T58" fmla="*/ 2147483647 w 1164"/>
                      <a:gd name="T59" fmla="*/ 2147483647 h 1584"/>
                      <a:gd name="T60" fmla="*/ 2147483647 w 1164"/>
                      <a:gd name="T61" fmla="*/ 2147483647 h 1584"/>
                      <a:gd name="T62" fmla="*/ 2147483647 w 1164"/>
                      <a:gd name="T63" fmla="*/ 2147483647 h 1584"/>
                      <a:gd name="T64" fmla="*/ 2147483647 w 1164"/>
                      <a:gd name="T65" fmla="*/ 2147483647 h 1584"/>
                      <a:gd name="T66" fmla="*/ 2147483647 w 1164"/>
                      <a:gd name="T67" fmla="*/ 2147483647 h 1584"/>
                      <a:gd name="T68" fmla="*/ 2147483647 w 1164"/>
                      <a:gd name="T69" fmla="*/ 2147483647 h 1584"/>
                      <a:gd name="T70" fmla="*/ 2147483647 w 1164"/>
                      <a:gd name="T71" fmla="*/ 2147483647 h 1584"/>
                      <a:gd name="T72" fmla="*/ 2147483647 w 1164"/>
                      <a:gd name="T73" fmla="*/ 2147483647 h 1584"/>
                      <a:gd name="T74" fmla="*/ 2147483647 w 1164"/>
                      <a:gd name="T75" fmla="*/ 2147483647 h 1584"/>
                      <a:gd name="T76" fmla="*/ 2147483647 w 1164"/>
                      <a:gd name="T77" fmla="*/ 2147483647 h 1584"/>
                      <a:gd name="T78" fmla="*/ 2147483647 w 1164"/>
                      <a:gd name="T79" fmla="*/ 2147483647 h 1584"/>
                      <a:gd name="T80" fmla="*/ 2147483647 w 1164"/>
                      <a:gd name="T81" fmla="*/ 2147483647 h 1584"/>
                      <a:gd name="T82" fmla="*/ 2147483647 w 1164"/>
                      <a:gd name="T83" fmla="*/ 2147483647 h 1584"/>
                      <a:gd name="T84" fmla="*/ 2147483647 w 1164"/>
                      <a:gd name="T85" fmla="*/ 2147483647 h 1584"/>
                      <a:gd name="T86" fmla="*/ 2147483647 w 1164"/>
                      <a:gd name="T87" fmla="*/ 2147483647 h 1584"/>
                      <a:gd name="T88" fmla="*/ 2147483647 w 1164"/>
                      <a:gd name="T89" fmla="*/ 2147483647 h 1584"/>
                      <a:gd name="T90" fmla="*/ 2147483647 w 1164"/>
                      <a:gd name="T91" fmla="*/ 2147483647 h 1584"/>
                      <a:gd name="T92" fmla="*/ 2147483647 w 1164"/>
                      <a:gd name="T93" fmla="*/ 2147483647 h 1584"/>
                      <a:gd name="T94" fmla="*/ 2147483647 w 1164"/>
                      <a:gd name="T95" fmla="*/ 2147483647 h 1584"/>
                      <a:gd name="T96" fmla="*/ 2147483647 w 1164"/>
                      <a:gd name="T97" fmla="*/ 2147483647 h 1584"/>
                      <a:gd name="T98" fmla="*/ 2147483647 w 1164"/>
                      <a:gd name="T99" fmla="*/ 2147483647 h 1584"/>
                      <a:gd name="T100" fmla="*/ 2147483647 w 1164"/>
                      <a:gd name="T101" fmla="*/ 2147483647 h 1584"/>
                      <a:gd name="T102" fmla="*/ 2147483647 w 1164"/>
                      <a:gd name="T103" fmla="*/ 2147483647 h 1584"/>
                      <a:gd name="T104" fmla="*/ 2147483647 w 1164"/>
                      <a:gd name="T105" fmla="*/ 2147483647 h 1584"/>
                      <a:gd name="T106" fmla="*/ 2147483647 w 1164"/>
                      <a:gd name="T107" fmla="*/ 2147483647 h 1584"/>
                      <a:gd name="T108" fmla="*/ 2147483647 w 1164"/>
                      <a:gd name="T109" fmla="*/ 2147483647 h 1584"/>
                      <a:gd name="T110" fmla="*/ 2147483647 w 1164"/>
                      <a:gd name="T111" fmla="*/ 2147483647 h 15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4"/>
                      <a:gd name="T169" fmla="*/ 0 h 1584"/>
                      <a:gd name="T170" fmla="*/ 1164 w 1164"/>
                      <a:gd name="T171" fmla="*/ 1584 h 15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4" h="1584">
                        <a:moveTo>
                          <a:pt x="894" y="24"/>
                        </a:moveTo>
                        <a:lnTo>
                          <a:pt x="894" y="48"/>
                        </a:lnTo>
                        <a:lnTo>
                          <a:pt x="888" y="60"/>
                        </a:lnTo>
                        <a:lnTo>
                          <a:pt x="882" y="66"/>
                        </a:lnTo>
                        <a:lnTo>
                          <a:pt x="864" y="66"/>
                        </a:lnTo>
                        <a:lnTo>
                          <a:pt x="858" y="72"/>
                        </a:lnTo>
                        <a:lnTo>
                          <a:pt x="846" y="72"/>
                        </a:lnTo>
                        <a:lnTo>
                          <a:pt x="834" y="84"/>
                        </a:lnTo>
                        <a:lnTo>
                          <a:pt x="822" y="108"/>
                        </a:lnTo>
                        <a:lnTo>
                          <a:pt x="816" y="114"/>
                        </a:lnTo>
                        <a:lnTo>
                          <a:pt x="798" y="114"/>
                        </a:lnTo>
                        <a:lnTo>
                          <a:pt x="792" y="108"/>
                        </a:lnTo>
                        <a:lnTo>
                          <a:pt x="786" y="96"/>
                        </a:lnTo>
                        <a:lnTo>
                          <a:pt x="780" y="90"/>
                        </a:lnTo>
                        <a:lnTo>
                          <a:pt x="660" y="84"/>
                        </a:lnTo>
                        <a:lnTo>
                          <a:pt x="660" y="72"/>
                        </a:lnTo>
                        <a:lnTo>
                          <a:pt x="654" y="72"/>
                        </a:lnTo>
                        <a:lnTo>
                          <a:pt x="636" y="90"/>
                        </a:lnTo>
                        <a:lnTo>
                          <a:pt x="210" y="84"/>
                        </a:lnTo>
                        <a:lnTo>
                          <a:pt x="210" y="246"/>
                        </a:lnTo>
                        <a:lnTo>
                          <a:pt x="138" y="246"/>
                        </a:lnTo>
                        <a:lnTo>
                          <a:pt x="144" y="600"/>
                        </a:lnTo>
                        <a:lnTo>
                          <a:pt x="132" y="600"/>
                        </a:lnTo>
                        <a:lnTo>
                          <a:pt x="120" y="594"/>
                        </a:lnTo>
                        <a:lnTo>
                          <a:pt x="78" y="594"/>
                        </a:lnTo>
                        <a:lnTo>
                          <a:pt x="66" y="606"/>
                        </a:lnTo>
                        <a:lnTo>
                          <a:pt x="72" y="612"/>
                        </a:lnTo>
                        <a:lnTo>
                          <a:pt x="72" y="624"/>
                        </a:lnTo>
                        <a:lnTo>
                          <a:pt x="78" y="630"/>
                        </a:lnTo>
                        <a:lnTo>
                          <a:pt x="78" y="636"/>
                        </a:lnTo>
                        <a:lnTo>
                          <a:pt x="72" y="642"/>
                        </a:lnTo>
                        <a:lnTo>
                          <a:pt x="60" y="648"/>
                        </a:lnTo>
                        <a:lnTo>
                          <a:pt x="48" y="660"/>
                        </a:lnTo>
                        <a:lnTo>
                          <a:pt x="48" y="678"/>
                        </a:lnTo>
                        <a:lnTo>
                          <a:pt x="36" y="678"/>
                        </a:lnTo>
                        <a:lnTo>
                          <a:pt x="42" y="702"/>
                        </a:lnTo>
                        <a:lnTo>
                          <a:pt x="48" y="720"/>
                        </a:lnTo>
                        <a:lnTo>
                          <a:pt x="30" y="732"/>
                        </a:lnTo>
                        <a:lnTo>
                          <a:pt x="12" y="750"/>
                        </a:lnTo>
                        <a:lnTo>
                          <a:pt x="18" y="756"/>
                        </a:lnTo>
                        <a:lnTo>
                          <a:pt x="30" y="780"/>
                        </a:lnTo>
                        <a:lnTo>
                          <a:pt x="30" y="792"/>
                        </a:lnTo>
                        <a:lnTo>
                          <a:pt x="18" y="804"/>
                        </a:lnTo>
                        <a:lnTo>
                          <a:pt x="6" y="810"/>
                        </a:lnTo>
                        <a:lnTo>
                          <a:pt x="0" y="822"/>
                        </a:lnTo>
                        <a:lnTo>
                          <a:pt x="0" y="840"/>
                        </a:lnTo>
                        <a:lnTo>
                          <a:pt x="6" y="846"/>
                        </a:lnTo>
                        <a:lnTo>
                          <a:pt x="18" y="846"/>
                        </a:lnTo>
                        <a:lnTo>
                          <a:pt x="24" y="840"/>
                        </a:lnTo>
                        <a:lnTo>
                          <a:pt x="36" y="840"/>
                        </a:lnTo>
                        <a:lnTo>
                          <a:pt x="42" y="846"/>
                        </a:lnTo>
                        <a:lnTo>
                          <a:pt x="42" y="888"/>
                        </a:lnTo>
                        <a:lnTo>
                          <a:pt x="60" y="900"/>
                        </a:lnTo>
                        <a:lnTo>
                          <a:pt x="42" y="906"/>
                        </a:lnTo>
                        <a:lnTo>
                          <a:pt x="48" y="930"/>
                        </a:lnTo>
                        <a:lnTo>
                          <a:pt x="54" y="930"/>
                        </a:lnTo>
                        <a:lnTo>
                          <a:pt x="66" y="936"/>
                        </a:lnTo>
                        <a:lnTo>
                          <a:pt x="78" y="954"/>
                        </a:lnTo>
                        <a:lnTo>
                          <a:pt x="84" y="960"/>
                        </a:lnTo>
                        <a:lnTo>
                          <a:pt x="84" y="966"/>
                        </a:lnTo>
                        <a:lnTo>
                          <a:pt x="72" y="966"/>
                        </a:lnTo>
                        <a:lnTo>
                          <a:pt x="72" y="990"/>
                        </a:lnTo>
                        <a:lnTo>
                          <a:pt x="102" y="1020"/>
                        </a:lnTo>
                        <a:lnTo>
                          <a:pt x="108" y="1032"/>
                        </a:lnTo>
                        <a:lnTo>
                          <a:pt x="120" y="1044"/>
                        </a:lnTo>
                        <a:lnTo>
                          <a:pt x="126" y="1062"/>
                        </a:lnTo>
                        <a:lnTo>
                          <a:pt x="132" y="1074"/>
                        </a:lnTo>
                        <a:lnTo>
                          <a:pt x="132" y="1104"/>
                        </a:lnTo>
                        <a:lnTo>
                          <a:pt x="126" y="1110"/>
                        </a:lnTo>
                        <a:lnTo>
                          <a:pt x="120" y="1122"/>
                        </a:lnTo>
                        <a:lnTo>
                          <a:pt x="114" y="1128"/>
                        </a:lnTo>
                        <a:lnTo>
                          <a:pt x="114" y="1134"/>
                        </a:lnTo>
                        <a:lnTo>
                          <a:pt x="120" y="1140"/>
                        </a:lnTo>
                        <a:lnTo>
                          <a:pt x="126" y="1140"/>
                        </a:lnTo>
                        <a:lnTo>
                          <a:pt x="120" y="1158"/>
                        </a:lnTo>
                        <a:lnTo>
                          <a:pt x="168" y="1164"/>
                        </a:lnTo>
                        <a:lnTo>
                          <a:pt x="168" y="1194"/>
                        </a:lnTo>
                        <a:lnTo>
                          <a:pt x="192" y="1206"/>
                        </a:lnTo>
                        <a:lnTo>
                          <a:pt x="222" y="1206"/>
                        </a:lnTo>
                        <a:lnTo>
                          <a:pt x="222" y="1224"/>
                        </a:lnTo>
                        <a:lnTo>
                          <a:pt x="228" y="1224"/>
                        </a:lnTo>
                        <a:lnTo>
                          <a:pt x="240" y="1230"/>
                        </a:lnTo>
                        <a:lnTo>
                          <a:pt x="252" y="1242"/>
                        </a:lnTo>
                        <a:lnTo>
                          <a:pt x="252" y="1248"/>
                        </a:lnTo>
                        <a:lnTo>
                          <a:pt x="246" y="1248"/>
                        </a:lnTo>
                        <a:lnTo>
                          <a:pt x="246" y="1254"/>
                        </a:lnTo>
                        <a:lnTo>
                          <a:pt x="240" y="1254"/>
                        </a:lnTo>
                        <a:lnTo>
                          <a:pt x="240" y="1260"/>
                        </a:lnTo>
                        <a:lnTo>
                          <a:pt x="252" y="1272"/>
                        </a:lnTo>
                        <a:lnTo>
                          <a:pt x="264" y="1278"/>
                        </a:lnTo>
                        <a:lnTo>
                          <a:pt x="270" y="1278"/>
                        </a:lnTo>
                        <a:lnTo>
                          <a:pt x="282" y="1284"/>
                        </a:lnTo>
                        <a:lnTo>
                          <a:pt x="294" y="1296"/>
                        </a:lnTo>
                        <a:lnTo>
                          <a:pt x="300" y="1308"/>
                        </a:lnTo>
                        <a:lnTo>
                          <a:pt x="306" y="1314"/>
                        </a:lnTo>
                        <a:lnTo>
                          <a:pt x="306" y="1320"/>
                        </a:lnTo>
                        <a:lnTo>
                          <a:pt x="324" y="1320"/>
                        </a:lnTo>
                        <a:lnTo>
                          <a:pt x="330" y="1326"/>
                        </a:lnTo>
                        <a:lnTo>
                          <a:pt x="330" y="1338"/>
                        </a:lnTo>
                        <a:lnTo>
                          <a:pt x="318" y="1338"/>
                        </a:lnTo>
                        <a:lnTo>
                          <a:pt x="318" y="1344"/>
                        </a:lnTo>
                        <a:lnTo>
                          <a:pt x="330" y="1356"/>
                        </a:lnTo>
                        <a:lnTo>
                          <a:pt x="330" y="1374"/>
                        </a:lnTo>
                        <a:lnTo>
                          <a:pt x="354" y="1380"/>
                        </a:lnTo>
                        <a:lnTo>
                          <a:pt x="360" y="1386"/>
                        </a:lnTo>
                        <a:lnTo>
                          <a:pt x="372" y="1392"/>
                        </a:lnTo>
                        <a:lnTo>
                          <a:pt x="378" y="1398"/>
                        </a:lnTo>
                        <a:lnTo>
                          <a:pt x="384" y="1410"/>
                        </a:lnTo>
                        <a:lnTo>
                          <a:pt x="384" y="1434"/>
                        </a:lnTo>
                        <a:lnTo>
                          <a:pt x="390" y="1446"/>
                        </a:lnTo>
                        <a:lnTo>
                          <a:pt x="420" y="1470"/>
                        </a:lnTo>
                        <a:lnTo>
                          <a:pt x="420" y="1494"/>
                        </a:lnTo>
                        <a:lnTo>
                          <a:pt x="468" y="1518"/>
                        </a:lnTo>
                        <a:lnTo>
                          <a:pt x="474" y="1512"/>
                        </a:lnTo>
                        <a:lnTo>
                          <a:pt x="480" y="1500"/>
                        </a:lnTo>
                        <a:lnTo>
                          <a:pt x="486" y="1494"/>
                        </a:lnTo>
                        <a:lnTo>
                          <a:pt x="498" y="1494"/>
                        </a:lnTo>
                        <a:lnTo>
                          <a:pt x="510" y="1500"/>
                        </a:lnTo>
                        <a:lnTo>
                          <a:pt x="510" y="1506"/>
                        </a:lnTo>
                        <a:lnTo>
                          <a:pt x="522" y="1512"/>
                        </a:lnTo>
                        <a:lnTo>
                          <a:pt x="528" y="1512"/>
                        </a:lnTo>
                        <a:lnTo>
                          <a:pt x="540" y="1500"/>
                        </a:lnTo>
                        <a:lnTo>
                          <a:pt x="540" y="1494"/>
                        </a:lnTo>
                        <a:lnTo>
                          <a:pt x="552" y="1482"/>
                        </a:lnTo>
                        <a:lnTo>
                          <a:pt x="558" y="1488"/>
                        </a:lnTo>
                        <a:lnTo>
                          <a:pt x="570" y="1494"/>
                        </a:lnTo>
                        <a:lnTo>
                          <a:pt x="576" y="1512"/>
                        </a:lnTo>
                        <a:lnTo>
                          <a:pt x="582" y="1524"/>
                        </a:lnTo>
                        <a:lnTo>
                          <a:pt x="594" y="1536"/>
                        </a:lnTo>
                        <a:lnTo>
                          <a:pt x="606" y="1542"/>
                        </a:lnTo>
                        <a:lnTo>
                          <a:pt x="612" y="1548"/>
                        </a:lnTo>
                        <a:lnTo>
                          <a:pt x="618" y="1548"/>
                        </a:lnTo>
                        <a:lnTo>
                          <a:pt x="624" y="1572"/>
                        </a:lnTo>
                        <a:lnTo>
                          <a:pt x="642" y="1572"/>
                        </a:lnTo>
                        <a:lnTo>
                          <a:pt x="660" y="1554"/>
                        </a:lnTo>
                        <a:lnTo>
                          <a:pt x="672" y="1554"/>
                        </a:lnTo>
                        <a:lnTo>
                          <a:pt x="678" y="1560"/>
                        </a:lnTo>
                        <a:lnTo>
                          <a:pt x="690" y="1566"/>
                        </a:lnTo>
                        <a:lnTo>
                          <a:pt x="702" y="1566"/>
                        </a:lnTo>
                        <a:lnTo>
                          <a:pt x="702" y="1560"/>
                        </a:lnTo>
                        <a:lnTo>
                          <a:pt x="708" y="1554"/>
                        </a:lnTo>
                        <a:lnTo>
                          <a:pt x="714" y="1554"/>
                        </a:lnTo>
                        <a:lnTo>
                          <a:pt x="738" y="1584"/>
                        </a:lnTo>
                        <a:lnTo>
                          <a:pt x="756" y="1560"/>
                        </a:lnTo>
                        <a:lnTo>
                          <a:pt x="780" y="1560"/>
                        </a:lnTo>
                        <a:lnTo>
                          <a:pt x="792" y="1548"/>
                        </a:lnTo>
                        <a:lnTo>
                          <a:pt x="804" y="1548"/>
                        </a:lnTo>
                        <a:lnTo>
                          <a:pt x="804" y="1554"/>
                        </a:lnTo>
                        <a:lnTo>
                          <a:pt x="810" y="1560"/>
                        </a:lnTo>
                        <a:lnTo>
                          <a:pt x="834" y="1560"/>
                        </a:lnTo>
                        <a:lnTo>
                          <a:pt x="852" y="1542"/>
                        </a:lnTo>
                        <a:lnTo>
                          <a:pt x="852" y="1536"/>
                        </a:lnTo>
                        <a:lnTo>
                          <a:pt x="858" y="1530"/>
                        </a:lnTo>
                        <a:lnTo>
                          <a:pt x="858" y="1524"/>
                        </a:lnTo>
                        <a:lnTo>
                          <a:pt x="870" y="1524"/>
                        </a:lnTo>
                        <a:lnTo>
                          <a:pt x="888" y="1494"/>
                        </a:lnTo>
                        <a:lnTo>
                          <a:pt x="978" y="1494"/>
                        </a:lnTo>
                        <a:lnTo>
                          <a:pt x="1002" y="1482"/>
                        </a:lnTo>
                        <a:lnTo>
                          <a:pt x="996" y="1464"/>
                        </a:lnTo>
                        <a:lnTo>
                          <a:pt x="996" y="1446"/>
                        </a:lnTo>
                        <a:lnTo>
                          <a:pt x="990" y="1434"/>
                        </a:lnTo>
                        <a:lnTo>
                          <a:pt x="984" y="1428"/>
                        </a:lnTo>
                        <a:lnTo>
                          <a:pt x="966" y="1428"/>
                        </a:lnTo>
                        <a:lnTo>
                          <a:pt x="954" y="1422"/>
                        </a:lnTo>
                        <a:lnTo>
                          <a:pt x="936" y="1386"/>
                        </a:lnTo>
                        <a:lnTo>
                          <a:pt x="936" y="1368"/>
                        </a:lnTo>
                        <a:lnTo>
                          <a:pt x="924" y="1362"/>
                        </a:lnTo>
                        <a:lnTo>
                          <a:pt x="924" y="1326"/>
                        </a:lnTo>
                        <a:lnTo>
                          <a:pt x="912" y="1326"/>
                        </a:lnTo>
                        <a:lnTo>
                          <a:pt x="906" y="1302"/>
                        </a:lnTo>
                        <a:lnTo>
                          <a:pt x="882" y="1302"/>
                        </a:lnTo>
                        <a:lnTo>
                          <a:pt x="876" y="1290"/>
                        </a:lnTo>
                        <a:lnTo>
                          <a:pt x="876" y="1272"/>
                        </a:lnTo>
                        <a:lnTo>
                          <a:pt x="864" y="1266"/>
                        </a:lnTo>
                        <a:lnTo>
                          <a:pt x="858" y="1254"/>
                        </a:lnTo>
                        <a:lnTo>
                          <a:pt x="846" y="1248"/>
                        </a:lnTo>
                        <a:lnTo>
                          <a:pt x="840" y="1242"/>
                        </a:lnTo>
                        <a:lnTo>
                          <a:pt x="816" y="1242"/>
                        </a:lnTo>
                        <a:lnTo>
                          <a:pt x="804" y="1236"/>
                        </a:lnTo>
                        <a:lnTo>
                          <a:pt x="798" y="1236"/>
                        </a:lnTo>
                        <a:lnTo>
                          <a:pt x="798" y="1224"/>
                        </a:lnTo>
                        <a:lnTo>
                          <a:pt x="804" y="1212"/>
                        </a:lnTo>
                        <a:lnTo>
                          <a:pt x="810" y="1206"/>
                        </a:lnTo>
                        <a:lnTo>
                          <a:pt x="804" y="1182"/>
                        </a:lnTo>
                        <a:lnTo>
                          <a:pt x="840" y="1182"/>
                        </a:lnTo>
                        <a:lnTo>
                          <a:pt x="846" y="1188"/>
                        </a:lnTo>
                        <a:lnTo>
                          <a:pt x="852" y="1182"/>
                        </a:lnTo>
                        <a:lnTo>
                          <a:pt x="864" y="1182"/>
                        </a:lnTo>
                        <a:lnTo>
                          <a:pt x="870" y="1176"/>
                        </a:lnTo>
                        <a:lnTo>
                          <a:pt x="870" y="1164"/>
                        </a:lnTo>
                        <a:lnTo>
                          <a:pt x="876" y="1152"/>
                        </a:lnTo>
                        <a:lnTo>
                          <a:pt x="876" y="1116"/>
                        </a:lnTo>
                        <a:lnTo>
                          <a:pt x="870" y="1110"/>
                        </a:lnTo>
                        <a:lnTo>
                          <a:pt x="870" y="1098"/>
                        </a:lnTo>
                        <a:lnTo>
                          <a:pt x="864" y="1086"/>
                        </a:lnTo>
                        <a:lnTo>
                          <a:pt x="864" y="1074"/>
                        </a:lnTo>
                        <a:lnTo>
                          <a:pt x="870" y="1062"/>
                        </a:lnTo>
                        <a:lnTo>
                          <a:pt x="882" y="1056"/>
                        </a:lnTo>
                        <a:lnTo>
                          <a:pt x="888" y="1050"/>
                        </a:lnTo>
                        <a:lnTo>
                          <a:pt x="888" y="1032"/>
                        </a:lnTo>
                        <a:lnTo>
                          <a:pt x="882" y="1020"/>
                        </a:lnTo>
                        <a:lnTo>
                          <a:pt x="882" y="1002"/>
                        </a:lnTo>
                        <a:lnTo>
                          <a:pt x="900" y="984"/>
                        </a:lnTo>
                        <a:lnTo>
                          <a:pt x="906" y="984"/>
                        </a:lnTo>
                        <a:lnTo>
                          <a:pt x="906" y="996"/>
                        </a:lnTo>
                        <a:lnTo>
                          <a:pt x="912" y="1002"/>
                        </a:lnTo>
                        <a:lnTo>
                          <a:pt x="924" y="1002"/>
                        </a:lnTo>
                        <a:lnTo>
                          <a:pt x="930" y="996"/>
                        </a:lnTo>
                        <a:lnTo>
                          <a:pt x="930" y="960"/>
                        </a:lnTo>
                        <a:lnTo>
                          <a:pt x="924" y="954"/>
                        </a:lnTo>
                        <a:lnTo>
                          <a:pt x="924" y="948"/>
                        </a:lnTo>
                        <a:lnTo>
                          <a:pt x="936" y="930"/>
                        </a:lnTo>
                        <a:lnTo>
                          <a:pt x="936" y="906"/>
                        </a:lnTo>
                        <a:lnTo>
                          <a:pt x="942" y="900"/>
                        </a:lnTo>
                        <a:lnTo>
                          <a:pt x="954" y="900"/>
                        </a:lnTo>
                        <a:lnTo>
                          <a:pt x="960" y="894"/>
                        </a:lnTo>
                        <a:lnTo>
                          <a:pt x="960" y="858"/>
                        </a:lnTo>
                        <a:lnTo>
                          <a:pt x="966" y="852"/>
                        </a:lnTo>
                        <a:lnTo>
                          <a:pt x="972" y="840"/>
                        </a:lnTo>
                        <a:lnTo>
                          <a:pt x="978" y="834"/>
                        </a:lnTo>
                        <a:lnTo>
                          <a:pt x="1008" y="834"/>
                        </a:lnTo>
                        <a:lnTo>
                          <a:pt x="1008" y="786"/>
                        </a:lnTo>
                        <a:lnTo>
                          <a:pt x="1014" y="774"/>
                        </a:lnTo>
                        <a:lnTo>
                          <a:pt x="1020" y="768"/>
                        </a:lnTo>
                        <a:lnTo>
                          <a:pt x="1026" y="756"/>
                        </a:lnTo>
                        <a:lnTo>
                          <a:pt x="1032" y="750"/>
                        </a:lnTo>
                        <a:lnTo>
                          <a:pt x="1032" y="708"/>
                        </a:lnTo>
                        <a:lnTo>
                          <a:pt x="1026" y="660"/>
                        </a:lnTo>
                        <a:lnTo>
                          <a:pt x="1020" y="654"/>
                        </a:lnTo>
                        <a:lnTo>
                          <a:pt x="1020" y="636"/>
                        </a:lnTo>
                        <a:lnTo>
                          <a:pt x="1032" y="630"/>
                        </a:lnTo>
                        <a:lnTo>
                          <a:pt x="1038" y="630"/>
                        </a:lnTo>
                        <a:lnTo>
                          <a:pt x="1038" y="594"/>
                        </a:lnTo>
                        <a:lnTo>
                          <a:pt x="1044" y="594"/>
                        </a:lnTo>
                        <a:lnTo>
                          <a:pt x="1050" y="588"/>
                        </a:lnTo>
                        <a:lnTo>
                          <a:pt x="1056" y="576"/>
                        </a:lnTo>
                        <a:lnTo>
                          <a:pt x="1056" y="534"/>
                        </a:lnTo>
                        <a:lnTo>
                          <a:pt x="1050" y="528"/>
                        </a:lnTo>
                        <a:lnTo>
                          <a:pt x="1050" y="516"/>
                        </a:lnTo>
                        <a:lnTo>
                          <a:pt x="1062" y="516"/>
                        </a:lnTo>
                        <a:lnTo>
                          <a:pt x="1068" y="510"/>
                        </a:lnTo>
                        <a:lnTo>
                          <a:pt x="1068" y="492"/>
                        </a:lnTo>
                        <a:lnTo>
                          <a:pt x="1086" y="492"/>
                        </a:lnTo>
                        <a:lnTo>
                          <a:pt x="1092" y="486"/>
                        </a:lnTo>
                        <a:lnTo>
                          <a:pt x="1092" y="480"/>
                        </a:lnTo>
                        <a:lnTo>
                          <a:pt x="1098" y="474"/>
                        </a:lnTo>
                        <a:lnTo>
                          <a:pt x="1098" y="462"/>
                        </a:lnTo>
                        <a:lnTo>
                          <a:pt x="1110" y="462"/>
                        </a:lnTo>
                        <a:lnTo>
                          <a:pt x="1128" y="456"/>
                        </a:lnTo>
                        <a:lnTo>
                          <a:pt x="1152" y="444"/>
                        </a:lnTo>
                        <a:lnTo>
                          <a:pt x="1164" y="420"/>
                        </a:lnTo>
                        <a:lnTo>
                          <a:pt x="1164" y="408"/>
                        </a:lnTo>
                        <a:lnTo>
                          <a:pt x="1128" y="384"/>
                        </a:lnTo>
                        <a:lnTo>
                          <a:pt x="1128" y="378"/>
                        </a:lnTo>
                        <a:lnTo>
                          <a:pt x="1122" y="372"/>
                        </a:lnTo>
                        <a:lnTo>
                          <a:pt x="1122" y="360"/>
                        </a:lnTo>
                        <a:lnTo>
                          <a:pt x="1116" y="354"/>
                        </a:lnTo>
                        <a:lnTo>
                          <a:pt x="1092" y="354"/>
                        </a:lnTo>
                        <a:lnTo>
                          <a:pt x="1080" y="342"/>
                        </a:lnTo>
                        <a:lnTo>
                          <a:pt x="1080" y="330"/>
                        </a:lnTo>
                        <a:lnTo>
                          <a:pt x="1074" y="312"/>
                        </a:lnTo>
                        <a:lnTo>
                          <a:pt x="1074" y="294"/>
                        </a:lnTo>
                        <a:lnTo>
                          <a:pt x="1068" y="282"/>
                        </a:lnTo>
                        <a:lnTo>
                          <a:pt x="1068" y="264"/>
                        </a:lnTo>
                        <a:lnTo>
                          <a:pt x="1062" y="264"/>
                        </a:lnTo>
                        <a:lnTo>
                          <a:pt x="1062" y="240"/>
                        </a:lnTo>
                        <a:lnTo>
                          <a:pt x="1056" y="222"/>
                        </a:lnTo>
                        <a:lnTo>
                          <a:pt x="1056" y="180"/>
                        </a:lnTo>
                        <a:lnTo>
                          <a:pt x="1050" y="168"/>
                        </a:lnTo>
                        <a:lnTo>
                          <a:pt x="1068" y="162"/>
                        </a:lnTo>
                        <a:lnTo>
                          <a:pt x="1038" y="132"/>
                        </a:lnTo>
                        <a:lnTo>
                          <a:pt x="1038" y="90"/>
                        </a:lnTo>
                        <a:lnTo>
                          <a:pt x="1032" y="78"/>
                        </a:lnTo>
                        <a:lnTo>
                          <a:pt x="1026" y="72"/>
                        </a:lnTo>
                        <a:lnTo>
                          <a:pt x="1014" y="66"/>
                        </a:lnTo>
                        <a:lnTo>
                          <a:pt x="984" y="36"/>
                        </a:lnTo>
                        <a:lnTo>
                          <a:pt x="972" y="36"/>
                        </a:lnTo>
                        <a:lnTo>
                          <a:pt x="954" y="18"/>
                        </a:lnTo>
                        <a:lnTo>
                          <a:pt x="948" y="0"/>
                        </a:lnTo>
                        <a:lnTo>
                          <a:pt x="924" y="24"/>
                        </a:lnTo>
                        <a:lnTo>
                          <a:pt x="894"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04" name="Sri Lanka"/>
                  <p:cNvSpPr>
                    <a:spLocks/>
                  </p:cNvSpPr>
                  <p:nvPr/>
                </p:nvSpPr>
                <p:spPr bwMode="gray">
                  <a:xfrm>
                    <a:off x="4099" y="2112"/>
                    <a:ext cx="44" cy="78"/>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rgbClr val="FF99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05" name="Spain"/>
                  <p:cNvSpPr>
                    <a:spLocks noEditPoints="1"/>
                  </p:cNvSpPr>
                  <p:nvPr/>
                </p:nvSpPr>
                <p:spPr bwMode="gray">
                  <a:xfrm>
                    <a:off x="2515" y="1409"/>
                    <a:ext cx="224" cy="158"/>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06" name="Somalia"/>
                  <p:cNvSpPr>
                    <a:spLocks/>
                  </p:cNvSpPr>
                  <p:nvPr/>
                </p:nvSpPr>
                <p:spPr bwMode="gray">
                  <a:xfrm>
                    <a:off x="3399" y="2062"/>
                    <a:ext cx="183" cy="283"/>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07" name="Solomon Islands"/>
                  <p:cNvSpPr>
                    <a:spLocks noEditPoints="1"/>
                  </p:cNvSpPr>
                  <p:nvPr/>
                </p:nvSpPr>
                <p:spPr bwMode="gray">
                  <a:xfrm>
                    <a:off x="5498" y="2448"/>
                    <a:ext cx="95" cy="89"/>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08" name="Slovenia"/>
                  <p:cNvSpPr>
                    <a:spLocks/>
                  </p:cNvSpPr>
                  <p:nvPr/>
                </p:nvSpPr>
                <p:spPr bwMode="gray">
                  <a:xfrm>
                    <a:off x="2888" y="1344"/>
                    <a:ext cx="54" cy="31"/>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09" name="Slovakia"/>
                  <p:cNvSpPr>
                    <a:spLocks/>
                  </p:cNvSpPr>
                  <p:nvPr/>
                </p:nvSpPr>
                <p:spPr bwMode="gray">
                  <a:xfrm>
                    <a:off x="2943" y="1292"/>
                    <a:ext cx="91" cy="37"/>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10" name="Sierra Leone"/>
                  <p:cNvSpPr>
                    <a:spLocks/>
                  </p:cNvSpPr>
                  <p:nvPr/>
                </p:nvSpPr>
                <p:spPr bwMode="gray">
                  <a:xfrm>
                    <a:off x="2413" y="2102"/>
                    <a:ext cx="53" cy="69"/>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11" name="Senegal"/>
                  <p:cNvSpPr>
                    <a:spLocks/>
                  </p:cNvSpPr>
                  <p:nvPr/>
                </p:nvSpPr>
                <p:spPr bwMode="gray">
                  <a:xfrm>
                    <a:off x="2360" y="1963"/>
                    <a:ext cx="106" cy="94"/>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12" name="Saudi Arabia"/>
                  <p:cNvSpPr>
                    <a:spLocks/>
                  </p:cNvSpPr>
                  <p:nvPr/>
                </p:nvSpPr>
                <p:spPr bwMode="gray">
                  <a:xfrm>
                    <a:off x="3269" y="1647"/>
                    <a:ext cx="380" cy="326"/>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13" name="Rwanda"/>
                  <p:cNvSpPr>
                    <a:spLocks/>
                  </p:cNvSpPr>
                  <p:nvPr/>
                </p:nvSpPr>
                <p:spPr bwMode="gray">
                  <a:xfrm>
                    <a:off x="3177" y="2331"/>
                    <a:ext cx="38" cy="38"/>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14" name="Russia (Urup,Simushir)"/>
                  <p:cNvSpPr>
                    <a:spLocks noEditPoints="1"/>
                  </p:cNvSpPr>
                  <p:nvPr/>
                </p:nvSpPr>
                <p:spPr bwMode="gray">
                  <a:xfrm>
                    <a:off x="5061" y="1103"/>
                    <a:ext cx="77" cy="306"/>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15" name="Russia"/>
                  <p:cNvSpPr>
                    <a:spLocks noEditPoints="1"/>
                  </p:cNvSpPr>
                  <p:nvPr/>
                </p:nvSpPr>
                <p:spPr bwMode="gray">
                  <a:xfrm>
                    <a:off x="2985" y="724"/>
                    <a:ext cx="2314" cy="737"/>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16" name="Romania"/>
                  <p:cNvSpPr>
                    <a:spLocks/>
                  </p:cNvSpPr>
                  <p:nvPr/>
                </p:nvSpPr>
                <p:spPr bwMode="gray">
                  <a:xfrm>
                    <a:off x="3000" y="1318"/>
                    <a:ext cx="157" cy="94"/>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17" name="Qatar"/>
                  <p:cNvSpPr>
                    <a:spLocks/>
                  </p:cNvSpPr>
                  <p:nvPr/>
                </p:nvSpPr>
                <p:spPr bwMode="gray">
                  <a:xfrm>
                    <a:off x="3560" y="1769"/>
                    <a:ext cx="17" cy="37"/>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18" name="Puerto Rico"/>
                  <p:cNvSpPr>
                    <a:spLocks/>
                  </p:cNvSpPr>
                  <p:nvPr/>
                </p:nvSpPr>
                <p:spPr bwMode="gray">
                  <a:xfrm>
                    <a:off x="1451" y="1931"/>
                    <a:ext cx="35" cy="15"/>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19" name="Portugal"/>
                  <p:cNvSpPr>
                    <a:spLocks/>
                  </p:cNvSpPr>
                  <p:nvPr/>
                </p:nvSpPr>
                <p:spPr bwMode="gray">
                  <a:xfrm>
                    <a:off x="2506" y="1443"/>
                    <a:ext cx="58" cy="105"/>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20" name="Poland"/>
                  <p:cNvSpPr>
                    <a:spLocks/>
                  </p:cNvSpPr>
                  <p:nvPr/>
                </p:nvSpPr>
                <p:spPr bwMode="gray">
                  <a:xfrm>
                    <a:off x="2899" y="1188"/>
                    <a:ext cx="160" cy="115"/>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21" name="Philippines"/>
                  <p:cNvSpPr>
                    <a:spLocks noEditPoints="1"/>
                  </p:cNvSpPr>
                  <p:nvPr/>
                </p:nvSpPr>
                <p:spPr bwMode="gray">
                  <a:xfrm>
                    <a:off x="4780" y="1924"/>
                    <a:ext cx="183" cy="307"/>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22" name="Peru"/>
                  <p:cNvSpPr>
                    <a:spLocks/>
                  </p:cNvSpPr>
                  <p:nvPr/>
                </p:nvSpPr>
                <p:spPr bwMode="gray">
                  <a:xfrm>
                    <a:off x="1173" y="2309"/>
                    <a:ext cx="241" cy="381"/>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23" name="Paraguay"/>
                  <p:cNvSpPr>
                    <a:spLocks/>
                  </p:cNvSpPr>
                  <p:nvPr/>
                </p:nvSpPr>
                <p:spPr bwMode="gray">
                  <a:xfrm>
                    <a:off x="1541" y="2707"/>
                    <a:ext cx="153" cy="173"/>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24" name="Papua New Guinea"/>
                  <p:cNvSpPr>
                    <a:spLocks noEditPoints="1"/>
                  </p:cNvSpPr>
                  <p:nvPr/>
                </p:nvSpPr>
                <p:spPr bwMode="gray">
                  <a:xfrm>
                    <a:off x="5208" y="2348"/>
                    <a:ext cx="278" cy="186"/>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25" name="Panama"/>
                  <p:cNvSpPr>
                    <a:spLocks/>
                  </p:cNvSpPr>
                  <p:nvPr/>
                </p:nvSpPr>
                <p:spPr bwMode="gray">
                  <a:xfrm>
                    <a:off x="1147" y="2112"/>
                    <a:ext cx="104" cy="50"/>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26" name="Pakistan"/>
                  <p:cNvSpPr>
                    <a:spLocks/>
                  </p:cNvSpPr>
                  <p:nvPr/>
                </p:nvSpPr>
                <p:spPr bwMode="gray">
                  <a:xfrm>
                    <a:off x="3726" y="1547"/>
                    <a:ext cx="269" cy="270"/>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27" name="Parcel Islands"/>
                  <p:cNvSpPr>
                    <a:spLocks noEditPoints="1"/>
                  </p:cNvSpPr>
                  <p:nvPr/>
                </p:nvSpPr>
                <p:spPr bwMode="gray">
                  <a:xfrm>
                    <a:off x="4656" y="1954"/>
                    <a:ext cx="24" cy="16"/>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28" name="Oman"/>
                  <p:cNvSpPr>
                    <a:spLocks/>
                  </p:cNvSpPr>
                  <p:nvPr/>
                </p:nvSpPr>
                <p:spPr bwMode="gray">
                  <a:xfrm>
                    <a:off x="3588" y="1794"/>
                    <a:ext cx="138" cy="172"/>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29" name="Norway"/>
                  <p:cNvSpPr>
                    <a:spLocks noEditPoints="1"/>
                  </p:cNvSpPr>
                  <p:nvPr/>
                </p:nvSpPr>
                <p:spPr bwMode="gray">
                  <a:xfrm>
                    <a:off x="2764" y="743"/>
                    <a:ext cx="348" cy="383"/>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30" name="Nigeria"/>
                  <p:cNvSpPr>
                    <a:spLocks/>
                  </p:cNvSpPr>
                  <p:nvPr/>
                </p:nvSpPr>
                <p:spPr bwMode="gray">
                  <a:xfrm>
                    <a:off x="2703" y="2024"/>
                    <a:ext cx="214" cy="197"/>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31" name="Niger"/>
                  <p:cNvSpPr>
                    <a:spLocks/>
                  </p:cNvSpPr>
                  <p:nvPr/>
                </p:nvSpPr>
                <p:spPr bwMode="gray">
                  <a:xfrm>
                    <a:off x="2658" y="1826"/>
                    <a:ext cx="284" cy="241"/>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32" name="Nicaragua"/>
                  <p:cNvSpPr>
                    <a:spLocks/>
                  </p:cNvSpPr>
                  <p:nvPr/>
                </p:nvSpPr>
                <p:spPr bwMode="gray">
                  <a:xfrm>
                    <a:off x="1070" y="2004"/>
                    <a:ext cx="83" cy="85"/>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33" name="New Zealand"/>
                  <p:cNvSpPr>
                    <a:spLocks noEditPoints="1"/>
                  </p:cNvSpPr>
                  <p:nvPr/>
                </p:nvSpPr>
                <p:spPr bwMode="gray">
                  <a:xfrm>
                    <a:off x="5368" y="3017"/>
                    <a:ext cx="325" cy="251"/>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34" name="Newfoundland"/>
                  <p:cNvSpPr>
                    <a:spLocks/>
                  </p:cNvSpPr>
                  <p:nvPr/>
                </p:nvSpPr>
                <p:spPr bwMode="gray">
                  <a:xfrm>
                    <a:off x="1722" y="1254"/>
                    <a:ext cx="109" cy="98"/>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35" name="Netherlands"/>
                  <p:cNvSpPr>
                    <a:spLocks/>
                  </p:cNvSpPr>
                  <p:nvPr/>
                </p:nvSpPr>
                <p:spPr bwMode="gray">
                  <a:xfrm>
                    <a:off x="2724" y="1215"/>
                    <a:ext cx="69" cy="54"/>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36" name="Nepal"/>
                  <p:cNvSpPr>
                    <a:spLocks/>
                  </p:cNvSpPr>
                  <p:nvPr/>
                </p:nvSpPr>
                <p:spPr bwMode="gray">
                  <a:xfrm>
                    <a:off x="4064" y="1682"/>
                    <a:ext cx="150" cy="84"/>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37" name="Namibia"/>
                  <p:cNvSpPr>
                    <a:spLocks/>
                  </p:cNvSpPr>
                  <p:nvPr/>
                </p:nvSpPr>
                <p:spPr bwMode="gray">
                  <a:xfrm>
                    <a:off x="2864" y="2659"/>
                    <a:ext cx="244" cy="249"/>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38" name="Myanmar"/>
                  <p:cNvSpPr>
                    <a:spLocks/>
                  </p:cNvSpPr>
                  <p:nvPr/>
                </p:nvSpPr>
                <p:spPr bwMode="gray">
                  <a:xfrm>
                    <a:off x="4300" y="1722"/>
                    <a:ext cx="163" cy="383"/>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39" name="Mozambique"/>
                  <p:cNvSpPr>
                    <a:spLocks/>
                  </p:cNvSpPr>
                  <p:nvPr/>
                </p:nvSpPr>
                <p:spPr bwMode="gray">
                  <a:xfrm>
                    <a:off x="3197" y="2526"/>
                    <a:ext cx="195" cy="342"/>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40" name="Morocco"/>
                  <p:cNvSpPr>
                    <a:spLocks/>
                  </p:cNvSpPr>
                  <p:nvPr/>
                </p:nvSpPr>
                <p:spPr bwMode="gray">
                  <a:xfrm>
                    <a:off x="2426" y="1571"/>
                    <a:ext cx="217" cy="169"/>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41" name="Mongolia"/>
                  <p:cNvSpPr>
                    <a:spLocks/>
                  </p:cNvSpPr>
                  <p:nvPr/>
                </p:nvSpPr>
                <p:spPr bwMode="gray">
                  <a:xfrm>
                    <a:off x="4073" y="1240"/>
                    <a:ext cx="537" cy="213"/>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42" name="Moldova"/>
                  <p:cNvSpPr>
                    <a:spLocks/>
                  </p:cNvSpPr>
                  <p:nvPr/>
                </p:nvSpPr>
                <p:spPr bwMode="gray">
                  <a:xfrm>
                    <a:off x="3102" y="1314"/>
                    <a:ext cx="55" cy="61"/>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43" name="Mexico"/>
                  <p:cNvSpPr>
                    <a:spLocks/>
                  </p:cNvSpPr>
                  <p:nvPr/>
                </p:nvSpPr>
                <p:spPr bwMode="gray">
                  <a:xfrm>
                    <a:off x="631" y="1637"/>
                    <a:ext cx="476" cy="373"/>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accent1"/>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44" name="Malta"/>
                  <p:cNvSpPr>
                    <a:spLocks/>
                  </p:cNvSpPr>
                  <p:nvPr/>
                </p:nvSpPr>
                <p:spPr bwMode="gray">
                  <a:xfrm>
                    <a:off x="2905" y="1564"/>
                    <a:ext cx="8" cy="7"/>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45" name="Mauritania"/>
                  <p:cNvSpPr>
                    <a:spLocks/>
                  </p:cNvSpPr>
                  <p:nvPr/>
                </p:nvSpPr>
                <p:spPr bwMode="gray">
                  <a:xfrm>
                    <a:off x="2353" y="1749"/>
                    <a:ext cx="219" cy="257"/>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46" name="Mali"/>
                  <p:cNvSpPr>
                    <a:spLocks/>
                  </p:cNvSpPr>
                  <p:nvPr/>
                </p:nvSpPr>
                <p:spPr bwMode="gray">
                  <a:xfrm>
                    <a:off x="2433" y="1794"/>
                    <a:ext cx="297" cy="307"/>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47" name="Malaysia"/>
                  <p:cNvSpPr>
                    <a:spLocks/>
                  </p:cNvSpPr>
                  <p:nvPr/>
                </p:nvSpPr>
                <p:spPr bwMode="gray">
                  <a:xfrm>
                    <a:off x="4470" y="2171"/>
                    <a:ext cx="78" cy="112"/>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48" name="AutoShape 77"/>
                  <p:cNvSpPr>
                    <a:spLocks/>
                  </p:cNvSpPr>
                  <p:nvPr/>
                </p:nvSpPr>
                <p:spPr bwMode="gray">
                  <a:xfrm>
                    <a:off x="4653" y="2158"/>
                    <a:ext cx="176" cy="135"/>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49" name="Malawi"/>
                  <p:cNvSpPr>
                    <a:spLocks/>
                  </p:cNvSpPr>
                  <p:nvPr/>
                </p:nvSpPr>
                <p:spPr bwMode="gray">
                  <a:xfrm>
                    <a:off x="3244" y="2504"/>
                    <a:ext cx="60" cy="160"/>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50" name="Madagascar"/>
                  <p:cNvSpPr>
                    <a:spLocks/>
                  </p:cNvSpPr>
                  <p:nvPr/>
                </p:nvSpPr>
                <p:spPr bwMode="gray">
                  <a:xfrm>
                    <a:off x="3419" y="2563"/>
                    <a:ext cx="152" cy="279"/>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51" name="Macedonia"/>
                  <p:cNvSpPr>
                    <a:spLocks/>
                  </p:cNvSpPr>
                  <p:nvPr/>
                </p:nvSpPr>
                <p:spPr bwMode="gray">
                  <a:xfrm>
                    <a:off x="3007" y="1435"/>
                    <a:ext cx="42" cy="33"/>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52" name="Luxembourg"/>
                  <p:cNvSpPr>
                    <a:spLocks/>
                  </p:cNvSpPr>
                  <p:nvPr/>
                </p:nvSpPr>
                <p:spPr bwMode="gray">
                  <a:xfrm>
                    <a:off x="2766" y="1281"/>
                    <a:ext cx="13" cy="11"/>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53" name="Lithuania"/>
                  <p:cNvSpPr>
                    <a:spLocks/>
                  </p:cNvSpPr>
                  <p:nvPr/>
                </p:nvSpPr>
                <p:spPr bwMode="gray">
                  <a:xfrm>
                    <a:off x="3002" y="1156"/>
                    <a:ext cx="87" cy="50"/>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54" name="Liechtenstein"/>
                  <p:cNvSpPr>
                    <a:spLocks/>
                  </p:cNvSpPr>
                  <p:nvPr/>
                </p:nvSpPr>
                <p:spPr bwMode="gray">
                  <a:xfrm>
                    <a:off x="2824" y="1337"/>
                    <a:ext cx="4" cy="6"/>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55" name="Libya"/>
                  <p:cNvSpPr>
                    <a:spLocks/>
                  </p:cNvSpPr>
                  <p:nvPr/>
                </p:nvSpPr>
                <p:spPr bwMode="gray">
                  <a:xfrm>
                    <a:off x="2822" y="1625"/>
                    <a:ext cx="281" cy="284"/>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56" name="Liberia"/>
                  <p:cNvSpPr>
                    <a:spLocks/>
                  </p:cNvSpPr>
                  <p:nvPr/>
                </p:nvSpPr>
                <p:spPr bwMode="gray">
                  <a:xfrm>
                    <a:off x="2439" y="2133"/>
                    <a:ext cx="79" cy="88"/>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57" name="Lesotho"/>
                  <p:cNvSpPr>
                    <a:spLocks/>
                  </p:cNvSpPr>
                  <p:nvPr/>
                </p:nvSpPr>
                <p:spPr bwMode="gray">
                  <a:xfrm>
                    <a:off x="3132" y="2900"/>
                    <a:ext cx="43" cy="42"/>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58" name="Lebanon"/>
                  <p:cNvSpPr>
                    <a:spLocks/>
                  </p:cNvSpPr>
                  <p:nvPr/>
                </p:nvSpPr>
                <p:spPr bwMode="gray">
                  <a:xfrm>
                    <a:off x="3264" y="1596"/>
                    <a:ext cx="28" cy="40"/>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59" name="Latvia"/>
                  <p:cNvSpPr>
                    <a:spLocks/>
                  </p:cNvSpPr>
                  <p:nvPr/>
                </p:nvSpPr>
                <p:spPr bwMode="gray">
                  <a:xfrm>
                    <a:off x="3000" y="1125"/>
                    <a:ext cx="109" cy="46"/>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60" name="Laos"/>
                  <p:cNvSpPr>
                    <a:spLocks/>
                  </p:cNvSpPr>
                  <p:nvPr/>
                </p:nvSpPr>
                <p:spPr bwMode="gray">
                  <a:xfrm>
                    <a:off x="4444" y="1846"/>
                    <a:ext cx="154" cy="178"/>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61" name="Kyrgyzstan"/>
                  <p:cNvSpPr>
                    <a:spLocks/>
                  </p:cNvSpPr>
                  <p:nvPr/>
                </p:nvSpPr>
                <p:spPr bwMode="gray">
                  <a:xfrm>
                    <a:off x="3830" y="1421"/>
                    <a:ext cx="172" cy="80"/>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62" name="Kuwait"/>
                  <p:cNvSpPr>
                    <a:spLocks/>
                  </p:cNvSpPr>
                  <p:nvPr/>
                </p:nvSpPr>
                <p:spPr bwMode="gray">
                  <a:xfrm>
                    <a:off x="3476" y="1691"/>
                    <a:ext cx="35" cy="31"/>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63" name="Korea, South"/>
                  <p:cNvSpPr>
                    <a:spLocks noEditPoints="1"/>
                  </p:cNvSpPr>
                  <p:nvPr/>
                </p:nvSpPr>
                <p:spPr bwMode="gray">
                  <a:xfrm>
                    <a:off x="4811" y="1516"/>
                    <a:ext cx="70" cy="109"/>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64" name="Korea, North"/>
                  <p:cNvSpPr>
                    <a:spLocks/>
                  </p:cNvSpPr>
                  <p:nvPr/>
                </p:nvSpPr>
                <p:spPr bwMode="gray">
                  <a:xfrm>
                    <a:off x="4753" y="1426"/>
                    <a:ext cx="84" cy="107"/>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65" name="Kenya"/>
                  <p:cNvSpPr>
                    <a:spLocks/>
                  </p:cNvSpPr>
                  <p:nvPr/>
                </p:nvSpPr>
                <p:spPr bwMode="gray">
                  <a:xfrm>
                    <a:off x="3272" y="2213"/>
                    <a:ext cx="144" cy="195"/>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66" name="Kazakhstan"/>
                  <p:cNvSpPr>
                    <a:spLocks noEditPoints="1"/>
                  </p:cNvSpPr>
                  <p:nvPr/>
                </p:nvSpPr>
                <p:spPr bwMode="gray">
                  <a:xfrm>
                    <a:off x="3419" y="1177"/>
                    <a:ext cx="643" cy="298"/>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67" name="Jordan"/>
                  <p:cNvSpPr>
                    <a:spLocks/>
                  </p:cNvSpPr>
                  <p:nvPr/>
                </p:nvSpPr>
                <p:spPr bwMode="gray">
                  <a:xfrm>
                    <a:off x="3272" y="1624"/>
                    <a:ext cx="72" cy="86"/>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68" name="Jamaica"/>
                  <p:cNvSpPr>
                    <a:spLocks/>
                  </p:cNvSpPr>
                  <p:nvPr/>
                </p:nvSpPr>
                <p:spPr bwMode="gray">
                  <a:xfrm>
                    <a:off x="1246" y="1931"/>
                    <a:ext cx="40" cy="13"/>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69" name="Japan"/>
                  <p:cNvSpPr>
                    <a:spLocks noEditPoints="1"/>
                  </p:cNvSpPr>
                  <p:nvPr/>
                </p:nvSpPr>
                <p:spPr bwMode="gray">
                  <a:xfrm>
                    <a:off x="4851" y="1374"/>
                    <a:ext cx="224" cy="437"/>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70" name="Italy"/>
                  <p:cNvSpPr>
                    <a:spLocks noEditPoints="1"/>
                  </p:cNvSpPr>
                  <p:nvPr/>
                </p:nvSpPr>
                <p:spPr bwMode="gray">
                  <a:xfrm>
                    <a:off x="2778" y="1341"/>
                    <a:ext cx="199" cy="212"/>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71" name="Israel"/>
                  <p:cNvSpPr>
                    <a:spLocks/>
                  </p:cNvSpPr>
                  <p:nvPr/>
                </p:nvSpPr>
                <p:spPr bwMode="gray">
                  <a:xfrm>
                    <a:off x="3257" y="1621"/>
                    <a:ext cx="26" cy="82"/>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72" name="Ireland"/>
                  <p:cNvSpPr>
                    <a:spLocks/>
                  </p:cNvSpPr>
                  <p:nvPr/>
                </p:nvSpPr>
                <p:spPr bwMode="gray">
                  <a:xfrm>
                    <a:off x="2517" y="1179"/>
                    <a:ext cx="72" cy="76"/>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73" name="Iraq"/>
                  <p:cNvSpPr>
                    <a:spLocks/>
                  </p:cNvSpPr>
                  <p:nvPr/>
                </p:nvSpPr>
                <p:spPr bwMode="gray">
                  <a:xfrm>
                    <a:off x="3332" y="1541"/>
                    <a:ext cx="175" cy="169"/>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74" name="Iran"/>
                  <p:cNvSpPr>
                    <a:spLocks/>
                  </p:cNvSpPr>
                  <p:nvPr/>
                </p:nvSpPr>
                <p:spPr bwMode="gray">
                  <a:xfrm>
                    <a:off x="3407" y="1490"/>
                    <a:ext cx="368" cy="302"/>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75" name="Indonesia"/>
                  <p:cNvSpPr>
                    <a:spLocks noEditPoints="1"/>
                  </p:cNvSpPr>
                  <p:nvPr/>
                </p:nvSpPr>
                <p:spPr bwMode="gray">
                  <a:xfrm>
                    <a:off x="4384" y="2193"/>
                    <a:ext cx="835" cy="333"/>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76" name="India"/>
                  <p:cNvSpPr>
                    <a:spLocks noEditPoints="1"/>
                  </p:cNvSpPr>
                  <p:nvPr/>
                </p:nvSpPr>
                <p:spPr bwMode="gray">
                  <a:xfrm>
                    <a:off x="3872" y="1568"/>
                    <a:ext cx="500" cy="603"/>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77" name="Iceland"/>
                  <p:cNvSpPr>
                    <a:spLocks/>
                  </p:cNvSpPr>
                  <p:nvPr/>
                </p:nvSpPr>
                <p:spPr bwMode="gray">
                  <a:xfrm>
                    <a:off x="2363" y="968"/>
                    <a:ext cx="146" cy="57"/>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78" name="Hungary"/>
                  <p:cNvSpPr>
                    <a:spLocks/>
                  </p:cNvSpPr>
                  <p:nvPr/>
                </p:nvSpPr>
                <p:spPr bwMode="gray">
                  <a:xfrm>
                    <a:off x="2934" y="1312"/>
                    <a:ext cx="109" cy="57"/>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79" name="Honduras"/>
                  <p:cNvSpPr>
                    <a:spLocks/>
                  </p:cNvSpPr>
                  <p:nvPr/>
                </p:nvSpPr>
                <p:spPr bwMode="gray">
                  <a:xfrm>
                    <a:off x="1042" y="1980"/>
                    <a:ext cx="114" cy="63"/>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80" name="Haiti"/>
                  <p:cNvSpPr>
                    <a:spLocks/>
                  </p:cNvSpPr>
                  <p:nvPr/>
                </p:nvSpPr>
                <p:spPr bwMode="gray">
                  <a:xfrm>
                    <a:off x="1322" y="1900"/>
                    <a:ext cx="50" cy="40"/>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81" name="Guyane (French Guiana)"/>
                  <p:cNvSpPr>
                    <a:spLocks/>
                  </p:cNvSpPr>
                  <p:nvPr/>
                </p:nvSpPr>
                <p:spPr bwMode="gray">
                  <a:xfrm>
                    <a:off x="1658" y="2191"/>
                    <a:ext cx="52" cy="76"/>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82" name="Guyana"/>
                  <p:cNvSpPr>
                    <a:spLocks/>
                  </p:cNvSpPr>
                  <p:nvPr/>
                </p:nvSpPr>
                <p:spPr bwMode="gray">
                  <a:xfrm>
                    <a:off x="1536" y="2136"/>
                    <a:ext cx="83" cy="149"/>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83" name="Guinea-Bissau"/>
                  <p:cNvSpPr>
                    <a:spLocks/>
                  </p:cNvSpPr>
                  <p:nvPr/>
                </p:nvSpPr>
                <p:spPr bwMode="gray">
                  <a:xfrm>
                    <a:off x="2359" y="2047"/>
                    <a:ext cx="47" cy="40"/>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84" name="Guinea"/>
                  <p:cNvSpPr>
                    <a:spLocks/>
                  </p:cNvSpPr>
                  <p:nvPr/>
                </p:nvSpPr>
                <p:spPr bwMode="gray">
                  <a:xfrm>
                    <a:off x="2382" y="2049"/>
                    <a:ext cx="133" cy="113"/>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85" name="Guatemala"/>
                  <p:cNvSpPr>
                    <a:spLocks/>
                  </p:cNvSpPr>
                  <p:nvPr/>
                </p:nvSpPr>
                <p:spPr bwMode="gray">
                  <a:xfrm>
                    <a:off x="989" y="1941"/>
                    <a:ext cx="76" cy="86"/>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86" name="Greenland"/>
                  <p:cNvSpPr>
                    <a:spLocks noEditPoints="1"/>
                  </p:cNvSpPr>
                  <p:nvPr/>
                </p:nvSpPr>
                <p:spPr bwMode="gray">
                  <a:xfrm>
                    <a:off x="1871" y="702"/>
                    <a:ext cx="717" cy="390"/>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87" name="Greece"/>
                  <p:cNvSpPr>
                    <a:spLocks noEditPoints="1"/>
                  </p:cNvSpPr>
                  <p:nvPr/>
                </p:nvSpPr>
                <p:spPr bwMode="gray">
                  <a:xfrm>
                    <a:off x="3008" y="1450"/>
                    <a:ext cx="136" cy="141"/>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88" name="Ghana"/>
                  <p:cNvSpPr>
                    <a:spLocks/>
                  </p:cNvSpPr>
                  <p:nvPr/>
                </p:nvSpPr>
                <p:spPr bwMode="gray">
                  <a:xfrm>
                    <a:off x="2592" y="2081"/>
                    <a:ext cx="83" cy="132"/>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89" name="Germany"/>
                  <p:cNvSpPr>
                    <a:spLocks/>
                  </p:cNvSpPr>
                  <p:nvPr/>
                </p:nvSpPr>
                <p:spPr bwMode="gray">
                  <a:xfrm>
                    <a:off x="2770" y="1186"/>
                    <a:ext cx="144" cy="151"/>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90" name="Georgia"/>
                  <p:cNvSpPr>
                    <a:spLocks/>
                  </p:cNvSpPr>
                  <p:nvPr/>
                </p:nvSpPr>
                <p:spPr bwMode="gray">
                  <a:xfrm>
                    <a:off x="3329" y="1412"/>
                    <a:ext cx="118" cy="54"/>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91" name="The Gambia"/>
                  <p:cNvSpPr>
                    <a:spLocks/>
                  </p:cNvSpPr>
                  <p:nvPr/>
                </p:nvSpPr>
                <p:spPr bwMode="gray">
                  <a:xfrm>
                    <a:off x="2350" y="2026"/>
                    <a:ext cx="55" cy="13"/>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92" name="Gabon"/>
                  <p:cNvSpPr>
                    <a:spLocks/>
                  </p:cNvSpPr>
                  <p:nvPr/>
                </p:nvSpPr>
                <p:spPr bwMode="gray">
                  <a:xfrm>
                    <a:off x="2810" y="2260"/>
                    <a:ext cx="107" cy="131"/>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93" name="France"/>
                  <p:cNvSpPr>
                    <a:spLocks noEditPoints="1"/>
                  </p:cNvSpPr>
                  <p:nvPr/>
                </p:nvSpPr>
                <p:spPr bwMode="gray">
                  <a:xfrm>
                    <a:off x="2595" y="1259"/>
                    <a:ext cx="233" cy="201"/>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94" name="Finland"/>
                  <p:cNvSpPr>
                    <a:spLocks/>
                  </p:cNvSpPr>
                  <p:nvPr/>
                </p:nvSpPr>
                <p:spPr bwMode="gray">
                  <a:xfrm>
                    <a:off x="2977" y="907"/>
                    <a:ext cx="161" cy="183"/>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95" name="Ethiopia"/>
                  <p:cNvSpPr>
                    <a:spLocks/>
                  </p:cNvSpPr>
                  <p:nvPr/>
                </p:nvSpPr>
                <p:spPr bwMode="gray">
                  <a:xfrm>
                    <a:off x="3253" y="2003"/>
                    <a:ext cx="270" cy="236"/>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96" name="Estonia"/>
                  <p:cNvSpPr>
                    <a:spLocks noEditPoints="1"/>
                  </p:cNvSpPr>
                  <p:nvPr/>
                </p:nvSpPr>
                <p:spPr bwMode="gray">
                  <a:xfrm>
                    <a:off x="3009" y="1096"/>
                    <a:ext cx="89" cy="40"/>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97" name="Eritrea"/>
                  <p:cNvSpPr>
                    <a:spLocks/>
                  </p:cNvSpPr>
                  <p:nvPr/>
                </p:nvSpPr>
                <p:spPr bwMode="gray">
                  <a:xfrm>
                    <a:off x="3310" y="1938"/>
                    <a:ext cx="123" cy="117"/>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98" name="Equatorial Guinea"/>
                  <p:cNvSpPr>
                    <a:spLocks/>
                  </p:cNvSpPr>
                  <p:nvPr/>
                </p:nvSpPr>
                <p:spPr bwMode="gray">
                  <a:xfrm>
                    <a:off x="2822" y="2262"/>
                    <a:ext cx="37" cy="28"/>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199" name="El Salvador"/>
                  <p:cNvSpPr>
                    <a:spLocks/>
                  </p:cNvSpPr>
                  <p:nvPr/>
                </p:nvSpPr>
                <p:spPr bwMode="gray">
                  <a:xfrm>
                    <a:off x="1024" y="2012"/>
                    <a:ext cx="44" cy="29"/>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00" name="Egypt"/>
                  <p:cNvSpPr>
                    <a:spLocks/>
                  </p:cNvSpPr>
                  <p:nvPr/>
                </p:nvSpPr>
                <p:spPr bwMode="gray">
                  <a:xfrm>
                    <a:off x="3091" y="1657"/>
                    <a:ext cx="202" cy="206"/>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01" name="Ecuador"/>
                  <p:cNvSpPr>
                    <a:spLocks noEditPoints="1"/>
                  </p:cNvSpPr>
                  <p:nvPr/>
                </p:nvSpPr>
                <p:spPr bwMode="gray">
                  <a:xfrm>
                    <a:off x="1176" y="2277"/>
                    <a:ext cx="106" cy="135"/>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02" name="East Timor"/>
                  <p:cNvSpPr>
                    <a:spLocks noEditPoints="1"/>
                  </p:cNvSpPr>
                  <p:nvPr/>
                </p:nvSpPr>
                <p:spPr bwMode="gray">
                  <a:xfrm>
                    <a:off x="4903" y="2480"/>
                    <a:ext cx="64" cy="30"/>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03" name="Dominican Republic"/>
                  <p:cNvSpPr>
                    <a:spLocks/>
                  </p:cNvSpPr>
                  <p:nvPr/>
                </p:nvSpPr>
                <p:spPr bwMode="gray">
                  <a:xfrm>
                    <a:off x="1365" y="1900"/>
                    <a:ext cx="64" cy="43"/>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04" name="Djibouti"/>
                  <p:cNvSpPr>
                    <a:spLocks/>
                  </p:cNvSpPr>
                  <p:nvPr/>
                </p:nvSpPr>
                <p:spPr bwMode="gray">
                  <a:xfrm>
                    <a:off x="3408" y="2049"/>
                    <a:ext cx="30" cy="35"/>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05" name="Denmark"/>
                  <p:cNvSpPr>
                    <a:spLocks noEditPoints="1"/>
                  </p:cNvSpPr>
                  <p:nvPr/>
                </p:nvSpPr>
                <p:spPr bwMode="gray">
                  <a:xfrm>
                    <a:off x="2805" y="1134"/>
                    <a:ext cx="71" cy="60"/>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06" name="Czech Republic"/>
                  <p:cNvSpPr>
                    <a:spLocks/>
                  </p:cNvSpPr>
                  <p:nvPr/>
                </p:nvSpPr>
                <p:spPr bwMode="gray">
                  <a:xfrm>
                    <a:off x="2868" y="1263"/>
                    <a:ext cx="108" cy="49"/>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07" name="Cyprus"/>
                  <p:cNvSpPr>
                    <a:spLocks/>
                  </p:cNvSpPr>
                  <p:nvPr/>
                </p:nvSpPr>
                <p:spPr bwMode="gray">
                  <a:xfrm>
                    <a:off x="3215" y="1576"/>
                    <a:ext cx="38" cy="22"/>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08" name="Cuba"/>
                  <p:cNvSpPr>
                    <a:spLocks noEditPoints="1"/>
                  </p:cNvSpPr>
                  <p:nvPr/>
                </p:nvSpPr>
                <p:spPr bwMode="gray">
                  <a:xfrm>
                    <a:off x="1142" y="1831"/>
                    <a:ext cx="189" cy="69"/>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09" name="Croatia"/>
                  <p:cNvSpPr>
                    <a:spLocks/>
                  </p:cNvSpPr>
                  <p:nvPr/>
                </p:nvSpPr>
                <p:spPr bwMode="gray">
                  <a:xfrm>
                    <a:off x="2894" y="1354"/>
                    <a:ext cx="94" cy="70"/>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10" name="Côte d'Ivoire"/>
                  <p:cNvSpPr>
                    <a:spLocks/>
                  </p:cNvSpPr>
                  <p:nvPr/>
                </p:nvSpPr>
                <p:spPr bwMode="gray">
                  <a:xfrm>
                    <a:off x="2495" y="2089"/>
                    <a:ext cx="112" cy="132"/>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11" name="Costa Rica"/>
                  <p:cNvSpPr>
                    <a:spLocks/>
                  </p:cNvSpPr>
                  <p:nvPr/>
                </p:nvSpPr>
                <p:spPr bwMode="gray">
                  <a:xfrm>
                    <a:off x="1095" y="2079"/>
                    <a:ext cx="61" cy="59"/>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no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12" name="Congo"/>
                  <p:cNvSpPr>
                    <a:spLocks/>
                  </p:cNvSpPr>
                  <p:nvPr/>
                </p:nvSpPr>
                <p:spPr bwMode="gray">
                  <a:xfrm>
                    <a:off x="2876" y="2199"/>
                    <a:ext cx="345" cy="388"/>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13" name="Congo (Brazzaville)"/>
                  <p:cNvSpPr>
                    <a:spLocks/>
                  </p:cNvSpPr>
                  <p:nvPr/>
                </p:nvSpPr>
                <p:spPr bwMode="gray">
                  <a:xfrm>
                    <a:off x="2854" y="2233"/>
                    <a:ext cx="137" cy="179"/>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14" name="Colombia"/>
                  <p:cNvSpPr>
                    <a:spLocks/>
                  </p:cNvSpPr>
                  <p:nvPr/>
                </p:nvSpPr>
                <p:spPr bwMode="gray">
                  <a:xfrm>
                    <a:off x="1213" y="2053"/>
                    <a:ext cx="222" cy="344"/>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15" name="Chile"/>
                  <p:cNvSpPr>
                    <a:spLocks noEditPoints="1"/>
                  </p:cNvSpPr>
                  <p:nvPr/>
                </p:nvSpPr>
                <p:spPr bwMode="gray">
                  <a:xfrm>
                    <a:off x="1392" y="2673"/>
                    <a:ext cx="296" cy="775"/>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16" name="China"/>
                  <p:cNvSpPr>
                    <a:spLocks noEditPoints="1"/>
                  </p:cNvSpPr>
                  <p:nvPr/>
                </p:nvSpPr>
                <p:spPr bwMode="gray">
                  <a:xfrm>
                    <a:off x="3907" y="1211"/>
                    <a:ext cx="936" cy="723"/>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17" name="Chad"/>
                  <p:cNvSpPr>
                    <a:spLocks/>
                  </p:cNvSpPr>
                  <p:nvPr/>
                </p:nvSpPr>
                <p:spPr bwMode="gray">
                  <a:xfrm>
                    <a:off x="2896" y="1826"/>
                    <a:ext cx="190" cy="330"/>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18" name="Central African Republic"/>
                  <p:cNvSpPr>
                    <a:spLocks/>
                  </p:cNvSpPr>
                  <p:nvPr/>
                </p:nvSpPr>
                <p:spPr bwMode="gray">
                  <a:xfrm>
                    <a:off x="2914" y="2084"/>
                    <a:ext cx="234" cy="179"/>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19" name="Canada"/>
                  <p:cNvSpPr>
                    <a:spLocks noEditPoints="1"/>
                  </p:cNvSpPr>
                  <p:nvPr/>
                </p:nvSpPr>
                <p:spPr bwMode="gray">
                  <a:xfrm>
                    <a:off x="633" y="708"/>
                    <a:ext cx="1425" cy="738"/>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20" name="Cameroon"/>
                  <p:cNvSpPr>
                    <a:spLocks/>
                  </p:cNvSpPr>
                  <p:nvPr/>
                </p:nvSpPr>
                <p:spPr bwMode="gray">
                  <a:xfrm>
                    <a:off x="2808" y="2039"/>
                    <a:ext cx="140" cy="237"/>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21" name="Cambodia"/>
                  <p:cNvSpPr>
                    <a:spLocks/>
                  </p:cNvSpPr>
                  <p:nvPr/>
                </p:nvSpPr>
                <p:spPr bwMode="gray">
                  <a:xfrm>
                    <a:off x="4504" y="2010"/>
                    <a:ext cx="97" cy="86"/>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22" name="Burundi"/>
                  <p:cNvSpPr>
                    <a:spLocks/>
                  </p:cNvSpPr>
                  <p:nvPr/>
                </p:nvSpPr>
                <p:spPr bwMode="gray">
                  <a:xfrm>
                    <a:off x="3180" y="2360"/>
                    <a:ext cx="34" cy="43"/>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23" name="Burkina Faso"/>
                  <p:cNvSpPr>
                    <a:spLocks/>
                  </p:cNvSpPr>
                  <p:nvPr/>
                </p:nvSpPr>
                <p:spPr bwMode="gray">
                  <a:xfrm>
                    <a:off x="2552" y="2000"/>
                    <a:ext cx="146" cy="115"/>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24" name="Bulgaria"/>
                  <p:cNvSpPr>
                    <a:spLocks/>
                  </p:cNvSpPr>
                  <p:nvPr/>
                </p:nvSpPr>
                <p:spPr bwMode="gray">
                  <a:xfrm>
                    <a:off x="3039" y="1401"/>
                    <a:ext cx="101" cy="58"/>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25" name="Brazil"/>
                  <p:cNvSpPr>
                    <a:spLocks noEditPoints="1"/>
                  </p:cNvSpPr>
                  <p:nvPr/>
                </p:nvSpPr>
                <p:spPr bwMode="gray">
                  <a:xfrm>
                    <a:off x="1309" y="2201"/>
                    <a:ext cx="712" cy="805"/>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26" name="Botswana"/>
                  <p:cNvSpPr>
                    <a:spLocks/>
                  </p:cNvSpPr>
                  <p:nvPr/>
                </p:nvSpPr>
                <p:spPr bwMode="gray">
                  <a:xfrm>
                    <a:off x="3011" y="2676"/>
                    <a:ext cx="166" cy="187"/>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27" name="Bosnia and Herzegovina"/>
                  <p:cNvSpPr>
                    <a:spLocks/>
                  </p:cNvSpPr>
                  <p:nvPr/>
                </p:nvSpPr>
                <p:spPr bwMode="gray">
                  <a:xfrm>
                    <a:off x="2927" y="1378"/>
                    <a:ext cx="68" cy="60"/>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28" name="Bolivia"/>
                  <p:cNvSpPr>
                    <a:spLocks/>
                  </p:cNvSpPr>
                  <p:nvPr/>
                </p:nvSpPr>
                <p:spPr bwMode="gray">
                  <a:xfrm>
                    <a:off x="1394" y="2510"/>
                    <a:ext cx="228" cy="271"/>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29" name="Bhutan"/>
                  <p:cNvSpPr>
                    <a:spLocks/>
                  </p:cNvSpPr>
                  <p:nvPr/>
                </p:nvSpPr>
                <p:spPr bwMode="gray">
                  <a:xfrm>
                    <a:off x="4223" y="1726"/>
                    <a:ext cx="60" cy="34"/>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30" name="Benin"/>
                  <p:cNvSpPr>
                    <a:spLocks/>
                  </p:cNvSpPr>
                  <p:nvPr/>
                </p:nvSpPr>
                <p:spPr bwMode="gray">
                  <a:xfrm>
                    <a:off x="2667" y="2055"/>
                    <a:ext cx="57" cy="127"/>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31" name="Belize"/>
                  <p:cNvSpPr>
                    <a:spLocks/>
                  </p:cNvSpPr>
                  <p:nvPr/>
                </p:nvSpPr>
                <p:spPr bwMode="gray">
                  <a:xfrm>
                    <a:off x="1047" y="1929"/>
                    <a:ext cx="28" cy="54"/>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32" name="Belgium"/>
                  <p:cNvSpPr>
                    <a:spLocks/>
                  </p:cNvSpPr>
                  <p:nvPr/>
                </p:nvSpPr>
                <p:spPr bwMode="gray">
                  <a:xfrm>
                    <a:off x="2721" y="1255"/>
                    <a:ext cx="57" cy="39"/>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33" name="Bangladesh"/>
                  <p:cNvSpPr>
                    <a:spLocks/>
                  </p:cNvSpPr>
                  <p:nvPr/>
                </p:nvSpPr>
                <p:spPr bwMode="gray">
                  <a:xfrm>
                    <a:off x="4215" y="1763"/>
                    <a:ext cx="96" cy="109"/>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34" name="Bahrain"/>
                  <p:cNvSpPr>
                    <a:spLocks/>
                  </p:cNvSpPr>
                  <p:nvPr/>
                </p:nvSpPr>
                <p:spPr bwMode="gray">
                  <a:xfrm>
                    <a:off x="3553" y="1767"/>
                    <a:ext cx="7" cy="14"/>
                  </a:xfrm>
                  <a:custGeom>
                    <a:avLst/>
                    <a:gdLst>
                      <a:gd name="T0" fmla="*/ 2147483647 w 15"/>
                      <a:gd name="T1" fmla="*/ 0 h 28"/>
                      <a:gd name="T2" fmla="*/ 2147483647 w 15"/>
                      <a:gd name="T3" fmla="*/ 2147483647 h 28"/>
                      <a:gd name="T4" fmla="*/ 2147483647 w 15"/>
                      <a:gd name="T5" fmla="*/ 2147483647 h 28"/>
                      <a:gd name="T6" fmla="*/ 2032697641 w 15"/>
                      <a:gd name="T7" fmla="*/ 2147483647 h 28"/>
                      <a:gd name="T8" fmla="*/ 813299296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35" name="Belarus"/>
                  <p:cNvSpPr>
                    <a:spLocks/>
                  </p:cNvSpPr>
                  <p:nvPr/>
                </p:nvSpPr>
                <p:spPr bwMode="gray">
                  <a:xfrm>
                    <a:off x="3040" y="1162"/>
                    <a:ext cx="146" cy="95"/>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36" name="Azerbaijan"/>
                  <p:cNvSpPr>
                    <a:spLocks noEditPoints="1"/>
                  </p:cNvSpPr>
                  <p:nvPr/>
                </p:nvSpPr>
                <p:spPr bwMode="gray">
                  <a:xfrm>
                    <a:off x="3419" y="1447"/>
                    <a:ext cx="92" cy="74"/>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37" name="Austria"/>
                  <p:cNvSpPr>
                    <a:spLocks/>
                  </p:cNvSpPr>
                  <p:nvPr/>
                </p:nvSpPr>
                <p:spPr bwMode="gray">
                  <a:xfrm>
                    <a:off x="2828" y="1303"/>
                    <a:ext cx="117" cy="52"/>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38" name="Australia"/>
                  <p:cNvSpPr>
                    <a:spLocks noEditPoints="1"/>
                  </p:cNvSpPr>
                  <p:nvPr/>
                </p:nvSpPr>
                <p:spPr bwMode="gray">
                  <a:xfrm>
                    <a:off x="4633" y="2529"/>
                    <a:ext cx="726" cy="681"/>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39" name="Armenia"/>
                  <p:cNvSpPr>
                    <a:spLocks/>
                  </p:cNvSpPr>
                  <p:nvPr/>
                </p:nvSpPr>
                <p:spPr bwMode="gray">
                  <a:xfrm>
                    <a:off x="3393" y="1458"/>
                    <a:ext cx="57" cy="54"/>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40" name="Argentina"/>
                  <p:cNvSpPr>
                    <a:spLocks noEditPoints="1"/>
                  </p:cNvSpPr>
                  <p:nvPr/>
                </p:nvSpPr>
                <p:spPr bwMode="gray">
                  <a:xfrm>
                    <a:off x="1431" y="2761"/>
                    <a:ext cx="279" cy="624"/>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accent1"/>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41" name="Angola"/>
                  <p:cNvSpPr>
                    <a:spLocks noEditPoints="1"/>
                  </p:cNvSpPr>
                  <p:nvPr/>
                </p:nvSpPr>
                <p:spPr bwMode="gray">
                  <a:xfrm>
                    <a:off x="2864" y="2398"/>
                    <a:ext cx="227" cy="283"/>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42" name="Andorra"/>
                  <p:cNvSpPr>
                    <a:spLocks/>
                  </p:cNvSpPr>
                  <p:nvPr/>
                </p:nvSpPr>
                <p:spPr bwMode="gray">
                  <a:xfrm>
                    <a:off x="2692" y="1432"/>
                    <a:ext cx="8" cy="4"/>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43" name="Algeria"/>
                  <p:cNvSpPr>
                    <a:spLocks/>
                  </p:cNvSpPr>
                  <p:nvPr/>
                </p:nvSpPr>
                <p:spPr bwMode="gray">
                  <a:xfrm>
                    <a:off x="2492" y="1544"/>
                    <a:ext cx="378" cy="374"/>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44" name="Albania"/>
                  <p:cNvSpPr>
                    <a:spLocks/>
                  </p:cNvSpPr>
                  <p:nvPr/>
                </p:nvSpPr>
                <p:spPr bwMode="gray">
                  <a:xfrm>
                    <a:off x="2965" y="1416"/>
                    <a:ext cx="63" cy="77"/>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45" name="South Africa"/>
                  <p:cNvSpPr>
                    <a:spLocks noEditPoints="1"/>
                  </p:cNvSpPr>
                  <p:nvPr/>
                </p:nvSpPr>
                <p:spPr bwMode="gray">
                  <a:xfrm>
                    <a:off x="2948" y="2767"/>
                    <a:ext cx="290" cy="261"/>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46" name="Afghanistan"/>
                  <p:cNvSpPr>
                    <a:spLocks/>
                  </p:cNvSpPr>
                  <p:nvPr/>
                </p:nvSpPr>
                <p:spPr bwMode="gray">
                  <a:xfrm>
                    <a:off x="3703" y="1516"/>
                    <a:ext cx="232" cy="189"/>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grpSp>
            <p:sp>
              <p:nvSpPr>
                <p:cNvPr id="65" name="Brazil"/>
                <p:cNvSpPr>
                  <a:spLocks noEditPoints="1"/>
                </p:cNvSpPr>
                <p:nvPr/>
              </p:nvSpPr>
              <p:spPr bwMode="gray">
                <a:xfrm>
                  <a:off x="2038074" y="3868661"/>
                  <a:ext cx="1107609" cy="1277938"/>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accent1"/>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grpSp>
              <p:nvGrpSpPr>
                <p:cNvPr id="66" name="Gruppieren 192"/>
                <p:cNvGrpSpPr/>
                <p:nvPr/>
              </p:nvGrpSpPr>
              <p:grpSpPr>
                <a:xfrm>
                  <a:off x="4146813" y="2416917"/>
                  <a:ext cx="343794" cy="460375"/>
                  <a:chOff x="4189831" y="2419337"/>
                  <a:chExt cx="343794" cy="460375"/>
                </a:xfrm>
                <a:grpFill/>
                <a:effectLst>
                  <a:outerShdw blurRad="50800" dist="38100" dir="2700000" algn="tl" rotWithShape="0">
                    <a:prstClr val="black">
                      <a:alpha val="40000"/>
                    </a:prstClr>
                  </a:outerShdw>
                </a:effectLst>
              </p:grpSpPr>
              <p:sp>
                <p:nvSpPr>
                  <p:cNvPr id="71" name="Malta"/>
                  <p:cNvSpPr>
                    <a:spLocks/>
                  </p:cNvSpPr>
                  <p:nvPr/>
                </p:nvSpPr>
                <p:spPr bwMode="gray">
                  <a:xfrm>
                    <a:off x="4521180" y="2868599"/>
                    <a:ext cx="12445" cy="11113"/>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72" name="Luxembourg"/>
                  <p:cNvSpPr>
                    <a:spLocks/>
                  </p:cNvSpPr>
                  <p:nvPr/>
                </p:nvSpPr>
                <p:spPr bwMode="gray">
                  <a:xfrm>
                    <a:off x="4304948" y="2419337"/>
                    <a:ext cx="20223" cy="17463"/>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73" name="Liechtenstein"/>
                  <p:cNvSpPr>
                    <a:spLocks/>
                  </p:cNvSpPr>
                  <p:nvPr/>
                </p:nvSpPr>
                <p:spPr bwMode="gray">
                  <a:xfrm>
                    <a:off x="4395174" y="2508237"/>
                    <a:ext cx="6223" cy="9525"/>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74" name="Andorra"/>
                  <p:cNvSpPr>
                    <a:spLocks/>
                  </p:cNvSpPr>
                  <p:nvPr/>
                </p:nvSpPr>
                <p:spPr bwMode="gray">
                  <a:xfrm>
                    <a:off x="4189831" y="2659049"/>
                    <a:ext cx="12445" cy="6350"/>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grpSp>
            <p:grpSp>
              <p:nvGrpSpPr>
                <p:cNvPr id="67" name="Gruppieren 233"/>
                <p:cNvGrpSpPr/>
                <p:nvPr/>
              </p:nvGrpSpPr>
              <p:grpSpPr>
                <a:xfrm>
                  <a:off x="5003425" y="2142372"/>
                  <a:ext cx="2991479" cy="1376362"/>
                  <a:chOff x="5003426" y="2136762"/>
                  <a:chExt cx="2991479" cy="1376362"/>
                </a:xfrm>
                <a:grpFill/>
                <a:effectLst>
                  <a:outerShdw blurRad="50800" dist="38100" dir="2700000" algn="tl" rotWithShape="0">
                    <a:prstClr val="black">
                      <a:alpha val="40000"/>
                    </a:prstClr>
                  </a:outerShdw>
                </a:effectLst>
              </p:grpSpPr>
              <p:sp>
                <p:nvSpPr>
                  <p:cNvPr id="68" name="Russia (Urup,Simushir)"/>
                  <p:cNvSpPr>
                    <a:spLocks noEditPoints="1"/>
                  </p:cNvSpPr>
                  <p:nvPr/>
                </p:nvSpPr>
                <p:spPr bwMode="gray">
                  <a:xfrm>
                    <a:off x="7875121" y="2136762"/>
                    <a:ext cx="119784" cy="485775"/>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9" name="Parcel Islands"/>
                  <p:cNvSpPr>
                    <a:spLocks noEditPoints="1"/>
                  </p:cNvSpPr>
                  <p:nvPr/>
                </p:nvSpPr>
                <p:spPr bwMode="gray">
                  <a:xfrm>
                    <a:off x="7245091" y="3487724"/>
                    <a:ext cx="37335" cy="25400"/>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70" name="Cyprus"/>
                  <p:cNvSpPr>
                    <a:spLocks/>
                  </p:cNvSpPr>
                  <p:nvPr/>
                </p:nvSpPr>
                <p:spPr bwMode="gray">
                  <a:xfrm>
                    <a:off x="5003426" y="2887649"/>
                    <a:ext cx="59114" cy="34925"/>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grpSp>
          </p:grpSp>
          <p:sp>
            <p:nvSpPr>
              <p:cNvPr id="62" name="Freeform 199"/>
              <p:cNvSpPr>
                <a:spLocks noEditPoints="1"/>
              </p:cNvSpPr>
              <p:nvPr/>
            </p:nvSpPr>
            <p:spPr bwMode="gray">
              <a:xfrm>
                <a:off x="4644008" y="3156037"/>
                <a:ext cx="54205" cy="45719"/>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3175" cap="flat" cmpd="sng">
                <a:solidFill>
                  <a:schemeClr val="bg1"/>
                </a:solidFill>
                <a:prstDash val="solid"/>
                <a:round/>
                <a:headEnd type="none" w="med" len="med"/>
                <a:tailEnd type="none" w="med" len="med"/>
              </a:ln>
              <a:effectLst/>
            </p:spPr>
            <p:txBody>
              <a:bodyPr/>
              <a:lstStyle/>
              <a:p>
                <a:endParaRPr lang="de-DE">
                  <a:solidFill>
                    <a:srgbClr val="000000"/>
                  </a:solidFill>
                </a:endParaRPr>
              </a:p>
            </p:txBody>
          </p:sp>
          <p:sp>
            <p:nvSpPr>
              <p:cNvPr id="63" name="Freeform 198"/>
              <p:cNvSpPr>
                <a:spLocks/>
              </p:cNvSpPr>
              <p:nvPr/>
            </p:nvSpPr>
            <p:spPr bwMode="gray">
              <a:xfrm>
                <a:off x="4607748" y="3083855"/>
                <a:ext cx="103075" cy="104794"/>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solidFill>
                <a:schemeClr val="accent1"/>
              </a:solidFill>
              <a:ln w="3175">
                <a:solidFill>
                  <a:schemeClr val="bg1"/>
                </a:solidFill>
                <a:round/>
                <a:headEnd/>
                <a:tailEnd/>
              </a:ln>
            </p:spPr>
            <p:txBody>
              <a:bodyPr/>
              <a:lstStyle/>
              <a:p>
                <a:pPr>
                  <a:spcBef>
                    <a:spcPct val="0"/>
                  </a:spcBef>
                </a:pPr>
                <a:endParaRPr lang="de-DE">
                  <a:solidFill>
                    <a:srgbClr val="000000"/>
                  </a:solidFill>
                  <a:latin typeface="Calibri" pitchFamily="34" charset="0"/>
                </a:endParaRPr>
              </a:p>
            </p:txBody>
          </p:sp>
        </p:grpSp>
        <p:sp>
          <p:nvSpPr>
            <p:cNvPr id="59" name="Ellipse 58"/>
            <p:cNvSpPr/>
            <p:nvPr/>
          </p:nvSpPr>
          <p:spPr>
            <a:xfrm>
              <a:off x="6673880" y="4101133"/>
              <a:ext cx="36000" cy="45719"/>
            </a:xfrm>
            <a:prstGeom prst="ellipse">
              <a:avLst/>
            </a:pr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srgbClr val="000000"/>
                </a:solidFill>
                <a:cs typeface="Arial" pitchFamily="34" charset="0"/>
              </a:endParaRPr>
            </a:p>
          </p:txBody>
        </p:sp>
        <p:sp>
          <p:nvSpPr>
            <p:cNvPr id="60" name="Text Box 313"/>
            <p:cNvSpPr txBox="1">
              <a:spLocks noChangeArrowheads="1"/>
            </p:cNvSpPr>
            <p:nvPr/>
          </p:nvSpPr>
          <p:spPr bwMode="auto">
            <a:xfrm>
              <a:off x="6285066" y="855284"/>
              <a:ext cx="1944216" cy="265597"/>
            </a:xfrm>
            <a:prstGeom prst="rect">
              <a:avLst/>
            </a:prstGeom>
            <a:noFill/>
            <a:ln w="9525" algn="ctr">
              <a:noFill/>
              <a:miter lim="800000"/>
              <a:headEnd/>
              <a:tailEnd/>
            </a:ln>
          </p:spPr>
          <p:txBody>
            <a:bodyPr wrap="square" lIns="78885" tIns="40074" rIns="63108" bIns="40074">
              <a:spAutoFit/>
            </a:bodyPr>
            <a:lstStyle/>
            <a:p>
              <a:pPr defTabSz="893307">
                <a:buClr>
                  <a:srgbClr val="E19900"/>
                </a:buClr>
                <a:tabLst>
                  <a:tab pos="2003679" algn="l"/>
                  <a:tab pos="4423400" algn="r"/>
                  <a:tab pos="5258266" algn="r"/>
                  <a:tab pos="6093133" algn="r"/>
                  <a:tab pos="6927999" algn="r"/>
                  <a:tab pos="7768431" algn="r"/>
                </a:tabLst>
              </a:pPr>
              <a:endParaRPr lang="de-DE" sz="1200" dirty="0" smtClean="0">
                <a:solidFill>
                  <a:srgbClr val="000000"/>
                </a:solidFill>
              </a:endParaRPr>
            </a:p>
          </p:txBody>
        </p:sp>
      </p:grpSp>
      <p:sp>
        <p:nvSpPr>
          <p:cNvPr id="13" name="Rechteck 12"/>
          <p:cNvSpPr/>
          <p:nvPr/>
        </p:nvSpPr>
        <p:spPr>
          <a:xfrm>
            <a:off x="539552" y="980728"/>
            <a:ext cx="8149881" cy="553998"/>
          </a:xfrm>
          <a:prstGeom prst="rect">
            <a:avLst/>
          </a:prstGeom>
        </p:spPr>
        <p:txBody>
          <a:bodyPr wrap="square">
            <a:spAutoFit/>
          </a:bodyPr>
          <a:lstStyle/>
          <a:p>
            <a:pPr marL="273050" indent="-273050" algn="l" defTabSz="873161">
              <a:spcAft>
                <a:spcPts val="400"/>
              </a:spcAft>
              <a:buClr>
                <a:srgbClr val="E19900"/>
              </a:buClr>
              <a:buBlip>
                <a:blip r:embed="rId9"/>
              </a:buBlip>
            </a:pPr>
            <a:r>
              <a:rPr lang="en-US" sz="1500" i="0" kern="0" dirty="0" smtClean="0">
                <a:solidFill>
                  <a:srgbClr val="000000"/>
                </a:solidFill>
                <a:latin typeface="Arial"/>
                <a:ea typeface="+mn-ea"/>
                <a:cs typeface="+mn-cs"/>
              </a:rPr>
              <a:t>Die </a:t>
            </a:r>
            <a:r>
              <a:rPr lang="en-US" sz="1500" i="0" kern="0" dirty="0" err="1" smtClean="0">
                <a:solidFill>
                  <a:srgbClr val="000000"/>
                </a:solidFill>
                <a:latin typeface="Arial"/>
                <a:ea typeface="+mn-ea"/>
                <a:cs typeface="+mn-cs"/>
              </a:rPr>
              <a:t>Einbindung</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der</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Mitarbeiter</a:t>
            </a:r>
            <a:r>
              <a:rPr lang="en-US" sz="1500" i="0" kern="0" dirty="0" smtClean="0">
                <a:solidFill>
                  <a:srgbClr val="000000"/>
                </a:solidFill>
                <a:latin typeface="Arial"/>
                <a:ea typeface="+mn-ea"/>
                <a:cs typeface="+mn-cs"/>
              </a:rPr>
              <a:t> und </a:t>
            </a:r>
            <a:r>
              <a:rPr lang="en-US" sz="1500" i="0" kern="0" dirty="0" err="1" smtClean="0">
                <a:solidFill>
                  <a:srgbClr val="000000"/>
                </a:solidFill>
                <a:latin typeface="Arial"/>
                <a:ea typeface="+mn-ea"/>
                <a:cs typeface="+mn-cs"/>
              </a:rPr>
              <a:t>der</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Aufbau</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entsprechender</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Netzwerke</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beginnt</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schon</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vor</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der</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Implementierung</a:t>
            </a:r>
            <a:r>
              <a:rPr lang="en-US" sz="1500" i="0" kern="0" dirty="0" smtClean="0">
                <a:solidFill>
                  <a:srgbClr val="000000"/>
                </a:solidFill>
                <a:latin typeface="Arial"/>
                <a:ea typeface="+mn-ea"/>
                <a:cs typeface="+mn-cs"/>
              </a:rPr>
              <a:t> </a:t>
            </a:r>
            <a:endParaRPr lang="en-US" sz="1500" i="0" kern="0" dirty="0">
              <a:solidFill>
                <a:srgbClr val="000000"/>
              </a:solidFill>
              <a:latin typeface="Arial"/>
              <a:ea typeface="+mn-ea"/>
              <a:cs typeface="+mn-cs"/>
            </a:endParaRPr>
          </a:p>
        </p:txBody>
      </p:sp>
      <p:sp>
        <p:nvSpPr>
          <p:cNvPr id="2" name="Titel 1"/>
          <p:cNvSpPr>
            <a:spLocks noGrp="1"/>
          </p:cNvSpPr>
          <p:nvPr>
            <p:ph type="title"/>
          </p:nvPr>
        </p:nvSpPr>
        <p:spPr/>
        <p:txBody>
          <a:bodyPr/>
          <a:lstStyle/>
          <a:p>
            <a:pPr algn="l" defTabSz="914400">
              <a:spcBef>
                <a:spcPct val="0"/>
              </a:spcBef>
              <a:buNone/>
            </a:pPr>
            <a:r>
              <a:rPr lang="en-US" sz="2100" b="1" i="0" dirty="0" smtClean="0">
                <a:solidFill>
                  <a:srgbClr val="000000"/>
                </a:solidFill>
                <a:latin typeface="Arial"/>
                <a:ea typeface="+mj-ea"/>
                <a:cs typeface="Arial"/>
              </a:rPr>
              <a:t>Das </a:t>
            </a:r>
            <a:r>
              <a:rPr lang="en-US" sz="2100" b="1" i="0" dirty="0" err="1" smtClean="0">
                <a:solidFill>
                  <a:srgbClr val="000000"/>
                </a:solidFill>
                <a:latin typeface="Arial"/>
                <a:ea typeface="+mj-ea"/>
                <a:cs typeface="Arial"/>
              </a:rPr>
              <a:t>Konzept</a:t>
            </a:r>
            <a:r>
              <a:rPr lang="en-US" sz="2100" b="1" i="0" dirty="0" smtClean="0">
                <a:solidFill>
                  <a:srgbClr val="000000"/>
                </a:solidFill>
                <a:latin typeface="Arial"/>
                <a:ea typeface="+mj-ea"/>
                <a:cs typeface="Arial"/>
              </a:rPr>
              <a:t> “User </a:t>
            </a:r>
            <a:r>
              <a:rPr lang="en-US" sz="2100" b="1" i="0" dirty="0">
                <a:solidFill>
                  <a:srgbClr val="000000"/>
                </a:solidFill>
                <a:latin typeface="Arial"/>
                <a:ea typeface="+mj-ea"/>
                <a:cs typeface="Arial"/>
              </a:rPr>
              <a:t>Feedback </a:t>
            </a:r>
            <a:r>
              <a:rPr lang="en-US" sz="2100" b="1" i="0" dirty="0" err="1" smtClean="0">
                <a:solidFill>
                  <a:srgbClr val="000000"/>
                </a:solidFill>
                <a:latin typeface="Arial"/>
                <a:ea typeface="+mj-ea"/>
                <a:cs typeface="Arial"/>
              </a:rPr>
              <a:t>Gruppe</a:t>
            </a:r>
            <a:r>
              <a:rPr lang="en-US" sz="2100" b="1" i="0" dirty="0" smtClean="0">
                <a:solidFill>
                  <a:srgbClr val="000000"/>
                </a:solidFill>
                <a:latin typeface="Arial"/>
                <a:ea typeface="+mj-ea"/>
                <a:cs typeface="Arial"/>
              </a:rPr>
              <a:t>”</a:t>
            </a:r>
            <a:endParaRPr lang="en-US" dirty="0"/>
          </a:p>
        </p:txBody>
      </p:sp>
      <p:grpSp>
        <p:nvGrpSpPr>
          <p:cNvPr id="9" name="Gruppieren 34"/>
          <p:cNvGrpSpPr/>
          <p:nvPr>
            <p:custDataLst>
              <p:tags r:id="rId1"/>
            </p:custDataLst>
          </p:nvPr>
        </p:nvGrpSpPr>
        <p:grpSpPr>
          <a:xfrm>
            <a:off x="2627784" y="3717032"/>
            <a:ext cx="1710190" cy="1368152"/>
            <a:chOff x="3128576" y="2564899"/>
            <a:chExt cx="2307520" cy="1920807"/>
          </a:xfrm>
        </p:grpSpPr>
        <p:grpSp>
          <p:nvGrpSpPr>
            <p:cNvPr id="10" name="Gruppieren 19"/>
            <p:cNvGrpSpPr/>
            <p:nvPr/>
          </p:nvGrpSpPr>
          <p:grpSpPr>
            <a:xfrm>
              <a:off x="3851921" y="2564899"/>
              <a:ext cx="446793" cy="731248"/>
              <a:chOff x="1037032" y="2818028"/>
              <a:chExt cx="719938" cy="1178299"/>
            </a:xfrm>
          </p:grpSpPr>
          <p:sp>
            <p:nvSpPr>
              <p:cNvPr id="24" name="Ellipse 4"/>
              <p:cNvSpPr/>
              <p:nvPr/>
            </p:nvSpPr>
            <p:spPr>
              <a:xfrm>
                <a:off x="1037032" y="3837847"/>
                <a:ext cx="719938" cy="158480"/>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9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reeform 11"/>
              <p:cNvSpPr>
                <a:spLocks noEditPoints="1"/>
              </p:cNvSpPr>
              <p:nvPr/>
            </p:nvSpPr>
            <p:spPr bwMode="auto">
              <a:xfrm>
                <a:off x="1226786" y="2818028"/>
                <a:ext cx="318435" cy="1103859"/>
              </a:xfrm>
              <a:custGeom>
                <a:avLst/>
                <a:gdLst>
                  <a:gd name="T0" fmla="*/ 762 w 834"/>
                  <a:gd name="T1" fmla="*/ 549 h 2898"/>
                  <a:gd name="T2" fmla="*/ 651 w 834"/>
                  <a:gd name="T3" fmla="*/ 486 h 2898"/>
                  <a:gd name="T4" fmla="*/ 515 w 834"/>
                  <a:gd name="T5" fmla="*/ 358 h 2898"/>
                  <a:gd name="T6" fmla="*/ 539 w 834"/>
                  <a:gd name="T7" fmla="*/ 272 h 2898"/>
                  <a:gd name="T8" fmla="*/ 575 w 834"/>
                  <a:gd name="T9" fmla="*/ 211 h 2898"/>
                  <a:gd name="T10" fmla="*/ 555 w 834"/>
                  <a:gd name="T11" fmla="*/ 133 h 2898"/>
                  <a:gd name="T12" fmla="*/ 525 w 834"/>
                  <a:gd name="T13" fmla="*/ 38 h 2898"/>
                  <a:gd name="T14" fmla="*/ 405 w 834"/>
                  <a:gd name="T15" fmla="*/ 4 h 2898"/>
                  <a:gd name="T16" fmla="*/ 304 w 834"/>
                  <a:gd name="T17" fmla="*/ 77 h 2898"/>
                  <a:gd name="T18" fmla="*/ 302 w 834"/>
                  <a:gd name="T19" fmla="*/ 161 h 2898"/>
                  <a:gd name="T20" fmla="*/ 283 w 834"/>
                  <a:gd name="T21" fmla="*/ 182 h 2898"/>
                  <a:gd name="T22" fmla="*/ 317 w 834"/>
                  <a:gd name="T23" fmla="*/ 256 h 2898"/>
                  <a:gd name="T24" fmla="*/ 326 w 834"/>
                  <a:gd name="T25" fmla="*/ 315 h 2898"/>
                  <a:gd name="T26" fmla="*/ 336 w 834"/>
                  <a:gd name="T27" fmla="*/ 379 h 2898"/>
                  <a:gd name="T28" fmla="*/ 97 w 834"/>
                  <a:gd name="T29" fmla="*/ 544 h 2898"/>
                  <a:gd name="T30" fmla="*/ 49 w 834"/>
                  <a:gd name="T31" fmla="*/ 723 h 2898"/>
                  <a:gd name="T32" fmla="*/ 9 w 834"/>
                  <a:gd name="T33" fmla="*/ 1141 h 2898"/>
                  <a:gd name="T34" fmla="*/ 0 w 834"/>
                  <a:gd name="T35" fmla="*/ 1287 h 2898"/>
                  <a:gd name="T36" fmla="*/ 6 w 834"/>
                  <a:gd name="T37" fmla="*/ 1385 h 2898"/>
                  <a:gd name="T38" fmla="*/ 3 w 834"/>
                  <a:gd name="T39" fmla="*/ 1466 h 2898"/>
                  <a:gd name="T40" fmla="*/ 20 w 834"/>
                  <a:gd name="T41" fmla="*/ 1481 h 2898"/>
                  <a:gd name="T42" fmla="*/ 48 w 834"/>
                  <a:gd name="T43" fmla="*/ 1655 h 2898"/>
                  <a:gd name="T44" fmla="*/ 113 w 834"/>
                  <a:gd name="T45" fmla="*/ 1691 h 2898"/>
                  <a:gd name="T46" fmla="*/ 174 w 834"/>
                  <a:gd name="T47" fmla="*/ 1936 h 2898"/>
                  <a:gd name="T48" fmla="*/ 192 w 834"/>
                  <a:gd name="T49" fmla="*/ 2448 h 2898"/>
                  <a:gd name="T50" fmla="*/ 216 w 834"/>
                  <a:gd name="T51" fmla="*/ 2672 h 2898"/>
                  <a:gd name="T52" fmla="*/ 233 w 834"/>
                  <a:gd name="T53" fmla="*/ 2757 h 2898"/>
                  <a:gd name="T54" fmla="*/ 206 w 834"/>
                  <a:gd name="T55" fmla="*/ 2804 h 2898"/>
                  <a:gd name="T56" fmla="*/ 147 w 834"/>
                  <a:gd name="T57" fmla="*/ 2844 h 2898"/>
                  <a:gd name="T58" fmla="*/ 243 w 834"/>
                  <a:gd name="T59" fmla="*/ 2885 h 2898"/>
                  <a:gd name="T60" fmla="*/ 344 w 834"/>
                  <a:gd name="T61" fmla="*/ 2866 h 2898"/>
                  <a:gd name="T62" fmla="*/ 379 w 834"/>
                  <a:gd name="T63" fmla="*/ 2858 h 2898"/>
                  <a:gd name="T64" fmla="*/ 424 w 834"/>
                  <a:gd name="T65" fmla="*/ 2808 h 2898"/>
                  <a:gd name="T66" fmla="*/ 400 w 834"/>
                  <a:gd name="T67" fmla="*/ 2349 h 2898"/>
                  <a:gd name="T68" fmla="*/ 366 w 834"/>
                  <a:gd name="T69" fmla="*/ 2182 h 2898"/>
                  <a:gd name="T70" fmla="*/ 370 w 834"/>
                  <a:gd name="T71" fmla="*/ 1944 h 2898"/>
                  <a:gd name="T72" fmla="*/ 408 w 834"/>
                  <a:gd name="T73" fmla="*/ 1630 h 2898"/>
                  <a:gd name="T74" fmla="*/ 440 w 834"/>
                  <a:gd name="T75" fmla="*/ 1670 h 2898"/>
                  <a:gd name="T76" fmla="*/ 501 w 834"/>
                  <a:gd name="T77" fmla="*/ 2025 h 2898"/>
                  <a:gd name="T78" fmla="*/ 539 w 834"/>
                  <a:gd name="T79" fmla="*/ 2293 h 2898"/>
                  <a:gd name="T80" fmla="*/ 594 w 834"/>
                  <a:gd name="T81" fmla="*/ 2768 h 2898"/>
                  <a:gd name="T82" fmla="*/ 579 w 834"/>
                  <a:gd name="T83" fmla="*/ 2847 h 2898"/>
                  <a:gd name="T84" fmla="*/ 621 w 834"/>
                  <a:gd name="T85" fmla="*/ 2882 h 2898"/>
                  <a:gd name="T86" fmla="*/ 794 w 834"/>
                  <a:gd name="T87" fmla="*/ 2880 h 2898"/>
                  <a:gd name="T88" fmla="*/ 740 w 834"/>
                  <a:gd name="T89" fmla="*/ 2783 h 2898"/>
                  <a:gd name="T90" fmla="*/ 749 w 834"/>
                  <a:gd name="T91" fmla="*/ 2744 h 2898"/>
                  <a:gd name="T92" fmla="*/ 743 w 834"/>
                  <a:gd name="T93" fmla="*/ 2510 h 2898"/>
                  <a:gd name="T94" fmla="*/ 728 w 834"/>
                  <a:gd name="T95" fmla="*/ 2128 h 2898"/>
                  <a:gd name="T96" fmla="*/ 812 w 834"/>
                  <a:gd name="T97" fmla="*/ 1615 h 2898"/>
                  <a:gd name="T98" fmla="*/ 834 w 834"/>
                  <a:gd name="T99" fmla="*/ 1226 h 2898"/>
                  <a:gd name="T100" fmla="*/ 799 w 834"/>
                  <a:gd name="T101" fmla="*/ 712 h 2898"/>
                  <a:gd name="T102" fmla="*/ 123 w 834"/>
                  <a:gd name="T103" fmla="*/ 1615 h 2898"/>
                  <a:gd name="T104" fmla="*/ 169 w 834"/>
                  <a:gd name="T105" fmla="*/ 1207 h 2898"/>
                  <a:gd name="T106" fmla="*/ 128 w 834"/>
                  <a:gd name="T107" fmla="*/ 1418 h 2898"/>
                  <a:gd name="T108" fmla="*/ 125 w 834"/>
                  <a:gd name="T109" fmla="*/ 1327 h 2898"/>
                  <a:gd name="T110" fmla="*/ 168 w 834"/>
                  <a:gd name="T111" fmla="*/ 1015 h 2898"/>
                  <a:gd name="T112" fmla="*/ 181 w 834"/>
                  <a:gd name="T113" fmla="*/ 991 h 2898"/>
                  <a:gd name="T114" fmla="*/ 668 w 834"/>
                  <a:gd name="T115" fmla="*/ 1159 h 2898"/>
                  <a:gd name="T116" fmla="*/ 682 w 834"/>
                  <a:gd name="T117" fmla="*/ 920 h 2898"/>
                  <a:gd name="T118" fmla="*/ 719 w 834"/>
                  <a:gd name="T119" fmla="*/ 1402 h 2898"/>
                  <a:gd name="T120" fmla="*/ 679 w 834"/>
                  <a:gd name="T121" fmla="*/ 1260 h 2898"/>
                  <a:gd name="T122" fmla="*/ 712 w 834"/>
                  <a:gd name="T123" fmla="*/ 1551 h 28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34"/>
                  <a:gd name="T187" fmla="*/ 0 h 2898"/>
                  <a:gd name="T188" fmla="*/ 834 w 834"/>
                  <a:gd name="T189" fmla="*/ 2898 h 28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34" h="2898">
                    <a:moveTo>
                      <a:pt x="799" y="712"/>
                    </a:moveTo>
                    <a:lnTo>
                      <a:pt x="799" y="712"/>
                    </a:lnTo>
                    <a:lnTo>
                      <a:pt x="784" y="621"/>
                    </a:lnTo>
                    <a:lnTo>
                      <a:pt x="780" y="600"/>
                    </a:lnTo>
                    <a:lnTo>
                      <a:pt x="775" y="581"/>
                    </a:lnTo>
                    <a:lnTo>
                      <a:pt x="770" y="565"/>
                    </a:lnTo>
                    <a:lnTo>
                      <a:pt x="762" y="549"/>
                    </a:lnTo>
                    <a:lnTo>
                      <a:pt x="757" y="542"/>
                    </a:lnTo>
                    <a:lnTo>
                      <a:pt x="749" y="534"/>
                    </a:lnTo>
                    <a:lnTo>
                      <a:pt x="738" y="526"/>
                    </a:lnTo>
                    <a:lnTo>
                      <a:pt x="724" y="517"/>
                    </a:lnTo>
                    <a:lnTo>
                      <a:pt x="708" y="509"/>
                    </a:lnTo>
                    <a:lnTo>
                      <a:pt x="690" y="501"/>
                    </a:lnTo>
                    <a:lnTo>
                      <a:pt x="671" y="493"/>
                    </a:lnTo>
                    <a:lnTo>
                      <a:pt x="651" y="486"/>
                    </a:lnTo>
                    <a:lnTo>
                      <a:pt x="611" y="464"/>
                    </a:lnTo>
                    <a:lnTo>
                      <a:pt x="573" y="442"/>
                    </a:lnTo>
                    <a:lnTo>
                      <a:pt x="541" y="422"/>
                    </a:lnTo>
                    <a:lnTo>
                      <a:pt x="520" y="411"/>
                    </a:lnTo>
                    <a:lnTo>
                      <a:pt x="515" y="373"/>
                    </a:lnTo>
                    <a:lnTo>
                      <a:pt x="515" y="358"/>
                    </a:lnTo>
                    <a:lnTo>
                      <a:pt x="517" y="352"/>
                    </a:lnTo>
                    <a:lnTo>
                      <a:pt x="520" y="346"/>
                    </a:lnTo>
                    <a:lnTo>
                      <a:pt x="528" y="331"/>
                    </a:lnTo>
                    <a:lnTo>
                      <a:pt x="535" y="314"/>
                    </a:lnTo>
                    <a:lnTo>
                      <a:pt x="538" y="294"/>
                    </a:lnTo>
                    <a:lnTo>
                      <a:pt x="539" y="272"/>
                    </a:lnTo>
                    <a:lnTo>
                      <a:pt x="555" y="269"/>
                    </a:lnTo>
                    <a:lnTo>
                      <a:pt x="559" y="267"/>
                    </a:lnTo>
                    <a:lnTo>
                      <a:pt x="563" y="262"/>
                    </a:lnTo>
                    <a:lnTo>
                      <a:pt x="568" y="253"/>
                    </a:lnTo>
                    <a:lnTo>
                      <a:pt x="571" y="240"/>
                    </a:lnTo>
                    <a:lnTo>
                      <a:pt x="575" y="225"/>
                    </a:lnTo>
                    <a:lnTo>
                      <a:pt x="575" y="211"/>
                    </a:lnTo>
                    <a:lnTo>
                      <a:pt x="573" y="197"/>
                    </a:lnTo>
                    <a:lnTo>
                      <a:pt x="571" y="184"/>
                    </a:lnTo>
                    <a:lnTo>
                      <a:pt x="568" y="179"/>
                    </a:lnTo>
                    <a:lnTo>
                      <a:pt x="567" y="176"/>
                    </a:lnTo>
                    <a:lnTo>
                      <a:pt x="563" y="174"/>
                    </a:lnTo>
                    <a:lnTo>
                      <a:pt x="560" y="174"/>
                    </a:lnTo>
                    <a:lnTo>
                      <a:pt x="555" y="133"/>
                    </a:lnTo>
                    <a:lnTo>
                      <a:pt x="554" y="112"/>
                    </a:lnTo>
                    <a:lnTo>
                      <a:pt x="551" y="91"/>
                    </a:lnTo>
                    <a:lnTo>
                      <a:pt x="546" y="73"/>
                    </a:lnTo>
                    <a:lnTo>
                      <a:pt x="541" y="57"/>
                    </a:lnTo>
                    <a:lnTo>
                      <a:pt x="533" y="46"/>
                    </a:lnTo>
                    <a:lnTo>
                      <a:pt x="530" y="41"/>
                    </a:lnTo>
                    <a:lnTo>
                      <a:pt x="525" y="38"/>
                    </a:lnTo>
                    <a:lnTo>
                      <a:pt x="514" y="25"/>
                    </a:lnTo>
                    <a:lnTo>
                      <a:pt x="499" y="16"/>
                    </a:lnTo>
                    <a:lnTo>
                      <a:pt x="487" y="8"/>
                    </a:lnTo>
                    <a:lnTo>
                      <a:pt x="471" y="3"/>
                    </a:lnTo>
                    <a:lnTo>
                      <a:pt x="454" y="1"/>
                    </a:lnTo>
                    <a:lnTo>
                      <a:pt x="438" y="0"/>
                    </a:lnTo>
                    <a:lnTo>
                      <a:pt x="421" y="1"/>
                    </a:lnTo>
                    <a:lnTo>
                      <a:pt x="405" y="4"/>
                    </a:lnTo>
                    <a:lnTo>
                      <a:pt x="389" y="9"/>
                    </a:lnTo>
                    <a:lnTo>
                      <a:pt x="373" y="16"/>
                    </a:lnTo>
                    <a:lnTo>
                      <a:pt x="357" y="24"/>
                    </a:lnTo>
                    <a:lnTo>
                      <a:pt x="344" y="33"/>
                    </a:lnTo>
                    <a:lnTo>
                      <a:pt x="331" y="43"/>
                    </a:lnTo>
                    <a:lnTo>
                      <a:pt x="320" y="54"/>
                    </a:lnTo>
                    <a:lnTo>
                      <a:pt x="312" y="65"/>
                    </a:lnTo>
                    <a:lnTo>
                      <a:pt x="304" y="77"/>
                    </a:lnTo>
                    <a:lnTo>
                      <a:pt x="301" y="88"/>
                    </a:lnTo>
                    <a:lnTo>
                      <a:pt x="299" y="97"/>
                    </a:lnTo>
                    <a:lnTo>
                      <a:pt x="299" y="109"/>
                    </a:lnTo>
                    <a:lnTo>
                      <a:pt x="301" y="121"/>
                    </a:lnTo>
                    <a:lnTo>
                      <a:pt x="302" y="142"/>
                    </a:lnTo>
                    <a:lnTo>
                      <a:pt x="302" y="152"/>
                    </a:lnTo>
                    <a:lnTo>
                      <a:pt x="302" y="161"/>
                    </a:lnTo>
                    <a:lnTo>
                      <a:pt x="298" y="163"/>
                    </a:lnTo>
                    <a:lnTo>
                      <a:pt x="293" y="165"/>
                    </a:lnTo>
                    <a:lnTo>
                      <a:pt x="290" y="168"/>
                    </a:lnTo>
                    <a:lnTo>
                      <a:pt x="286" y="169"/>
                    </a:lnTo>
                    <a:lnTo>
                      <a:pt x="285" y="174"/>
                    </a:lnTo>
                    <a:lnTo>
                      <a:pt x="283" y="182"/>
                    </a:lnTo>
                    <a:lnTo>
                      <a:pt x="286" y="216"/>
                    </a:lnTo>
                    <a:lnTo>
                      <a:pt x="288" y="233"/>
                    </a:lnTo>
                    <a:lnTo>
                      <a:pt x="294" y="253"/>
                    </a:lnTo>
                    <a:lnTo>
                      <a:pt x="296" y="256"/>
                    </a:lnTo>
                    <a:lnTo>
                      <a:pt x="299" y="257"/>
                    </a:lnTo>
                    <a:lnTo>
                      <a:pt x="309" y="257"/>
                    </a:lnTo>
                    <a:lnTo>
                      <a:pt x="317" y="256"/>
                    </a:lnTo>
                    <a:lnTo>
                      <a:pt x="320" y="257"/>
                    </a:lnTo>
                    <a:lnTo>
                      <a:pt x="322" y="262"/>
                    </a:lnTo>
                    <a:lnTo>
                      <a:pt x="323" y="273"/>
                    </a:lnTo>
                    <a:lnTo>
                      <a:pt x="322" y="286"/>
                    </a:lnTo>
                    <a:lnTo>
                      <a:pt x="323" y="301"/>
                    </a:lnTo>
                    <a:lnTo>
                      <a:pt x="323" y="307"/>
                    </a:lnTo>
                    <a:lnTo>
                      <a:pt x="326" y="315"/>
                    </a:lnTo>
                    <a:lnTo>
                      <a:pt x="330" y="320"/>
                    </a:lnTo>
                    <a:lnTo>
                      <a:pt x="331" y="323"/>
                    </a:lnTo>
                    <a:lnTo>
                      <a:pt x="334" y="326"/>
                    </a:lnTo>
                    <a:lnTo>
                      <a:pt x="334" y="331"/>
                    </a:lnTo>
                    <a:lnTo>
                      <a:pt x="336" y="355"/>
                    </a:lnTo>
                    <a:lnTo>
                      <a:pt x="336" y="379"/>
                    </a:lnTo>
                    <a:lnTo>
                      <a:pt x="334" y="400"/>
                    </a:lnTo>
                    <a:lnTo>
                      <a:pt x="334" y="419"/>
                    </a:lnTo>
                    <a:lnTo>
                      <a:pt x="277" y="451"/>
                    </a:lnTo>
                    <a:lnTo>
                      <a:pt x="217" y="483"/>
                    </a:lnTo>
                    <a:lnTo>
                      <a:pt x="158" y="515"/>
                    </a:lnTo>
                    <a:lnTo>
                      <a:pt x="129" y="530"/>
                    </a:lnTo>
                    <a:lnTo>
                      <a:pt x="97" y="544"/>
                    </a:lnTo>
                    <a:lnTo>
                      <a:pt x="93" y="552"/>
                    </a:lnTo>
                    <a:lnTo>
                      <a:pt x="88" y="562"/>
                    </a:lnTo>
                    <a:lnTo>
                      <a:pt x="78" y="586"/>
                    </a:lnTo>
                    <a:lnTo>
                      <a:pt x="70" y="613"/>
                    </a:lnTo>
                    <a:lnTo>
                      <a:pt x="62" y="647"/>
                    </a:lnTo>
                    <a:lnTo>
                      <a:pt x="56" y="683"/>
                    </a:lnTo>
                    <a:lnTo>
                      <a:pt x="49" y="723"/>
                    </a:lnTo>
                    <a:lnTo>
                      <a:pt x="40" y="812"/>
                    </a:lnTo>
                    <a:lnTo>
                      <a:pt x="27" y="936"/>
                    </a:lnTo>
                    <a:lnTo>
                      <a:pt x="20" y="997"/>
                    </a:lnTo>
                    <a:lnTo>
                      <a:pt x="17" y="1057"/>
                    </a:lnTo>
                    <a:lnTo>
                      <a:pt x="14" y="1101"/>
                    </a:lnTo>
                    <a:lnTo>
                      <a:pt x="9" y="1141"/>
                    </a:lnTo>
                    <a:lnTo>
                      <a:pt x="4" y="1178"/>
                    </a:lnTo>
                    <a:lnTo>
                      <a:pt x="3" y="1209"/>
                    </a:lnTo>
                    <a:lnTo>
                      <a:pt x="3" y="1225"/>
                    </a:lnTo>
                    <a:lnTo>
                      <a:pt x="1" y="1244"/>
                    </a:lnTo>
                    <a:lnTo>
                      <a:pt x="0" y="1265"/>
                    </a:lnTo>
                    <a:lnTo>
                      <a:pt x="0" y="1287"/>
                    </a:lnTo>
                    <a:lnTo>
                      <a:pt x="3" y="1306"/>
                    </a:lnTo>
                    <a:lnTo>
                      <a:pt x="8" y="1324"/>
                    </a:lnTo>
                    <a:lnTo>
                      <a:pt x="12" y="1342"/>
                    </a:lnTo>
                    <a:lnTo>
                      <a:pt x="14" y="1361"/>
                    </a:lnTo>
                    <a:lnTo>
                      <a:pt x="12" y="1369"/>
                    </a:lnTo>
                    <a:lnTo>
                      <a:pt x="9" y="1377"/>
                    </a:lnTo>
                    <a:lnTo>
                      <a:pt x="6" y="1385"/>
                    </a:lnTo>
                    <a:lnTo>
                      <a:pt x="4" y="1391"/>
                    </a:lnTo>
                    <a:lnTo>
                      <a:pt x="4" y="1414"/>
                    </a:lnTo>
                    <a:lnTo>
                      <a:pt x="3" y="1433"/>
                    </a:lnTo>
                    <a:lnTo>
                      <a:pt x="1" y="1449"/>
                    </a:lnTo>
                    <a:lnTo>
                      <a:pt x="1" y="1463"/>
                    </a:lnTo>
                    <a:lnTo>
                      <a:pt x="3" y="1466"/>
                    </a:lnTo>
                    <a:lnTo>
                      <a:pt x="6" y="1470"/>
                    </a:lnTo>
                    <a:lnTo>
                      <a:pt x="12" y="1471"/>
                    </a:lnTo>
                    <a:lnTo>
                      <a:pt x="19" y="1473"/>
                    </a:lnTo>
                    <a:lnTo>
                      <a:pt x="22" y="1474"/>
                    </a:lnTo>
                    <a:lnTo>
                      <a:pt x="22" y="1476"/>
                    </a:lnTo>
                    <a:lnTo>
                      <a:pt x="22" y="1479"/>
                    </a:lnTo>
                    <a:lnTo>
                      <a:pt x="20" y="1481"/>
                    </a:lnTo>
                    <a:lnTo>
                      <a:pt x="19" y="1482"/>
                    </a:lnTo>
                    <a:lnTo>
                      <a:pt x="22" y="1535"/>
                    </a:lnTo>
                    <a:lnTo>
                      <a:pt x="25" y="1580"/>
                    </a:lnTo>
                    <a:lnTo>
                      <a:pt x="27" y="1601"/>
                    </a:lnTo>
                    <a:lnTo>
                      <a:pt x="32" y="1620"/>
                    </a:lnTo>
                    <a:lnTo>
                      <a:pt x="38" y="1638"/>
                    </a:lnTo>
                    <a:lnTo>
                      <a:pt x="48" y="1655"/>
                    </a:lnTo>
                    <a:lnTo>
                      <a:pt x="54" y="1665"/>
                    </a:lnTo>
                    <a:lnTo>
                      <a:pt x="61" y="1671"/>
                    </a:lnTo>
                    <a:lnTo>
                      <a:pt x="70" y="1678"/>
                    </a:lnTo>
                    <a:lnTo>
                      <a:pt x="78" y="1683"/>
                    </a:lnTo>
                    <a:lnTo>
                      <a:pt x="89" y="1686"/>
                    </a:lnTo>
                    <a:lnTo>
                      <a:pt x="101" y="1689"/>
                    </a:lnTo>
                    <a:lnTo>
                      <a:pt x="113" y="1691"/>
                    </a:lnTo>
                    <a:lnTo>
                      <a:pt x="128" y="1691"/>
                    </a:lnTo>
                    <a:lnTo>
                      <a:pt x="141" y="1737"/>
                    </a:lnTo>
                    <a:lnTo>
                      <a:pt x="152" y="1785"/>
                    </a:lnTo>
                    <a:lnTo>
                      <a:pt x="161" y="1835"/>
                    </a:lnTo>
                    <a:lnTo>
                      <a:pt x="169" y="1886"/>
                    </a:lnTo>
                    <a:lnTo>
                      <a:pt x="174" y="1936"/>
                    </a:lnTo>
                    <a:lnTo>
                      <a:pt x="177" y="1987"/>
                    </a:lnTo>
                    <a:lnTo>
                      <a:pt x="181" y="2091"/>
                    </a:lnTo>
                    <a:lnTo>
                      <a:pt x="184" y="2197"/>
                    </a:lnTo>
                    <a:lnTo>
                      <a:pt x="187" y="2302"/>
                    </a:lnTo>
                    <a:lnTo>
                      <a:pt x="189" y="2352"/>
                    </a:lnTo>
                    <a:lnTo>
                      <a:pt x="190" y="2400"/>
                    </a:lnTo>
                    <a:lnTo>
                      <a:pt x="192" y="2448"/>
                    </a:lnTo>
                    <a:lnTo>
                      <a:pt x="193" y="2470"/>
                    </a:lnTo>
                    <a:lnTo>
                      <a:pt x="197" y="2494"/>
                    </a:lnTo>
                    <a:lnTo>
                      <a:pt x="201" y="2533"/>
                    </a:lnTo>
                    <a:lnTo>
                      <a:pt x="206" y="2578"/>
                    </a:lnTo>
                    <a:lnTo>
                      <a:pt x="209" y="2626"/>
                    </a:lnTo>
                    <a:lnTo>
                      <a:pt x="216" y="2672"/>
                    </a:lnTo>
                    <a:lnTo>
                      <a:pt x="217" y="2696"/>
                    </a:lnTo>
                    <a:lnTo>
                      <a:pt x="217" y="2719"/>
                    </a:lnTo>
                    <a:lnTo>
                      <a:pt x="221" y="2739"/>
                    </a:lnTo>
                    <a:lnTo>
                      <a:pt x="224" y="2747"/>
                    </a:lnTo>
                    <a:lnTo>
                      <a:pt x="227" y="2754"/>
                    </a:lnTo>
                    <a:lnTo>
                      <a:pt x="230" y="2757"/>
                    </a:lnTo>
                    <a:lnTo>
                      <a:pt x="233" y="2757"/>
                    </a:lnTo>
                    <a:lnTo>
                      <a:pt x="238" y="2757"/>
                    </a:lnTo>
                    <a:lnTo>
                      <a:pt x="241" y="2757"/>
                    </a:lnTo>
                    <a:lnTo>
                      <a:pt x="235" y="2771"/>
                    </a:lnTo>
                    <a:lnTo>
                      <a:pt x="227" y="2784"/>
                    </a:lnTo>
                    <a:lnTo>
                      <a:pt x="217" y="2796"/>
                    </a:lnTo>
                    <a:lnTo>
                      <a:pt x="206" y="2804"/>
                    </a:lnTo>
                    <a:lnTo>
                      <a:pt x="195" y="2810"/>
                    </a:lnTo>
                    <a:lnTo>
                      <a:pt x="182" y="2815"/>
                    </a:lnTo>
                    <a:lnTo>
                      <a:pt x="169" y="2821"/>
                    </a:lnTo>
                    <a:lnTo>
                      <a:pt x="163" y="2824"/>
                    </a:lnTo>
                    <a:lnTo>
                      <a:pt x="158" y="2829"/>
                    </a:lnTo>
                    <a:lnTo>
                      <a:pt x="152" y="2836"/>
                    </a:lnTo>
                    <a:lnTo>
                      <a:pt x="147" y="2844"/>
                    </a:lnTo>
                    <a:lnTo>
                      <a:pt x="139" y="2861"/>
                    </a:lnTo>
                    <a:lnTo>
                      <a:pt x="137" y="2864"/>
                    </a:lnTo>
                    <a:lnTo>
                      <a:pt x="137" y="2869"/>
                    </a:lnTo>
                    <a:lnTo>
                      <a:pt x="137" y="2876"/>
                    </a:lnTo>
                    <a:lnTo>
                      <a:pt x="192" y="2882"/>
                    </a:lnTo>
                    <a:lnTo>
                      <a:pt x="243" y="2885"/>
                    </a:lnTo>
                    <a:lnTo>
                      <a:pt x="267" y="2885"/>
                    </a:lnTo>
                    <a:lnTo>
                      <a:pt x="291" y="2885"/>
                    </a:lnTo>
                    <a:lnTo>
                      <a:pt x="314" y="2882"/>
                    </a:lnTo>
                    <a:lnTo>
                      <a:pt x="336" y="2877"/>
                    </a:lnTo>
                    <a:lnTo>
                      <a:pt x="339" y="2876"/>
                    </a:lnTo>
                    <a:lnTo>
                      <a:pt x="341" y="2872"/>
                    </a:lnTo>
                    <a:lnTo>
                      <a:pt x="344" y="2866"/>
                    </a:lnTo>
                    <a:lnTo>
                      <a:pt x="349" y="2858"/>
                    </a:lnTo>
                    <a:lnTo>
                      <a:pt x="350" y="2855"/>
                    </a:lnTo>
                    <a:lnTo>
                      <a:pt x="352" y="2855"/>
                    </a:lnTo>
                    <a:lnTo>
                      <a:pt x="358" y="2855"/>
                    </a:lnTo>
                    <a:lnTo>
                      <a:pt x="366" y="2856"/>
                    </a:lnTo>
                    <a:lnTo>
                      <a:pt x="374" y="2858"/>
                    </a:lnTo>
                    <a:lnTo>
                      <a:pt x="379" y="2858"/>
                    </a:lnTo>
                    <a:lnTo>
                      <a:pt x="402" y="2853"/>
                    </a:lnTo>
                    <a:lnTo>
                      <a:pt x="411" y="2850"/>
                    </a:lnTo>
                    <a:lnTo>
                      <a:pt x="421" y="2847"/>
                    </a:lnTo>
                    <a:lnTo>
                      <a:pt x="422" y="2840"/>
                    </a:lnTo>
                    <a:lnTo>
                      <a:pt x="424" y="2832"/>
                    </a:lnTo>
                    <a:lnTo>
                      <a:pt x="424" y="2808"/>
                    </a:lnTo>
                    <a:lnTo>
                      <a:pt x="418" y="2735"/>
                    </a:lnTo>
                    <a:lnTo>
                      <a:pt x="410" y="2591"/>
                    </a:lnTo>
                    <a:lnTo>
                      <a:pt x="406" y="2523"/>
                    </a:lnTo>
                    <a:lnTo>
                      <a:pt x="405" y="2474"/>
                    </a:lnTo>
                    <a:lnTo>
                      <a:pt x="405" y="2410"/>
                    </a:lnTo>
                    <a:lnTo>
                      <a:pt x="400" y="2349"/>
                    </a:lnTo>
                    <a:lnTo>
                      <a:pt x="394" y="2291"/>
                    </a:lnTo>
                    <a:lnTo>
                      <a:pt x="390" y="2264"/>
                    </a:lnTo>
                    <a:lnTo>
                      <a:pt x="386" y="2238"/>
                    </a:lnTo>
                    <a:lnTo>
                      <a:pt x="381" y="2224"/>
                    </a:lnTo>
                    <a:lnTo>
                      <a:pt x="376" y="2209"/>
                    </a:lnTo>
                    <a:lnTo>
                      <a:pt x="370" y="2195"/>
                    </a:lnTo>
                    <a:lnTo>
                      <a:pt x="366" y="2182"/>
                    </a:lnTo>
                    <a:lnTo>
                      <a:pt x="363" y="2168"/>
                    </a:lnTo>
                    <a:lnTo>
                      <a:pt x="360" y="2153"/>
                    </a:lnTo>
                    <a:lnTo>
                      <a:pt x="358" y="2118"/>
                    </a:lnTo>
                    <a:lnTo>
                      <a:pt x="358" y="2080"/>
                    </a:lnTo>
                    <a:lnTo>
                      <a:pt x="362" y="2037"/>
                    </a:lnTo>
                    <a:lnTo>
                      <a:pt x="365" y="1992"/>
                    </a:lnTo>
                    <a:lnTo>
                      <a:pt x="370" y="1944"/>
                    </a:lnTo>
                    <a:lnTo>
                      <a:pt x="381" y="1846"/>
                    </a:lnTo>
                    <a:lnTo>
                      <a:pt x="387" y="1788"/>
                    </a:lnTo>
                    <a:lnTo>
                      <a:pt x="394" y="1731"/>
                    </a:lnTo>
                    <a:lnTo>
                      <a:pt x="398" y="1681"/>
                    </a:lnTo>
                    <a:lnTo>
                      <a:pt x="405" y="1638"/>
                    </a:lnTo>
                    <a:lnTo>
                      <a:pt x="408" y="1630"/>
                    </a:lnTo>
                    <a:lnTo>
                      <a:pt x="410" y="1623"/>
                    </a:lnTo>
                    <a:lnTo>
                      <a:pt x="413" y="1617"/>
                    </a:lnTo>
                    <a:lnTo>
                      <a:pt x="416" y="1611"/>
                    </a:lnTo>
                    <a:lnTo>
                      <a:pt x="426" y="1611"/>
                    </a:lnTo>
                    <a:lnTo>
                      <a:pt x="429" y="1631"/>
                    </a:lnTo>
                    <a:lnTo>
                      <a:pt x="435" y="1651"/>
                    </a:lnTo>
                    <a:lnTo>
                      <a:pt x="440" y="1670"/>
                    </a:lnTo>
                    <a:lnTo>
                      <a:pt x="443" y="1691"/>
                    </a:lnTo>
                    <a:lnTo>
                      <a:pt x="454" y="1761"/>
                    </a:lnTo>
                    <a:lnTo>
                      <a:pt x="464" y="1835"/>
                    </a:lnTo>
                    <a:lnTo>
                      <a:pt x="475" y="1912"/>
                    </a:lnTo>
                    <a:lnTo>
                      <a:pt x="487" y="1992"/>
                    </a:lnTo>
                    <a:lnTo>
                      <a:pt x="501" y="2025"/>
                    </a:lnTo>
                    <a:lnTo>
                      <a:pt x="512" y="2056"/>
                    </a:lnTo>
                    <a:lnTo>
                      <a:pt x="519" y="2086"/>
                    </a:lnTo>
                    <a:lnTo>
                      <a:pt x="525" y="2120"/>
                    </a:lnTo>
                    <a:lnTo>
                      <a:pt x="530" y="2163"/>
                    </a:lnTo>
                    <a:lnTo>
                      <a:pt x="533" y="2206"/>
                    </a:lnTo>
                    <a:lnTo>
                      <a:pt x="536" y="2251"/>
                    </a:lnTo>
                    <a:lnTo>
                      <a:pt x="539" y="2293"/>
                    </a:lnTo>
                    <a:lnTo>
                      <a:pt x="555" y="2411"/>
                    </a:lnTo>
                    <a:lnTo>
                      <a:pt x="567" y="2525"/>
                    </a:lnTo>
                    <a:lnTo>
                      <a:pt x="586" y="2741"/>
                    </a:lnTo>
                    <a:lnTo>
                      <a:pt x="587" y="2751"/>
                    </a:lnTo>
                    <a:lnTo>
                      <a:pt x="591" y="2759"/>
                    </a:lnTo>
                    <a:lnTo>
                      <a:pt x="594" y="2768"/>
                    </a:lnTo>
                    <a:lnTo>
                      <a:pt x="594" y="2776"/>
                    </a:lnTo>
                    <a:lnTo>
                      <a:pt x="594" y="2786"/>
                    </a:lnTo>
                    <a:lnTo>
                      <a:pt x="592" y="2794"/>
                    </a:lnTo>
                    <a:lnTo>
                      <a:pt x="587" y="2812"/>
                    </a:lnTo>
                    <a:lnTo>
                      <a:pt x="583" y="2829"/>
                    </a:lnTo>
                    <a:lnTo>
                      <a:pt x="579" y="2837"/>
                    </a:lnTo>
                    <a:lnTo>
                      <a:pt x="579" y="2847"/>
                    </a:lnTo>
                    <a:lnTo>
                      <a:pt x="586" y="2852"/>
                    </a:lnTo>
                    <a:lnTo>
                      <a:pt x="594" y="2855"/>
                    </a:lnTo>
                    <a:lnTo>
                      <a:pt x="603" y="2860"/>
                    </a:lnTo>
                    <a:lnTo>
                      <a:pt x="611" y="2866"/>
                    </a:lnTo>
                    <a:lnTo>
                      <a:pt x="618" y="2874"/>
                    </a:lnTo>
                    <a:lnTo>
                      <a:pt x="621" y="2882"/>
                    </a:lnTo>
                    <a:lnTo>
                      <a:pt x="624" y="2892"/>
                    </a:lnTo>
                    <a:lnTo>
                      <a:pt x="664" y="2896"/>
                    </a:lnTo>
                    <a:lnTo>
                      <a:pt x="709" y="2898"/>
                    </a:lnTo>
                    <a:lnTo>
                      <a:pt x="754" y="2898"/>
                    </a:lnTo>
                    <a:lnTo>
                      <a:pt x="797" y="2896"/>
                    </a:lnTo>
                    <a:lnTo>
                      <a:pt x="794" y="2880"/>
                    </a:lnTo>
                    <a:lnTo>
                      <a:pt x="789" y="2861"/>
                    </a:lnTo>
                    <a:lnTo>
                      <a:pt x="781" y="2844"/>
                    </a:lnTo>
                    <a:lnTo>
                      <a:pt x="770" y="2826"/>
                    </a:lnTo>
                    <a:lnTo>
                      <a:pt x="760" y="2813"/>
                    </a:lnTo>
                    <a:lnTo>
                      <a:pt x="749" y="2800"/>
                    </a:lnTo>
                    <a:lnTo>
                      <a:pt x="741" y="2789"/>
                    </a:lnTo>
                    <a:lnTo>
                      <a:pt x="740" y="2783"/>
                    </a:lnTo>
                    <a:lnTo>
                      <a:pt x="738" y="2776"/>
                    </a:lnTo>
                    <a:lnTo>
                      <a:pt x="738" y="2773"/>
                    </a:lnTo>
                    <a:lnTo>
                      <a:pt x="740" y="2768"/>
                    </a:lnTo>
                    <a:lnTo>
                      <a:pt x="743" y="2762"/>
                    </a:lnTo>
                    <a:lnTo>
                      <a:pt x="748" y="2754"/>
                    </a:lnTo>
                    <a:lnTo>
                      <a:pt x="749" y="2749"/>
                    </a:lnTo>
                    <a:lnTo>
                      <a:pt x="749" y="2744"/>
                    </a:lnTo>
                    <a:lnTo>
                      <a:pt x="746" y="2717"/>
                    </a:lnTo>
                    <a:lnTo>
                      <a:pt x="743" y="2687"/>
                    </a:lnTo>
                    <a:lnTo>
                      <a:pt x="740" y="2655"/>
                    </a:lnTo>
                    <a:lnTo>
                      <a:pt x="736" y="2623"/>
                    </a:lnTo>
                    <a:lnTo>
                      <a:pt x="738" y="2567"/>
                    </a:lnTo>
                    <a:lnTo>
                      <a:pt x="743" y="2510"/>
                    </a:lnTo>
                    <a:lnTo>
                      <a:pt x="746" y="2453"/>
                    </a:lnTo>
                    <a:lnTo>
                      <a:pt x="748" y="2395"/>
                    </a:lnTo>
                    <a:lnTo>
                      <a:pt x="748" y="2355"/>
                    </a:lnTo>
                    <a:lnTo>
                      <a:pt x="744" y="2317"/>
                    </a:lnTo>
                    <a:lnTo>
                      <a:pt x="738" y="2241"/>
                    </a:lnTo>
                    <a:lnTo>
                      <a:pt x="730" y="2166"/>
                    </a:lnTo>
                    <a:lnTo>
                      <a:pt x="728" y="2128"/>
                    </a:lnTo>
                    <a:lnTo>
                      <a:pt x="728" y="2089"/>
                    </a:lnTo>
                    <a:lnTo>
                      <a:pt x="730" y="1878"/>
                    </a:lnTo>
                    <a:lnTo>
                      <a:pt x="733" y="1665"/>
                    </a:lnTo>
                    <a:lnTo>
                      <a:pt x="756" y="1654"/>
                    </a:lnTo>
                    <a:lnTo>
                      <a:pt x="775" y="1643"/>
                    </a:lnTo>
                    <a:lnTo>
                      <a:pt x="812" y="1615"/>
                    </a:lnTo>
                    <a:lnTo>
                      <a:pt x="816" y="1595"/>
                    </a:lnTo>
                    <a:lnTo>
                      <a:pt x="818" y="1567"/>
                    </a:lnTo>
                    <a:lnTo>
                      <a:pt x="823" y="1508"/>
                    </a:lnTo>
                    <a:lnTo>
                      <a:pt x="829" y="1425"/>
                    </a:lnTo>
                    <a:lnTo>
                      <a:pt x="832" y="1329"/>
                    </a:lnTo>
                    <a:lnTo>
                      <a:pt x="834" y="1226"/>
                    </a:lnTo>
                    <a:lnTo>
                      <a:pt x="834" y="1119"/>
                    </a:lnTo>
                    <a:lnTo>
                      <a:pt x="829" y="1012"/>
                    </a:lnTo>
                    <a:lnTo>
                      <a:pt x="823" y="904"/>
                    </a:lnTo>
                    <a:lnTo>
                      <a:pt x="818" y="853"/>
                    </a:lnTo>
                    <a:lnTo>
                      <a:pt x="813" y="804"/>
                    </a:lnTo>
                    <a:lnTo>
                      <a:pt x="807" y="757"/>
                    </a:lnTo>
                    <a:lnTo>
                      <a:pt x="799" y="712"/>
                    </a:lnTo>
                    <a:close/>
                    <a:moveTo>
                      <a:pt x="123" y="1636"/>
                    </a:moveTo>
                    <a:lnTo>
                      <a:pt x="113" y="1636"/>
                    </a:lnTo>
                    <a:lnTo>
                      <a:pt x="107" y="1577"/>
                    </a:lnTo>
                    <a:lnTo>
                      <a:pt x="113" y="1585"/>
                    </a:lnTo>
                    <a:lnTo>
                      <a:pt x="117" y="1595"/>
                    </a:lnTo>
                    <a:lnTo>
                      <a:pt x="123" y="1615"/>
                    </a:lnTo>
                    <a:lnTo>
                      <a:pt x="123" y="1636"/>
                    </a:lnTo>
                    <a:close/>
                    <a:moveTo>
                      <a:pt x="181" y="1065"/>
                    </a:moveTo>
                    <a:lnTo>
                      <a:pt x="181" y="1065"/>
                    </a:lnTo>
                    <a:lnTo>
                      <a:pt x="179" y="1100"/>
                    </a:lnTo>
                    <a:lnTo>
                      <a:pt x="176" y="1135"/>
                    </a:lnTo>
                    <a:lnTo>
                      <a:pt x="174" y="1170"/>
                    </a:lnTo>
                    <a:lnTo>
                      <a:pt x="169" y="1207"/>
                    </a:lnTo>
                    <a:lnTo>
                      <a:pt x="161" y="1236"/>
                    </a:lnTo>
                    <a:lnTo>
                      <a:pt x="153" y="1265"/>
                    </a:lnTo>
                    <a:lnTo>
                      <a:pt x="145" y="1292"/>
                    </a:lnTo>
                    <a:lnTo>
                      <a:pt x="137" y="1319"/>
                    </a:lnTo>
                    <a:lnTo>
                      <a:pt x="133" y="1346"/>
                    </a:lnTo>
                    <a:lnTo>
                      <a:pt x="131" y="1372"/>
                    </a:lnTo>
                    <a:lnTo>
                      <a:pt x="128" y="1418"/>
                    </a:lnTo>
                    <a:lnTo>
                      <a:pt x="125" y="1412"/>
                    </a:lnTo>
                    <a:lnTo>
                      <a:pt x="121" y="1401"/>
                    </a:lnTo>
                    <a:lnTo>
                      <a:pt x="118" y="1385"/>
                    </a:lnTo>
                    <a:lnTo>
                      <a:pt x="118" y="1362"/>
                    </a:lnTo>
                    <a:lnTo>
                      <a:pt x="120" y="1345"/>
                    </a:lnTo>
                    <a:lnTo>
                      <a:pt x="125" y="1327"/>
                    </a:lnTo>
                    <a:lnTo>
                      <a:pt x="136" y="1285"/>
                    </a:lnTo>
                    <a:lnTo>
                      <a:pt x="141" y="1261"/>
                    </a:lnTo>
                    <a:lnTo>
                      <a:pt x="147" y="1237"/>
                    </a:lnTo>
                    <a:lnTo>
                      <a:pt x="150" y="1210"/>
                    </a:lnTo>
                    <a:lnTo>
                      <a:pt x="153" y="1180"/>
                    </a:lnTo>
                    <a:lnTo>
                      <a:pt x="160" y="1095"/>
                    </a:lnTo>
                    <a:lnTo>
                      <a:pt x="168" y="1015"/>
                    </a:lnTo>
                    <a:lnTo>
                      <a:pt x="176" y="951"/>
                    </a:lnTo>
                    <a:lnTo>
                      <a:pt x="182" y="911"/>
                    </a:lnTo>
                    <a:lnTo>
                      <a:pt x="185" y="920"/>
                    </a:lnTo>
                    <a:lnTo>
                      <a:pt x="185" y="930"/>
                    </a:lnTo>
                    <a:lnTo>
                      <a:pt x="185" y="949"/>
                    </a:lnTo>
                    <a:lnTo>
                      <a:pt x="181" y="991"/>
                    </a:lnTo>
                    <a:lnTo>
                      <a:pt x="181" y="1008"/>
                    </a:lnTo>
                    <a:lnTo>
                      <a:pt x="182" y="1026"/>
                    </a:lnTo>
                    <a:lnTo>
                      <a:pt x="182" y="1045"/>
                    </a:lnTo>
                    <a:lnTo>
                      <a:pt x="181" y="1065"/>
                    </a:lnTo>
                    <a:close/>
                    <a:moveTo>
                      <a:pt x="669" y="1193"/>
                    </a:moveTo>
                    <a:lnTo>
                      <a:pt x="669" y="1193"/>
                    </a:lnTo>
                    <a:lnTo>
                      <a:pt x="668" y="1159"/>
                    </a:lnTo>
                    <a:lnTo>
                      <a:pt x="666" y="1124"/>
                    </a:lnTo>
                    <a:lnTo>
                      <a:pt x="664" y="1047"/>
                    </a:lnTo>
                    <a:lnTo>
                      <a:pt x="668" y="887"/>
                    </a:lnTo>
                    <a:lnTo>
                      <a:pt x="671" y="892"/>
                    </a:lnTo>
                    <a:lnTo>
                      <a:pt x="674" y="900"/>
                    </a:lnTo>
                    <a:lnTo>
                      <a:pt x="679" y="909"/>
                    </a:lnTo>
                    <a:lnTo>
                      <a:pt x="682" y="920"/>
                    </a:lnTo>
                    <a:lnTo>
                      <a:pt x="685" y="941"/>
                    </a:lnTo>
                    <a:lnTo>
                      <a:pt x="690" y="968"/>
                    </a:lnTo>
                    <a:lnTo>
                      <a:pt x="696" y="1036"/>
                    </a:lnTo>
                    <a:lnTo>
                      <a:pt x="701" y="1113"/>
                    </a:lnTo>
                    <a:lnTo>
                      <a:pt x="706" y="1194"/>
                    </a:lnTo>
                    <a:lnTo>
                      <a:pt x="714" y="1345"/>
                    </a:lnTo>
                    <a:lnTo>
                      <a:pt x="719" y="1402"/>
                    </a:lnTo>
                    <a:lnTo>
                      <a:pt x="724" y="1438"/>
                    </a:lnTo>
                    <a:lnTo>
                      <a:pt x="708" y="1447"/>
                    </a:lnTo>
                    <a:lnTo>
                      <a:pt x="706" y="1417"/>
                    </a:lnTo>
                    <a:lnTo>
                      <a:pt x="701" y="1386"/>
                    </a:lnTo>
                    <a:lnTo>
                      <a:pt x="690" y="1324"/>
                    </a:lnTo>
                    <a:lnTo>
                      <a:pt x="679" y="1260"/>
                    </a:lnTo>
                    <a:lnTo>
                      <a:pt x="674" y="1226"/>
                    </a:lnTo>
                    <a:lnTo>
                      <a:pt x="669" y="1193"/>
                    </a:lnTo>
                    <a:close/>
                    <a:moveTo>
                      <a:pt x="724" y="1591"/>
                    </a:moveTo>
                    <a:lnTo>
                      <a:pt x="719" y="1591"/>
                    </a:lnTo>
                    <a:lnTo>
                      <a:pt x="712" y="1551"/>
                    </a:lnTo>
                    <a:lnTo>
                      <a:pt x="719" y="1559"/>
                    </a:lnTo>
                    <a:lnTo>
                      <a:pt x="722" y="1567"/>
                    </a:lnTo>
                    <a:lnTo>
                      <a:pt x="724" y="1577"/>
                    </a:lnTo>
                    <a:lnTo>
                      <a:pt x="724" y="1591"/>
                    </a:lnTo>
                    <a:close/>
                  </a:path>
                </a:pathLst>
              </a:custGeom>
              <a:solidFill>
                <a:schemeClr val="accent5"/>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11" name="Gruppieren 26"/>
            <p:cNvGrpSpPr/>
            <p:nvPr/>
          </p:nvGrpSpPr>
          <p:grpSpPr>
            <a:xfrm>
              <a:off x="4762134" y="2581487"/>
              <a:ext cx="673962" cy="1063529"/>
              <a:chOff x="1593782" y="3418618"/>
              <a:chExt cx="817978" cy="1290794"/>
            </a:xfrm>
          </p:grpSpPr>
          <p:sp>
            <p:nvSpPr>
              <p:cNvPr id="22" name="Ellipse 4"/>
              <p:cNvSpPr/>
              <p:nvPr/>
            </p:nvSpPr>
            <p:spPr>
              <a:xfrm>
                <a:off x="1593782" y="4482081"/>
                <a:ext cx="817978" cy="227331"/>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Freeform 13"/>
              <p:cNvSpPr>
                <a:spLocks noEditPoints="1"/>
              </p:cNvSpPr>
              <p:nvPr/>
            </p:nvSpPr>
            <p:spPr bwMode="auto">
              <a:xfrm>
                <a:off x="1854828" y="3418618"/>
                <a:ext cx="412915" cy="1206109"/>
              </a:xfrm>
              <a:custGeom>
                <a:avLst/>
                <a:gdLst>
                  <a:gd name="T0" fmla="*/ 887 w 1010"/>
                  <a:gd name="T1" fmla="*/ 661 h 2956"/>
                  <a:gd name="T2" fmla="*/ 812 w 1010"/>
                  <a:gd name="T3" fmla="*/ 535 h 2956"/>
                  <a:gd name="T4" fmla="*/ 685 w 1010"/>
                  <a:gd name="T5" fmla="*/ 421 h 2956"/>
                  <a:gd name="T6" fmla="*/ 676 w 1010"/>
                  <a:gd name="T7" fmla="*/ 149 h 2956"/>
                  <a:gd name="T8" fmla="*/ 583 w 1010"/>
                  <a:gd name="T9" fmla="*/ 13 h 2956"/>
                  <a:gd name="T10" fmla="*/ 431 w 1010"/>
                  <a:gd name="T11" fmla="*/ 56 h 2956"/>
                  <a:gd name="T12" fmla="*/ 371 w 1010"/>
                  <a:gd name="T13" fmla="*/ 259 h 2956"/>
                  <a:gd name="T14" fmla="*/ 355 w 1010"/>
                  <a:gd name="T15" fmla="*/ 440 h 2956"/>
                  <a:gd name="T16" fmla="*/ 206 w 1010"/>
                  <a:gd name="T17" fmla="*/ 514 h 2956"/>
                  <a:gd name="T18" fmla="*/ 134 w 1010"/>
                  <a:gd name="T19" fmla="*/ 639 h 2956"/>
                  <a:gd name="T20" fmla="*/ 146 w 1010"/>
                  <a:gd name="T21" fmla="*/ 769 h 2956"/>
                  <a:gd name="T22" fmla="*/ 158 w 1010"/>
                  <a:gd name="T23" fmla="*/ 991 h 2956"/>
                  <a:gd name="T24" fmla="*/ 141 w 1010"/>
                  <a:gd name="T25" fmla="*/ 1220 h 2956"/>
                  <a:gd name="T26" fmla="*/ 141 w 1010"/>
                  <a:gd name="T27" fmla="*/ 1422 h 2956"/>
                  <a:gd name="T28" fmla="*/ 125 w 1010"/>
                  <a:gd name="T29" fmla="*/ 1561 h 2956"/>
                  <a:gd name="T30" fmla="*/ 146 w 1010"/>
                  <a:gd name="T31" fmla="*/ 1686 h 2956"/>
                  <a:gd name="T32" fmla="*/ 184 w 1010"/>
                  <a:gd name="T33" fmla="*/ 1882 h 2956"/>
                  <a:gd name="T34" fmla="*/ 178 w 1010"/>
                  <a:gd name="T35" fmla="*/ 2034 h 2956"/>
                  <a:gd name="T36" fmla="*/ 158 w 1010"/>
                  <a:gd name="T37" fmla="*/ 2199 h 2956"/>
                  <a:gd name="T38" fmla="*/ 114 w 1010"/>
                  <a:gd name="T39" fmla="*/ 2765 h 2956"/>
                  <a:gd name="T40" fmla="*/ 85 w 1010"/>
                  <a:gd name="T41" fmla="*/ 2846 h 2956"/>
                  <a:gd name="T42" fmla="*/ 3 w 1010"/>
                  <a:gd name="T43" fmla="*/ 2922 h 2956"/>
                  <a:gd name="T44" fmla="*/ 178 w 1010"/>
                  <a:gd name="T45" fmla="*/ 2910 h 2956"/>
                  <a:gd name="T46" fmla="*/ 274 w 1010"/>
                  <a:gd name="T47" fmla="*/ 2858 h 2956"/>
                  <a:gd name="T48" fmla="*/ 291 w 1010"/>
                  <a:gd name="T49" fmla="*/ 2863 h 2956"/>
                  <a:gd name="T50" fmla="*/ 379 w 1010"/>
                  <a:gd name="T51" fmla="*/ 2812 h 2956"/>
                  <a:gd name="T52" fmla="*/ 363 w 1010"/>
                  <a:gd name="T53" fmla="*/ 2496 h 2956"/>
                  <a:gd name="T54" fmla="*/ 384 w 1010"/>
                  <a:gd name="T55" fmla="*/ 2064 h 2956"/>
                  <a:gd name="T56" fmla="*/ 437 w 1010"/>
                  <a:gd name="T57" fmla="*/ 1742 h 2956"/>
                  <a:gd name="T58" fmla="*/ 501 w 1010"/>
                  <a:gd name="T59" fmla="*/ 1563 h 2956"/>
                  <a:gd name="T60" fmla="*/ 525 w 1010"/>
                  <a:gd name="T61" fmla="*/ 1686 h 2956"/>
                  <a:gd name="T62" fmla="*/ 519 w 1010"/>
                  <a:gd name="T63" fmla="*/ 1955 h 2956"/>
                  <a:gd name="T64" fmla="*/ 516 w 1010"/>
                  <a:gd name="T65" fmla="*/ 2183 h 2956"/>
                  <a:gd name="T66" fmla="*/ 492 w 1010"/>
                  <a:gd name="T67" fmla="*/ 2649 h 2956"/>
                  <a:gd name="T68" fmla="*/ 496 w 1010"/>
                  <a:gd name="T69" fmla="*/ 2796 h 2956"/>
                  <a:gd name="T70" fmla="*/ 501 w 1010"/>
                  <a:gd name="T71" fmla="*/ 2927 h 2956"/>
                  <a:gd name="T72" fmla="*/ 608 w 1010"/>
                  <a:gd name="T73" fmla="*/ 2942 h 2956"/>
                  <a:gd name="T74" fmla="*/ 625 w 1010"/>
                  <a:gd name="T75" fmla="*/ 2874 h 2956"/>
                  <a:gd name="T76" fmla="*/ 685 w 1010"/>
                  <a:gd name="T77" fmla="*/ 2727 h 2956"/>
                  <a:gd name="T78" fmla="*/ 711 w 1010"/>
                  <a:gd name="T79" fmla="*/ 2354 h 2956"/>
                  <a:gd name="T80" fmla="*/ 738 w 1010"/>
                  <a:gd name="T81" fmla="*/ 2053 h 2956"/>
                  <a:gd name="T82" fmla="*/ 783 w 1010"/>
                  <a:gd name="T83" fmla="*/ 1675 h 2956"/>
                  <a:gd name="T84" fmla="*/ 817 w 1010"/>
                  <a:gd name="T85" fmla="*/ 1422 h 2956"/>
                  <a:gd name="T86" fmla="*/ 793 w 1010"/>
                  <a:gd name="T87" fmla="*/ 1244 h 2956"/>
                  <a:gd name="T88" fmla="*/ 874 w 1010"/>
                  <a:gd name="T89" fmla="*/ 1204 h 2956"/>
                  <a:gd name="T90" fmla="*/ 986 w 1010"/>
                  <a:gd name="T91" fmla="*/ 1044 h 2956"/>
                  <a:gd name="T92" fmla="*/ 962 w 1010"/>
                  <a:gd name="T93" fmla="*/ 826 h 2956"/>
                  <a:gd name="T94" fmla="*/ 178 w 1010"/>
                  <a:gd name="T95" fmla="*/ 1614 h 2956"/>
                  <a:gd name="T96" fmla="*/ 194 w 1010"/>
                  <a:gd name="T97" fmla="*/ 1678 h 2956"/>
                  <a:gd name="T98" fmla="*/ 243 w 1010"/>
                  <a:gd name="T99" fmla="*/ 1384 h 2956"/>
                  <a:gd name="T100" fmla="*/ 211 w 1010"/>
                  <a:gd name="T101" fmla="*/ 1416 h 2956"/>
                  <a:gd name="T102" fmla="*/ 250 w 1010"/>
                  <a:gd name="T103" fmla="*/ 1247 h 2956"/>
                  <a:gd name="T104" fmla="*/ 287 w 1010"/>
                  <a:gd name="T105" fmla="*/ 1092 h 2956"/>
                  <a:gd name="T106" fmla="*/ 263 w 1010"/>
                  <a:gd name="T107" fmla="*/ 1159 h 2956"/>
                  <a:gd name="T108" fmla="*/ 272 w 1010"/>
                  <a:gd name="T109" fmla="*/ 962 h 2956"/>
                  <a:gd name="T110" fmla="*/ 285 w 1010"/>
                  <a:gd name="T111" fmla="*/ 919 h 2956"/>
                  <a:gd name="T112" fmla="*/ 892 w 1010"/>
                  <a:gd name="T113" fmla="*/ 993 h 2956"/>
                  <a:gd name="T114" fmla="*/ 815 w 1010"/>
                  <a:gd name="T115" fmla="*/ 1142 h 2956"/>
                  <a:gd name="T116" fmla="*/ 749 w 1010"/>
                  <a:gd name="T117" fmla="*/ 1063 h 2956"/>
                  <a:gd name="T118" fmla="*/ 727 w 1010"/>
                  <a:gd name="T119" fmla="*/ 829 h 2956"/>
                  <a:gd name="T120" fmla="*/ 759 w 1010"/>
                  <a:gd name="T121" fmla="*/ 732 h 2956"/>
                  <a:gd name="T122" fmla="*/ 852 w 1010"/>
                  <a:gd name="T123" fmla="*/ 871 h 2956"/>
                  <a:gd name="T124" fmla="*/ 898 w 1010"/>
                  <a:gd name="T125" fmla="*/ 980 h 29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10"/>
                  <a:gd name="T190" fmla="*/ 0 h 2956"/>
                  <a:gd name="T191" fmla="*/ 1010 w 1010"/>
                  <a:gd name="T192" fmla="*/ 2956 h 29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10" h="2956">
                    <a:moveTo>
                      <a:pt x="962" y="826"/>
                    </a:moveTo>
                    <a:lnTo>
                      <a:pt x="962" y="826"/>
                    </a:lnTo>
                    <a:lnTo>
                      <a:pt x="950" y="796"/>
                    </a:lnTo>
                    <a:lnTo>
                      <a:pt x="945" y="781"/>
                    </a:lnTo>
                    <a:lnTo>
                      <a:pt x="937" y="767"/>
                    </a:lnTo>
                    <a:lnTo>
                      <a:pt x="921" y="738"/>
                    </a:lnTo>
                    <a:lnTo>
                      <a:pt x="913" y="724"/>
                    </a:lnTo>
                    <a:lnTo>
                      <a:pt x="906" y="708"/>
                    </a:lnTo>
                    <a:lnTo>
                      <a:pt x="887" y="661"/>
                    </a:lnTo>
                    <a:lnTo>
                      <a:pt x="870" y="618"/>
                    </a:lnTo>
                    <a:lnTo>
                      <a:pt x="868" y="604"/>
                    </a:lnTo>
                    <a:lnTo>
                      <a:pt x="858" y="592"/>
                    </a:lnTo>
                    <a:lnTo>
                      <a:pt x="850" y="581"/>
                    </a:lnTo>
                    <a:lnTo>
                      <a:pt x="841" y="570"/>
                    </a:lnTo>
                    <a:lnTo>
                      <a:pt x="831" y="560"/>
                    </a:lnTo>
                    <a:lnTo>
                      <a:pt x="820" y="543"/>
                    </a:lnTo>
                    <a:lnTo>
                      <a:pt x="812" y="535"/>
                    </a:lnTo>
                    <a:lnTo>
                      <a:pt x="804" y="527"/>
                    </a:lnTo>
                    <a:lnTo>
                      <a:pt x="793" y="520"/>
                    </a:lnTo>
                    <a:lnTo>
                      <a:pt x="781" y="514"/>
                    </a:lnTo>
                    <a:lnTo>
                      <a:pt x="757" y="504"/>
                    </a:lnTo>
                    <a:lnTo>
                      <a:pt x="730" y="495"/>
                    </a:lnTo>
                    <a:lnTo>
                      <a:pt x="701" y="487"/>
                    </a:lnTo>
                    <a:lnTo>
                      <a:pt x="695" y="469"/>
                    </a:lnTo>
                    <a:lnTo>
                      <a:pt x="690" y="445"/>
                    </a:lnTo>
                    <a:lnTo>
                      <a:pt x="685" y="421"/>
                    </a:lnTo>
                    <a:lnTo>
                      <a:pt x="685" y="410"/>
                    </a:lnTo>
                    <a:lnTo>
                      <a:pt x="685" y="399"/>
                    </a:lnTo>
                    <a:lnTo>
                      <a:pt x="690" y="349"/>
                    </a:lnTo>
                    <a:lnTo>
                      <a:pt x="692" y="323"/>
                    </a:lnTo>
                    <a:lnTo>
                      <a:pt x="690" y="309"/>
                    </a:lnTo>
                    <a:lnTo>
                      <a:pt x="689" y="296"/>
                    </a:lnTo>
                    <a:lnTo>
                      <a:pt x="684" y="202"/>
                    </a:lnTo>
                    <a:lnTo>
                      <a:pt x="676" y="149"/>
                    </a:lnTo>
                    <a:lnTo>
                      <a:pt x="669" y="122"/>
                    </a:lnTo>
                    <a:lnTo>
                      <a:pt x="666" y="110"/>
                    </a:lnTo>
                    <a:lnTo>
                      <a:pt x="663" y="102"/>
                    </a:lnTo>
                    <a:lnTo>
                      <a:pt x="653" y="83"/>
                    </a:lnTo>
                    <a:lnTo>
                      <a:pt x="641" y="66"/>
                    </a:lnTo>
                    <a:lnTo>
                      <a:pt x="626" y="48"/>
                    </a:lnTo>
                    <a:lnTo>
                      <a:pt x="610" y="32"/>
                    </a:lnTo>
                    <a:lnTo>
                      <a:pt x="602" y="26"/>
                    </a:lnTo>
                    <a:lnTo>
                      <a:pt x="592" y="19"/>
                    </a:lnTo>
                    <a:lnTo>
                      <a:pt x="583" y="13"/>
                    </a:lnTo>
                    <a:lnTo>
                      <a:pt x="572" y="8"/>
                    </a:lnTo>
                    <a:lnTo>
                      <a:pt x="559" y="5"/>
                    </a:lnTo>
                    <a:lnTo>
                      <a:pt x="548" y="2"/>
                    </a:lnTo>
                    <a:lnTo>
                      <a:pt x="533" y="0"/>
                    </a:lnTo>
                    <a:lnTo>
                      <a:pt x="519" y="0"/>
                    </a:lnTo>
                    <a:lnTo>
                      <a:pt x="479" y="13"/>
                    </a:lnTo>
                    <a:lnTo>
                      <a:pt x="463" y="26"/>
                    </a:lnTo>
                    <a:lnTo>
                      <a:pt x="447" y="40"/>
                    </a:lnTo>
                    <a:lnTo>
                      <a:pt x="431" y="56"/>
                    </a:lnTo>
                    <a:lnTo>
                      <a:pt x="418" y="72"/>
                    </a:lnTo>
                    <a:lnTo>
                      <a:pt x="405" y="90"/>
                    </a:lnTo>
                    <a:lnTo>
                      <a:pt x="394" y="109"/>
                    </a:lnTo>
                    <a:lnTo>
                      <a:pt x="384" y="130"/>
                    </a:lnTo>
                    <a:lnTo>
                      <a:pt x="376" y="151"/>
                    </a:lnTo>
                    <a:lnTo>
                      <a:pt x="373" y="168"/>
                    </a:lnTo>
                    <a:lnTo>
                      <a:pt x="370" y="184"/>
                    </a:lnTo>
                    <a:lnTo>
                      <a:pt x="370" y="203"/>
                    </a:lnTo>
                    <a:lnTo>
                      <a:pt x="368" y="223"/>
                    </a:lnTo>
                    <a:lnTo>
                      <a:pt x="371" y="259"/>
                    </a:lnTo>
                    <a:lnTo>
                      <a:pt x="376" y="295"/>
                    </a:lnTo>
                    <a:lnTo>
                      <a:pt x="371" y="331"/>
                    </a:lnTo>
                    <a:lnTo>
                      <a:pt x="368" y="360"/>
                    </a:lnTo>
                    <a:lnTo>
                      <a:pt x="367" y="386"/>
                    </a:lnTo>
                    <a:lnTo>
                      <a:pt x="365" y="412"/>
                    </a:lnTo>
                    <a:lnTo>
                      <a:pt x="362" y="424"/>
                    </a:lnTo>
                    <a:lnTo>
                      <a:pt x="359" y="436"/>
                    </a:lnTo>
                    <a:lnTo>
                      <a:pt x="355" y="440"/>
                    </a:lnTo>
                    <a:lnTo>
                      <a:pt x="352" y="445"/>
                    </a:lnTo>
                    <a:lnTo>
                      <a:pt x="347" y="447"/>
                    </a:lnTo>
                    <a:lnTo>
                      <a:pt x="343" y="450"/>
                    </a:lnTo>
                    <a:lnTo>
                      <a:pt x="331" y="452"/>
                    </a:lnTo>
                    <a:lnTo>
                      <a:pt x="320" y="456"/>
                    </a:lnTo>
                    <a:lnTo>
                      <a:pt x="283" y="487"/>
                    </a:lnTo>
                    <a:lnTo>
                      <a:pt x="227" y="498"/>
                    </a:lnTo>
                    <a:lnTo>
                      <a:pt x="206" y="514"/>
                    </a:lnTo>
                    <a:lnTo>
                      <a:pt x="186" y="532"/>
                    </a:lnTo>
                    <a:lnTo>
                      <a:pt x="176" y="541"/>
                    </a:lnTo>
                    <a:lnTo>
                      <a:pt x="168" y="552"/>
                    </a:lnTo>
                    <a:lnTo>
                      <a:pt x="162" y="564"/>
                    </a:lnTo>
                    <a:lnTo>
                      <a:pt x="155" y="575"/>
                    </a:lnTo>
                    <a:lnTo>
                      <a:pt x="150" y="617"/>
                    </a:lnTo>
                    <a:lnTo>
                      <a:pt x="136" y="634"/>
                    </a:lnTo>
                    <a:lnTo>
                      <a:pt x="134" y="639"/>
                    </a:lnTo>
                    <a:lnTo>
                      <a:pt x="136" y="642"/>
                    </a:lnTo>
                    <a:lnTo>
                      <a:pt x="141" y="650"/>
                    </a:lnTo>
                    <a:lnTo>
                      <a:pt x="144" y="658"/>
                    </a:lnTo>
                    <a:lnTo>
                      <a:pt x="146" y="663"/>
                    </a:lnTo>
                    <a:lnTo>
                      <a:pt x="146" y="669"/>
                    </a:lnTo>
                    <a:lnTo>
                      <a:pt x="142" y="693"/>
                    </a:lnTo>
                    <a:lnTo>
                      <a:pt x="142" y="719"/>
                    </a:lnTo>
                    <a:lnTo>
                      <a:pt x="144" y="745"/>
                    </a:lnTo>
                    <a:lnTo>
                      <a:pt x="146" y="769"/>
                    </a:lnTo>
                    <a:lnTo>
                      <a:pt x="149" y="786"/>
                    </a:lnTo>
                    <a:lnTo>
                      <a:pt x="149" y="804"/>
                    </a:lnTo>
                    <a:lnTo>
                      <a:pt x="147" y="839"/>
                    </a:lnTo>
                    <a:lnTo>
                      <a:pt x="147" y="873"/>
                    </a:lnTo>
                    <a:lnTo>
                      <a:pt x="147" y="890"/>
                    </a:lnTo>
                    <a:lnTo>
                      <a:pt x="149" y="906"/>
                    </a:lnTo>
                    <a:lnTo>
                      <a:pt x="154" y="929"/>
                    </a:lnTo>
                    <a:lnTo>
                      <a:pt x="157" y="954"/>
                    </a:lnTo>
                    <a:lnTo>
                      <a:pt x="158" y="980"/>
                    </a:lnTo>
                    <a:lnTo>
                      <a:pt x="158" y="991"/>
                    </a:lnTo>
                    <a:lnTo>
                      <a:pt x="157" y="1004"/>
                    </a:lnTo>
                    <a:lnTo>
                      <a:pt x="146" y="1082"/>
                    </a:lnTo>
                    <a:lnTo>
                      <a:pt x="144" y="1145"/>
                    </a:lnTo>
                    <a:lnTo>
                      <a:pt x="142" y="1163"/>
                    </a:lnTo>
                    <a:lnTo>
                      <a:pt x="139" y="1182"/>
                    </a:lnTo>
                    <a:lnTo>
                      <a:pt x="139" y="1201"/>
                    </a:lnTo>
                    <a:lnTo>
                      <a:pt x="141" y="1220"/>
                    </a:lnTo>
                    <a:lnTo>
                      <a:pt x="142" y="1241"/>
                    </a:lnTo>
                    <a:lnTo>
                      <a:pt x="142" y="1262"/>
                    </a:lnTo>
                    <a:lnTo>
                      <a:pt x="144" y="1284"/>
                    </a:lnTo>
                    <a:lnTo>
                      <a:pt x="146" y="1307"/>
                    </a:lnTo>
                    <a:lnTo>
                      <a:pt x="147" y="1327"/>
                    </a:lnTo>
                    <a:lnTo>
                      <a:pt x="149" y="1352"/>
                    </a:lnTo>
                    <a:lnTo>
                      <a:pt x="149" y="1377"/>
                    </a:lnTo>
                    <a:lnTo>
                      <a:pt x="146" y="1400"/>
                    </a:lnTo>
                    <a:lnTo>
                      <a:pt x="141" y="1422"/>
                    </a:lnTo>
                    <a:lnTo>
                      <a:pt x="136" y="1443"/>
                    </a:lnTo>
                    <a:lnTo>
                      <a:pt x="136" y="1451"/>
                    </a:lnTo>
                    <a:lnTo>
                      <a:pt x="136" y="1459"/>
                    </a:lnTo>
                    <a:lnTo>
                      <a:pt x="139" y="1473"/>
                    </a:lnTo>
                    <a:lnTo>
                      <a:pt x="141" y="1488"/>
                    </a:lnTo>
                    <a:lnTo>
                      <a:pt x="141" y="1494"/>
                    </a:lnTo>
                    <a:lnTo>
                      <a:pt x="139" y="1502"/>
                    </a:lnTo>
                    <a:lnTo>
                      <a:pt x="131" y="1532"/>
                    </a:lnTo>
                    <a:lnTo>
                      <a:pt x="125" y="1561"/>
                    </a:lnTo>
                    <a:lnTo>
                      <a:pt x="125" y="1577"/>
                    </a:lnTo>
                    <a:lnTo>
                      <a:pt x="123" y="1592"/>
                    </a:lnTo>
                    <a:lnTo>
                      <a:pt x="125" y="1608"/>
                    </a:lnTo>
                    <a:lnTo>
                      <a:pt x="126" y="1624"/>
                    </a:lnTo>
                    <a:lnTo>
                      <a:pt x="128" y="1665"/>
                    </a:lnTo>
                    <a:lnTo>
                      <a:pt x="131" y="1672"/>
                    </a:lnTo>
                    <a:lnTo>
                      <a:pt x="136" y="1677"/>
                    </a:lnTo>
                    <a:lnTo>
                      <a:pt x="141" y="1681"/>
                    </a:lnTo>
                    <a:lnTo>
                      <a:pt x="146" y="1686"/>
                    </a:lnTo>
                    <a:lnTo>
                      <a:pt x="154" y="1697"/>
                    </a:lnTo>
                    <a:lnTo>
                      <a:pt x="160" y="1710"/>
                    </a:lnTo>
                    <a:lnTo>
                      <a:pt x="166" y="1721"/>
                    </a:lnTo>
                    <a:lnTo>
                      <a:pt x="174" y="1734"/>
                    </a:lnTo>
                    <a:lnTo>
                      <a:pt x="187" y="1744"/>
                    </a:lnTo>
                    <a:lnTo>
                      <a:pt x="184" y="1872"/>
                    </a:lnTo>
                    <a:lnTo>
                      <a:pt x="184" y="1882"/>
                    </a:lnTo>
                    <a:lnTo>
                      <a:pt x="184" y="1891"/>
                    </a:lnTo>
                    <a:lnTo>
                      <a:pt x="179" y="1910"/>
                    </a:lnTo>
                    <a:lnTo>
                      <a:pt x="179" y="1918"/>
                    </a:lnTo>
                    <a:lnTo>
                      <a:pt x="179" y="1925"/>
                    </a:lnTo>
                    <a:lnTo>
                      <a:pt x="181" y="1942"/>
                    </a:lnTo>
                    <a:lnTo>
                      <a:pt x="182" y="1958"/>
                    </a:lnTo>
                    <a:lnTo>
                      <a:pt x="184" y="1968"/>
                    </a:lnTo>
                    <a:lnTo>
                      <a:pt x="182" y="1976"/>
                    </a:lnTo>
                    <a:lnTo>
                      <a:pt x="178" y="2034"/>
                    </a:lnTo>
                    <a:lnTo>
                      <a:pt x="171" y="2053"/>
                    </a:lnTo>
                    <a:lnTo>
                      <a:pt x="165" y="2072"/>
                    </a:lnTo>
                    <a:lnTo>
                      <a:pt x="162" y="2088"/>
                    </a:lnTo>
                    <a:lnTo>
                      <a:pt x="160" y="2104"/>
                    </a:lnTo>
                    <a:lnTo>
                      <a:pt x="160" y="2136"/>
                    </a:lnTo>
                    <a:lnTo>
                      <a:pt x="162" y="2168"/>
                    </a:lnTo>
                    <a:lnTo>
                      <a:pt x="160" y="2184"/>
                    </a:lnTo>
                    <a:lnTo>
                      <a:pt x="158" y="2199"/>
                    </a:lnTo>
                    <a:lnTo>
                      <a:pt x="154" y="2647"/>
                    </a:lnTo>
                    <a:lnTo>
                      <a:pt x="149" y="2673"/>
                    </a:lnTo>
                    <a:lnTo>
                      <a:pt x="142" y="2697"/>
                    </a:lnTo>
                    <a:lnTo>
                      <a:pt x="126" y="2743"/>
                    </a:lnTo>
                    <a:lnTo>
                      <a:pt x="123" y="2749"/>
                    </a:lnTo>
                    <a:lnTo>
                      <a:pt x="120" y="2754"/>
                    </a:lnTo>
                    <a:lnTo>
                      <a:pt x="117" y="2761"/>
                    </a:lnTo>
                    <a:lnTo>
                      <a:pt x="114" y="2765"/>
                    </a:lnTo>
                    <a:lnTo>
                      <a:pt x="117" y="2781"/>
                    </a:lnTo>
                    <a:lnTo>
                      <a:pt x="118" y="2794"/>
                    </a:lnTo>
                    <a:lnTo>
                      <a:pt x="115" y="2810"/>
                    </a:lnTo>
                    <a:lnTo>
                      <a:pt x="112" y="2825"/>
                    </a:lnTo>
                    <a:lnTo>
                      <a:pt x="107" y="2834"/>
                    </a:lnTo>
                    <a:lnTo>
                      <a:pt x="96" y="2838"/>
                    </a:lnTo>
                    <a:lnTo>
                      <a:pt x="85" y="2841"/>
                    </a:lnTo>
                    <a:lnTo>
                      <a:pt x="85" y="2846"/>
                    </a:lnTo>
                    <a:lnTo>
                      <a:pt x="82" y="2850"/>
                    </a:lnTo>
                    <a:lnTo>
                      <a:pt x="74" y="2860"/>
                    </a:lnTo>
                    <a:lnTo>
                      <a:pt x="62" y="2868"/>
                    </a:lnTo>
                    <a:lnTo>
                      <a:pt x="50" y="2878"/>
                    </a:lnTo>
                    <a:lnTo>
                      <a:pt x="21" y="2892"/>
                    </a:lnTo>
                    <a:lnTo>
                      <a:pt x="8" y="2898"/>
                    </a:lnTo>
                    <a:lnTo>
                      <a:pt x="0" y="2906"/>
                    </a:lnTo>
                    <a:lnTo>
                      <a:pt x="0" y="2916"/>
                    </a:lnTo>
                    <a:lnTo>
                      <a:pt x="1" y="2919"/>
                    </a:lnTo>
                    <a:lnTo>
                      <a:pt x="3" y="2922"/>
                    </a:lnTo>
                    <a:lnTo>
                      <a:pt x="6" y="2924"/>
                    </a:lnTo>
                    <a:lnTo>
                      <a:pt x="10" y="2926"/>
                    </a:lnTo>
                    <a:lnTo>
                      <a:pt x="21" y="2926"/>
                    </a:lnTo>
                    <a:lnTo>
                      <a:pt x="126" y="2916"/>
                    </a:lnTo>
                    <a:lnTo>
                      <a:pt x="139" y="2914"/>
                    </a:lnTo>
                    <a:lnTo>
                      <a:pt x="154" y="2914"/>
                    </a:lnTo>
                    <a:lnTo>
                      <a:pt x="166" y="2913"/>
                    </a:lnTo>
                    <a:lnTo>
                      <a:pt x="173" y="2911"/>
                    </a:lnTo>
                    <a:lnTo>
                      <a:pt x="178" y="2910"/>
                    </a:lnTo>
                    <a:lnTo>
                      <a:pt x="182" y="2906"/>
                    </a:lnTo>
                    <a:lnTo>
                      <a:pt x="187" y="2900"/>
                    </a:lnTo>
                    <a:lnTo>
                      <a:pt x="194" y="2887"/>
                    </a:lnTo>
                    <a:lnTo>
                      <a:pt x="200" y="2871"/>
                    </a:lnTo>
                    <a:lnTo>
                      <a:pt x="205" y="2860"/>
                    </a:lnTo>
                    <a:lnTo>
                      <a:pt x="245" y="2857"/>
                    </a:lnTo>
                    <a:lnTo>
                      <a:pt x="266" y="2855"/>
                    </a:lnTo>
                    <a:lnTo>
                      <a:pt x="272" y="2857"/>
                    </a:lnTo>
                    <a:lnTo>
                      <a:pt x="274" y="2858"/>
                    </a:lnTo>
                    <a:lnTo>
                      <a:pt x="274" y="2860"/>
                    </a:lnTo>
                    <a:lnTo>
                      <a:pt x="275" y="2878"/>
                    </a:lnTo>
                    <a:lnTo>
                      <a:pt x="279" y="2879"/>
                    </a:lnTo>
                    <a:lnTo>
                      <a:pt x="282" y="2881"/>
                    </a:lnTo>
                    <a:lnTo>
                      <a:pt x="285" y="2881"/>
                    </a:lnTo>
                    <a:lnTo>
                      <a:pt x="291" y="2878"/>
                    </a:lnTo>
                    <a:lnTo>
                      <a:pt x="291" y="2863"/>
                    </a:lnTo>
                    <a:lnTo>
                      <a:pt x="293" y="2857"/>
                    </a:lnTo>
                    <a:lnTo>
                      <a:pt x="295" y="2852"/>
                    </a:lnTo>
                    <a:lnTo>
                      <a:pt x="307" y="2847"/>
                    </a:lnTo>
                    <a:lnTo>
                      <a:pt x="319" y="2844"/>
                    </a:lnTo>
                    <a:lnTo>
                      <a:pt x="331" y="2841"/>
                    </a:lnTo>
                    <a:lnTo>
                      <a:pt x="341" y="2836"/>
                    </a:lnTo>
                    <a:lnTo>
                      <a:pt x="354" y="2821"/>
                    </a:lnTo>
                    <a:lnTo>
                      <a:pt x="379" y="2812"/>
                    </a:lnTo>
                    <a:lnTo>
                      <a:pt x="381" y="2805"/>
                    </a:lnTo>
                    <a:lnTo>
                      <a:pt x="381" y="2794"/>
                    </a:lnTo>
                    <a:lnTo>
                      <a:pt x="376" y="2761"/>
                    </a:lnTo>
                    <a:lnTo>
                      <a:pt x="373" y="2727"/>
                    </a:lnTo>
                    <a:lnTo>
                      <a:pt x="371" y="2705"/>
                    </a:lnTo>
                    <a:lnTo>
                      <a:pt x="360" y="2532"/>
                    </a:lnTo>
                    <a:lnTo>
                      <a:pt x="363" y="2496"/>
                    </a:lnTo>
                    <a:lnTo>
                      <a:pt x="360" y="2407"/>
                    </a:lnTo>
                    <a:lnTo>
                      <a:pt x="362" y="2336"/>
                    </a:lnTo>
                    <a:lnTo>
                      <a:pt x="363" y="2267"/>
                    </a:lnTo>
                    <a:lnTo>
                      <a:pt x="367" y="2202"/>
                    </a:lnTo>
                    <a:lnTo>
                      <a:pt x="370" y="2171"/>
                    </a:lnTo>
                    <a:lnTo>
                      <a:pt x="375" y="2141"/>
                    </a:lnTo>
                    <a:lnTo>
                      <a:pt x="381" y="2072"/>
                    </a:lnTo>
                    <a:lnTo>
                      <a:pt x="384" y="2064"/>
                    </a:lnTo>
                    <a:lnTo>
                      <a:pt x="389" y="2054"/>
                    </a:lnTo>
                    <a:lnTo>
                      <a:pt x="394" y="2046"/>
                    </a:lnTo>
                    <a:lnTo>
                      <a:pt x="397" y="2037"/>
                    </a:lnTo>
                    <a:lnTo>
                      <a:pt x="403" y="1970"/>
                    </a:lnTo>
                    <a:lnTo>
                      <a:pt x="426" y="1824"/>
                    </a:lnTo>
                    <a:lnTo>
                      <a:pt x="431" y="1795"/>
                    </a:lnTo>
                    <a:lnTo>
                      <a:pt x="434" y="1768"/>
                    </a:lnTo>
                    <a:lnTo>
                      <a:pt x="437" y="1742"/>
                    </a:lnTo>
                    <a:lnTo>
                      <a:pt x="445" y="1717"/>
                    </a:lnTo>
                    <a:lnTo>
                      <a:pt x="453" y="1693"/>
                    </a:lnTo>
                    <a:lnTo>
                      <a:pt x="463" y="1670"/>
                    </a:lnTo>
                    <a:lnTo>
                      <a:pt x="472" y="1648"/>
                    </a:lnTo>
                    <a:lnTo>
                      <a:pt x="480" y="1625"/>
                    </a:lnTo>
                    <a:lnTo>
                      <a:pt x="487" y="1605"/>
                    </a:lnTo>
                    <a:lnTo>
                      <a:pt x="493" y="1584"/>
                    </a:lnTo>
                    <a:lnTo>
                      <a:pt x="498" y="1572"/>
                    </a:lnTo>
                    <a:lnTo>
                      <a:pt x="501" y="1563"/>
                    </a:lnTo>
                    <a:lnTo>
                      <a:pt x="506" y="1553"/>
                    </a:lnTo>
                    <a:lnTo>
                      <a:pt x="512" y="1547"/>
                    </a:lnTo>
                    <a:lnTo>
                      <a:pt x="514" y="1560"/>
                    </a:lnTo>
                    <a:lnTo>
                      <a:pt x="516" y="1571"/>
                    </a:lnTo>
                    <a:lnTo>
                      <a:pt x="520" y="1588"/>
                    </a:lnTo>
                    <a:lnTo>
                      <a:pt x="519" y="1646"/>
                    </a:lnTo>
                    <a:lnTo>
                      <a:pt x="524" y="1672"/>
                    </a:lnTo>
                    <a:lnTo>
                      <a:pt x="525" y="1686"/>
                    </a:lnTo>
                    <a:lnTo>
                      <a:pt x="525" y="1701"/>
                    </a:lnTo>
                    <a:lnTo>
                      <a:pt x="522" y="1725"/>
                    </a:lnTo>
                    <a:lnTo>
                      <a:pt x="524" y="1779"/>
                    </a:lnTo>
                    <a:lnTo>
                      <a:pt x="524" y="1808"/>
                    </a:lnTo>
                    <a:lnTo>
                      <a:pt x="522" y="1835"/>
                    </a:lnTo>
                    <a:lnTo>
                      <a:pt x="522" y="1888"/>
                    </a:lnTo>
                    <a:lnTo>
                      <a:pt x="520" y="1933"/>
                    </a:lnTo>
                    <a:lnTo>
                      <a:pt x="519" y="1955"/>
                    </a:lnTo>
                    <a:lnTo>
                      <a:pt x="516" y="1974"/>
                    </a:lnTo>
                    <a:lnTo>
                      <a:pt x="514" y="1987"/>
                    </a:lnTo>
                    <a:lnTo>
                      <a:pt x="514" y="1998"/>
                    </a:lnTo>
                    <a:lnTo>
                      <a:pt x="514" y="2021"/>
                    </a:lnTo>
                    <a:lnTo>
                      <a:pt x="516" y="2042"/>
                    </a:lnTo>
                    <a:lnTo>
                      <a:pt x="516" y="2053"/>
                    </a:lnTo>
                    <a:lnTo>
                      <a:pt x="514" y="2062"/>
                    </a:lnTo>
                    <a:lnTo>
                      <a:pt x="514" y="2114"/>
                    </a:lnTo>
                    <a:lnTo>
                      <a:pt x="516" y="2183"/>
                    </a:lnTo>
                    <a:lnTo>
                      <a:pt x="514" y="2218"/>
                    </a:lnTo>
                    <a:lnTo>
                      <a:pt x="511" y="2250"/>
                    </a:lnTo>
                    <a:lnTo>
                      <a:pt x="500" y="2509"/>
                    </a:lnTo>
                    <a:lnTo>
                      <a:pt x="498" y="2525"/>
                    </a:lnTo>
                    <a:lnTo>
                      <a:pt x="496" y="2543"/>
                    </a:lnTo>
                    <a:lnTo>
                      <a:pt x="496" y="2578"/>
                    </a:lnTo>
                    <a:lnTo>
                      <a:pt x="495" y="2615"/>
                    </a:lnTo>
                    <a:lnTo>
                      <a:pt x="493" y="2633"/>
                    </a:lnTo>
                    <a:lnTo>
                      <a:pt x="492" y="2649"/>
                    </a:lnTo>
                    <a:lnTo>
                      <a:pt x="492" y="2698"/>
                    </a:lnTo>
                    <a:lnTo>
                      <a:pt x="488" y="2713"/>
                    </a:lnTo>
                    <a:lnTo>
                      <a:pt x="484" y="2730"/>
                    </a:lnTo>
                    <a:lnTo>
                      <a:pt x="480" y="2749"/>
                    </a:lnTo>
                    <a:lnTo>
                      <a:pt x="480" y="2759"/>
                    </a:lnTo>
                    <a:lnTo>
                      <a:pt x="482" y="2769"/>
                    </a:lnTo>
                    <a:lnTo>
                      <a:pt x="485" y="2777"/>
                    </a:lnTo>
                    <a:lnTo>
                      <a:pt x="492" y="2786"/>
                    </a:lnTo>
                    <a:lnTo>
                      <a:pt x="496" y="2796"/>
                    </a:lnTo>
                    <a:lnTo>
                      <a:pt x="501" y="2805"/>
                    </a:lnTo>
                    <a:lnTo>
                      <a:pt x="503" y="2818"/>
                    </a:lnTo>
                    <a:lnTo>
                      <a:pt x="503" y="2834"/>
                    </a:lnTo>
                    <a:lnTo>
                      <a:pt x="498" y="2868"/>
                    </a:lnTo>
                    <a:lnTo>
                      <a:pt x="495" y="2898"/>
                    </a:lnTo>
                    <a:lnTo>
                      <a:pt x="493" y="2911"/>
                    </a:lnTo>
                    <a:lnTo>
                      <a:pt x="496" y="2921"/>
                    </a:lnTo>
                    <a:lnTo>
                      <a:pt x="498" y="2924"/>
                    </a:lnTo>
                    <a:lnTo>
                      <a:pt x="501" y="2927"/>
                    </a:lnTo>
                    <a:lnTo>
                      <a:pt x="509" y="2932"/>
                    </a:lnTo>
                    <a:lnTo>
                      <a:pt x="530" y="2938"/>
                    </a:lnTo>
                    <a:lnTo>
                      <a:pt x="549" y="2948"/>
                    </a:lnTo>
                    <a:lnTo>
                      <a:pt x="560" y="2953"/>
                    </a:lnTo>
                    <a:lnTo>
                      <a:pt x="570" y="2956"/>
                    </a:lnTo>
                    <a:lnTo>
                      <a:pt x="578" y="2956"/>
                    </a:lnTo>
                    <a:lnTo>
                      <a:pt x="588" y="2954"/>
                    </a:lnTo>
                    <a:lnTo>
                      <a:pt x="599" y="2948"/>
                    </a:lnTo>
                    <a:lnTo>
                      <a:pt x="608" y="2942"/>
                    </a:lnTo>
                    <a:lnTo>
                      <a:pt x="618" y="2934"/>
                    </a:lnTo>
                    <a:lnTo>
                      <a:pt x="626" y="2926"/>
                    </a:lnTo>
                    <a:lnTo>
                      <a:pt x="631" y="2919"/>
                    </a:lnTo>
                    <a:lnTo>
                      <a:pt x="634" y="2914"/>
                    </a:lnTo>
                    <a:lnTo>
                      <a:pt x="636" y="2897"/>
                    </a:lnTo>
                    <a:lnTo>
                      <a:pt x="634" y="2887"/>
                    </a:lnTo>
                    <a:lnTo>
                      <a:pt x="634" y="2881"/>
                    </a:lnTo>
                    <a:lnTo>
                      <a:pt x="625" y="2874"/>
                    </a:lnTo>
                    <a:lnTo>
                      <a:pt x="623" y="2865"/>
                    </a:lnTo>
                    <a:lnTo>
                      <a:pt x="621" y="2847"/>
                    </a:lnTo>
                    <a:lnTo>
                      <a:pt x="620" y="2820"/>
                    </a:lnTo>
                    <a:lnTo>
                      <a:pt x="652" y="2812"/>
                    </a:lnTo>
                    <a:lnTo>
                      <a:pt x="668" y="2807"/>
                    </a:lnTo>
                    <a:lnTo>
                      <a:pt x="674" y="2804"/>
                    </a:lnTo>
                    <a:lnTo>
                      <a:pt x="681" y="2801"/>
                    </a:lnTo>
                    <a:lnTo>
                      <a:pt x="685" y="2727"/>
                    </a:lnTo>
                    <a:lnTo>
                      <a:pt x="681" y="2709"/>
                    </a:lnTo>
                    <a:lnTo>
                      <a:pt x="679" y="2700"/>
                    </a:lnTo>
                    <a:lnTo>
                      <a:pt x="681" y="2689"/>
                    </a:lnTo>
                    <a:lnTo>
                      <a:pt x="689" y="2604"/>
                    </a:lnTo>
                    <a:lnTo>
                      <a:pt x="689" y="2567"/>
                    </a:lnTo>
                    <a:lnTo>
                      <a:pt x="695" y="2532"/>
                    </a:lnTo>
                    <a:lnTo>
                      <a:pt x="698" y="2495"/>
                    </a:lnTo>
                    <a:lnTo>
                      <a:pt x="705" y="2424"/>
                    </a:lnTo>
                    <a:lnTo>
                      <a:pt x="711" y="2354"/>
                    </a:lnTo>
                    <a:lnTo>
                      <a:pt x="716" y="2317"/>
                    </a:lnTo>
                    <a:lnTo>
                      <a:pt x="721" y="2282"/>
                    </a:lnTo>
                    <a:lnTo>
                      <a:pt x="722" y="2258"/>
                    </a:lnTo>
                    <a:lnTo>
                      <a:pt x="724" y="2235"/>
                    </a:lnTo>
                    <a:lnTo>
                      <a:pt x="724" y="2213"/>
                    </a:lnTo>
                    <a:lnTo>
                      <a:pt x="727" y="2192"/>
                    </a:lnTo>
                    <a:lnTo>
                      <a:pt x="732" y="2107"/>
                    </a:lnTo>
                    <a:lnTo>
                      <a:pt x="738" y="2053"/>
                    </a:lnTo>
                    <a:lnTo>
                      <a:pt x="743" y="1998"/>
                    </a:lnTo>
                    <a:lnTo>
                      <a:pt x="748" y="1946"/>
                    </a:lnTo>
                    <a:lnTo>
                      <a:pt x="753" y="1920"/>
                    </a:lnTo>
                    <a:lnTo>
                      <a:pt x="757" y="1894"/>
                    </a:lnTo>
                    <a:lnTo>
                      <a:pt x="762" y="1838"/>
                    </a:lnTo>
                    <a:lnTo>
                      <a:pt x="769" y="1813"/>
                    </a:lnTo>
                    <a:lnTo>
                      <a:pt x="772" y="1785"/>
                    </a:lnTo>
                    <a:lnTo>
                      <a:pt x="778" y="1731"/>
                    </a:lnTo>
                    <a:lnTo>
                      <a:pt x="783" y="1675"/>
                    </a:lnTo>
                    <a:lnTo>
                      <a:pt x="786" y="1648"/>
                    </a:lnTo>
                    <a:lnTo>
                      <a:pt x="791" y="1619"/>
                    </a:lnTo>
                    <a:lnTo>
                      <a:pt x="809" y="1508"/>
                    </a:lnTo>
                    <a:lnTo>
                      <a:pt x="813" y="1489"/>
                    </a:lnTo>
                    <a:lnTo>
                      <a:pt x="817" y="1467"/>
                    </a:lnTo>
                    <a:lnTo>
                      <a:pt x="818" y="1444"/>
                    </a:lnTo>
                    <a:lnTo>
                      <a:pt x="818" y="1433"/>
                    </a:lnTo>
                    <a:lnTo>
                      <a:pt x="817" y="1422"/>
                    </a:lnTo>
                    <a:lnTo>
                      <a:pt x="807" y="1368"/>
                    </a:lnTo>
                    <a:lnTo>
                      <a:pt x="796" y="1318"/>
                    </a:lnTo>
                    <a:lnTo>
                      <a:pt x="794" y="1308"/>
                    </a:lnTo>
                    <a:lnTo>
                      <a:pt x="794" y="1300"/>
                    </a:lnTo>
                    <a:lnTo>
                      <a:pt x="794" y="1281"/>
                    </a:lnTo>
                    <a:lnTo>
                      <a:pt x="794" y="1262"/>
                    </a:lnTo>
                    <a:lnTo>
                      <a:pt x="793" y="1254"/>
                    </a:lnTo>
                    <a:lnTo>
                      <a:pt x="791" y="1246"/>
                    </a:lnTo>
                    <a:lnTo>
                      <a:pt x="793" y="1244"/>
                    </a:lnTo>
                    <a:lnTo>
                      <a:pt x="805" y="1254"/>
                    </a:lnTo>
                    <a:lnTo>
                      <a:pt x="823" y="1251"/>
                    </a:lnTo>
                    <a:lnTo>
                      <a:pt x="841" y="1246"/>
                    </a:lnTo>
                    <a:lnTo>
                      <a:pt x="855" y="1239"/>
                    </a:lnTo>
                    <a:lnTo>
                      <a:pt x="862" y="1235"/>
                    </a:lnTo>
                    <a:lnTo>
                      <a:pt x="865" y="1230"/>
                    </a:lnTo>
                    <a:lnTo>
                      <a:pt x="874" y="1204"/>
                    </a:lnTo>
                    <a:lnTo>
                      <a:pt x="879" y="1198"/>
                    </a:lnTo>
                    <a:lnTo>
                      <a:pt x="884" y="1191"/>
                    </a:lnTo>
                    <a:lnTo>
                      <a:pt x="894" y="1180"/>
                    </a:lnTo>
                    <a:lnTo>
                      <a:pt x="921" y="1139"/>
                    </a:lnTo>
                    <a:lnTo>
                      <a:pt x="934" y="1123"/>
                    </a:lnTo>
                    <a:lnTo>
                      <a:pt x="946" y="1107"/>
                    </a:lnTo>
                    <a:lnTo>
                      <a:pt x="961" y="1087"/>
                    </a:lnTo>
                    <a:lnTo>
                      <a:pt x="974" y="1065"/>
                    </a:lnTo>
                    <a:lnTo>
                      <a:pt x="986" y="1044"/>
                    </a:lnTo>
                    <a:lnTo>
                      <a:pt x="998" y="1020"/>
                    </a:lnTo>
                    <a:lnTo>
                      <a:pt x="1006" y="998"/>
                    </a:lnTo>
                    <a:lnTo>
                      <a:pt x="1010" y="975"/>
                    </a:lnTo>
                    <a:lnTo>
                      <a:pt x="1010" y="966"/>
                    </a:lnTo>
                    <a:lnTo>
                      <a:pt x="1010" y="958"/>
                    </a:lnTo>
                    <a:lnTo>
                      <a:pt x="1007" y="938"/>
                    </a:lnTo>
                    <a:lnTo>
                      <a:pt x="1001" y="918"/>
                    </a:lnTo>
                    <a:lnTo>
                      <a:pt x="993" y="897"/>
                    </a:lnTo>
                    <a:lnTo>
                      <a:pt x="975" y="857"/>
                    </a:lnTo>
                    <a:lnTo>
                      <a:pt x="962" y="826"/>
                    </a:lnTo>
                    <a:close/>
                    <a:moveTo>
                      <a:pt x="194" y="1678"/>
                    </a:moveTo>
                    <a:lnTo>
                      <a:pt x="194" y="1678"/>
                    </a:lnTo>
                    <a:lnTo>
                      <a:pt x="192" y="1680"/>
                    </a:lnTo>
                    <a:lnTo>
                      <a:pt x="189" y="1678"/>
                    </a:lnTo>
                    <a:lnTo>
                      <a:pt x="182" y="1654"/>
                    </a:lnTo>
                    <a:lnTo>
                      <a:pt x="179" y="1640"/>
                    </a:lnTo>
                    <a:lnTo>
                      <a:pt x="178" y="1627"/>
                    </a:lnTo>
                    <a:lnTo>
                      <a:pt x="178" y="1614"/>
                    </a:lnTo>
                    <a:lnTo>
                      <a:pt x="179" y="1601"/>
                    </a:lnTo>
                    <a:lnTo>
                      <a:pt x="184" y="1590"/>
                    </a:lnTo>
                    <a:lnTo>
                      <a:pt x="187" y="1585"/>
                    </a:lnTo>
                    <a:lnTo>
                      <a:pt x="192" y="1580"/>
                    </a:lnTo>
                    <a:lnTo>
                      <a:pt x="198" y="1580"/>
                    </a:lnTo>
                    <a:lnTo>
                      <a:pt x="202" y="1584"/>
                    </a:lnTo>
                    <a:lnTo>
                      <a:pt x="200" y="1630"/>
                    </a:lnTo>
                    <a:lnTo>
                      <a:pt x="198" y="1656"/>
                    </a:lnTo>
                    <a:lnTo>
                      <a:pt x="194" y="1678"/>
                    </a:lnTo>
                    <a:close/>
                    <a:moveTo>
                      <a:pt x="253" y="1355"/>
                    </a:moveTo>
                    <a:lnTo>
                      <a:pt x="253" y="1355"/>
                    </a:lnTo>
                    <a:lnTo>
                      <a:pt x="247" y="1356"/>
                    </a:lnTo>
                    <a:lnTo>
                      <a:pt x="242" y="1358"/>
                    </a:lnTo>
                    <a:lnTo>
                      <a:pt x="234" y="1366"/>
                    </a:lnTo>
                    <a:lnTo>
                      <a:pt x="235" y="1372"/>
                    </a:lnTo>
                    <a:lnTo>
                      <a:pt x="237" y="1376"/>
                    </a:lnTo>
                    <a:lnTo>
                      <a:pt x="243" y="1384"/>
                    </a:lnTo>
                    <a:lnTo>
                      <a:pt x="242" y="1395"/>
                    </a:lnTo>
                    <a:lnTo>
                      <a:pt x="237" y="1406"/>
                    </a:lnTo>
                    <a:lnTo>
                      <a:pt x="232" y="1416"/>
                    </a:lnTo>
                    <a:lnTo>
                      <a:pt x="229" y="1425"/>
                    </a:lnTo>
                    <a:lnTo>
                      <a:pt x="215" y="1484"/>
                    </a:lnTo>
                    <a:lnTo>
                      <a:pt x="213" y="1484"/>
                    </a:lnTo>
                    <a:lnTo>
                      <a:pt x="211" y="1467"/>
                    </a:lnTo>
                    <a:lnTo>
                      <a:pt x="210" y="1449"/>
                    </a:lnTo>
                    <a:lnTo>
                      <a:pt x="211" y="1416"/>
                    </a:lnTo>
                    <a:lnTo>
                      <a:pt x="218" y="1382"/>
                    </a:lnTo>
                    <a:lnTo>
                      <a:pt x="224" y="1348"/>
                    </a:lnTo>
                    <a:lnTo>
                      <a:pt x="240" y="1283"/>
                    </a:lnTo>
                    <a:lnTo>
                      <a:pt x="248" y="1251"/>
                    </a:lnTo>
                    <a:lnTo>
                      <a:pt x="255" y="1217"/>
                    </a:lnTo>
                    <a:lnTo>
                      <a:pt x="256" y="1220"/>
                    </a:lnTo>
                    <a:lnTo>
                      <a:pt x="256" y="1225"/>
                    </a:lnTo>
                    <a:lnTo>
                      <a:pt x="253" y="1233"/>
                    </a:lnTo>
                    <a:lnTo>
                      <a:pt x="250" y="1243"/>
                    </a:lnTo>
                    <a:lnTo>
                      <a:pt x="250" y="1247"/>
                    </a:lnTo>
                    <a:lnTo>
                      <a:pt x="251" y="1252"/>
                    </a:lnTo>
                    <a:lnTo>
                      <a:pt x="256" y="1257"/>
                    </a:lnTo>
                    <a:lnTo>
                      <a:pt x="255" y="1305"/>
                    </a:lnTo>
                    <a:lnTo>
                      <a:pt x="253" y="1355"/>
                    </a:lnTo>
                    <a:close/>
                    <a:moveTo>
                      <a:pt x="303" y="1033"/>
                    </a:moveTo>
                    <a:lnTo>
                      <a:pt x="303" y="1033"/>
                    </a:lnTo>
                    <a:lnTo>
                      <a:pt x="295" y="1063"/>
                    </a:lnTo>
                    <a:lnTo>
                      <a:pt x="287" y="1092"/>
                    </a:lnTo>
                    <a:lnTo>
                      <a:pt x="279" y="1119"/>
                    </a:lnTo>
                    <a:lnTo>
                      <a:pt x="271" y="1147"/>
                    </a:lnTo>
                    <a:lnTo>
                      <a:pt x="271" y="1179"/>
                    </a:lnTo>
                    <a:lnTo>
                      <a:pt x="261" y="1201"/>
                    </a:lnTo>
                    <a:lnTo>
                      <a:pt x="258" y="1201"/>
                    </a:lnTo>
                    <a:lnTo>
                      <a:pt x="258" y="1195"/>
                    </a:lnTo>
                    <a:lnTo>
                      <a:pt x="261" y="1183"/>
                    </a:lnTo>
                    <a:lnTo>
                      <a:pt x="263" y="1172"/>
                    </a:lnTo>
                    <a:lnTo>
                      <a:pt x="263" y="1159"/>
                    </a:lnTo>
                    <a:lnTo>
                      <a:pt x="266" y="1148"/>
                    </a:lnTo>
                    <a:lnTo>
                      <a:pt x="272" y="1119"/>
                    </a:lnTo>
                    <a:lnTo>
                      <a:pt x="275" y="1089"/>
                    </a:lnTo>
                    <a:lnTo>
                      <a:pt x="277" y="1073"/>
                    </a:lnTo>
                    <a:lnTo>
                      <a:pt x="277" y="1057"/>
                    </a:lnTo>
                    <a:lnTo>
                      <a:pt x="277" y="1041"/>
                    </a:lnTo>
                    <a:lnTo>
                      <a:pt x="274" y="1025"/>
                    </a:lnTo>
                    <a:lnTo>
                      <a:pt x="272" y="962"/>
                    </a:lnTo>
                    <a:lnTo>
                      <a:pt x="269" y="938"/>
                    </a:lnTo>
                    <a:lnTo>
                      <a:pt x="269" y="914"/>
                    </a:lnTo>
                    <a:lnTo>
                      <a:pt x="269" y="865"/>
                    </a:lnTo>
                    <a:lnTo>
                      <a:pt x="269" y="834"/>
                    </a:lnTo>
                    <a:lnTo>
                      <a:pt x="272" y="842"/>
                    </a:lnTo>
                    <a:lnTo>
                      <a:pt x="275" y="852"/>
                    </a:lnTo>
                    <a:lnTo>
                      <a:pt x="280" y="873"/>
                    </a:lnTo>
                    <a:lnTo>
                      <a:pt x="282" y="897"/>
                    </a:lnTo>
                    <a:lnTo>
                      <a:pt x="285" y="919"/>
                    </a:lnTo>
                    <a:lnTo>
                      <a:pt x="291" y="945"/>
                    </a:lnTo>
                    <a:lnTo>
                      <a:pt x="299" y="974"/>
                    </a:lnTo>
                    <a:lnTo>
                      <a:pt x="301" y="988"/>
                    </a:lnTo>
                    <a:lnTo>
                      <a:pt x="303" y="1002"/>
                    </a:lnTo>
                    <a:lnTo>
                      <a:pt x="304" y="1018"/>
                    </a:lnTo>
                    <a:lnTo>
                      <a:pt x="303" y="1033"/>
                    </a:lnTo>
                    <a:close/>
                    <a:moveTo>
                      <a:pt x="898" y="980"/>
                    </a:moveTo>
                    <a:lnTo>
                      <a:pt x="898" y="980"/>
                    </a:lnTo>
                    <a:lnTo>
                      <a:pt x="895" y="986"/>
                    </a:lnTo>
                    <a:lnTo>
                      <a:pt x="892" y="993"/>
                    </a:lnTo>
                    <a:lnTo>
                      <a:pt x="886" y="1004"/>
                    </a:lnTo>
                    <a:lnTo>
                      <a:pt x="876" y="1015"/>
                    </a:lnTo>
                    <a:lnTo>
                      <a:pt x="870" y="1028"/>
                    </a:lnTo>
                    <a:lnTo>
                      <a:pt x="857" y="1063"/>
                    </a:lnTo>
                    <a:lnTo>
                      <a:pt x="847" y="1086"/>
                    </a:lnTo>
                    <a:lnTo>
                      <a:pt x="836" y="1110"/>
                    </a:lnTo>
                    <a:lnTo>
                      <a:pt x="829" y="1123"/>
                    </a:lnTo>
                    <a:lnTo>
                      <a:pt x="823" y="1134"/>
                    </a:lnTo>
                    <a:lnTo>
                      <a:pt x="815" y="1142"/>
                    </a:lnTo>
                    <a:lnTo>
                      <a:pt x="809" y="1147"/>
                    </a:lnTo>
                    <a:lnTo>
                      <a:pt x="805" y="1139"/>
                    </a:lnTo>
                    <a:lnTo>
                      <a:pt x="802" y="1131"/>
                    </a:lnTo>
                    <a:lnTo>
                      <a:pt x="789" y="1113"/>
                    </a:lnTo>
                    <a:lnTo>
                      <a:pt x="764" y="1084"/>
                    </a:lnTo>
                    <a:lnTo>
                      <a:pt x="757" y="1070"/>
                    </a:lnTo>
                    <a:lnTo>
                      <a:pt x="754" y="1065"/>
                    </a:lnTo>
                    <a:lnTo>
                      <a:pt x="749" y="1063"/>
                    </a:lnTo>
                    <a:lnTo>
                      <a:pt x="745" y="1062"/>
                    </a:lnTo>
                    <a:lnTo>
                      <a:pt x="740" y="1058"/>
                    </a:lnTo>
                    <a:lnTo>
                      <a:pt x="730" y="1033"/>
                    </a:lnTo>
                    <a:lnTo>
                      <a:pt x="722" y="1006"/>
                    </a:lnTo>
                    <a:lnTo>
                      <a:pt x="717" y="978"/>
                    </a:lnTo>
                    <a:lnTo>
                      <a:pt x="714" y="950"/>
                    </a:lnTo>
                    <a:lnTo>
                      <a:pt x="714" y="919"/>
                    </a:lnTo>
                    <a:lnTo>
                      <a:pt x="716" y="889"/>
                    </a:lnTo>
                    <a:lnTo>
                      <a:pt x="721" y="860"/>
                    </a:lnTo>
                    <a:lnTo>
                      <a:pt x="727" y="829"/>
                    </a:lnTo>
                    <a:lnTo>
                      <a:pt x="732" y="796"/>
                    </a:lnTo>
                    <a:lnTo>
                      <a:pt x="738" y="775"/>
                    </a:lnTo>
                    <a:lnTo>
                      <a:pt x="741" y="764"/>
                    </a:lnTo>
                    <a:lnTo>
                      <a:pt x="745" y="754"/>
                    </a:lnTo>
                    <a:lnTo>
                      <a:pt x="753" y="745"/>
                    </a:lnTo>
                    <a:lnTo>
                      <a:pt x="756" y="740"/>
                    </a:lnTo>
                    <a:lnTo>
                      <a:pt x="759" y="732"/>
                    </a:lnTo>
                    <a:lnTo>
                      <a:pt x="764" y="737"/>
                    </a:lnTo>
                    <a:lnTo>
                      <a:pt x="769" y="743"/>
                    </a:lnTo>
                    <a:lnTo>
                      <a:pt x="780" y="764"/>
                    </a:lnTo>
                    <a:lnTo>
                      <a:pt x="801" y="801"/>
                    </a:lnTo>
                    <a:lnTo>
                      <a:pt x="810" y="815"/>
                    </a:lnTo>
                    <a:lnTo>
                      <a:pt x="821" y="826"/>
                    </a:lnTo>
                    <a:lnTo>
                      <a:pt x="833" y="839"/>
                    </a:lnTo>
                    <a:lnTo>
                      <a:pt x="842" y="852"/>
                    </a:lnTo>
                    <a:lnTo>
                      <a:pt x="852" y="871"/>
                    </a:lnTo>
                    <a:lnTo>
                      <a:pt x="860" y="889"/>
                    </a:lnTo>
                    <a:lnTo>
                      <a:pt x="868" y="908"/>
                    </a:lnTo>
                    <a:lnTo>
                      <a:pt x="878" y="926"/>
                    </a:lnTo>
                    <a:lnTo>
                      <a:pt x="884" y="937"/>
                    </a:lnTo>
                    <a:lnTo>
                      <a:pt x="892" y="950"/>
                    </a:lnTo>
                    <a:lnTo>
                      <a:pt x="895" y="956"/>
                    </a:lnTo>
                    <a:lnTo>
                      <a:pt x="898" y="964"/>
                    </a:lnTo>
                    <a:lnTo>
                      <a:pt x="898" y="972"/>
                    </a:lnTo>
                    <a:lnTo>
                      <a:pt x="898" y="980"/>
                    </a:lnTo>
                    <a:close/>
                  </a:path>
                </a:pathLst>
              </a:custGeom>
              <a:solidFill>
                <a:schemeClr val="accent5"/>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12" name="Gruppieren 33"/>
            <p:cNvGrpSpPr/>
            <p:nvPr/>
          </p:nvGrpSpPr>
          <p:grpSpPr>
            <a:xfrm>
              <a:off x="3128576" y="2594981"/>
              <a:ext cx="939368" cy="1409690"/>
              <a:chOff x="3506739" y="2431056"/>
              <a:chExt cx="939368" cy="1409690"/>
            </a:xfrm>
          </p:grpSpPr>
          <p:sp>
            <p:nvSpPr>
              <p:cNvPr id="16" name="Ellipse 4"/>
              <p:cNvSpPr/>
              <p:nvPr/>
            </p:nvSpPr>
            <p:spPr>
              <a:xfrm>
                <a:off x="3506739" y="3579680"/>
                <a:ext cx="939368" cy="261066"/>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Freeform 10"/>
              <p:cNvSpPr>
                <a:spLocks noEditPoints="1"/>
              </p:cNvSpPr>
              <p:nvPr/>
            </p:nvSpPr>
            <p:spPr bwMode="auto">
              <a:xfrm rot="21317180">
                <a:off x="3760248" y="2431056"/>
                <a:ext cx="427798" cy="1291552"/>
              </a:xfrm>
              <a:custGeom>
                <a:avLst/>
                <a:gdLst>
                  <a:gd name="T0" fmla="*/ 879 w 943"/>
                  <a:gd name="T1" fmla="*/ 962 h 2850"/>
                  <a:gd name="T2" fmla="*/ 897 w 943"/>
                  <a:gd name="T3" fmla="*/ 760 h 2850"/>
                  <a:gd name="T4" fmla="*/ 881 w 943"/>
                  <a:gd name="T5" fmla="*/ 603 h 2850"/>
                  <a:gd name="T6" fmla="*/ 796 w 943"/>
                  <a:gd name="T7" fmla="*/ 525 h 2850"/>
                  <a:gd name="T8" fmla="*/ 679 w 943"/>
                  <a:gd name="T9" fmla="*/ 443 h 2850"/>
                  <a:gd name="T10" fmla="*/ 696 w 943"/>
                  <a:gd name="T11" fmla="*/ 371 h 2850"/>
                  <a:gd name="T12" fmla="*/ 740 w 943"/>
                  <a:gd name="T13" fmla="*/ 282 h 2850"/>
                  <a:gd name="T14" fmla="*/ 720 w 943"/>
                  <a:gd name="T15" fmla="*/ 136 h 2850"/>
                  <a:gd name="T16" fmla="*/ 685 w 943"/>
                  <a:gd name="T17" fmla="*/ 65 h 2850"/>
                  <a:gd name="T18" fmla="*/ 652 w 943"/>
                  <a:gd name="T19" fmla="*/ 16 h 2850"/>
                  <a:gd name="T20" fmla="*/ 533 w 943"/>
                  <a:gd name="T21" fmla="*/ 6 h 2850"/>
                  <a:gd name="T22" fmla="*/ 431 w 943"/>
                  <a:gd name="T23" fmla="*/ 61 h 2850"/>
                  <a:gd name="T24" fmla="*/ 418 w 943"/>
                  <a:gd name="T25" fmla="*/ 205 h 2850"/>
                  <a:gd name="T26" fmla="*/ 493 w 943"/>
                  <a:gd name="T27" fmla="*/ 350 h 2850"/>
                  <a:gd name="T28" fmla="*/ 455 w 943"/>
                  <a:gd name="T29" fmla="*/ 419 h 2850"/>
                  <a:gd name="T30" fmla="*/ 416 w 943"/>
                  <a:gd name="T31" fmla="*/ 440 h 2850"/>
                  <a:gd name="T32" fmla="*/ 320 w 943"/>
                  <a:gd name="T33" fmla="*/ 483 h 2850"/>
                  <a:gd name="T34" fmla="*/ 218 w 943"/>
                  <a:gd name="T35" fmla="*/ 551 h 2850"/>
                  <a:gd name="T36" fmla="*/ 163 w 943"/>
                  <a:gd name="T37" fmla="*/ 722 h 2850"/>
                  <a:gd name="T38" fmla="*/ 150 w 943"/>
                  <a:gd name="T39" fmla="*/ 922 h 2850"/>
                  <a:gd name="T40" fmla="*/ 136 w 943"/>
                  <a:gd name="T41" fmla="*/ 1266 h 2850"/>
                  <a:gd name="T42" fmla="*/ 141 w 943"/>
                  <a:gd name="T43" fmla="*/ 1473 h 2850"/>
                  <a:gd name="T44" fmla="*/ 149 w 943"/>
                  <a:gd name="T45" fmla="*/ 1604 h 2850"/>
                  <a:gd name="T46" fmla="*/ 197 w 943"/>
                  <a:gd name="T47" fmla="*/ 1934 h 2850"/>
                  <a:gd name="T48" fmla="*/ 133 w 943"/>
                  <a:gd name="T49" fmla="*/ 2190 h 2850"/>
                  <a:gd name="T50" fmla="*/ 53 w 943"/>
                  <a:gd name="T51" fmla="*/ 2663 h 2850"/>
                  <a:gd name="T52" fmla="*/ 14 w 943"/>
                  <a:gd name="T53" fmla="*/ 2796 h 2850"/>
                  <a:gd name="T54" fmla="*/ 94 w 943"/>
                  <a:gd name="T55" fmla="*/ 2850 h 2850"/>
                  <a:gd name="T56" fmla="*/ 179 w 943"/>
                  <a:gd name="T57" fmla="*/ 2812 h 2850"/>
                  <a:gd name="T58" fmla="*/ 243 w 943"/>
                  <a:gd name="T59" fmla="*/ 2720 h 2850"/>
                  <a:gd name="T60" fmla="*/ 266 w 943"/>
                  <a:gd name="T61" fmla="*/ 2616 h 2850"/>
                  <a:gd name="T62" fmla="*/ 399 w 943"/>
                  <a:gd name="T63" fmla="*/ 2099 h 2850"/>
                  <a:gd name="T64" fmla="*/ 472 w 943"/>
                  <a:gd name="T65" fmla="*/ 1776 h 2850"/>
                  <a:gd name="T66" fmla="*/ 523 w 943"/>
                  <a:gd name="T67" fmla="*/ 1691 h 2850"/>
                  <a:gd name="T68" fmla="*/ 519 w 943"/>
                  <a:gd name="T69" fmla="*/ 1878 h 2850"/>
                  <a:gd name="T70" fmla="*/ 483 w 943"/>
                  <a:gd name="T71" fmla="*/ 2217 h 2850"/>
                  <a:gd name="T72" fmla="*/ 443 w 943"/>
                  <a:gd name="T73" fmla="*/ 2507 h 2850"/>
                  <a:gd name="T74" fmla="*/ 413 w 943"/>
                  <a:gd name="T75" fmla="*/ 2765 h 2850"/>
                  <a:gd name="T76" fmla="*/ 499 w 943"/>
                  <a:gd name="T77" fmla="*/ 2791 h 2850"/>
                  <a:gd name="T78" fmla="*/ 576 w 943"/>
                  <a:gd name="T79" fmla="*/ 2837 h 2850"/>
                  <a:gd name="T80" fmla="*/ 671 w 943"/>
                  <a:gd name="T81" fmla="*/ 2799 h 2850"/>
                  <a:gd name="T82" fmla="*/ 615 w 943"/>
                  <a:gd name="T83" fmla="*/ 2696 h 2850"/>
                  <a:gd name="T84" fmla="*/ 666 w 943"/>
                  <a:gd name="T85" fmla="*/ 2445 h 2850"/>
                  <a:gd name="T86" fmla="*/ 696 w 943"/>
                  <a:gd name="T87" fmla="*/ 2192 h 2850"/>
                  <a:gd name="T88" fmla="*/ 829 w 943"/>
                  <a:gd name="T89" fmla="*/ 1580 h 2850"/>
                  <a:gd name="T90" fmla="*/ 841 w 943"/>
                  <a:gd name="T91" fmla="*/ 1345 h 2850"/>
                  <a:gd name="T92" fmla="*/ 858 w 943"/>
                  <a:gd name="T93" fmla="*/ 1436 h 2850"/>
                  <a:gd name="T94" fmla="*/ 857 w 943"/>
                  <a:gd name="T95" fmla="*/ 1507 h 2850"/>
                  <a:gd name="T96" fmla="*/ 876 w 943"/>
                  <a:gd name="T97" fmla="*/ 1585 h 2850"/>
                  <a:gd name="T98" fmla="*/ 841 w 943"/>
                  <a:gd name="T99" fmla="*/ 1659 h 2850"/>
                  <a:gd name="T100" fmla="*/ 927 w 943"/>
                  <a:gd name="T101" fmla="*/ 1599 h 2850"/>
                  <a:gd name="T102" fmla="*/ 937 w 943"/>
                  <a:gd name="T103" fmla="*/ 1442 h 2850"/>
                  <a:gd name="T104" fmla="*/ 259 w 943"/>
                  <a:gd name="T105" fmla="*/ 1295 h 2850"/>
                  <a:gd name="T106" fmla="*/ 245 w 943"/>
                  <a:gd name="T107" fmla="*/ 1402 h 2850"/>
                  <a:gd name="T108" fmla="*/ 240 w 943"/>
                  <a:gd name="T109" fmla="*/ 1390 h 2850"/>
                  <a:gd name="T110" fmla="*/ 290 w 943"/>
                  <a:gd name="T111" fmla="*/ 888 h 2850"/>
                  <a:gd name="T112" fmla="*/ 315 w 943"/>
                  <a:gd name="T113" fmla="*/ 1015 h 2850"/>
                  <a:gd name="T114" fmla="*/ 310 w 943"/>
                  <a:gd name="T115" fmla="*/ 1119 h 28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43"/>
                  <a:gd name="T175" fmla="*/ 0 h 2850"/>
                  <a:gd name="T176" fmla="*/ 943 w 943"/>
                  <a:gd name="T177" fmla="*/ 2850 h 285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43" h="2850">
                    <a:moveTo>
                      <a:pt x="937" y="1442"/>
                    </a:moveTo>
                    <a:lnTo>
                      <a:pt x="937" y="1442"/>
                    </a:lnTo>
                    <a:lnTo>
                      <a:pt x="916" y="1241"/>
                    </a:lnTo>
                    <a:lnTo>
                      <a:pt x="911" y="1141"/>
                    </a:lnTo>
                    <a:lnTo>
                      <a:pt x="895" y="1055"/>
                    </a:lnTo>
                    <a:lnTo>
                      <a:pt x="887" y="1010"/>
                    </a:lnTo>
                    <a:lnTo>
                      <a:pt x="879" y="962"/>
                    </a:lnTo>
                    <a:lnTo>
                      <a:pt x="874" y="914"/>
                    </a:lnTo>
                    <a:lnTo>
                      <a:pt x="873" y="866"/>
                    </a:lnTo>
                    <a:lnTo>
                      <a:pt x="873" y="842"/>
                    </a:lnTo>
                    <a:lnTo>
                      <a:pt x="874" y="816"/>
                    </a:lnTo>
                    <a:lnTo>
                      <a:pt x="877" y="792"/>
                    </a:lnTo>
                    <a:lnTo>
                      <a:pt x="881" y="770"/>
                    </a:lnTo>
                    <a:lnTo>
                      <a:pt x="889" y="765"/>
                    </a:lnTo>
                    <a:lnTo>
                      <a:pt x="897" y="760"/>
                    </a:lnTo>
                    <a:lnTo>
                      <a:pt x="905" y="754"/>
                    </a:lnTo>
                    <a:lnTo>
                      <a:pt x="906" y="751"/>
                    </a:lnTo>
                    <a:lnTo>
                      <a:pt x="908" y="746"/>
                    </a:lnTo>
                    <a:lnTo>
                      <a:pt x="901" y="723"/>
                    </a:lnTo>
                    <a:lnTo>
                      <a:pt x="897" y="701"/>
                    </a:lnTo>
                    <a:lnTo>
                      <a:pt x="889" y="651"/>
                    </a:lnTo>
                    <a:lnTo>
                      <a:pt x="885" y="627"/>
                    </a:lnTo>
                    <a:lnTo>
                      <a:pt x="881" y="603"/>
                    </a:lnTo>
                    <a:lnTo>
                      <a:pt x="874" y="583"/>
                    </a:lnTo>
                    <a:lnTo>
                      <a:pt x="869" y="575"/>
                    </a:lnTo>
                    <a:lnTo>
                      <a:pt x="863" y="565"/>
                    </a:lnTo>
                    <a:lnTo>
                      <a:pt x="853" y="555"/>
                    </a:lnTo>
                    <a:lnTo>
                      <a:pt x="844" y="546"/>
                    </a:lnTo>
                    <a:lnTo>
                      <a:pt x="833" y="539"/>
                    </a:lnTo>
                    <a:lnTo>
                      <a:pt x="821" y="533"/>
                    </a:lnTo>
                    <a:lnTo>
                      <a:pt x="796" y="525"/>
                    </a:lnTo>
                    <a:lnTo>
                      <a:pt x="770" y="519"/>
                    </a:lnTo>
                    <a:lnTo>
                      <a:pt x="745" y="509"/>
                    </a:lnTo>
                    <a:lnTo>
                      <a:pt x="732" y="503"/>
                    </a:lnTo>
                    <a:lnTo>
                      <a:pt x="720" y="496"/>
                    </a:lnTo>
                    <a:lnTo>
                      <a:pt x="708" y="486"/>
                    </a:lnTo>
                    <a:lnTo>
                      <a:pt x="698" y="475"/>
                    </a:lnTo>
                    <a:lnTo>
                      <a:pt x="687" y="461"/>
                    </a:lnTo>
                    <a:lnTo>
                      <a:pt x="679" y="443"/>
                    </a:lnTo>
                    <a:lnTo>
                      <a:pt x="674" y="432"/>
                    </a:lnTo>
                    <a:lnTo>
                      <a:pt x="671" y="416"/>
                    </a:lnTo>
                    <a:lnTo>
                      <a:pt x="669" y="400"/>
                    </a:lnTo>
                    <a:lnTo>
                      <a:pt x="671" y="392"/>
                    </a:lnTo>
                    <a:lnTo>
                      <a:pt x="672" y="384"/>
                    </a:lnTo>
                    <a:lnTo>
                      <a:pt x="677" y="379"/>
                    </a:lnTo>
                    <a:lnTo>
                      <a:pt x="684" y="376"/>
                    </a:lnTo>
                    <a:lnTo>
                      <a:pt x="696" y="371"/>
                    </a:lnTo>
                    <a:lnTo>
                      <a:pt x="703" y="368"/>
                    </a:lnTo>
                    <a:lnTo>
                      <a:pt x="709" y="365"/>
                    </a:lnTo>
                    <a:lnTo>
                      <a:pt x="716" y="362"/>
                    </a:lnTo>
                    <a:lnTo>
                      <a:pt x="719" y="355"/>
                    </a:lnTo>
                    <a:lnTo>
                      <a:pt x="725" y="342"/>
                    </a:lnTo>
                    <a:lnTo>
                      <a:pt x="730" y="325"/>
                    </a:lnTo>
                    <a:lnTo>
                      <a:pt x="735" y="304"/>
                    </a:lnTo>
                    <a:lnTo>
                      <a:pt x="740" y="282"/>
                    </a:lnTo>
                    <a:lnTo>
                      <a:pt x="741" y="261"/>
                    </a:lnTo>
                    <a:lnTo>
                      <a:pt x="741" y="238"/>
                    </a:lnTo>
                    <a:lnTo>
                      <a:pt x="741" y="219"/>
                    </a:lnTo>
                    <a:lnTo>
                      <a:pt x="736" y="203"/>
                    </a:lnTo>
                    <a:lnTo>
                      <a:pt x="716" y="171"/>
                    </a:lnTo>
                    <a:lnTo>
                      <a:pt x="720" y="136"/>
                    </a:lnTo>
                    <a:lnTo>
                      <a:pt x="719" y="129"/>
                    </a:lnTo>
                    <a:lnTo>
                      <a:pt x="714" y="123"/>
                    </a:lnTo>
                    <a:lnTo>
                      <a:pt x="704" y="107"/>
                    </a:lnTo>
                    <a:lnTo>
                      <a:pt x="695" y="93"/>
                    </a:lnTo>
                    <a:lnTo>
                      <a:pt x="687" y="80"/>
                    </a:lnTo>
                    <a:lnTo>
                      <a:pt x="685" y="77"/>
                    </a:lnTo>
                    <a:lnTo>
                      <a:pt x="685" y="73"/>
                    </a:lnTo>
                    <a:lnTo>
                      <a:pt x="685" y="65"/>
                    </a:lnTo>
                    <a:lnTo>
                      <a:pt x="687" y="59"/>
                    </a:lnTo>
                    <a:lnTo>
                      <a:pt x="687" y="54"/>
                    </a:lnTo>
                    <a:lnTo>
                      <a:pt x="685" y="49"/>
                    </a:lnTo>
                    <a:lnTo>
                      <a:pt x="680" y="43"/>
                    </a:lnTo>
                    <a:lnTo>
                      <a:pt x="676" y="35"/>
                    </a:lnTo>
                    <a:lnTo>
                      <a:pt x="671" y="30"/>
                    </a:lnTo>
                    <a:lnTo>
                      <a:pt x="664" y="24"/>
                    </a:lnTo>
                    <a:lnTo>
                      <a:pt x="652" y="16"/>
                    </a:lnTo>
                    <a:lnTo>
                      <a:pt x="634" y="9"/>
                    </a:lnTo>
                    <a:lnTo>
                      <a:pt x="616" y="4"/>
                    </a:lnTo>
                    <a:lnTo>
                      <a:pt x="596" y="1"/>
                    </a:lnTo>
                    <a:lnTo>
                      <a:pt x="575" y="0"/>
                    </a:lnTo>
                    <a:lnTo>
                      <a:pt x="551" y="0"/>
                    </a:lnTo>
                    <a:lnTo>
                      <a:pt x="548" y="3"/>
                    </a:lnTo>
                    <a:lnTo>
                      <a:pt x="543" y="4"/>
                    </a:lnTo>
                    <a:lnTo>
                      <a:pt x="533" y="6"/>
                    </a:lnTo>
                    <a:lnTo>
                      <a:pt x="523" y="6"/>
                    </a:lnTo>
                    <a:lnTo>
                      <a:pt x="512" y="9"/>
                    </a:lnTo>
                    <a:lnTo>
                      <a:pt x="491" y="17"/>
                    </a:lnTo>
                    <a:lnTo>
                      <a:pt x="467" y="30"/>
                    </a:lnTo>
                    <a:lnTo>
                      <a:pt x="456" y="37"/>
                    </a:lnTo>
                    <a:lnTo>
                      <a:pt x="447" y="45"/>
                    </a:lnTo>
                    <a:lnTo>
                      <a:pt x="437" y="53"/>
                    </a:lnTo>
                    <a:lnTo>
                      <a:pt x="431" y="61"/>
                    </a:lnTo>
                    <a:lnTo>
                      <a:pt x="424" y="73"/>
                    </a:lnTo>
                    <a:lnTo>
                      <a:pt x="419" y="86"/>
                    </a:lnTo>
                    <a:lnTo>
                      <a:pt x="416" y="99"/>
                    </a:lnTo>
                    <a:lnTo>
                      <a:pt x="413" y="113"/>
                    </a:lnTo>
                    <a:lnTo>
                      <a:pt x="413" y="128"/>
                    </a:lnTo>
                    <a:lnTo>
                      <a:pt x="411" y="144"/>
                    </a:lnTo>
                    <a:lnTo>
                      <a:pt x="413" y="174"/>
                    </a:lnTo>
                    <a:lnTo>
                      <a:pt x="418" y="205"/>
                    </a:lnTo>
                    <a:lnTo>
                      <a:pt x="426" y="233"/>
                    </a:lnTo>
                    <a:lnTo>
                      <a:pt x="435" y="259"/>
                    </a:lnTo>
                    <a:lnTo>
                      <a:pt x="447" y="280"/>
                    </a:lnTo>
                    <a:lnTo>
                      <a:pt x="477" y="312"/>
                    </a:lnTo>
                    <a:lnTo>
                      <a:pt x="483" y="323"/>
                    </a:lnTo>
                    <a:lnTo>
                      <a:pt x="488" y="338"/>
                    </a:lnTo>
                    <a:lnTo>
                      <a:pt x="493" y="350"/>
                    </a:lnTo>
                    <a:lnTo>
                      <a:pt x="499" y="362"/>
                    </a:lnTo>
                    <a:lnTo>
                      <a:pt x="488" y="405"/>
                    </a:lnTo>
                    <a:lnTo>
                      <a:pt x="482" y="408"/>
                    </a:lnTo>
                    <a:lnTo>
                      <a:pt x="477" y="411"/>
                    </a:lnTo>
                    <a:lnTo>
                      <a:pt x="474" y="414"/>
                    </a:lnTo>
                    <a:lnTo>
                      <a:pt x="471" y="419"/>
                    </a:lnTo>
                    <a:lnTo>
                      <a:pt x="455" y="419"/>
                    </a:lnTo>
                    <a:lnTo>
                      <a:pt x="451" y="422"/>
                    </a:lnTo>
                    <a:lnTo>
                      <a:pt x="450" y="427"/>
                    </a:lnTo>
                    <a:lnTo>
                      <a:pt x="448" y="430"/>
                    </a:lnTo>
                    <a:lnTo>
                      <a:pt x="447" y="435"/>
                    </a:lnTo>
                    <a:lnTo>
                      <a:pt x="443" y="437"/>
                    </a:lnTo>
                    <a:lnTo>
                      <a:pt x="416" y="440"/>
                    </a:lnTo>
                    <a:lnTo>
                      <a:pt x="405" y="448"/>
                    </a:lnTo>
                    <a:lnTo>
                      <a:pt x="392" y="458"/>
                    </a:lnTo>
                    <a:lnTo>
                      <a:pt x="381" y="467"/>
                    </a:lnTo>
                    <a:lnTo>
                      <a:pt x="368" y="475"/>
                    </a:lnTo>
                    <a:lnTo>
                      <a:pt x="367" y="477"/>
                    </a:lnTo>
                    <a:lnTo>
                      <a:pt x="320" y="483"/>
                    </a:lnTo>
                    <a:lnTo>
                      <a:pt x="302" y="490"/>
                    </a:lnTo>
                    <a:lnTo>
                      <a:pt x="286" y="494"/>
                    </a:lnTo>
                    <a:lnTo>
                      <a:pt x="272" y="501"/>
                    </a:lnTo>
                    <a:lnTo>
                      <a:pt x="259" y="509"/>
                    </a:lnTo>
                    <a:lnTo>
                      <a:pt x="248" y="517"/>
                    </a:lnTo>
                    <a:lnTo>
                      <a:pt x="237" y="527"/>
                    </a:lnTo>
                    <a:lnTo>
                      <a:pt x="227" y="538"/>
                    </a:lnTo>
                    <a:lnTo>
                      <a:pt x="218" y="551"/>
                    </a:lnTo>
                    <a:lnTo>
                      <a:pt x="208" y="565"/>
                    </a:lnTo>
                    <a:lnTo>
                      <a:pt x="200" y="583"/>
                    </a:lnTo>
                    <a:lnTo>
                      <a:pt x="192" y="602"/>
                    </a:lnTo>
                    <a:lnTo>
                      <a:pt x="186" y="623"/>
                    </a:lnTo>
                    <a:lnTo>
                      <a:pt x="174" y="664"/>
                    </a:lnTo>
                    <a:lnTo>
                      <a:pt x="166" y="704"/>
                    </a:lnTo>
                    <a:lnTo>
                      <a:pt x="163" y="722"/>
                    </a:lnTo>
                    <a:lnTo>
                      <a:pt x="165" y="739"/>
                    </a:lnTo>
                    <a:lnTo>
                      <a:pt x="165" y="759"/>
                    </a:lnTo>
                    <a:lnTo>
                      <a:pt x="163" y="778"/>
                    </a:lnTo>
                    <a:lnTo>
                      <a:pt x="160" y="796"/>
                    </a:lnTo>
                    <a:lnTo>
                      <a:pt x="158" y="816"/>
                    </a:lnTo>
                    <a:lnTo>
                      <a:pt x="155" y="858"/>
                    </a:lnTo>
                    <a:lnTo>
                      <a:pt x="152" y="901"/>
                    </a:lnTo>
                    <a:lnTo>
                      <a:pt x="150" y="922"/>
                    </a:lnTo>
                    <a:lnTo>
                      <a:pt x="147" y="943"/>
                    </a:lnTo>
                    <a:lnTo>
                      <a:pt x="141" y="986"/>
                    </a:lnTo>
                    <a:lnTo>
                      <a:pt x="134" y="1031"/>
                    </a:lnTo>
                    <a:lnTo>
                      <a:pt x="131" y="1077"/>
                    </a:lnTo>
                    <a:lnTo>
                      <a:pt x="128" y="1125"/>
                    </a:lnTo>
                    <a:lnTo>
                      <a:pt x="128" y="1173"/>
                    </a:lnTo>
                    <a:lnTo>
                      <a:pt x="131" y="1221"/>
                    </a:lnTo>
                    <a:lnTo>
                      <a:pt x="136" y="1266"/>
                    </a:lnTo>
                    <a:lnTo>
                      <a:pt x="142" y="1310"/>
                    </a:lnTo>
                    <a:lnTo>
                      <a:pt x="146" y="1338"/>
                    </a:lnTo>
                    <a:lnTo>
                      <a:pt x="147" y="1382"/>
                    </a:lnTo>
                    <a:lnTo>
                      <a:pt x="149" y="1422"/>
                    </a:lnTo>
                    <a:lnTo>
                      <a:pt x="149" y="1438"/>
                    </a:lnTo>
                    <a:lnTo>
                      <a:pt x="147" y="1447"/>
                    </a:lnTo>
                    <a:lnTo>
                      <a:pt x="141" y="1473"/>
                    </a:lnTo>
                    <a:lnTo>
                      <a:pt x="133" y="1510"/>
                    </a:lnTo>
                    <a:lnTo>
                      <a:pt x="130" y="1529"/>
                    </a:lnTo>
                    <a:lnTo>
                      <a:pt x="128" y="1548"/>
                    </a:lnTo>
                    <a:lnTo>
                      <a:pt x="130" y="1566"/>
                    </a:lnTo>
                    <a:lnTo>
                      <a:pt x="131" y="1574"/>
                    </a:lnTo>
                    <a:lnTo>
                      <a:pt x="134" y="1582"/>
                    </a:lnTo>
                    <a:lnTo>
                      <a:pt x="141" y="1593"/>
                    </a:lnTo>
                    <a:lnTo>
                      <a:pt x="149" y="1604"/>
                    </a:lnTo>
                    <a:lnTo>
                      <a:pt x="158" y="1615"/>
                    </a:lnTo>
                    <a:lnTo>
                      <a:pt x="168" y="1625"/>
                    </a:lnTo>
                    <a:lnTo>
                      <a:pt x="190" y="1646"/>
                    </a:lnTo>
                    <a:lnTo>
                      <a:pt x="210" y="1663"/>
                    </a:lnTo>
                    <a:lnTo>
                      <a:pt x="194" y="1852"/>
                    </a:lnTo>
                    <a:lnTo>
                      <a:pt x="197" y="1934"/>
                    </a:lnTo>
                    <a:lnTo>
                      <a:pt x="178" y="1964"/>
                    </a:lnTo>
                    <a:lnTo>
                      <a:pt x="174" y="1990"/>
                    </a:lnTo>
                    <a:lnTo>
                      <a:pt x="152" y="2032"/>
                    </a:lnTo>
                    <a:lnTo>
                      <a:pt x="147" y="2123"/>
                    </a:lnTo>
                    <a:lnTo>
                      <a:pt x="133" y="2190"/>
                    </a:lnTo>
                    <a:lnTo>
                      <a:pt x="120" y="2261"/>
                    </a:lnTo>
                    <a:lnTo>
                      <a:pt x="94" y="2402"/>
                    </a:lnTo>
                    <a:lnTo>
                      <a:pt x="85" y="2451"/>
                    </a:lnTo>
                    <a:lnTo>
                      <a:pt x="78" y="2501"/>
                    </a:lnTo>
                    <a:lnTo>
                      <a:pt x="72" y="2551"/>
                    </a:lnTo>
                    <a:lnTo>
                      <a:pt x="64" y="2603"/>
                    </a:lnTo>
                    <a:lnTo>
                      <a:pt x="53" y="2663"/>
                    </a:lnTo>
                    <a:lnTo>
                      <a:pt x="75" y="2691"/>
                    </a:lnTo>
                    <a:lnTo>
                      <a:pt x="64" y="2725"/>
                    </a:lnTo>
                    <a:lnTo>
                      <a:pt x="56" y="2736"/>
                    </a:lnTo>
                    <a:lnTo>
                      <a:pt x="46" y="2749"/>
                    </a:lnTo>
                    <a:lnTo>
                      <a:pt x="24" y="2780"/>
                    </a:lnTo>
                    <a:lnTo>
                      <a:pt x="14" y="2796"/>
                    </a:lnTo>
                    <a:lnTo>
                      <a:pt x="5" y="2812"/>
                    </a:lnTo>
                    <a:lnTo>
                      <a:pt x="3" y="2820"/>
                    </a:lnTo>
                    <a:lnTo>
                      <a:pt x="1" y="2828"/>
                    </a:lnTo>
                    <a:lnTo>
                      <a:pt x="0" y="2836"/>
                    </a:lnTo>
                    <a:lnTo>
                      <a:pt x="1" y="2844"/>
                    </a:lnTo>
                    <a:lnTo>
                      <a:pt x="46" y="2848"/>
                    </a:lnTo>
                    <a:lnTo>
                      <a:pt x="70" y="2850"/>
                    </a:lnTo>
                    <a:lnTo>
                      <a:pt x="94" y="2850"/>
                    </a:lnTo>
                    <a:lnTo>
                      <a:pt x="118" y="2850"/>
                    </a:lnTo>
                    <a:lnTo>
                      <a:pt x="141" y="2848"/>
                    </a:lnTo>
                    <a:lnTo>
                      <a:pt x="162" y="2844"/>
                    </a:lnTo>
                    <a:lnTo>
                      <a:pt x="181" y="2839"/>
                    </a:lnTo>
                    <a:lnTo>
                      <a:pt x="179" y="2826"/>
                    </a:lnTo>
                    <a:lnTo>
                      <a:pt x="178" y="2813"/>
                    </a:lnTo>
                    <a:lnTo>
                      <a:pt x="179" y="2812"/>
                    </a:lnTo>
                    <a:lnTo>
                      <a:pt x="202" y="2810"/>
                    </a:lnTo>
                    <a:lnTo>
                      <a:pt x="222" y="2807"/>
                    </a:lnTo>
                    <a:lnTo>
                      <a:pt x="230" y="2804"/>
                    </a:lnTo>
                    <a:lnTo>
                      <a:pt x="238" y="2800"/>
                    </a:lnTo>
                    <a:lnTo>
                      <a:pt x="246" y="2796"/>
                    </a:lnTo>
                    <a:lnTo>
                      <a:pt x="254" y="2789"/>
                    </a:lnTo>
                    <a:lnTo>
                      <a:pt x="243" y="2720"/>
                    </a:lnTo>
                    <a:lnTo>
                      <a:pt x="259" y="2701"/>
                    </a:lnTo>
                    <a:lnTo>
                      <a:pt x="262" y="2690"/>
                    </a:lnTo>
                    <a:lnTo>
                      <a:pt x="264" y="2679"/>
                    </a:lnTo>
                    <a:lnTo>
                      <a:pt x="264" y="2658"/>
                    </a:lnTo>
                    <a:lnTo>
                      <a:pt x="264" y="2637"/>
                    </a:lnTo>
                    <a:lnTo>
                      <a:pt x="264" y="2626"/>
                    </a:lnTo>
                    <a:lnTo>
                      <a:pt x="266" y="2616"/>
                    </a:lnTo>
                    <a:lnTo>
                      <a:pt x="283" y="2536"/>
                    </a:lnTo>
                    <a:lnTo>
                      <a:pt x="301" y="2454"/>
                    </a:lnTo>
                    <a:lnTo>
                      <a:pt x="318" y="2374"/>
                    </a:lnTo>
                    <a:lnTo>
                      <a:pt x="336" y="2299"/>
                    </a:lnTo>
                    <a:lnTo>
                      <a:pt x="367" y="2166"/>
                    </a:lnTo>
                    <a:lnTo>
                      <a:pt x="399" y="2099"/>
                    </a:lnTo>
                    <a:lnTo>
                      <a:pt x="413" y="2064"/>
                    </a:lnTo>
                    <a:lnTo>
                      <a:pt x="419" y="2045"/>
                    </a:lnTo>
                    <a:lnTo>
                      <a:pt x="426" y="2025"/>
                    </a:lnTo>
                    <a:lnTo>
                      <a:pt x="440" y="1905"/>
                    </a:lnTo>
                    <a:lnTo>
                      <a:pt x="455" y="1843"/>
                    </a:lnTo>
                    <a:lnTo>
                      <a:pt x="463" y="1809"/>
                    </a:lnTo>
                    <a:lnTo>
                      <a:pt x="472" y="1776"/>
                    </a:lnTo>
                    <a:lnTo>
                      <a:pt x="482" y="1742"/>
                    </a:lnTo>
                    <a:lnTo>
                      <a:pt x="493" y="1711"/>
                    </a:lnTo>
                    <a:lnTo>
                      <a:pt x="506" y="1684"/>
                    </a:lnTo>
                    <a:lnTo>
                      <a:pt x="514" y="1671"/>
                    </a:lnTo>
                    <a:lnTo>
                      <a:pt x="520" y="1662"/>
                    </a:lnTo>
                    <a:lnTo>
                      <a:pt x="523" y="1663"/>
                    </a:lnTo>
                    <a:lnTo>
                      <a:pt x="523" y="1691"/>
                    </a:lnTo>
                    <a:lnTo>
                      <a:pt x="522" y="1721"/>
                    </a:lnTo>
                    <a:lnTo>
                      <a:pt x="517" y="1750"/>
                    </a:lnTo>
                    <a:lnTo>
                      <a:pt x="512" y="1777"/>
                    </a:lnTo>
                    <a:lnTo>
                      <a:pt x="511" y="1792"/>
                    </a:lnTo>
                    <a:lnTo>
                      <a:pt x="511" y="1806"/>
                    </a:lnTo>
                    <a:lnTo>
                      <a:pt x="515" y="1833"/>
                    </a:lnTo>
                    <a:lnTo>
                      <a:pt x="519" y="1862"/>
                    </a:lnTo>
                    <a:lnTo>
                      <a:pt x="519" y="1878"/>
                    </a:lnTo>
                    <a:lnTo>
                      <a:pt x="517" y="1892"/>
                    </a:lnTo>
                    <a:lnTo>
                      <a:pt x="506" y="2051"/>
                    </a:lnTo>
                    <a:lnTo>
                      <a:pt x="506" y="2099"/>
                    </a:lnTo>
                    <a:lnTo>
                      <a:pt x="491" y="2150"/>
                    </a:lnTo>
                    <a:lnTo>
                      <a:pt x="487" y="2184"/>
                    </a:lnTo>
                    <a:lnTo>
                      <a:pt x="483" y="2217"/>
                    </a:lnTo>
                    <a:lnTo>
                      <a:pt x="479" y="2285"/>
                    </a:lnTo>
                    <a:lnTo>
                      <a:pt x="475" y="2318"/>
                    </a:lnTo>
                    <a:lnTo>
                      <a:pt x="472" y="2350"/>
                    </a:lnTo>
                    <a:lnTo>
                      <a:pt x="467" y="2382"/>
                    </a:lnTo>
                    <a:lnTo>
                      <a:pt x="461" y="2411"/>
                    </a:lnTo>
                    <a:lnTo>
                      <a:pt x="453" y="2442"/>
                    </a:lnTo>
                    <a:lnTo>
                      <a:pt x="448" y="2474"/>
                    </a:lnTo>
                    <a:lnTo>
                      <a:pt x="443" y="2507"/>
                    </a:lnTo>
                    <a:lnTo>
                      <a:pt x="440" y="2541"/>
                    </a:lnTo>
                    <a:lnTo>
                      <a:pt x="437" y="2610"/>
                    </a:lnTo>
                    <a:lnTo>
                      <a:pt x="431" y="2672"/>
                    </a:lnTo>
                    <a:lnTo>
                      <a:pt x="426" y="2693"/>
                    </a:lnTo>
                    <a:lnTo>
                      <a:pt x="419" y="2720"/>
                    </a:lnTo>
                    <a:lnTo>
                      <a:pt x="413" y="2746"/>
                    </a:lnTo>
                    <a:lnTo>
                      <a:pt x="413" y="2757"/>
                    </a:lnTo>
                    <a:lnTo>
                      <a:pt x="413" y="2765"/>
                    </a:lnTo>
                    <a:lnTo>
                      <a:pt x="416" y="2768"/>
                    </a:lnTo>
                    <a:lnTo>
                      <a:pt x="419" y="2773"/>
                    </a:lnTo>
                    <a:lnTo>
                      <a:pt x="427" y="2778"/>
                    </a:lnTo>
                    <a:lnTo>
                      <a:pt x="439" y="2781"/>
                    </a:lnTo>
                    <a:lnTo>
                      <a:pt x="451" y="2784"/>
                    </a:lnTo>
                    <a:lnTo>
                      <a:pt x="475" y="2788"/>
                    </a:lnTo>
                    <a:lnTo>
                      <a:pt x="488" y="2789"/>
                    </a:lnTo>
                    <a:lnTo>
                      <a:pt x="499" y="2791"/>
                    </a:lnTo>
                    <a:lnTo>
                      <a:pt x="496" y="2802"/>
                    </a:lnTo>
                    <a:lnTo>
                      <a:pt x="496" y="2813"/>
                    </a:lnTo>
                    <a:lnTo>
                      <a:pt x="504" y="2818"/>
                    </a:lnTo>
                    <a:lnTo>
                      <a:pt x="512" y="2823"/>
                    </a:lnTo>
                    <a:lnTo>
                      <a:pt x="531" y="2829"/>
                    </a:lnTo>
                    <a:lnTo>
                      <a:pt x="552" y="2834"/>
                    </a:lnTo>
                    <a:lnTo>
                      <a:pt x="576" y="2837"/>
                    </a:lnTo>
                    <a:lnTo>
                      <a:pt x="600" y="2837"/>
                    </a:lnTo>
                    <a:lnTo>
                      <a:pt x="624" y="2836"/>
                    </a:lnTo>
                    <a:lnTo>
                      <a:pt x="648" y="2834"/>
                    </a:lnTo>
                    <a:lnTo>
                      <a:pt x="671" y="2829"/>
                    </a:lnTo>
                    <a:lnTo>
                      <a:pt x="676" y="2820"/>
                    </a:lnTo>
                    <a:lnTo>
                      <a:pt x="674" y="2808"/>
                    </a:lnTo>
                    <a:lnTo>
                      <a:pt x="671" y="2799"/>
                    </a:lnTo>
                    <a:lnTo>
                      <a:pt x="663" y="2781"/>
                    </a:lnTo>
                    <a:lnTo>
                      <a:pt x="653" y="2765"/>
                    </a:lnTo>
                    <a:lnTo>
                      <a:pt x="644" y="2751"/>
                    </a:lnTo>
                    <a:lnTo>
                      <a:pt x="632" y="2738"/>
                    </a:lnTo>
                    <a:lnTo>
                      <a:pt x="624" y="2725"/>
                    </a:lnTo>
                    <a:lnTo>
                      <a:pt x="618" y="2711"/>
                    </a:lnTo>
                    <a:lnTo>
                      <a:pt x="615" y="2703"/>
                    </a:lnTo>
                    <a:lnTo>
                      <a:pt x="615" y="2696"/>
                    </a:lnTo>
                    <a:lnTo>
                      <a:pt x="624" y="2691"/>
                    </a:lnTo>
                    <a:lnTo>
                      <a:pt x="634" y="2688"/>
                    </a:lnTo>
                    <a:lnTo>
                      <a:pt x="629" y="2615"/>
                    </a:lnTo>
                    <a:lnTo>
                      <a:pt x="637" y="2573"/>
                    </a:lnTo>
                    <a:lnTo>
                      <a:pt x="647" y="2530"/>
                    </a:lnTo>
                    <a:lnTo>
                      <a:pt x="656" y="2488"/>
                    </a:lnTo>
                    <a:lnTo>
                      <a:pt x="666" y="2445"/>
                    </a:lnTo>
                    <a:lnTo>
                      <a:pt x="671" y="2413"/>
                    </a:lnTo>
                    <a:lnTo>
                      <a:pt x="674" y="2381"/>
                    </a:lnTo>
                    <a:lnTo>
                      <a:pt x="679" y="2317"/>
                    </a:lnTo>
                    <a:lnTo>
                      <a:pt x="680" y="2285"/>
                    </a:lnTo>
                    <a:lnTo>
                      <a:pt x="684" y="2253"/>
                    </a:lnTo>
                    <a:lnTo>
                      <a:pt x="688" y="2222"/>
                    </a:lnTo>
                    <a:lnTo>
                      <a:pt x="696" y="2192"/>
                    </a:lnTo>
                    <a:lnTo>
                      <a:pt x="762" y="2054"/>
                    </a:lnTo>
                    <a:lnTo>
                      <a:pt x="765" y="1998"/>
                    </a:lnTo>
                    <a:lnTo>
                      <a:pt x="793" y="1758"/>
                    </a:lnTo>
                    <a:lnTo>
                      <a:pt x="805" y="1700"/>
                    </a:lnTo>
                    <a:lnTo>
                      <a:pt x="818" y="1641"/>
                    </a:lnTo>
                    <a:lnTo>
                      <a:pt x="829" y="1580"/>
                    </a:lnTo>
                    <a:lnTo>
                      <a:pt x="842" y="1521"/>
                    </a:lnTo>
                    <a:lnTo>
                      <a:pt x="844" y="1447"/>
                    </a:lnTo>
                    <a:lnTo>
                      <a:pt x="845" y="1422"/>
                    </a:lnTo>
                    <a:lnTo>
                      <a:pt x="845" y="1396"/>
                    </a:lnTo>
                    <a:lnTo>
                      <a:pt x="844" y="1370"/>
                    </a:lnTo>
                    <a:lnTo>
                      <a:pt x="839" y="1348"/>
                    </a:lnTo>
                    <a:lnTo>
                      <a:pt x="841" y="1345"/>
                    </a:lnTo>
                    <a:lnTo>
                      <a:pt x="844" y="1346"/>
                    </a:lnTo>
                    <a:lnTo>
                      <a:pt x="861" y="1394"/>
                    </a:lnTo>
                    <a:lnTo>
                      <a:pt x="863" y="1406"/>
                    </a:lnTo>
                    <a:lnTo>
                      <a:pt x="863" y="1417"/>
                    </a:lnTo>
                    <a:lnTo>
                      <a:pt x="861" y="1426"/>
                    </a:lnTo>
                    <a:lnTo>
                      <a:pt x="858" y="1436"/>
                    </a:lnTo>
                    <a:lnTo>
                      <a:pt x="852" y="1454"/>
                    </a:lnTo>
                    <a:lnTo>
                      <a:pt x="850" y="1462"/>
                    </a:lnTo>
                    <a:lnTo>
                      <a:pt x="847" y="1471"/>
                    </a:lnTo>
                    <a:lnTo>
                      <a:pt x="847" y="1478"/>
                    </a:lnTo>
                    <a:lnTo>
                      <a:pt x="849" y="1482"/>
                    </a:lnTo>
                    <a:lnTo>
                      <a:pt x="850" y="1490"/>
                    </a:lnTo>
                    <a:lnTo>
                      <a:pt x="855" y="1499"/>
                    </a:lnTo>
                    <a:lnTo>
                      <a:pt x="857" y="1507"/>
                    </a:lnTo>
                    <a:lnTo>
                      <a:pt x="850" y="1545"/>
                    </a:lnTo>
                    <a:lnTo>
                      <a:pt x="858" y="1580"/>
                    </a:lnTo>
                    <a:lnTo>
                      <a:pt x="866" y="1583"/>
                    </a:lnTo>
                    <a:lnTo>
                      <a:pt x="871" y="1585"/>
                    </a:lnTo>
                    <a:lnTo>
                      <a:pt x="876" y="1585"/>
                    </a:lnTo>
                    <a:lnTo>
                      <a:pt x="871" y="1593"/>
                    </a:lnTo>
                    <a:lnTo>
                      <a:pt x="865" y="1601"/>
                    </a:lnTo>
                    <a:lnTo>
                      <a:pt x="847" y="1619"/>
                    </a:lnTo>
                    <a:lnTo>
                      <a:pt x="841" y="1627"/>
                    </a:lnTo>
                    <a:lnTo>
                      <a:pt x="836" y="1636"/>
                    </a:lnTo>
                    <a:lnTo>
                      <a:pt x="834" y="1641"/>
                    </a:lnTo>
                    <a:lnTo>
                      <a:pt x="836" y="1647"/>
                    </a:lnTo>
                    <a:lnTo>
                      <a:pt x="837" y="1652"/>
                    </a:lnTo>
                    <a:lnTo>
                      <a:pt x="841" y="1659"/>
                    </a:lnTo>
                    <a:lnTo>
                      <a:pt x="842" y="1659"/>
                    </a:lnTo>
                    <a:lnTo>
                      <a:pt x="858" y="1655"/>
                    </a:lnTo>
                    <a:lnTo>
                      <a:pt x="874" y="1652"/>
                    </a:lnTo>
                    <a:lnTo>
                      <a:pt x="889" y="1644"/>
                    </a:lnTo>
                    <a:lnTo>
                      <a:pt x="900" y="1636"/>
                    </a:lnTo>
                    <a:lnTo>
                      <a:pt x="911" y="1627"/>
                    </a:lnTo>
                    <a:lnTo>
                      <a:pt x="919" y="1614"/>
                    </a:lnTo>
                    <a:lnTo>
                      <a:pt x="927" y="1599"/>
                    </a:lnTo>
                    <a:lnTo>
                      <a:pt x="933" y="1585"/>
                    </a:lnTo>
                    <a:lnTo>
                      <a:pt x="938" y="1569"/>
                    </a:lnTo>
                    <a:lnTo>
                      <a:pt x="941" y="1551"/>
                    </a:lnTo>
                    <a:lnTo>
                      <a:pt x="943" y="1534"/>
                    </a:lnTo>
                    <a:lnTo>
                      <a:pt x="943" y="1516"/>
                    </a:lnTo>
                    <a:lnTo>
                      <a:pt x="943" y="1497"/>
                    </a:lnTo>
                    <a:lnTo>
                      <a:pt x="943" y="1479"/>
                    </a:lnTo>
                    <a:lnTo>
                      <a:pt x="937" y="1442"/>
                    </a:lnTo>
                    <a:close/>
                    <a:moveTo>
                      <a:pt x="310" y="1119"/>
                    </a:moveTo>
                    <a:lnTo>
                      <a:pt x="310" y="1119"/>
                    </a:lnTo>
                    <a:lnTo>
                      <a:pt x="290" y="1220"/>
                    </a:lnTo>
                    <a:lnTo>
                      <a:pt x="283" y="1237"/>
                    </a:lnTo>
                    <a:lnTo>
                      <a:pt x="274" y="1257"/>
                    </a:lnTo>
                    <a:lnTo>
                      <a:pt x="266" y="1274"/>
                    </a:lnTo>
                    <a:lnTo>
                      <a:pt x="259" y="1295"/>
                    </a:lnTo>
                    <a:lnTo>
                      <a:pt x="258" y="1310"/>
                    </a:lnTo>
                    <a:lnTo>
                      <a:pt x="256" y="1324"/>
                    </a:lnTo>
                    <a:lnTo>
                      <a:pt x="256" y="1348"/>
                    </a:lnTo>
                    <a:lnTo>
                      <a:pt x="254" y="1361"/>
                    </a:lnTo>
                    <a:lnTo>
                      <a:pt x="253" y="1372"/>
                    </a:lnTo>
                    <a:lnTo>
                      <a:pt x="248" y="1383"/>
                    </a:lnTo>
                    <a:lnTo>
                      <a:pt x="242" y="1396"/>
                    </a:lnTo>
                    <a:lnTo>
                      <a:pt x="245" y="1402"/>
                    </a:lnTo>
                    <a:lnTo>
                      <a:pt x="248" y="1406"/>
                    </a:lnTo>
                    <a:lnTo>
                      <a:pt x="253" y="1409"/>
                    </a:lnTo>
                    <a:lnTo>
                      <a:pt x="254" y="1415"/>
                    </a:lnTo>
                    <a:lnTo>
                      <a:pt x="250" y="1426"/>
                    </a:lnTo>
                    <a:lnTo>
                      <a:pt x="245" y="1423"/>
                    </a:lnTo>
                    <a:lnTo>
                      <a:pt x="240" y="1390"/>
                    </a:lnTo>
                    <a:lnTo>
                      <a:pt x="237" y="1356"/>
                    </a:lnTo>
                    <a:lnTo>
                      <a:pt x="235" y="1321"/>
                    </a:lnTo>
                    <a:lnTo>
                      <a:pt x="234" y="1286"/>
                    </a:lnTo>
                    <a:lnTo>
                      <a:pt x="235" y="1252"/>
                    </a:lnTo>
                    <a:lnTo>
                      <a:pt x="237" y="1217"/>
                    </a:lnTo>
                    <a:lnTo>
                      <a:pt x="243" y="1146"/>
                    </a:lnTo>
                    <a:lnTo>
                      <a:pt x="253" y="1079"/>
                    </a:lnTo>
                    <a:lnTo>
                      <a:pt x="266" y="1012"/>
                    </a:lnTo>
                    <a:lnTo>
                      <a:pt x="290" y="888"/>
                    </a:lnTo>
                    <a:lnTo>
                      <a:pt x="293" y="893"/>
                    </a:lnTo>
                    <a:lnTo>
                      <a:pt x="298" y="903"/>
                    </a:lnTo>
                    <a:lnTo>
                      <a:pt x="307" y="930"/>
                    </a:lnTo>
                    <a:lnTo>
                      <a:pt x="315" y="959"/>
                    </a:lnTo>
                    <a:lnTo>
                      <a:pt x="320" y="978"/>
                    </a:lnTo>
                    <a:lnTo>
                      <a:pt x="315" y="1015"/>
                    </a:lnTo>
                    <a:lnTo>
                      <a:pt x="326" y="1041"/>
                    </a:lnTo>
                    <a:lnTo>
                      <a:pt x="328" y="1052"/>
                    </a:lnTo>
                    <a:lnTo>
                      <a:pt x="326" y="1063"/>
                    </a:lnTo>
                    <a:lnTo>
                      <a:pt x="325" y="1074"/>
                    </a:lnTo>
                    <a:lnTo>
                      <a:pt x="323" y="1084"/>
                    </a:lnTo>
                    <a:lnTo>
                      <a:pt x="317" y="1103"/>
                    </a:lnTo>
                    <a:lnTo>
                      <a:pt x="310" y="1119"/>
                    </a:lnTo>
                    <a:close/>
                  </a:path>
                </a:pathLst>
              </a:custGeom>
              <a:solidFill>
                <a:schemeClr val="accent5"/>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sp>
          <p:nvSpPr>
            <p:cNvPr id="14" name="Ellipse 4"/>
            <p:cNvSpPr/>
            <p:nvPr/>
          </p:nvSpPr>
          <p:spPr>
            <a:xfrm>
              <a:off x="3955139" y="4156053"/>
              <a:ext cx="1186156" cy="329653"/>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Freeform 25"/>
            <p:cNvSpPr>
              <a:spLocks noEditPoints="1"/>
            </p:cNvSpPr>
            <p:nvPr>
              <p:custDataLst>
                <p:tags r:id="rId6"/>
              </p:custDataLst>
            </p:nvPr>
          </p:nvSpPr>
          <p:spPr bwMode="auto">
            <a:xfrm>
              <a:off x="4267023" y="2571877"/>
              <a:ext cx="540104" cy="1759694"/>
            </a:xfrm>
            <a:custGeom>
              <a:avLst/>
              <a:gdLst/>
              <a:ahLst/>
              <a:cxnLst>
                <a:cxn ang="0">
                  <a:pos x="267" y="1065"/>
                </a:cxn>
                <a:cxn ang="0">
                  <a:pos x="262" y="1226"/>
                </a:cxn>
                <a:cxn ang="0">
                  <a:pos x="272" y="1322"/>
                </a:cxn>
                <a:cxn ang="0">
                  <a:pos x="287" y="1437"/>
                </a:cxn>
                <a:cxn ang="0">
                  <a:pos x="295" y="1219"/>
                </a:cxn>
                <a:cxn ang="0">
                  <a:pos x="292" y="5"/>
                </a:cxn>
                <a:cxn ang="0">
                  <a:pos x="353" y="91"/>
                </a:cxn>
                <a:cxn ang="0">
                  <a:pos x="352" y="154"/>
                </a:cxn>
                <a:cxn ang="0">
                  <a:pos x="330" y="188"/>
                </a:cxn>
                <a:cxn ang="0">
                  <a:pos x="327" y="247"/>
                </a:cxn>
                <a:cxn ang="0">
                  <a:pos x="368" y="289"/>
                </a:cxn>
                <a:cxn ang="0">
                  <a:pos x="468" y="321"/>
                </a:cxn>
                <a:cxn ang="0">
                  <a:pos x="482" y="366"/>
                </a:cxn>
                <a:cxn ang="0">
                  <a:pos x="499" y="495"/>
                </a:cxn>
                <a:cxn ang="0">
                  <a:pos x="514" y="635"/>
                </a:cxn>
                <a:cxn ang="0">
                  <a:pos x="525" y="807"/>
                </a:cxn>
                <a:cxn ang="0">
                  <a:pos x="513" y="916"/>
                </a:cxn>
                <a:cxn ang="0">
                  <a:pos x="490" y="965"/>
                </a:cxn>
                <a:cxn ang="0">
                  <a:pos x="444" y="962"/>
                </a:cxn>
                <a:cxn ang="0">
                  <a:pos x="454" y="870"/>
                </a:cxn>
                <a:cxn ang="0">
                  <a:pos x="428" y="606"/>
                </a:cxn>
                <a:cxn ang="0">
                  <a:pos x="418" y="572"/>
                </a:cxn>
                <a:cxn ang="0">
                  <a:pos x="407" y="636"/>
                </a:cxn>
                <a:cxn ang="0">
                  <a:pos x="430" y="775"/>
                </a:cxn>
                <a:cxn ang="0">
                  <a:pos x="428" y="922"/>
                </a:cxn>
                <a:cxn ang="0">
                  <a:pos x="418" y="1017"/>
                </a:cxn>
                <a:cxn ang="0">
                  <a:pos x="407" y="1440"/>
                </a:cxn>
                <a:cxn ang="0">
                  <a:pos x="391" y="1600"/>
                </a:cxn>
                <a:cxn ang="0">
                  <a:pos x="398" y="1667"/>
                </a:cxn>
                <a:cxn ang="0">
                  <a:pos x="410" y="1709"/>
                </a:cxn>
                <a:cxn ang="0">
                  <a:pos x="310" y="1703"/>
                </a:cxn>
                <a:cxn ang="0">
                  <a:pos x="301" y="1680"/>
                </a:cxn>
                <a:cxn ang="0">
                  <a:pos x="242" y="1652"/>
                </a:cxn>
                <a:cxn ang="0">
                  <a:pos x="127" y="1664"/>
                </a:cxn>
                <a:cxn ang="0">
                  <a:pos x="119" y="1652"/>
                </a:cxn>
                <a:cxn ang="0">
                  <a:pos x="139" y="1632"/>
                </a:cxn>
                <a:cxn ang="0">
                  <a:pos x="198" y="1584"/>
                </a:cxn>
                <a:cxn ang="0">
                  <a:pos x="176" y="1391"/>
                </a:cxn>
                <a:cxn ang="0">
                  <a:pos x="167" y="1311"/>
                </a:cxn>
                <a:cxn ang="0">
                  <a:pos x="152" y="1185"/>
                </a:cxn>
                <a:cxn ang="0">
                  <a:pos x="122" y="999"/>
                </a:cxn>
                <a:cxn ang="0">
                  <a:pos x="99" y="950"/>
                </a:cxn>
                <a:cxn ang="0">
                  <a:pos x="103" y="758"/>
                </a:cxn>
                <a:cxn ang="0">
                  <a:pos x="84" y="799"/>
                </a:cxn>
                <a:cxn ang="0">
                  <a:pos x="66" y="874"/>
                </a:cxn>
                <a:cxn ang="0">
                  <a:pos x="56" y="944"/>
                </a:cxn>
                <a:cxn ang="0">
                  <a:pos x="67" y="962"/>
                </a:cxn>
                <a:cxn ang="0">
                  <a:pos x="12" y="888"/>
                </a:cxn>
                <a:cxn ang="0">
                  <a:pos x="4" y="839"/>
                </a:cxn>
                <a:cxn ang="0">
                  <a:pos x="23" y="704"/>
                </a:cxn>
                <a:cxn ang="0">
                  <a:pos x="36" y="582"/>
                </a:cxn>
                <a:cxn ang="0">
                  <a:pos x="52" y="464"/>
                </a:cxn>
                <a:cxn ang="0">
                  <a:pos x="61" y="343"/>
                </a:cxn>
                <a:cxn ang="0">
                  <a:pos x="98" y="326"/>
                </a:cxn>
                <a:cxn ang="0">
                  <a:pos x="179" y="289"/>
                </a:cxn>
                <a:cxn ang="0">
                  <a:pos x="213" y="251"/>
                </a:cxn>
                <a:cxn ang="0">
                  <a:pos x="198" y="181"/>
                </a:cxn>
                <a:cxn ang="0">
                  <a:pos x="181" y="132"/>
                </a:cxn>
                <a:cxn ang="0">
                  <a:pos x="181" y="63"/>
                </a:cxn>
                <a:cxn ang="0">
                  <a:pos x="262" y="0"/>
                </a:cxn>
              </a:cxnLst>
              <a:rect l="0" t="0" r="r" b="b"/>
              <a:pathLst>
                <a:path w="527" h="1717">
                  <a:moveTo>
                    <a:pt x="272" y="1011"/>
                  </a:moveTo>
                  <a:lnTo>
                    <a:pt x="270" y="1014"/>
                  </a:lnTo>
                  <a:lnTo>
                    <a:pt x="267" y="1019"/>
                  </a:lnTo>
                  <a:lnTo>
                    <a:pt x="265" y="1028"/>
                  </a:lnTo>
                  <a:lnTo>
                    <a:pt x="265" y="1044"/>
                  </a:lnTo>
                  <a:lnTo>
                    <a:pt x="267" y="1065"/>
                  </a:lnTo>
                  <a:lnTo>
                    <a:pt x="270" y="1094"/>
                  </a:lnTo>
                  <a:lnTo>
                    <a:pt x="273" y="1133"/>
                  </a:lnTo>
                  <a:lnTo>
                    <a:pt x="273" y="1165"/>
                  </a:lnTo>
                  <a:lnTo>
                    <a:pt x="270" y="1193"/>
                  </a:lnTo>
                  <a:lnTo>
                    <a:pt x="265" y="1213"/>
                  </a:lnTo>
                  <a:lnTo>
                    <a:pt x="262" y="1226"/>
                  </a:lnTo>
                  <a:lnTo>
                    <a:pt x="259" y="1234"/>
                  </a:lnTo>
                  <a:lnTo>
                    <a:pt x="259" y="1239"/>
                  </a:lnTo>
                  <a:lnTo>
                    <a:pt x="262" y="1251"/>
                  </a:lnTo>
                  <a:lnTo>
                    <a:pt x="265" y="1269"/>
                  </a:lnTo>
                  <a:lnTo>
                    <a:pt x="269" y="1292"/>
                  </a:lnTo>
                  <a:lnTo>
                    <a:pt x="272" y="1322"/>
                  </a:lnTo>
                  <a:lnTo>
                    <a:pt x="272" y="1355"/>
                  </a:lnTo>
                  <a:lnTo>
                    <a:pt x="270" y="1394"/>
                  </a:lnTo>
                  <a:lnTo>
                    <a:pt x="275" y="1403"/>
                  </a:lnTo>
                  <a:lnTo>
                    <a:pt x="279" y="1414"/>
                  </a:lnTo>
                  <a:lnTo>
                    <a:pt x="284" y="1426"/>
                  </a:lnTo>
                  <a:lnTo>
                    <a:pt x="287" y="1437"/>
                  </a:lnTo>
                  <a:lnTo>
                    <a:pt x="288" y="1448"/>
                  </a:lnTo>
                  <a:lnTo>
                    <a:pt x="288" y="1431"/>
                  </a:lnTo>
                  <a:lnTo>
                    <a:pt x="290" y="1405"/>
                  </a:lnTo>
                  <a:lnTo>
                    <a:pt x="292" y="1372"/>
                  </a:lnTo>
                  <a:lnTo>
                    <a:pt x="295" y="1296"/>
                  </a:lnTo>
                  <a:lnTo>
                    <a:pt x="295" y="1219"/>
                  </a:lnTo>
                  <a:lnTo>
                    <a:pt x="293" y="1185"/>
                  </a:lnTo>
                  <a:lnTo>
                    <a:pt x="292" y="1160"/>
                  </a:lnTo>
                  <a:lnTo>
                    <a:pt x="272" y="1011"/>
                  </a:lnTo>
                  <a:close/>
                  <a:moveTo>
                    <a:pt x="262" y="0"/>
                  </a:moveTo>
                  <a:lnTo>
                    <a:pt x="281" y="0"/>
                  </a:lnTo>
                  <a:lnTo>
                    <a:pt x="292" y="5"/>
                  </a:lnTo>
                  <a:lnTo>
                    <a:pt x="305" y="12"/>
                  </a:lnTo>
                  <a:lnTo>
                    <a:pt x="321" y="23"/>
                  </a:lnTo>
                  <a:lnTo>
                    <a:pt x="335" y="37"/>
                  </a:lnTo>
                  <a:lnTo>
                    <a:pt x="345" y="54"/>
                  </a:lnTo>
                  <a:lnTo>
                    <a:pt x="352" y="72"/>
                  </a:lnTo>
                  <a:lnTo>
                    <a:pt x="353" y="91"/>
                  </a:lnTo>
                  <a:lnTo>
                    <a:pt x="353" y="106"/>
                  </a:lnTo>
                  <a:lnTo>
                    <a:pt x="350" y="118"/>
                  </a:lnTo>
                  <a:lnTo>
                    <a:pt x="348" y="128"/>
                  </a:lnTo>
                  <a:lnTo>
                    <a:pt x="347" y="131"/>
                  </a:lnTo>
                  <a:lnTo>
                    <a:pt x="352" y="137"/>
                  </a:lnTo>
                  <a:lnTo>
                    <a:pt x="352" y="154"/>
                  </a:lnTo>
                  <a:lnTo>
                    <a:pt x="348" y="166"/>
                  </a:lnTo>
                  <a:lnTo>
                    <a:pt x="344" y="174"/>
                  </a:lnTo>
                  <a:lnTo>
                    <a:pt x="339" y="178"/>
                  </a:lnTo>
                  <a:lnTo>
                    <a:pt x="336" y="180"/>
                  </a:lnTo>
                  <a:lnTo>
                    <a:pt x="332" y="180"/>
                  </a:lnTo>
                  <a:lnTo>
                    <a:pt x="330" y="188"/>
                  </a:lnTo>
                  <a:lnTo>
                    <a:pt x="327" y="197"/>
                  </a:lnTo>
                  <a:lnTo>
                    <a:pt x="322" y="204"/>
                  </a:lnTo>
                  <a:lnTo>
                    <a:pt x="321" y="207"/>
                  </a:lnTo>
                  <a:lnTo>
                    <a:pt x="321" y="238"/>
                  </a:lnTo>
                  <a:lnTo>
                    <a:pt x="322" y="241"/>
                  </a:lnTo>
                  <a:lnTo>
                    <a:pt x="327" y="247"/>
                  </a:lnTo>
                  <a:lnTo>
                    <a:pt x="335" y="255"/>
                  </a:lnTo>
                  <a:lnTo>
                    <a:pt x="342" y="266"/>
                  </a:lnTo>
                  <a:lnTo>
                    <a:pt x="350" y="275"/>
                  </a:lnTo>
                  <a:lnTo>
                    <a:pt x="358" y="281"/>
                  </a:lnTo>
                  <a:lnTo>
                    <a:pt x="362" y="286"/>
                  </a:lnTo>
                  <a:lnTo>
                    <a:pt x="368" y="289"/>
                  </a:lnTo>
                  <a:lnTo>
                    <a:pt x="382" y="292"/>
                  </a:lnTo>
                  <a:lnTo>
                    <a:pt x="399" y="298"/>
                  </a:lnTo>
                  <a:lnTo>
                    <a:pt x="436" y="310"/>
                  </a:lnTo>
                  <a:lnTo>
                    <a:pt x="453" y="317"/>
                  </a:lnTo>
                  <a:lnTo>
                    <a:pt x="464" y="320"/>
                  </a:lnTo>
                  <a:lnTo>
                    <a:pt x="468" y="321"/>
                  </a:lnTo>
                  <a:lnTo>
                    <a:pt x="476" y="324"/>
                  </a:lnTo>
                  <a:lnTo>
                    <a:pt x="481" y="330"/>
                  </a:lnTo>
                  <a:lnTo>
                    <a:pt x="482" y="341"/>
                  </a:lnTo>
                  <a:lnTo>
                    <a:pt x="484" y="350"/>
                  </a:lnTo>
                  <a:lnTo>
                    <a:pt x="482" y="358"/>
                  </a:lnTo>
                  <a:lnTo>
                    <a:pt x="482" y="366"/>
                  </a:lnTo>
                  <a:lnTo>
                    <a:pt x="484" y="377"/>
                  </a:lnTo>
                  <a:lnTo>
                    <a:pt x="485" y="392"/>
                  </a:lnTo>
                  <a:lnTo>
                    <a:pt x="490" y="452"/>
                  </a:lnTo>
                  <a:lnTo>
                    <a:pt x="493" y="467"/>
                  </a:lnTo>
                  <a:lnTo>
                    <a:pt x="496" y="480"/>
                  </a:lnTo>
                  <a:lnTo>
                    <a:pt x="499" y="495"/>
                  </a:lnTo>
                  <a:lnTo>
                    <a:pt x="499" y="516"/>
                  </a:lnTo>
                  <a:lnTo>
                    <a:pt x="501" y="539"/>
                  </a:lnTo>
                  <a:lnTo>
                    <a:pt x="502" y="566"/>
                  </a:lnTo>
                  <a:lnTo>
                    <a:pt x="505" y="593"/>
                  </a:lnTo>
                  <a:lnTo>
                    <a:pt x="511" y="618"/>
                  </a:lnTo>
                  <a:lnTo>
                    <a:pt x="514" y="635"/>
                  </a:lnTo>
                  <a:lnTo>
                    <a:pt x="517" y="658"/>
                  </a:lnTo>
                  <a:lnTo>
                    <a:pt x="521" y="685"/>
                  </a:lnTo>
                  <a:lnTo>
                    <a:pt x="522" y="715"/>
                  </a:lnTo>
                  <a:lnTo>
                    <a:pt x="524" y="747"/>
                  </a:lnTo>
                  <a:lnTo>
                    <a:pt x="525" y="778"/>
                  </a:lnTo>
                  <a:lnTo>
                    <a:pt x="525" y="807"/>
                  </a:lnTo>
                  <a:lnTo>
                    <a:pt x="527" y="833"/>
                  </a:lnTo>
                  <a:lnTo>
                    <a:pt x="527" y="871"/>
                  </a:lnTo>
                  <a:lnTo>
                    <a:pt x="519" y="871"/>
                  </a:lnTo>
                  <a:lnTo>
                    <a:pt x="517" y="884"/>
                  </a:lnTo>
                  <a:lnTo>
                    <a:pt x="514" y="882"/>
                  </a:lnTo>
                  <a:lnTo>
                    <a:pt x="513" y="916"/>
                  </a:lnTo>
                  <a:lnTo>
                    <a:pt x="507" y="922"/>
                  </a:lnTo>
                  <a:lnTo>
                    <a:pt x="502" y="931"/>
                  </a:lnTo>
                  <a:lnTo>
                    <a:pt x="498" y="944"/>
                  </a:lnTo>
                  <a:lnTo>
                    <a:pt x="493" y="954"/>
                  </a:lnTo>
                  <a:lnTo>
                    <a:pt x="491" y="962"/>
                  </a:lnTo>
                  <a:lnTo>
                    <a:pt x="490" y="965"/>
                  </a:lnTo>
                  <a:lnTo>
                    <a:pt x="482" y="968"/>
                  </a:lnTo>
                  <a:lnTo>
                    <a:pt x="470" y="970"/>
                  </a:lnTo>
                  <a:lnTo>
                    <a:pt x="458" y="970"/>
                  </a:lnTo>
                  <a:lnTo>
                    <a:pt x="448" y="967"/>
                  </a:lnTo>
                  <a:lnTo>
                    <a:pt x="445" y="965"/>
                  </a:lnTo>
                  <a:lnTo>
                    <a:pt x="444" y="962"/>
                  </a:lnTo>
                  <a:lnTo>
                    <a:pt x="444" y="961"/>
                  </a:lnTo>
                  <a:lnTo>
                    <a:pt x="445" y="957"/>
                  </a:lnTo>
                  <a:lnTo>
                    <a:pt x="445" y="956"/>
                  </a:lnTo>
                  <a:lnTo>
                    <a:pt x="447" y="954"/>
                  </a:lnTo>
                  <a:lnTo>
                    <a:pt x="448" y="887"/>
                  </a:lnTo>
                  <a:lnTo>
                    <a:pt x="454" y="870"/>
                  </a:lnTo>
                  <a:lnTo>
                    <a:pt x="451" y="865"/>
                  </a:lnTo>
                  <a:lnTo>
                    <a:pt x="442" y="861"/>
                  </a:lnTo>
                  <a:lnTo>
                    <a:pt x="444" y="719"/>
                  </a:lnTo>
                  <a:lnTo>
                    <a:pt x="441" y="699"/>
                  </a:lnTo>
                  <a:lnTo>
                    <a:pt x="431" y="626"/>
                  </a:lnTo>
                  <a:lnTo>
                    <a:pt x="428" y="606"/>
                  </a:lnTo>
                  <a:lnTo>
                    <a:pt x="427" y="592"/>
                  </a:lnTo>
                  <a:lnTo>
                    <a:pt x="427" y="581"/>
                  </a:lnTo>
                  <a:lnTo>
                    <a:pt x="424" y="575"/>
                  </a:lnTo>
                  <a:lnTo>
                    <a:pt x="422" y="573"/>
                  </a:lnTo>
                  <a:lnTo>
                    <a:pt x="419" y="572"/>
                  </a:lnTo>
                  <a:lnTo>
                    <a:pt x="418" y="572"/>
                  </a:lnTo>
                  <a:lnTo>
                    <a:pt x="416" y="573"/>
                  </a:lnTo>
                  <a:lnTo>
                    <a:pt x="415" y="573"/>
                  </a:lnTo>
                  <a:lnTo>
                    <a:pt x="411" y="584"/>
                  </a:lnTo>
                  <a:lnTo>
                    <a:pt x="408" y="601"/>
                  </a:lnTo>
                  <a:lnTo>
                    <a:pt x="408" y="618"/>
                  </a:lnTo>
                  <a:lnTo>
                    <a:pt x="407" y="636"/>
                  </a:lnTo>
                  <a:lnTo>
                    <a:pt x="407" y="667"/>
                  </a:lnTo>
                  <a:lnTo>
                    <a:pt x="408" y="682"/>
                  </a:lnTo>
                  <a:lnTo>
                    <a:pt x="422" y="742"/>
                  </a:lnTo>
                  <a:lnTo>
                    <a:pt x="425" y="759"/>
                  </a:lnTo>
                  <a:lnTo>
                    <a:pt x="428" y="770"/>
                  </a:lnTo>
                  <a:lnTo>
                    <a:pt x="430" y="775"/>
                  </a:lnTo>
                  <a:lnTo>
                    <a:pt x="419" y="778"/>
                  </a:lnTo>
                  <a:lnTo>
                    <a:pt x="421" y="784"/>
                  </a:lnTo>
                  <a:lnTo>
                    <a:pt x="421" y="799"/>
                  </a:lnTo>
                  <a:lnTo>
                    <a:pt x="422" y="819"/>
                  </a:lnTo>
                  <a:lnTo>
                    <a:pt x="427" y="898"/>
                  </a:lnTo>
                  <a:lnTo>
                    <a:pt x="428" y="922"/>
                  </a:lnTo>
                  <a:lnTo>
                    <a:pt x="428" y="942"/>
                  </a:lnTo>
                  <a:lnTo>
                    <a:pt x="430" y="956"/>
                  </a:lnTo>
                  <a:lnTo>
                    <a:pt x="430" y="961"/>
                  </a:lnTo>
                  <a:lnTo>
                    <a:pt x="424" y="967"/>
                  </a:lnTo>
                  <a:lnTo>
                    <a:pt x="418" y="971"/>
                  </a:lnTo>
                  <a:lnTo>
                    <a:pt x="418" y="1017"/>
                  </a:lnTo>
                  <a:lnTo>
                    <a:pt x="416" y="1048"/>
                  </a:lnTo>
                  <a:lnTo>
                    <a:pt x="416" y="1309"/>
                  </a:lnTo>
                  <a:lnTo>
                    <a:pt x="415" y="1337"/>
                  </a:lnTo>
                  <a:lnTo>
                    <a:pt x="413" y="1369"/>
                  </a:lnTo>
                  <a:lnTo>
                    <a:pt x="410" y="1403"/>
                  </a:lnTo>
                  <a:lnTo>
                    <a:pt x="407" y="1440"/>
                  </a:lnTo>
                  <a:lnTo>
                    <a:pt x="404" y="1475"/>
                  </a:lnTo>
                  <a:lnTo>
                    <a:pt x="401" y="1509"/>
                  </a:lnTo>
                  <a:lnTo>
                    <a:pt x="398" y="1540"/>
                  </a:lnTo>
                  <a:lnTo>
                    <a:pt x="396" y="1566"/>
                  </a:lnTo>
                  <a:lnTo>
                    <a:pt x="393" y="1586"/>
                  </a:lnTo>
                  <a:lnTo>
                    <a:pt x="391" y="1600"/>
                  </a:lnTo>
                  <a:lnTo>
                    <a:pt x="391" y="1604"/>
                  </a:lnTo>
                  <a:lnTo>
                    <a:pt x="370" y="1608"/>
                  </a:lnTo>
                  <a:lnTo>
                    <a:pt x="373" y="1624"/>
                  </a:lnTo>
                  <a:lnTo>
                    <a:pt x="381" y="1640"/>
                  </a:lnTo>
                  <a:lnTo>
                    <a:pt x="390" y="1655"/>
                  </a:lnTo>
                  <a:lnTo>
                    <a:pt x="398" y="1667"/>
                  </a:lnTo>
                  <a:lnTo>
                    <a:pt x="404" y="1675"/>
                  </a:lnTo>
                  <a:lnTo>
                    <a:pt x="405" y="1678"/>
                  </a:lnTo>
                  <a:lnTo>
                    <a:pt x="411" y="1692"/>
                  </a:lnTo>
                  <a:lnTo>
                    <a:pt x="413" y="1701"/>
                  </a:lnTo>
                  <a:lnTo>
                    <a:pt x="411" y="1707"/>
                  </a:lnTo>
                  <a:lnTo>
                    <a:pt x="410" y="1709"/>
                  </a:lnTo>
                  <a:lnTo>
                    <a:pt x="391" y="1715"/>
                  </a:lnTo>
                  <a:lnTo>
                    <a:pt x="371" y="1717"/>
                  </a:lnTo>
                  <a:lnTo>
                    <a:pt x="353" y="1715"/>
                  </a:lnTo>
                  <a:lnTo>
                    <a:pt x="336" y="1712"/>
                  </a:lnTo>
                  <a:lnTo>
                    <a:pt x="313" y="1704"/>
                  </a:lnTo>
                  <a:lnTo>
                    <a:pt x="310" y="1703"/>
                  </a:lnTo>
                  <a:lnTo>
                    <a:pt x="307" y="1700"/>
                  </a:lnTo>
                  <a:lnTo>
                    <a:pt x="307" y="1694"/>
                  </a:lnTo>
                  <a:lnTo>
                    <a:pt x="308" y="1686"/>
                  </a:lnTo>
                  <a:lnTo>
                    <a:pt x="312" y="1680"/>
                  </a:lnTo>
                  <a:lnTo>
                    <a:pt x="313" y="1678"/>
                  </a:lnTo>
                  <a:lnTo>
                    <a:pt x="301" y="1680"/>
                  </a:lnTo>
                  <a:lnTo>
                    <a:pt x="292" y="1669"/>
                  </a:lnTo>
                  <a:lnTo>
                    <a:pt x="292" y="1646"/>
                  </a:lnTo>
                  <a:lnTo>
                    <a:pt x="264" y="1649"/>
                  </a:lnTo>
                  <a:lnTo>
                    <a:pt x="265" y="1638"/>
                  </a:lnTo>
                  <a:lnTo>
                    <a:pt x="261" y="1640"/>
                  </a:lnTo>
                  <a:lnTo>
                    <a:pt x="242" y="1652"/>
                  </a:lnTo>
                  <a:lnTo>
                    <a:pt x="235" y="1658"/>
                  </a:lnTo>
                  <a:lnTo>
                    <a:pt x="232" y="1660"/>
                  </a:lnTo>
                  <a:lnTo>
                    <a:pt x="218" y="1663"/>
                  </a:lnTo>
                  <a:lnTo>
                    <a:pt x="198" y="1666"/>
                  </a:lnTo>
                  <a:lnTo>
                    <a:pt x="139" y="1666"/>
                  </a:lnTo>
                  <a:lnTo>
                    <a:pt x="127" y="1664"/>
                  </a:lnTo>
                  <a:lnTo>
                    <a:pt x="122" y="1664"/>
                  </a:lnTo>
                  <a:lnTo>
                    <a:pt x="118" y="1661"/>
                  </a:lnTo>
                  <a:lnTo>
                    <a:pt x="115" y="1660"/>
                  </a:lnTo>
                  <a:lnTo>
                    <a:pt x="115" y="1655"/>
                  </a:lnTo>
                  <a:lnTo>
                    <a:pt x="118" y="1652"/>
                  </a:lnTo>
                  <a:lnTo>
                    <a:pt x="119" y="1652"/>
                  </a:lnTo>
                  <a:lnTo>
                    <a:pt x="121" y="1651"/>
                  </a:lnTo>
                  <a:lnTo>
                    <a:pt x="121" y="1641"/>
                  </a:lnTo>
                  <a:lnTo>
                    <a:pt x="122" y="1638"/>
                  </a:lnTo>
                  <a:lnTo>
                    <a:pt x="126" y="1635"/>
                  </a:lnTo>
                  <a:lnTo>
                    <a:pt x="132" y="1632"/>
                  </a:lnTo>
                  <a:lnTo>
                    <a:pt x="139" y="1632"/>
                  </a:lnTo>
                  <a:lnTo>
                    <a:pt x="155" y="1626"/>
                  </a:lnTo>
                  <a:lnTo>
                    <a:pt x="170" y="1618"/>
                  </a:lnTo>
                  <a:lnTo>
                    <a:pt x="182" y="1609"/>
                  </a:lnTo>
                  <a:lnTo>
                    <a:pt x="192" y="1601"/>
                  </a:lnTo>
                  <a:lnTo>
                    <a:pt x="201" y="1592"/>
                  </a:lnTo>
                  <a:lnTo>
                    <a:pt x="198" y="1584"/>
                  </a:lnTo>
                  <a:lnTo>
                    <a:pt x="195" y="1568"/>
                  </a:lnTo>
                  <a:lnTo>
                    <a:pt x="192" y="1545"/>
                  </a:lnTo>
                  <a:lnTo>
                    <a:pt x="189" y="1517"/>
                  </a:lnTo>
                  <a:lnTo>
                    <a:pt x="186" y="1486"/>
                  </a:lnTo>
                  <a:lnTo>
                    <a:pt x="179" y="1422"/>
                  </a:lnTo>
                  <a:lnTo>
                    <a:pt x="176" y="1391"/>
                  </a:lnTo>
                  <a:lnTo>
                    <a:pt x="175" y="1365"/>
                  </a:lnTo>
                  <a:lnTo>
                    <a:pt x="173" y="1343"/>
                  </a:lnTo>
                  <a:lnTo>
                    <a:pt x="172" y="1329"/>
                  </a:lnTo>
                  <a:lnTo>
                    <a:pt x="172" y="1325"/>
                  </a:lnTo>
                  <a:lnTo>
                    <a:pt x="170" y="1322"/>
                  </a:lnTo>
                  <a:lnTo>
                    <a:pt x="167" y="1311"/>
                  </a:lnTo>
                  <a:lnTo>
                    <a:pt x="162" y="1269"/>
                  </a:lnTo>
                  <a:lnTo>
                    <a:pt x="161" y="1259"/>
                  </a:lnTo>
                  <a:lnTo>
                    <a:pt x="161" y="1256"/>
                  </a:lnTo>
                  <a:lnTo>
                    <a:pt x="156" y="1203"/>
                  </a:lnTo>
                  <a:lnTo>
                    <a:pt x="155" y="1199"/>
                  </a:lnTo>
                  <a:lnTo>
                    <a:pt x="152" y="1185"/>
                  </a:lnTo>
                  <a:lnTo>
                    <a:pt x="147" y="1165"/>
                  </a:lnTo>
                  <a:lnTo>
                    <a:pt x="144" y="1140"/>
                  </a:lnTo>
                  <a:lnTo>
                    <a:pt x="135" y="1082"/>
                  </a:lnTo>
                  <a:lnTo>
                    <a:pt x="130" y="1051"/>
                  </a:lnTo>
                  <a:lnTo>
                    <a:pt x="127" y="1024"/>
                  </a:lnTo>
                  <a:lnTo>
                    <a:pt x="122" y="999"/>
                  </a:lnTo>
                  <a:lnTo>
                    <a:pt x="121" y="979"/>
                  </a:lnTo>
                  <a:lnTo>
                    <a:pt x="118" y="965"/>
                  </a:lnTo>
                  <a:lnTo>
                    <a:pt x="118" y="961"/>
                  </a:lnTo>
                  <a:lnTo>
                    <a:pt x="115" y="959"/>
                  </a:lnTo>
                  <a:lnTo>
                    <a:pt x="101" y="959"/>
                  </a:lnTo>
                  <a:lnTo>
                    <a:pt x="99" y="950"/>
                  </a:lnTo>
                  <a:lnTo>
                    <a:pt x="98" y="933"/>
                  </a:lnTo>
                  <a:lnTo>
                    <a:pt x="98" y="881"/>
                  </a:lnTo>
                  <a:lnTo>
                    <a:pt x="99" y="848"/>
                  </a:lnTo>
                  <a:lnTo>
                    <a:pt x="99" y="816"/>
                  </a:lnTo>
                  <a:lnTo>
                    <a:pt x="101" y="785"/>
                  </a:lnTo>
                  <a:lnTo>
                    <a:pt x="103" y="758"/>
                  </a:lnTo>
                  <a:lnTo>
                    <a:pt x="103" y="735"/>
                  </a:lnTo>
                  <a:lnTo>
                    <a:pt x="104" y="721"/>
                  </a:lnTo>
                  <a:lnTo>
                    <a:pt x="104" y="715"/>
                  </a:lnTo>
                  <a:lnTo>
                    <a:pt x="96" y="742"/>
                  </a:lnTo>
                  <a:lnTo>
                    <a:pt x="89" y="772"/>
                  </a:lnTo>
                  <a:lnTo>
                    <a:pt x="84" y="799"/>
                  </a:lnTo>
                  <a:lnTo>
                    <a:pt x="79" y="824"/>
                  </a:lnTo>
                  <a:lnTo>
                    <a:pt x="76" y="844"/>
                  </a:lnTo>
                  <a:lnTo>
                    <a:pt x="75" y="858"/>
                  </a:lnTo>
                  <a:lnTo>
                    <a:pt x="75" y="862"/>
                  </a:lnTo>
                  <a:lnTo>
                    <a:pt x="67" y="864"/>
                  </a:lnTo>
                  <a:lnTo>
                    <a:pt x="66" y="874"/>
                  </a:lnTo>
                  <a:lnTo>
                    <a:pt x="56" y="871"/>
                  </a:lnTo>
                  <a:lnTo>
                    <a:pt x="56" y="876"/>
                  </a:lnTo>
                  <a:lnTo>
                    <a:pt x="58" y="893"/>
                  </a:lnTo>
                  <a:lnTo>
                    <a:pt x="58" y="913"/>
                  </a:lnTo>
                  <a:lnTo>
                    <a:pt x="56" y="917"/>
                  </a:lnTo>
                  <a:lnTo>
                    <a:pt x="56" y="944"/>
                  </a:lnTo>
                  <a:lnTo>
                    <a:pt x="55" y="954"/>
                  </a:lnTo>
                  <a:lnTo>
                    <a:pt x="55" y="959"/>
                  </a:lnTo>
                  <a:lnTo>
                    <a:pt x="61" y="954"/>
                  </a:lnTo>
                  <a:lnTo>
                    <a:pt x="66" y="954"/>
                  </a:lnTo>
                  <a:lnTo>
                    <a:pt x="67" y="956"/>
                  </a:lnTo>
                  <a:lnTo>
                    <a:pt x="67" y="962"/>
                  </a:lnTo>
                  <a:lnTo>
                    <a:pt x="55" y="976"/>
                  </a:lnTo>
                  <a:lnTo>
                    <a:pt x="24" y="974"/>
                  </a:lnTo>
                  <a:lnTo>
                    <a:pt x="0" y="937"/>
                  </a:lnTo>
                  <a:lnTo>
                    <a:pt x="7" y="919"/>
                  </a:lnTo>
                  <a:lnTo>
                    <a:pt x="10" y="904"/>
                  </a:lnTo>
                  <a:lnTo>
                    <a:pt x="12" y="888"/>
                  </a:lnTo>
                  <a:lnTo>
                    <a:pt x="12" y="871"/>
                  </a:lnTo>
                  <a:lnTo>
                    <a:pt x="7" y="873"/>
                  </a:lnTo>
                  <a:lnTo>
                    <a:pt x="7" y="858"/>
                  </a:lnTo>
                  <a:lnTo>
                    <a:pt x="3" y="854"/>
                  </a:lnTo>
                  <a:lnTo>
                    <a:pt x="3" y="850"/>
                  </a:lnTo>
                  <a:lnTo>
                    <a:pt x="4" y="839"/>
                  </a:lnTo>
                  <a:lnTo>
                    <a:pt x="7" y="822"/>
                  </a:lnTo>
                  <a:lnTo>
                    <a:pt x="9" y="802"/>
                  </a:lnTo>
                  <a:lnTo>
                    <a:pt x="15" y="756"/>
                  </a:lnTo>
                  <a:lnTo>
                    <a:pt x="18" y="736"/>
                  </a:lnTo>
                  <a:lnTo>
                    <a:pt x="21" y="718"/>
                  </a:lnTo>
                  <a:lnTo>
                    <a:pt x="23" y="704"/>
                  </a:lnTo>
                  <a:lnTo>
                    <a:pt x="24" y="698"/>
                  </a:lnTo>
                  <a:lnTo>
                    <a:pt x="26" y="687"/>
                  </a:lnTo>
                  <a:lnTo>
                    <a:pt x="27" y="669"/>
                  </a:lnTo>
                  <a:lnTo>
                    <a:pt x="30" y="642"/>
                  </a:lnTo>
                  <a:lnTo>
                    <a:pt x="33" y="613"/>
                  </a:lnTo>
                  <a:lnTo>
                    <a:pt x="36" y="582"/>
                  </a:lnTo>
                  <a:lnTo>
                    <a:pt x="43" y="530"/>
                  </a:lnTo>
                  <a:lnTo>
                    <a:pt x="46" y="506"/>
                  </a:lnTo>
                  <a:lnTo>
                    <a:pt x="49" y="487"/>
                  </a:lnTo>
                  <a:lnTo>
                    <a:pt x="50" y="473"/>
                  </a:lnTo>
                  <a:lnTo>
                    <a:pt x="52" y="469"/>
                  </a:lnTo>
                  <a:lnTo>
                    <a:pt x="52" y="464"/>
                  </a:lnTo>
                  <a:lnTo>
                    <a:pt x="53" y="452"/>
                  </a:lnTo>
                  <a:lnTo>
                    <a:pt x="53" y="435"/>
                  </a:lnTo>
                  <a:lnTo>
                    <a:pt x="56" y="392"/>
                  </a:lnTo>
                  <a:lnTo>
                    <a:pt x="58" y="372"/>
                  </a:lnTo>
                  <a:lnTo>
                    <a:pt x="59" y="355"/>
                  </a:lnTo>
                  <a:lnTo>
                    <a:pt x="61" y="343"/>
                  </a:lnTo>
                  <a:lnTo>
                    <a:pt x="66" y="334"/>
                  </a:lnTo>
                  <a:lnTo>
                    <a:pt x="72" y="329"/>
                  </a:lnTo>
                  <a:lnTo>
                    <a:pt x="84" y="329"/>
                  </a:lnTo>
                  <a:lnTo>
                    <a:pt x="86" y="330"/>
                  </a:lnTo>
                  <a:lnTo>
                    <a:pt x="89" y="329"/>
                  </a:lnTo>
                  <a:lnTo>
                    <a:pt x="98" y="326"/>
                  </a:lnTo>
                  <a:lnTo>
                    <a:pt x="110" y="320"/>
                  </a:lnTo>
                  <a:lnTo>
                    <a:pt x="124" y="314"/>
                  </a:lnTo>
                  <a:lnTo>
                    <a:pt x="141" y="306"/>
                  </a:lnTo>
                  <a:lnTo>
                    <a:pt x="156" y="300"/>
                  </a:lnTo>
                  <a:lnTo>
                    <a:pt x="169" y="294"/>
                  </a:lnTo>
                  <a:lnTo>
                    <a:pt x="179" y="289"/>
                  </a:lnTo>
                  <a:lnTo>
                    <a:pt x="184" y="286"/>
                  </a:lnTo>
                  <a:lnTo>
                    <a:pt x="189" y="281"/>
                  </a:lnTo>
                  <a:lnTo>
                    <a:pt x="195" y="274"/>
                  </a:lnTo>
                  <a:lnTo>
                    <a:pt x="202" y="264"/>
                  </a:lnTo>
                  <a:lnTo>
                    <a:pt x="209" y="257"/>
                  </a:lnTo>
                  <a:lnTo>
                    <a:pt x="213" y="251"/>
                  </a:lnTo>
                  <a:lnTo>
                    <a:pt x="215" y="247"/>
                  </a:lnTo>
                  <a:lnTo>
                    <a:pt x="215" y="209"/>
                  </a:lnTo>
                  <a:lnTo>
                    <a:pt x="209" y="206"/>
                  </a:lnTo>
                  <a:lnTo>
                    <a:pt x="204" y="198"/>
                  </a:lnTo>
                  <a:lnTo>
                    <a:pt x="199" y="189"/>
                  </a:lnTo>
                  <a:lnTo>
                    <a:pt x="198" y="181"/>
                  </a:lnTo>
                  <a:lnTo>
                    <a:pt x="196" y="178"/>
                  </a:lnTo>
                  <a:lnTo>
                    <a:pt x="187" y="171"/>
                  </a:lnTo>
                  <a:lnTo>
                    <a:pt x="182" y="161"/>
                  </a:lnTo>
                  <a:lnTo>
                    <a:pt x="181" y="149"/>
                  </a:lnTo>
                  <a:lnTo>
                    <a:pt x="179" y="140"/>
                  </a:lnTo>
                  <a:lnTo>
                    <a:pt x="181" y="132"/>
                  </a:lnTo>
                  <a:lnTo>
                    <a:pt x="181" y="129"/>
                  </a:lnTo>
                  <a:lnTo>
                    <a:pt x="179" y="126"/>
                  </a:lnTo>
                  <a:lnTo>
                    <a:pt x="178" y="117"/>
                  </a:lnTo>
                  <a:lnTo>
                    <a:pt x="176" y="101"/>
                  </a:lnTo>
                  <a:lnTo>
                    <a:pt x="176" y="85"/>
                  </a:lnTo>
                  <a:lnTo>
                    <a:pt x="181" y="63"/>
                  </a:lnTo>
                  <a:lnTo>
                    <a:pt x="190" y="42"/>
                  </a:lnTo>
                  <a:lnTo>
                    <a:pt x="202" y="25"/>
                  </a:lnTo>
                  <a:lnTo>
                    <a:pt x="218" y="14"/>
                  </a:lnTo>
                  <a:lnTo>
                    <a:pt x="235" y="6"/>
                  </a:lnTo>
                  <a:lnTo>
                    <a:pt x="250" y="2"/>
                  </a:lnTo>
                  <a:lnTo>
                    <a:pt x="262" y="0"/>
                  </a:lnTo>
                  <a:close/>
                </a:path>
              </a:pathLst>
            </a:custGeom>
            <a:solidFill>
              <a:schemeClr val="accent1"/>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a:p>
          </p:txBody>
        </p:sp>
      </p:grpSp>
      <p:grpSp>
        <p:nvGrpSpPr>
          <p:cNvPr id="26" name="Gruppieren 34"/>
          <p:cNvGrpSpPr/>
          <p:nvPr>
            <p:custDataLst>
              <p:tags r:id="rId2"/>
            </p:custDataLst>
          </p:nvPr>
        </p:nvGrpSpPr>
        <p:grpSpPr>
          <a:xfrm>
            <a:off x="5760132" y="1556792"/>
            <a:ext cx="1620180" cy="1296144"/>
            <a:chOff x="3128576" y="2564899"/>
            <a:chExt cx="2307520" cy="1920807"/>
          </a:xfrm>
        </p:grpSpPr>
        <p:grpSp>
          <p:nvGrpSpPr>
            <p:cNvPr id="27" name="Gruppieren 19"/>
            <p:cNvGrpSpPr/>
            <p:nvPr/>
          </p:nvGrpSpPr>
          <p:grpSpPr>
            <a:xfrm>
              <a:off x="3851921" y="2564899"/>
              <a:ext cx="446793" cy="731248"/>
              <a:chOff x="1037032" y="2818028"/>
              <a:chExt cx="719938" cy="1178299"/>
            </a:xfrm>
          </p:grpSpPr>
          <p:sp>
            <p:nvSpPr>
              <p:cNvPr id="36" name="Ellipse 4"/>
              <p:cNvSpPr/>
              <p:nvPr/>
            </p:nvSpPr>
            <p:spPr>
              <a:xfrm>
                <a:off x="1037032" y="3837847"/>
                <a:ext cx="719938" cy="158480"/>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9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Freeform 11"/>
              <p:cNvSpPr>
                <a:spLocks noEditPoints="1"/>
              </p:cNvSpPr>
              <p:nvPr/>
            </p:nvSpPr>
            <p:spPr bwMode="auto">
              <a:xfrm>
                <a:off x="1226786" y="2818028"/>
                <a:ext cx="318435" cy="1103859"/>
              </a:xfrm>
              <a:custGeom>
                <a:avLst/>
                <a:gdLst>
                  <a:gd name="T0" fmla="*/ 762 w 834"/>
                  <a:gd name="T1" fmla="*/ 549 h 2898"/>
                  <a:gd name="T2" fmla="*/ 651 w 834"/>
                  <a:gd name="T3" fmla="*/ 486 h 2898"/>
                  <a:gd name="T4" fmla="*/ 515 w 834"/>
                  <a:gd name="T5" fmla="*/ 358 h 2898"/>
                  <a:gd name="T6" fmla="*/ 539 w 834"/>
                  <a:gd name="T7" fmla="*/ 272 h 2898"/>
                  <a:gd name="T8" fmla="*/ 575 w 834"/>
                  <a:gd name="T9" fmla="*/ 211 h 2898"/>
                  <a:gd name="T10" fmla="*/ 555 w 834"/>
                  <a:gd name="T11" fmla="*/ 133 h 2898"/>
                  <a:gd name="T12" fmla="*/ 525 w 834"/>
                  <a:gd name="T13" fmla="*/ 38 h 2898"/>
                  <a:gd name="T14" fmla="*/ 405 w 834"/>
                  <a:gd name="T15" fmla="*/ 4 h 2898"/>
                  <a:gd name="T16" fmla="*/ 304 w 834"/>
                  <a:gd name="T17" fmla="*/ 77 h 2898"/>
                  <a:gd name="T18" fmla="*/ 302 w 834"/>
                  <a:gd name="T19" fmla="*/ 161 h 2898"/>
                  <a:gd name="T20" fmla="*/ 283 w 834"/>
                  <a:gd name="T21" fmla="*/ 182 h 2898"/>
                  <a:gd name="T22" fmla="*/ 317 w 834"/>
                  <a:gd name="T23" fmla="*/ 256 h 2898"/>
                  <a:gd name="T24" fmla="*/ 326 w 834"/>
                  <a:gd name="T25" fmla="*/ 315 h 2898"/>
                  <a:gd name="T26" fmla="*/ 336 w 834"/>
                  <a:gd name="T27" fmla="*/ 379 h 2898"/>
                  <a:gd name="T28" fmla="*/ 97 w 834"/>
                  <a:gd name="T29" fmla="*/ 544 h 2898"/>
                  <a:gd name="T30" fmla="*/ 49 w 834"/>
                  <a:gd name="T31" fmla="*/ 723 h 2898"/>
                  <a:gd name="T32" fmla="*/ 9 w 834"/>
                  <a:gd name="T33" fmla="*/ 1141 h 2898"/>
                  <a:gd name="T34" fmla="*/ 0 w 834"/>
                  <a:gd name="T35" fmla="*/ 1287 h 2898"/>
                  <a:gd name="T36" fmla="*/ 6 w 834"/>
                  <a:gd name="T37" fmla="*/ 1385 h 2898"/>
                  <a:gd name="T38" fmla="*/ 3 w 834"/>
                  <a:gd name="T39" fmla="*/ 1466 h 2898"/>
                  <a:gd name="T40" fmla="*/ 20 w 834"/>
                  <a:gd name="T41" fmla="*/ 1481 h 2898"/>
                  <a:gd name="T42" fmla="*/ 48 w 834"/>
                  <a:gd name="T43" fmla="*/ 1655 h 2898"/>
                  <a:gd name="T44" fmla="*/ 113 w 834"/>
                  <a:gd name="T45" fmla="*/ 1691 h 2898"/>
                  <a:gd name="T46" fmla="*/ 174 w 834"/>
                  <a:gd name="T47" fmla="*/ 1936 h 2898"/>
                  <a:gd name="T48" fmla="*/ 192 w 834"/>
                  <a:gd name="T49" fmla="*/ 2448 h 2898"/>
                  <a:gd name="T50" fmla="*/ 216 w 834"/>
                  <a:gd name="T51" fmla="*/ 2672 h 2898"/>
                  <a:gd name="T52" fmla="*/ 233 w 834"/>
                  <a:gd name="T53" fmla="*/ 2757 h 2898"/>
                  <a:gd name="T54" fmla="*/ 206 w 834"/>
                  <a:gd name="T55" fmla="*/ 2804 h 2898"/>
                  <a:gd name="T56" fmla="*/ 147 w 834"/>
                  <a:gd name="T57" fmla="*/ 2844 h 2898"/>
                  <a:gd name="T58" fmla="*/ 243 w 834"/>
                  <a:gd name="T59" fmla="*/ 2885 h 2898"/>
                  <a:gd name="T60" fmla="*/ 344 w 834"/>
                  <a:gd name="T61" fmla="*/ 2866 h 2898"/>
                  <a:gd name="T62" fmla="*/ 379 w 834"/>
                  <a:gd name="T63" fmla="*/ 2858 h 2898"/>
                  <a:gd name="T64" fmla="*/ 424 w 834"/>
                  <a:gd name="T65" fmla="*/ 2808 h 2898"/>
                  <a:gd name="T66" fmla="*/ 400 w 834"/>
                  <a:gd name="T67" fmla="*/ 2349 h 2898"/>
                  <a:gd name="T68" fmla="*/ 366 w 834"/>
                  <a:gd name="T69" fmla="*/ 2182 h 2898"/>
                  <a:gd name="T70" fmla="*/ 370 w 834"/>
                  <a:gd name="T71" fmla="*/ 1944 h 2898"/>
                  <a:gd name="T72" fmla="*/ 408 w 834"/>
                  <a:gd name="T73" fmla="*/ 1630 h 2898"/>
                  <a:gd name="T74" fmla="*/ 440 w 834"/>
                  <a:gd name="T75" fmla="*/ 1670 h 2898"/>
                  <a:gd name="T76" fmla="*/ 501 w 834"/>
                  <a:gd name="T77" fmla="*/ 2025 h 2898"/>
                  <a:gd name="T78" fmla="*/ 539 w 834"/>
                  <a:gd name="T79" fmla="*/ 2293 h 2898"/>
                  <a:gd name="T80" fmla="*/ 594 w 834"/>
                  <a:gd name="T81" fmla="*/ 2768 h 2898"/>
                  <a:gd name="T82" fmla="*/ 579 w 834"/>
                  <a:gd name="T83" fmla="*/ 2847 h 2898"/>
                  <a:gd name="T84" fmla="*/ 621 w 834"/>
                  <a:gd name="T85" fmla="*/ 2882 h 2898"/>
                  <a:gd name="T86" fmla="*/ 794 w 834"/>
                  <a:gd name="T87" fmla="*/ 2880 h 2898"/>
                  <a:gd name="T88" fmla="*/ 740 w 834"/>
                  <a:gd name="T89" fmla="*/ 2783 h 2898"/>
                  <a:gd name="T90" fmla="*/ 749 w 834"/>
                  <a:gd name="T91" fmla="*/ 2744 h 2898"/>
                  <a:gd name="T92" fmla="*/ 743 w 834"/>
                  <a:gd name="T93" fmla="*/ 2510 h 2898"/>
                  <a:gd name="T94" fmla="*/ 728 w 834"/>
                  <a:gd name="T95" fmla="*/ 2128 h 2898"/>
                  <a:gd name="T96" fmla="*/ 812 w 834"/>
                  <a:gd name="T97" fmla="*/ 1615 h 2898"/>
                  <a:gd name="T98" fmla="*/ 834 w 834"/>
                  <a:gd name="T99" fmla="*/ 1226 h 2898"/>
                  <a:gd name="T100" fmla="*/ 799 w 834"/>
                  <a:gd name="T101" fmla="*/ 712 h 2898"/>
                  <a:gd name="T102" fmla="*/ 123 w 834"/>
                  <a:gd name="T103" fmla="*/ 1615 h 2898"/>
                  <a:gd name="T104" fmla="*/ 169 w 834"/>
                  <a:gd name="T105" fmla="*/ 1207 h 2898"/>
                  <a:gd name="T106" fmla="*/ 128 w 834"/>
                  <a:gd name="T107" fmla="*/ 1418 h 2898"/>
                  <a:gd name="T108" fmla="*/ 125 w 834"/>
                  <a:gd name="T109" fmla="*/ 1327 h 2898"/>
                  <a:gd name="T110" fmla="*/ 168 w 834"/>
                  <a:gd name="T111" fmla="*/ 1015 h 2898"/>
                  <a:gd name="T112" fmla="*/ 181 w 834"/>
                  <a:gd name="T113" fmla="*/ 991 h 2898"/>
                  <a:gd name="T114" fmla="*/ 668 w 834"/>
                  <a:gd name="T115" fmla="*/ 1159 h 2898"/>
                  <a:gd name="T116" fmla="*/ 682 w 834"/>
                  <a:gd name="T117" fmla="*/ 920 h 2898"/>
                  <a:gd name="T118" fmla="*/ 719 w 834"/>
                  <a:gd name="T119" fmla="*/ 1402 h 2898"/>
                  <a:gd name="T120" fmla="*/ 679 w 834"/>
                  <a:gd name="T121" fmla="*/ 1260 h 2898"/>
                  <a:gd name="T122" fmla="*/ 712 w 834"/>
                  <a:gd name="T123" fmla="*/ 1551 h 28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34"/>
                  <a:gd name="T187" fmla="*/ 0 h 2898"/>
                  <a:gd name="T188" fmla="*/ 834 w 834"/>
                  <a:gd name="T189" fmla="*/ 2898 h 28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34" h="2898">
                    <a:moveTo>
                      <a:pt x="799" y="712"/>
                    </a:moveTo>
                    <a:lnTo>
                      <a:pt x="799" y="712"/>
                    </a:lnTo>
                    <a:lnTo>
                      <a:pt x="784" y="621"/>
                    </a:lnTo>
                    <a:lnTo>
                      <a:pt x="780" y="600"/>
                    </a:lnTo>
                    <a:lnTo>
                      <a:pt x="775" y="581"/>
                    </a:lnTo>
                    <a:lnTo>
                      <a:pt x="770" y="565"/>
                    </a:lnTo>
                    <a:lnTo>
                      <a:pt x="762" y="549"/>
                    </a:lnTo>
                    <a:lnTo>
                      <a:pt x="757" y="542"/>
                    </a:lnTo>
                    <a:lnTo>
                      <a:pt x="749" y="534"/>
                    </a:lnTo>
                    <a:lnTo>
                      <a:pt x="738" y="526"/>
                    </a:lnTo>
                    <a:lnTo>
                      <a:pt x="724" y="517"/>
                    </a:lnTo>
                    <a:lnTo>
                      <a:pt x="708" y="509"/>
                    </a:lnTo>
                    <a:lnTo>
                      <a:pt x="690" y="501"/>
                    </a:lnTo>
                    <a:lnTo>
                      <a:pt x="671" y="493"/>
                    </a:lnTo>
                    <a:lnTo>
                      <a:pt x="651" y="486"/>
                    </a:lnTo>
                    <a:lnTo>
                      <a:pt x="611" y="464"/>
                    </a:lnTo>
                    <a:lnTo>
                      <a:pt x="573" y="442"/>
                    </a:lnTo>
                    <a:lnTo>
                      <a:pt x="541" y="422"/>
                    </a:lnTo>
                    <a:lnTo>
                      <a:pt x="520" y="411"/>
                    </a:lnTo>
                    <a:lnTo>
                      <a:pt x="515" y="373"/>
                    </a:lnTo>
                    <a:lnTo>
                      <a:pt x="515" y="358"/>
                    </a:lnTo>
                    <a:lnTo>
                      <a:pt x="517" y="352"/>
                    </a:lnTo>
                    <a:lnTo>
                      <a:pt x="520" y="346"/>
                    </a:lnTo>
                    <a:lnTo>
                      <a:pt x="528" y="331"/>
                    </a:lnTo>
                    <a:lnTo>
                      <a:pt x="535" y="314"/>
                    </a:lnTo>
                    <a:lnTo>
                      <a:pt x="538" y="294"/>
                    </a:lnTo>
                    <a:lnTo>
                      <a:pt x="539" y="272"/>
                    </a:lnTo>
                    <a:lnTo>
                      <a:pt x="555" y="269"/>
                    </a:lnTo>
                    <a:lnTo>
                      <a:pt x="559" y="267"/>
                    </a:lnTo>
                    <a:lnTo>
                      <a:pt x="563" y="262"/>
                    </a:lnTo>
                    <a:lnTo>
                      <a:pt x="568" y="253"/>
                    </a:lnTo>
                    <a:lnTo>
                      <a:pt x="571" y="240"/>
                    </a:lnTo>
                    <a:lnTo>
                      <a:pt x="575" y="225"/>
                    </a:lnTo>
                    <a:lnTo>
                      <a:pt x="575" y="211"/>
                    </a:lnTo>
                    <a:lnTo>
                      <a:pt x="573" y="197"/>
                    </a:lnTo>
                    <a:lnTo>
                      <a:pt x="571" y="184"/>
                    </a:lnTo>
                    <a:lnTo>
                      <a:pt x="568" y="179"/>
                    </a:lnTo>
                    <a:lnTo>
                      <a:pt x="567" y="176"/>
                    </a:lnTo>
                    <a:lnTo>
                      <a:pt x="563" y="174"/>
                    </a:lnTo>
                    <a:lnTo>
                      <a:pt x="560" y="174"/>
                    </a:lnTo>
                    <a:lnTo>
                      <a:pt x="555" y="133"/>
                    </a:lnTo>
                    <a:lnTo>
                      <a:pt x="554" y="112"/>
                    </a:lnTo>
                    <a:lnTo>
                      <a:pt x="551" y="91"/>
                    </a:lnTo>
                    <a:lnTo>
                      <a:pt x="546" y="73"/>
                    </a:lnTo>
                    <a:lnTo>
                      <a:pt x="541" y="57"/>
                    </a:lnTo>
                    <a:lnTo>
                      <a:pt x="533" y="46"/>
                    </a:lnTo>
                    <a:lnTo>
                      <a:pt x="530" y="41"/>
                    </a:lnTo>
                    <a:lnTo>
                      <a:pt x="525" y="38"/>
                    </a:lnTo>
                    <a:lnTo>
                      <a:pt x="514" y="25"/>
                    </a:lnTo>
                    <a:lnTo>
                      <a:pt x="499" y="16"/>
                    </a:lnTo>
                    <a:lnTo>
                      <a:pt x="487" y="8"/>
                    </a:lnTo>
                    <a:lnTo>
                      <a:pt x="471" y="3"/>
                    </a:lnTo>
                    <a:lnTo>
                      <a:pt x="454" y="1"/>
                    </a:lnTo>
                    <a:lnTo>
                      <a:pt x="438" y="0"/>
                    </a:lnTo>
                    <a:lnTo>
                      <a:pt x="421" y="1"/>
                    </a:lnTo>
                    <a:lnTo>
                      <a:pt x="405" y="4"/>
                    </a:lnTo>
                    <a:lnTo>
                      <a:pt x="389" y="9"/>
                    </a:lnTo>
                    <a:lnTo>
                      <a:pt x="373" y="16"/>
                    </a:lnTo>
                    <a:lnTo>
                      <a:pt x="357" y="24"/>
                    </a:lnTo>
                    <a:lnTo>
                      <a:pt x="344" y="33"/>
                    </a:lnTo>
                    <a:lnTo>
                      <a:pt x="331" y="43"/>
                    </a:lnTo>
                    <a:lnTo>
                      <a:pt x="320" y="54"/>
                    </a:lnTo>
                    <a:lnTo>
                      <a:pt x="312" y="65"/>
                    </a:lnTo>
                    <a:lnTo>
                      <a:pt x="304" y="77"/>
                    </a:lnTo>
                    <a:lnTo>
                      <a:pt x="301" y="88"/>
                    </a:lnTo>
                    <a:lnTo>
                      <a:pt x="299" y="97"/>
                    </a:lnTo>
                    <a:lnTo>
                      <a:pt x="299" y="109"/>
                    </a:lnTo>
                    <a:lnTo>
                      <a:pt x="301" y="121"/>
                    </a:lnTo>
                    <a:lnTo>
                      <a:pt x="302" y="142"/>
                    </a:lnTo>
                    <a:lnTo>
                      <a:pt x="302" y="152"/>
                    </a:lnTo>
                    <a:lnTo>
                      <a:pt x="302" y="161"/>
                    </a:lnTo>
                    <a:lnTo>
                      <a:pt x="298" y="163"/>
                    </a:lnTo>
                    <a:lnTo>
                      <a:pt x="293" y="165"/>
                    </a:lnTo>
                    <a:lnTo>
                      <a:pt x="290" y="168"/>
                    </a:lnTo>
                    <a:lnTo>
                      <a:pt x="286" y="169"/>
                    </a:lnTo>
                    <a:lnTo>
                      <a:pt x="285" y="174"/>
                    </a:lnTo>
                    <a:lnTo>
                      <a:pt x="283" y="182"/>
                    </a:lnTo>
                    <a:lnTo>
                      <a:pt x="286" y="216"/>
                    </a:lnTo>
                    <a:lnTo>
                      <a:pt x="288" y="233"/>
                    </a:lnTo>
                    <a:lnTo>
                      <a:pt x="294" y="253"/>
                    </a:lnTo>
                    <a:lnTo>
                      <a:pt x="296" y="256"/>
                    </a:lnTo>
                    <a:lnTo>
                      <a:pt x="299" y="257"/>
                    </a:lnTo>
                    <a:lnTo>
                      <a:pt x="309" y="257"/>
                    </a:lnTo>
                    <a:lnTo>
                      <a:pt x="317" y="256"/>
                    </a:lnTo>
                    <a:lnTo>
                      <a:pt x="320" y="257"/>
                    </a:lnTo>
                    <a:lnTo>
                      <a:pt x="322" y="262"/>
                    </a:lnTo>
                    <a:lnTo>
                      <a:pt x="323" y="273"/>
                    </a:lnTo>
                    <a:lnTo>
                      <a:pt x="322" y="286"/>
                    </a:lnTo>
                    <a:lnTo>
                      <a:pt x="323" y="301"/>
                    </a:lnTo>
                    <a:lnTo>
                      <a:pt x="323" y="307"/>
                    </a:lnTo>
                    <a:lnTo>
                      <a:pt x="326" y="315"/>
                    </a:lnTo>
                    <a:lnTo>
                      <a:pt x="330" y="320"/>
                    </a:lnTo>
                    <a:lnTo>
                      <a:pt x="331" y="323"/>
                    </a:lnTo>
                    <a:lnTo>
                      <a:pt x="334" y="326"/>
                    </a:lnTo>
                    <a:lnTo>
                      <a:pt x="334" y="331"/>
                    </a:lnTo>
                    <a:lnTo>
                      <a:pt x="336" y="355"/>
                    </a:lnTo>
                    <a:lnTo>
                      <a:pt x="336" y="379"/>
                    </a:lnTo>
                    <a:lnTo>
                      <a:pt x="334" y="400"/>
                    </a:lnTo>
                    <a:lnTo>
                      <a:pt x="334" y="419"/>
                    </a:lnTo>
                    <a:lnTo>
                      <a:pt x="277" y="451"/>
                    </a:lnTo>
                    <a:lnTo>
                      <a:pt x="217" y="483"/>
                    </a:lnTo>
                    <a:lnTo>
                      <a:pt x="158" y="515"/>
                    </a:lnTo>
                    <a:lnTo>
                      <a:pt x="129" y="530"/>
                    </a:lnTo>
                    <a:lnTo>
                      <a:pt x="97" y="544"/>
                    </a:lnTo>
                    <a:lnTo>
                      <a:pt x="93" y="552"/>
                    </a:lnTo>
                    <a:lnTo>
                      <a:pt x="88" y="562"/>
                    </a:lnTo>
                    <a:lnTo>
                      <a:pt x="78" y="586"/>
                    </a:lnTo>
                    <a:lnTo>
                      <a:pt x="70" y="613"/>
                    </a:lnTo>
                    <a:lnTo>
                      <a:pt x="62" y="647"/>
                    </a:lnTo>
                    <a:lnTo>
                      <a:pt x="56" y="683"/>
                    </a:lnTo>
                    <a:lnTo>
                      <a:pt x="49" y="723"/>
                    </a:lnTo>
                    <a:lnTo>
                      <a:pt x="40" y="812"/>
                    </a:lnTo>
                    <a:lnTo>
                      <a:pt x="27" y="936"/>
                    </a:lnTo>
                    <a:lnTo>
                      <a:pt x="20" y="997"/>
                    </a:lnTo>
                    <a:lnTo>
                      <a:pt x="17" y="1057"/>
                    </a:lnTo>
                    <a:lnTo>
                      <a:pt x="14" y="1101"/>
                    </a:lnTo>
                    <a:lnTo>
                      <a:pt x="9" y="1141"/>
                    </a:lnTo>
                    <a:lnTo>
                      <a:pt x="4" y="1178"/>
                    </a:lnTo>
                    <a:lnTo>
                      <a:pt x="3" y="1209"/>
                    </a:lnTo>
                    <a:lnTo>
                      <a:pt x="3" y="1225"/>
                    </a:lnTo>
                    <a:lnTo>
                      <a:pt x="1" y="1244"/>
                    </a:lnTo>
                    <a:lnTo>
                      <a:pt x="0" y="1265"/>
                    </a:lnTo>
                    <a:lnTo>
                      <a:pt x="0" y="1287"/>
                    </a:lnTo>
                    <a:lnTo>
                      <a:pt x="3" y="1306"/>
                    </a:lnTo>
                    <a:lnTo>
                      <a:pt x="8" y="1324"/>
                    </a:lnTo>
                    <a:lnTo>
                      <a:pt x="12" y="1342"/>
                    </a:lnTo>
                    <a:lnTo>
                      <a:pt x="14" y="1361"/>
                    </a:lnTo>
                    <a:lnTo>
                      <a:pt x="12" y="1369"/>
                    </a:lnTo>
                    <a:lnTo>
                      <a:pt x="9" y="1377"/>
                    </a:lnTo>
                    <a:lnTo>
                      <a:pt x="6" y="1385"/>
                    </a:lnTo>
                    <a:lnTo>
                      <a:pt x="4" y="1391"/>
                    </a:lnTo>
                    <a:lnTo>
                      <a:pt x="4" y="1414"/>
                    </a:lnTo>
                    <a:lnTo>
                      <a:pt x="3" y="1433"/>
                    </a:lnTo>
                    <a:lnTo>
                      <a:pt x="1" y="1449"/>
                    </a:lnTo>
                    <a:lnTo>
                      <a:pt x="1" y="1463"/>
                    </a:lnTo>
                    <a:lnTo>
                      <a:pt x="3" y="1466"/>
                    </a:lnTo>
                    <a:lnTo>
                      <a:pt x="6" y="1470"/>
                    </a:lnTo>
                    <a:lnTo>
                      <a:pt x="12" y="1471"/>
                    </a:lnTo>
                    <a:lnTo>
                      <a:pt x="19" y="1473"/>
                    </a:lnTo>
                    <a:lnTo>
                      <a:pt x="22" y="1474"/>
                    </a:lnTo>
                    <a:lnTo>
                      <a:pt x="22" y="1476"/>
                    </a:lnTo>
                    <a:lnTo>
                      <a:pt x="22" y="1479"/>
                    </a:lnTo>
                    <a:lnTo>
                      <a:pt x="20" y="1481"/>
                    </a:lnTo>
                    <a:lnTo>
                      <a:pt x="19" y="1482"/>
                    </a:lnTo>
                    <a:lnTo>
                      <a:pt x="22" y="1535"/>
                    </a:lnTo>
                    <a:lnTo>
                      <a:pt x="25" y="1580"/>
                    </a:lnTo>
                    <a:lnTo>
                      <a:pt x="27" y="1601"/>
                    </a:lnTo>
                    <a:lnTo>
                      <a:pt x="32" y="1620"/>
                    </a:lnTo>
                    <a:lnTo>
                      <a:pt x="38" y="1638"/>
                    </a:lnTo>
                    <a:lnTo>
                      <a:pt x="48" y="1655"/>
                    </a:lnTo>
                    <a:lnTo>
                      <a:pt x="54" y="1665"/>
                    </a:lnTo>
                    <a:lnTo>
                      <a:pt x="61" y="1671"/>
                    </a:lnTo>
                    <a:lnTo>
                      <a:pt x="70" y="1678"/>
                    </a:lnTo>
                    <a:lnTo>
                      <a:pt x="78" y="1683"/>
                    </a:lnTo>
                    <a:lnTo>
                      <a:pt x="89" y="1686"/>
                    </a:lnTo>
                    <a:lnTo>
                      <a:pt x="101" y="1689"/>
                    </a:lnTo>
                    <a:lnTo>
                      <a:pt x="113" y="1691"/>
                    </a:lnTo>
                    <a:lnTo>
                      <a:pt x="128" y="1691"/>
                    </a:lnTo>
                    <a:lnTo>
                      <a:pt x="141" y="1737"/>
                    </a:lnTo>
                    <a:lnTo>
                      <a:pt x="152" y="1785"/>
                    </a:lnTo>
                    <a:lnTo>
                      <a:pt x="161" y="1835"/>
                    </a:lnTo>
                    <a:lnTo>
                      <a:pt x="169" y="1886"/>
                    </a:lnTo>
                    <a:lnTo>
                      <a:pt x="174" y="1936"/>
                    </a:lnTo>
                    <a:lnTo>
                      <a:pt x="177" y="1987"/>
                    </a:lnTo>
                    <a:lnTo>
                      <a:pt x="181" y="2091"/>
                    </a:lnTo>
                    <a:lnTo>
                      <a:pt x="184" y="2197"/>
                    </a:lnTo>
                    <a:lnTo>
                      <a:pt x="187" y="2302"/>
                    </a:lnTo>
                    <a:lnTo>
                      <a:pt x="189" y="2352"/>
                    </a:lnTo>
                    <a:lnTo>
                      <a:pt x="190" y="2400"/>
                    </a:lnTo>
                    <a:lnTo>
                      <a:pt x="192" y="2448"/>
                    </a:lnTo>
                    <a:lnTo>
                      <a:pt x="193" y="2470"/>
                    </a:lnTo>
                    <a:lnTo>
                      <a:pt x="197" y="2494"/>
                    </a:lnTo>
                    <a:lnTo>
                      <a:pt x="201" y="2533"/>
                    </a:lnTo>
                    <a:lnTo>
                      <a:pt x="206" y="2578"/>
                    </a:lnTo>
                    <a:lnTo>
                      <a:pt x="209" y="2626"/>
                    </a:lnTo>
                    <a:lnTo>
                      <a:pt x="216" y="2672"/>
                    </a:lnTo>
                    <a:lnTo>
                      <a:pt x="217" y="2696"/>
                    </a:lnTo>
                    <a:lnTo>
                      <a:pt x="217" y="2719"/>
                    </a:lnTo>
                    <a:lnTo>
                      <a:pt x="221" y="2739"/>
                    </a:lnTo>
                    <a:lnTo>
                      <a:pt x="224" y="2747"/>
                    </a:lnTo>
                    <a:lnTo>
                      <a:pt x="227" y="2754"/>
                    </a:lnTo>
                    <a:lnTo>
                      <a:pt x="230" y="2757"/>
                    </a:lnTo>
                    <a:lnTo>
                      <a:pt x="233" y="2757"/>
                    </a:lnTo>
                    <a:lnTo>
                      <a:pt x="238" y="2757"/>
                    </a:lnTo>
                    <a:lnTo>
                      <a:pt x="241" y="2757"/>
                    </a:lnTo>
                    <a:lnTo>
                      <a:pt x="235" y="2771"/>
                    </a:lnTo>
                    <a:lnTo>
                      <a:pt x="227" y="2784"/>
                    </a:lnTo>
                    <a:lnTo>
                      <a:pt x="217" y="2796"/>
                    </a:lnTo>
                    <a:lnTo>
                      <a:pt x="206" y="2804"/>
                    </a:lnTo>
                    <a:lnTo>
                      <a:pt x="195" y="2810"/>
                    </a:lnTo>
                    <a:lnTo>
                      <a:pt x="182" y="2815"/>
                    </a:lnTo>
                    <a:lnTo>
                      <a:pt x="169" y="2821"/>
                    </a:lnTo>
                    <a:lnTo>
                      <a:pt x="163" y="2824"/>
                    </a:lnTo>
                    <a:lnTo>
                      <a:pt x="158" y="2829"/>
                    </a:lnTo>
                    <a:lnTo>
                      <a:pt x="152" y="2836"/>
                    </a:lnTo>
                    <a:lnTo>
                      <a:pt x="147" y="2844"/>
                    </a:lnTo>
                    <a:lnTo>
                      <a:pt x="139" y="2861"/>
                    </a:lnTo>
                    <a:lnTo>
                      <a:pt x="137" y="2864"/>
                    </a:lnTo>
                    <a:lnTo>
                      <a:pt x="137" y="2869"/>
                    </a:lnTo>
                    <a:lnTo>
                      <a:pt x="137" y="2876"/>
                    </a:lnTo>
                    <a:lnTo>
                      <a:pt x="192" y="2882"/>
                    </a:lnTo>
                    <a:lnTo>
                      <a:pt x="243" y="2885"/>
                    </a:lnTo>
                    <a:lnTo>
                      <a:pt x="267" y="2885"/>
                    </a:lnTo>
                    <a:lnTo>
                      <a:pt x="291" y="2885"/>
                    </a:lnTo>
                    <a:lnTo>
                      <a:pt x="314" y="2882"/>
                    </a:lnTo>
                    <a:lnTo>
                      <a:pt x="336" y="2877"/>
                    </a:lnTo>
                    <a:lnTo>
                      <a:pt x="339" y="2876"/>
                    </a:lnTo>
                    <a:lnTo>
                      <a:pt x="341" y="2872"/>
                    </a:lnTo>
                    <a:lnTo>
                      <a:pt x="344" y="2866"/>
                    </a:lnTo>
                    <a:lnTo>
                      <a:pt x="349" y="2858"/>
                    </a:lnTo>
                    <a:lnTo>
                      <a:pt x="350" y="2855"/>
                    </a:lnTo>
                    <a:lnTo>
                      <a:pt x="352" y="2855"/>
                    </a:lnTo>
                    <a:lnTo>
                      <a:pt x="358" y="2855"/>
                    </a:lnTo>
                    <a:lnTo>
                      <a:pt x="366" y="2856"/>
                    </a:lnTo>
                    <a:lnTo>
                      <a:pt x="374" y="2858"/>
                    </a:lnTo>
                    <a:lnTo>
                      <a:pt x="379" y="2858"/>
                    </a:lnTo>
                    <a:lnTo>
                      <a:pt x="402" y="2853"/>
                    </a:lnTo>
                    <a:lnTo>
                      <a:pt x="411" y="2850"/>
                    </a:lnTo>
                    <a:lnTo>
                      <a:pt x="421" y="2847"/>
                    </a:lnTo>
                    <a:lnTo>
                      <a:pt x="422" y="2840"/>
                    </a:lnTo>
                    <a:lnTo>
                      <a:pt x="424" y="2832"/>
                    </a:lnTo>
                    <a:lnTo>
                      <a:pt x="424" y="2808"/>
                    </a:lnTo>
                    <a:lnTo>
                      <a:pt x="418" y="2735"/>
                    </a:lnTo>
                    <a:lnTo>
                      <a:pt x="410" y="2591"/>
                    </a:lnTo>
                    <a:lnTo>
                      <a:pt x="406" y="2523"/>
                    </a:lnTo>
                    <a:lnTo>
                      <a:pt x="405" y="2474"/>
                    </a:lnTo>
                    <a:lnTo>
                      <a:pt x="405" y="2410"/>
                    </a:lnTo>
                    <a:lnTo>
                      <a:pt x="400" y="2349"/>
                    </a:lnTo>
                    <a:lnTo>
                      <a:pt x="394" y="2291"/>
                    </a:lnTo>
                    <a:lnTo>
                      <a:pt x="390" y="2264"/>
                    </a:lnTo>
                    <a:lnTo>
                      <a:pt x="386" y="2238"/>
                    </a:lnTo>
                    <a:lnTo>
                      <a:pt x="381" y="2224"/>
                    </a:lnTo>
                    <a:lnTo>
                      <a:pt x="376" y="2209"/>
                    </a:lnTo>
                    <a:lnTo>
                      <a:pt x="370" y="2195"/>
                    </a:lnTo>
                    <a:lnTo>
                      <a:pt x="366" y="2182"/>
                    </a:lnTo>
                    <a:lnTo>
                      <a:pt x="363" y="2168"/>
                    </a:lnTo>
                    <a:lnTo>
                      <a:pt x="360" y="2153"/>
                    </a:lnTo>
                    <a:lnTo>
                      <a:pt x="358" y="2118"/>
                    </a:lnTo>
                    <a:lnTo>
                      <a:pt x="358" y="2080"/>
                    </a:lnTo>
                    <a:lnTo>
                      <a:pt x="362" y="2037"/>
                    </a:lnTo>
                    <a:lnTo>
                      <a:pt x="365" y="1992"/>
                    </a:lnTo>
                    <a:lnTo>
                      <a:pt x="370" y="1944"/>
                    </a:lnTo>
                    <a:lnTo>
                      <a:pt x="381" y="1846"/>
                    </a:lnTo>
                    <a:lnTo>
                      <a:pt x="387" y="1788"/>
                    </a:lnTo>
                    <a:lnTo>
                      <a:pt x="394" y="1731"/>
                    </a:lnTo>
                    <a:lnTo>
                      <a:pt x="398" y="1681"/>
                    </a:lnTo>
                    <a:lnTo>
                      <a:pt x="405" y="1638"/>
                    </a:lnTo>
                    <a:lnTo>
                      <a:pt x="408" y="1630"/>
                    </a:lnTo>
                    <a:lnTo>
                      <a:pt x="410" y="1623"/>
                    </a:lnTo>
                    <a:lnTo>
                      <a:pt x="413" y="1617"/>
                    </a:lnTo>
                    <a:lnTo>
                      <a:pt x="416" y="1611"/>
                    </a:lnTo>
                    <a:lnTo>
                      <a:pt x="426" y="1611"/>
                    </a:lnTo>
                    <a:lnTo>
                      <a:pt x="429" y="1631"/>
                    </a:lnTo>
                    <a:lnTo>
                      <a:pt x="435" y="1651"/>
                    </a:lnTo>
                    <a:lnTo>
                      <a:pt x="440" y="1670"/>
                    </a:lnTo>
                    <a:lnTo>
                      <a:pt x="443" y="1691"/>
                    </a:lnTo>
                    <a:lnTo>
                      <a:pt x="454" y="1761"/>
                    </a:lnTo>
                    <a:lnTo>
                      <a:pt x="464" y="1835"/>
                    </a:lnTo>
                    <a:lnTo>
                      <a:pt x="475" y="1912"/>
                    </a:lnTo>
                    <a:lnTo>
                      <a:pt x="487" y="1992"/>
                    </a:lnTo>
                    <a:lnTo>
                      <a:pt x="501" y="2025"/>
                    </a:lnTo>
                    <a:lnTo>
                      <a:pt x="512" y="2056"/>
                    </a:lnTo>
                    <a:lnTo>
                      <a:pt x="519" y="2086"/>
                    </a:lnTo>
                    <a:lnTo>
                      <a:pt x="525" y="2120"/>
                    </a:lnTo>
                    <a:lnTo>
                      <a:pt x="530" y="2163"/>
                    </a:lnTo>
                    <a:lnTo>
                      <a:pt x="533" y="2206"/>
                    </a:lnTo>
                    <a:lnTo>
                      <a:pt x="536" y="2251"/>
                    </a:lnTo>
                    <a:lnTo>
                      <a:pt x="539" y="2293"/>
                    </a:lnTo>
                    <a:lnTo>
                      <a:pt x="555" y="2411"/>
                    </a:lnTo>
                    <a:lnTo>
                      <a:pt x="567" y="2525"/>
                    </a:lnTo>
                    <a:lnTo>
                      <a:pt x="586" y="2741"/>
                    </a:lnTo>
                    <a:lnTo>
                      <a:pt x="587" y="2751"/>
                    </a:lnTo>
                    <a:lnTo>
                      <a:pt x="591" y="2759"/>
                    </a:lnTo>
                    <a:lnTo>
                      <a:pt x="594" y="2768"/>
                    </a:lnTo>
                    <a:lnTo>
                      <a:pt x="594" y="2776"/>
                    </a:lnTo>
                    <a:lnTo>
                      <a:pt x="594" y="2786"/>
                    </a:lnTo>
                    <a:lnTo>
                      <a:pt x="592" y="2794"/>
                    </a:lnTo>
                    <a:lnTo>
                      <a:pt x="587" y="2812"/>
                    </a:lnTo>
                    <a:lnTo>
                      <a:pt x="583" y="2829"/>
                    </a:lnTo>
                    <a:lnTo>
                      <a:pt x="579" y="2837"/>
                    </a:lnTo>
                    <a:lnTo>
                      <a:pt x="579" y="2847"/>
                    </a:lnTo>
                    <a:lnTo>
                      <a:pt x="586" y="2852"/>
                    </a:lnTo>
                    <a:lnTo>
                      <a:pt x="594" y="2855"/>
                    </a:lnTo>
                    <a:lnTo>
                      <a:pt x="603" y="2860"/>
                    </a:lnTo>
                    <a:lnTo>
                      <a:pt x="611" y="2866"/>
                    </a:lnTo>
                    <a:lnTo>
                      <a:pt x="618" y="2874"/>
                    </a:lnTo>
                    <a:lnTo>
                      <a:pt x="621" y="2882"/>
                    </a:lnTo>
                    <a:lnTo>
                      <a:pt x="624" y="2892"/>
                    </a:lnTo>
                    <a:lnTo>
                      <a:pt x="664" y="2896"/>
                    </a:lnTo>
                    <a:lnTo>
                      <a:pt x="709" y="2898"/>
                    </a:lnTo>
                    <a:lnTo>
                      <a:pt x="754" y="2898"/>
                    </a:lnTo>
                    <a:lnTo>
                      <a:pt x="797" y="2896"/>
                    </a:lnTo>
                    <a:lnTo>
                      <a:pt x="794" y="2880"/>
                    </a:lnTo>
                    <a:lnTo>
                      <a:pt x="789" y="2861"/>
                    </a:lnTo>
                    <a:lnTo>
                      <a:pt x="781" y="2844"/>
                    </a:lnTo>
                    <a:lnTo>
                      <a:pt x="770" y="2826"/>
                    </a:lnTo>
                    <a:lnTo>
                      <a:pt x="760" y="2813"/>
                    </a:lnTo>
                    <a:lnTo>
                      <a:pt x="749" y="2800"/>
                    </a:lnTo>
                    <a:lnTo>
                      <a:pt x="741" y="2789"/>
                    </a:lnTo>
                    <a:lnTo>
                      <a:pt x="740" y="2783"/>
                    </a:lnTo>
                    <a:lnTo>
                      <a:pt x="738" y="2776"/>
                    </a:lnTo>
                    <a:lnTo>
                      <a:pt x="738" y="2773"/>
                    </a:lnTo>
                    <a:lnTo>
                      <a:pt x="740" y="2768"/>
                    </a:lnTo>
                    <a:lnTo>
                      <a:pt x="743" y="2762"/>
                    </a:lnTo>
                    <a:lnTo>
                      <a:pt x="748" y="2754"/>
                    </a:lnTo>
                    <a:lnTo>
                      <a:pt x="749" y="2749"/>
                    </a:lnTo>
                    <a:lnTo>
                      <a:pt x="749" y="2744"/>
                    </a:lnTo>
                    <a:lnTo>
                      <a:pt x="746" y="2717"/>
                    </a:lnTo>
                    <a:lnTo>
                      <a:pt x="743" y="2687"/>
                    </a:lnTo>
                    <a:lnTo>
                      <a:pt x="740" y="2655"/>
                    </a:lnTo>
                    <a:lnTo>
                      <a:pt x="736" y="2623"/>
                    </a:lnTo>
                    <a:lnTo>
                      <a:pt x="738" y="2567"/>
                    </a:lnTo>
                    <a:lnTo>
                      <a:pt x="743" y="2510"/>
                    </a:lnTo>
                    <a:lnTo>
                      <a:pt x="746" y="2453"/>
                    </a:lnTo>
                    <a:lnTo>
                      <a:pt x="748" y="2395"/>
                    </a:lnTo>
                    <a:lnTo>
                      <a:pt x="748" y="2355"/>
                    </a:lnTo>
                    <a:lnTo>
                      <a:pt x="744" y="2317"/>
                    </a:lnTo>
                    <a:lnTo>
                      <a:pt x="738" y="2241"/>
                    </a:lnTo>
                    <a:lnTo>
                      <a:pt x="730" y="2166"/>
                    </a:lnTo>
                    <a:lnTo>
                      <a:pt x="728" y="2128"/>
                    </a:lnTo>
                    <a:lnTo>
                      <a:pt x="728" y="2089"/>
                    </a:lnTo>
                    <a:lnTo>
                      <a:pt x="730" y="1878"/>
                    </a:lnTo>
                    <a:lnTo>
                      <a:pt x="733" y="1665"/>
                    </a:lnTo>
                    <a:lnTo>
                      <a:pt x="756" y="1654"/>
                    </a:lnTo>
                    <a:lnTo>
                      <a:pt x="775" y="1643"/>
                    </a:lnTo>
                    <a:lnTo>
                      <a:pt x="812" y="1615"/>
                    </a:lnTo>
                    <a:lnTo>
                      <a:pt x="816" y="1595"/>
                    </a:lnTo>
                    <a:lnTo>
                      <a:pt x="818" y="1567"/>
                    </a:lnTo>
                    <a:lnTo>
                      <a:pt x="823" y="1508"/>
                    </a:lnTo>
                    <a:lnTo>
                      <a:pt x="829" y="1425"/>
                    </a:lnTo>
                    <a:lnTo>
                      <a:pt x="832" y="1329"/>
                    </a:lnTo>
                    <a:lnTo>
                      <a:pt x="834" y="1226"/>
                    </a:lnTo>
                    <a:lnTo>
                      <a:pt x="834" y="1119"/>
                    </a:lnTo>
                    <a:lnTo>
                      <a:pt x="829" y="1012"/>
                    </a:lnTo>
                    <a:lnTo>
                      <a:pt x="823" y="904"/>
                    </a:lnTo>
                    <a:lnTo>
                      <a:pt x="818" y="853"/>
                    </a:lnTo>
                    <a:lnTo>
                      <a:pt x="813" y="804"/>
                    </a:lnTo>
                    <a:lnTo>
                      <a:pt x="807" y="757"/>
                    </a:lnTo>
                    <a:lnTo>
                      <a:pt x="799" y="712"/>
                    </a:lnTo>
                    <a:close/>
                    <a:moveTo>
                      <a:pt x="123" y="1636"/>
                    </a:moveTo>
                    <a:lnTo>
                      <a:pt x="113" y="1636"/>
                    </a:lnTo>
                    <a:lnTo>
                      <a:pt x="107" y="1577"/>
                    </a:lnTo>
                    <a:lnTo>
                      <a:pt x="113" y="1585"/>
                    </a:lnTo>
                    <a:lnTo>
                      <a:pt x="117" y="1595"/>
                    </a:lnTo>
                    <a:lnTo>
                      <a:pt x="123" y="1615"/>
                    </a:lnTo>
                    <a:lnTo>
                      <a:pt x="123" y="1636"/>
                    </a:lnTo>
                    <a:close/>
                    <a:moveTo>
                      <a:pt x="181" y="1065"/>
                    </a:moveTo>
                    <a:lnTo>
                      <a:pt x="181" y="1065"/>
                    </a:lnTo>
                    <a:lnTo>
                      <a:pt x="179" y="1100"/>
                    </a:lnTo>
                    <a:lnTo>
                      <a:pt x="176" y="1135"/>
                    </a:lnTo>
                    <a:lnTo>
                      <a:pt x="174" y="1170"/>
                    </a:lnTo>
                    <a:lnTo>
                      <a:pt x="169" y="1207"/>
                    </a:lnTo>
                    <a:lnTo>
                      <a:pt x="161" y="1236"/>
                    </a:lnTo>
                    <a:lnTo>
                      <a:pt x="153" y="1265"/>
                    </a:lnTo>
                    <a:lnTo>
                      <a:pt x="145" y="1292"/>
                    </a:lnTo>
                    <a:lnTo>
                      <a:pt x="137" y="1319"/>
                    </a:lnTo>
                    <a:lnTo>
                      <a:pt x="133" y="1346"/>
                    </a:lnTo>
                    <a:lnTo>
                      <a:pt x="131" y="1372"/>
                    </a:lnTo>
                    <a:lnTo>
                      <a:pt x="128" y="1418"/>
                    </a:lnTo>
                    <a:lnTo>
                      <a:pt x="125" y="1412"/>
                    </a:lnTo>
                    <a:lnTo>
                      <a:pt x="121" y="1401"/>
                    </a:lnTo>
                    <a:lnTo>
                      <a:pt x="118" y="1385"/>
                    </a:lnTo>
                    <a:lnTo>
                      <a:pt x="118" y="1362"/>
                    </a:lnTo>
                    <a:lnTo>
                      <a:pt x="120" y="1345"/>
                    </a:lnTo>
                    <a:lnTo>
                      <a:pt x="125" y="1327"/>
                    </a:lnTo>
                    <a:lnTo>
                      <a:pt x="136" y="1285"/>
                    </a:lnTo>
                    <a:lnTo>
                      <a:pt x="141" y="1261"/>
                    </a:lnTo>
                    <a:lnTo>
                      <a:pt x="147" y="1237"/>
                    </a:lnTo>
                    <a:lnTo>
                      <a:pt x="150" y="1210"/>
                    </a:lnTo>
                    <a:lnTo>
                      <a:pt x="153" y="1180"/>
                    </a:lnTo>
                    <a:lnTo>
                      <a:pt x="160" y="1095"/>
                    </a:lnTo>
                    <a:lnTo>
                      <a:pt x="168" y="1015"/>
                    </a:lnTo>
                    <a:lnTo>
                      <a:pt x="176" y="951"/>
                    </a:lnTo>
                    <a:lnTo>
                      <a:pt x="182" y="911"/>
                    </a:lnTo>
                    <a:lnTo>
                      <a:pt x="185" y="920"/>
                    </a:lnTo>
                    <a:lnTo>
                      <a:pt x="185" y="930"/>
                    </a:lnTo>
                    <a:lnTo>
                      <a:pt x="185" y="949"/>
                    </a:lnTo>
                    <a:lnTo>
                      <a:pt x="181" y="991"/>
                    </a:lnTo>
                    <a:lnTo>
                      <a:pt x="181" y="1008"/>
                    </a:lnTo>
                    <a:lnTo>
                      <a:pt x="182" y="1026"/>
                    </a:lnTo>
                    <a:lnTo>
                      <a:pt x="182" y="1045"/>
                    </a:lnTo>
                    <a:lnTo>
                      <a:pt x="181" y="1065"/>
                    </a:lnTo>
                    <a:close/>
                    <a:moveTo>
                      <a:pt x="669" y="1193"/>
                    </a:moveTo>
                    <a:lnTo>
                      <a:pt x="669" y="1193"/>
                    </a:lnTo>
                    <a:lnTo>
                      <a:pt x="668" y="1159"/>
                    </a:lnTo>
                    <a:lnTo>
                      <a:pt x="666" y="1124"/>
                    </a:lnTo>
                    <a:lnTo>
                      <a:pt x="664" y="1047"/>
                    </a:lnTo>
                    <a:lnTo>
                      <a:pt x="668" y="887"/>
                    </a:lnTo>
                    <a:lnTo>
                      <a:pt x="671" y="892"/>
                    </a:lnTo>
                    <a:lnTo>
                      <a:pt x="674" y="900"/>
                    </a:lnTo>
                    <a:lnTo>
                      <a:pt x="679" y="909"/>
                    </a:lnTo>
                    <a:lnTo>
                      <a:pt x="682" y="920"/>
                    </a:lnTo>
                    <a:lnTo>
                      <a:pt x="685" y="941"/>
                    </a:lnTo>
                    <a:lnTo>
                      <a:pt x="690" y="968"/>
                    </a:lnTo>
                    <a:lnTo>
                      <a:pt x="696" y="1036"/>
                    </a:lnTo>
                    <a:lnTo>
                      <a:pt x="701" y="1113"/>
                    </a:lnTo>
                    <a:lnTo>
                      <a:pt x="706" y="1194"/>
                    </a:lnTo>
                    <a:lnTo>
                      <a:pt x="714" y="1345"/>
                    </a:lnTo>
                    <a:lnTo>
                      <a:pt x="719" y="1402"/>
                    </a:lnTo>
                    <a:lnTo>
                      <a:pt x="724" y="1438"/>
                    </a:lnTo>
                    <a:lnTo>
                      <a:pt x="708" y="1447"/>
                    </a:lnTo>
                    <a:lnTo>
                      <a:pt x="706" y="1417"/>
                    </a:lnTo>
                    <a:lnTo>
                      <a:pt x="701" y="1386"/>
                    </a:lnTo>
                    <a:lnTo>
                      <a:pt x="690" y="1324"/>
                    </a:lnTo>
                    <a:lnTo>
                      <a:pt x="679" y="1260"/>
                    </a:lnTo>
                    <a:lnTo>
                      <a:pt x="674" y="1226"/>
                    </a:lnTo>
                    <a:lnTo>
                      <a:pt x="669" y="1193"/>
                    </a:lnTo>
                    <a:close/>
                    <a:moveTo>
                      <a:pt x="724" y="1591"/>
                    </a:moveTo>
                    <a:lnTo>
                      <a:pt x="719" y="1591"/>
                    </a:lnTo>
                    <a:lnTo>
                      <a:pt x="712" y="1551"/>
                    </a:lnTo>
                    <a:lnTo>
                      <a:pt x="719" y="1559"/>
                    </a:lnTo>
                    <a:lnTo>
                      <a:pt x="722" y="1567"/>
                    </a:lnTo>
                    <a:lnTo>
                      <a:pt x="724" y="1577"/>
                    </a:lnTo>
                    <a:lnTo>
                      <a:pt x="724" y="1591"/>
                    </a:lnTo>
                    <a:close/>
                  </a:path>
                </a:pathLst>
              </a:custGeom>
              <a:solidFill>
                <a:schemeClr val="accent1">
                  <a:lumMod val="75000"/>
                </a:schemeClr>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28" name="Gruppieren 26"/>
            <p:cNvGrpSpPr/>
            <p:nvPr/>
          </p:nvGrpSpPr>
          <p:grpSpPr>
            <a:xfrm>
              <a:off x="4762134" y="2581487"/>
              <a:ext cx="673962" cy="1063529"/>
              <a:chOff x="1593782" y="3418618"/>
              <a:chExt cx="817978" cy="1290794"/>
            </a:xfrm>
          </p:grpSpPr>
          <p:sp>
            <p:nvSpPr>
              <p:cNvPr id="34" name="Ellipse 4"/>
              <p:cNvSpPr/>
              <p:nvPr/>
            </p:nvSpPr>
            <p:spPr>
              <a:xfrm>
                <a:off x="1593782" y="4482081"/>
                <a:ext cx="817978" cy="227331"/>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Freeform 13"/>
              <p:cNvSpPr>
                <a:spLocks noEditPoints="1"/>
              </p:cNvSpPr>
              <p:nvPr/>
            </p:nvSpPr>
            <p:spPr bwMode="auto">
              <a:xfrm>
                <a:off x="1854828" y="3418618"/>
                <a:ext cx="412915" cy="1206109"/>
              </a:xfrm>
              <a:custGeom>
                <a:avLst/>
                <a:gdLst>
                  <a:gd name="T0" fmla="*/ 887 w 1010"/>
                  <a:gd name="T1" fmla="*/ 661 h 2956"/>
                  <a:gd name="T2" fmla="*/ 812 w 1010"/>
                  <a:gd name="T3" fmla="*/ 535 h 2956"/>
                  <a:gd name="T4" fmla="*/ 685 w 1010"/>
                  <a:gd name="T5" fmla="*/ 421 h 2956"/>
                  <a:gd name="T6" fmla="*/ 676 w 1010"/>
                  <a:gd name="T7" fmla="*/ 149 h 2956"/>
                  <a:gd name="T8" fmla="*/ 583 w 1010"/>
                  <a:gd name="T9" fmla="*/ 13 h 2956"/>
                  <a:gd name="T10" fmla="*/ 431 w 1010"/>
                  <a:gd name="T11" fmla="*/ 56 h 2956"/>
                  <a:gd name="T12" fmla="*/ 371 w 1010"/>
                  <a:gd name="T13" fmla="*/ 259 h 2956"/>
                  <a:gd name="T14" fmla="*/ 355 w 1010"/>
                  <a:gd name="T15" fmla="*/ 440 h 2956"/>
                  <a:gd name="T16" fmla="*/ 206 w 1010"/>
                  <a:gd name="T17" fmla="*/ 514 h 2956"/>
                  <a:gd name="T18" fmla="*/ 134 w 1010"/>
                  <a:gd name="T19" fmla="*/ 639 h 2956"/>
                  <a:gd name="T20" fmla="*/ 146 w 1010"/>
                  <a:gd name="T21" fmla="*/ 769 h 2956"/>
                  <a:gd name="T22" fmla="*/ 158 w 1010"/>
                  <a:gd name="T23" fmla="*/ 991 h 2956"/>
                  <a:gd name="T24" fmla="*/ 141 w 1010"/>
                  <a:gd name="T25" fmla="*/ 1220 h 2956"/>
                  <a:gd name="T26" fmla="*/ 141 w 1010"/>
                  <a:gd name="T27" fmla="*/ 1422 h 2956"/>
                  <a:gd name="T28" fmla="*/ 125 w 1010"/>
                  <a:gd name="T29" fmla="*/ 1561 h 2956"/>
                  <a:gd name="T30" fmla="*/ 146 w 1010"/>
                  <a:gd name="T31" fmla="*/ 1686 h 2956"/>
                  <a:gd name="T32" fmla="*/ 184 w 1010"/>
                  <a:gd name="T33" fmla="*/ 1882 h 2956"/>
                  <a:gd name="T34" fmla="*/ 178 w 1010"/>
                  <a:gd name="T35" fmla="*/ 2034 h 2956"/>
                  <a:gd name="T36" fmla="*/ 158 w 1010"/>
                  <a:gd name="T37" fmla="*/ 2199 h 2956"/>
                  <a:gd name="T38" fmla="*/ 114 w 1010"/>
                  <a:gd name="T39" fmla="*/ 2765 h 2956"/>
                  <a:gd name="T40" fmla="*/ 85 w 1010"/>
                  <a:gd name="T41" fmla="*/ 2846 h 2956"/>
                  <a:gd name="T42" fmla="*/ 3 w 1010"/>
                  <a:gd name="T43" fmla="*/ 2922 h 2956"/>
                  <a:gd name="T44" fmla="*/ 178 w 1010"/>
                  <a:gd name="T45" fmla="*/ 2910 h 2956"/>
                  <a:gd name="T46" fmla="*/ 274 w 1010"/>
                  <a:gd name="T47" fmla="*/ 2858 h 2956"/>
                  <a:gd name="T48" fmla="*/ 291 w 1010"/>
                  <a:gd name="T49" fmla="*/ 2863 h 2956"/>
                  <a:gd name="T50" fmla="*/ 379 w 1010"/>
                  <a:gd name="T51" fmla="*/ 2812 h 2956"/>
                  <a:gd name="T52" fmla="*/ 363 w 1010"/>
                  <a:gd name="T53" fmla="*/ 2496 h 2956"/>
                  <a:gd name="T54" fmla="*/ 384 w 1010"/>
                  <a:gd name="T55" fmla="*/ 2064 h 2956"/>
                  <a:gd name="T56" fmla="*/ 437 w 1010"/>
                  <a:gd name="T57" fmla="*/ 1742 h 2956"/>
                  <a:gd name="T58" fmla="*/ 501 w 1010"/>
                  <a:gd name="T59" fmla="*/ 1563 h 2956"/>
                  <a:gd name="T60" fmla="*/ 525 w 1010"/>
                  <a:gd name="T61" fmla="*/ 1686 h 2956"/>
                  <a:gd name="T62" fmla="*/ 519 w 1010"/>
                  <a:gd name="T63" fmla="*/ 1955 h 2956"/>
                  <a:gd name="T64" fmla="*/ 516 w 1010"/>
                  <a:gd name="T65" fmla="*/ 2183 h 2956"/>
                  <a:gd name="T66" fmla="*/ 492 w 1010"/>
                  <a:gd name="T67" fmla="*/ 2649 h 2956"/>
                  <a:gd name="T68" fmla="*/ 496 w 1010"/>
                  <a:gd name="T69" fmla="*/ 2796 h 2956"/>
                  <a:gd name="T70" fmla="*/ 501 w 1010"/>
                  <a:gd name="T71" fmla="*/ 2927 h 2956"/>
                  <a:gd name="T72" fmla="*/ 608 w 1010"/>
                  <a:gd name="T73" fmla="*/ 2942 h 2956"/>
                  <a:gd name="T74" fmla="*/ 625 w 1010"/>
                  <a:gd name="T75" fmla="*/ 2874 h 2956"/>
                  <a:gd name="T76" fmla="*/ 685 w 1010"/>
                  <a:gd name="T77" fmla="*/ 2727 h 2956"/>
                  <a:gd name="T78" fmla="*/ 711 w 1010"/>
                  <a:gd name="T79" fmla="*/ 2354 h 2956"/>
                  <a:gd name="T80" fmla="*/ 738 w 1010"/>
                  <a:gd name="T81" fmla="*/ 2053 h 2956"/>
                  <a:gd name="T82" fmla="*/ 783 w 1010"/>
                  <a:gd name="T83" fmla="*/ 1675 h 2956"/>
                  <a:gd name="T84" fmla="*/ 817 w 1010"/>
                  <a:gd name="T85" fmla="*/ 1422 h 2956"/>
                  <a:gd name="T86" fmla="*/ 793 w 1010"/>
                  <a:gd name="T87" fmla="*/ 1244 h 2956"/>
                  <a:gd name="T88" fmla="*/ 874 w 1010"/>
                  <a:gd name="T89" fmla="*/ 1204 h 2956"/>
                  <a:gd name="T90" fmla="*/ 986 w 1010"/>
                  <a:gd name="T91" fmla="*/ 1044 h 2956"/>
                  <a:gd name="T92" fmla="*/ 962 w 1010"/>
                  <a:gd name="T93" fmla="*/ 826 h 2956"/>
                  <a:gd name="T94" fmla="*/ 178 w 1010"/>
                  <a:gd name="T95" fmla="*/ 1614 h 2956"/>
                  <a:gd name="T96" fmla="*/ 194 w 1010"/>
                  <a:gd name="T97" fmla="*/ 1678 h 2956"/>
                  <a:gd name="T98" fmla="*/ 243 w 1010"/>
                  <a:gd name="T99" fmla="*/ 1384 h 2956"/>
                  <a:gd name="T100" fmla="*/ 211 w 1010"/>
                  <a:gd name="T101" fmla="*/ 1416 h 2956"/>
                  <a:gd name="T102" fmla="*/ 250 w 1010"/>
                  <a:gd name="T103" fmla="*/ 1247 h 2956"/>
                  <a:gd name="T104" fmla="*/ 287 w 1010"/>
                  <a:gd name="T105" fmla="*/ 1092 h 2956"/>
                  <a:gd name="T106" fmla="*/ 263 w 1010"/>
                  <a:gd name="T107" fmla="*/ 1159 h 2956"/>
                  <a:gd name="T108" fmla="*/ 272 w 1010"/>
                  <a:gd name="T109" fmla="*/ 962 h 2956"/>
                  <a:gd name="T110" fmla="*/ 285 w 1010"/>
                  <a:gd name="T111" fmla="*/ 919 h 2956"/>
                  <a:gd name="T112" fmla="*/ 892 w 1010"/>
                  <a:gd name="T113" fmla="*/ 993 h 2956"/>
                  <a:gd name="T114" fmla="*/ 815 w 1010"/>
                  <a:gd name="T115" fmla="*/ 1142 h 2956"/>
                  <a:gd name="T116" fmla="*/ 749 w 1010"/>
                  <a:gd name="T117" fmla="*/ 1063 h 2956"/>
                  <a:gd name="T118" fmla="*/ 727 w 1010"/>
                  <a:gd name="T119" fmla="*/ 829 h 2956"/>
                  <a:gd name="T120" fmla="*/ 759 w 1010"/>
                  <a:gd name="T121" fmla="*/ 732 h 2956"/>
                  <a:gd name="T122" fmla="*/ 852 w 1010"/>
                  <a:gd name="T123" fmla="*/ 871 h 2956"/>
                  <a:gd name="T124" fmla="*/ 898 w 1010"/>
                  <a:gd name="T125" fmla="*/ 980 h 29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10"/>
                  <a:gd name="T190" fmla="*/ 0 h 2956"/>
                  <a:gd name="T191" fmla="*/ 1010 w 1010"/>
                  <a:gd name="T192" fmla="*/ 2956 h 29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10" h="2956">
                    <a:moveTo>
                      <a:pt x="962" y="826"/>
                    </a:moveTo>
                    <a:lnTo>
                      <a:pt x="962" y="826"/>
                    </a:lnTo>
                    <a:lnTo>
                      <a:pt x="950" y="796"/>
                    </a:lnTo>
                    <a:lnTo>
                      <a:pt x="945" y="781"/>
                    </a:lnTo>
                    <a:lnTo>
                      <a:pt x="937" y="767"/>
                    </a:lnTo>
                    <a:lnTo>
                      <a:pt x="921" y="738"/>
                    </a:lnTo>
                    <a:lnTo>
                      <a:pt x="913" y="724"/>
                    </a:lnTo>
                    <a:lnTo>
                      <a:pt x="906" y="708"/>
                    </a:lnTo>
                    <a:lnTo>
                      <a:pt x="887" y="661"/>
                    </a:lnTo>
                    <a:lnTo>
                      <a:pt x="870" y="618"/>
                    </a:lnTo>
                    <a:lnTo>
                      <a:pt x="868" y="604"/>
                    </a:lnTo>
                    <a:lnTo>
                      <a:pt x="858" y="592"/>
                    </a:lnTo>
                    <a:lnTo>
                      <a:pt x="850" y="581"/>
                    </a:lnTo>
                    <a:lnTo>
                      <a:pt x="841" y="570"/>
                    </a:lnTo>
                    <a:lnTo>
                      <a:pt x="831" y="560"/>
                    </a:lnTo>
                    <a:lnTo>
                      <a:pt x="820" y="543"/>
                    </a:lnTo>
                    <a:lnTo>
                      <a:pt x="812" y="535"/>
                    </a:lnTo>
                    <a:lnTo>
                      <a:pt x="804" y="527"/>
                    </a:lnTo>
                    <a:lnTo>
                      <a:pt x="793" y="520"/>
                    </a:lnTo>
                    <a:lnTo>
                      <a:pt x="781" y="514"/>
                    </a:lnTo>
                    <a:lnTo>
                      <a:pt x="757" y="504"/>
                    </a:lnTo>
                    <a:lnTo>
                      <a:pt x="730" y="495"/>
                    </a:lnTo>
                    <a:lnTo>
                      <a:pt x="701" y="487"/>
                    </a:lnTo>
                    <a:lnTo>
                      <a:pt x="695" y="469"/>
                    </a:lnTo>
                    <a:lnTo>
                      <a:pt x="690" y="445"/>
                    </a:lnTo>
                    <a:lnTo>
                      <a:pt x="685" y="421"/>
                    </a:lnTo>
                    <a:lnTo>
                      <a:pt x="685" y="410"/>
                    </a:lnTo>
                    <a:lnTo>
                      <a:pt x="685" y="399"/>
                    </a:lnTo>
                    <a:lnTo>
                      <a:pt x="690" y="349"/>
                    </a:lnTo>
                    <a:lnTo>
                      <a:pt x="692" y="323"/>
                    </a:lnTo>
                    <a:lnTo>
                      <a:pt x="690" y="309"/>
                    </a:lnTo>
                    <a:lnTo>
                      <a:pt x="689" y="296"/>
                    </a:lnTo>
                    <a:lnTo>
                      <a:pt x="684" y="202"/>
                    </a:lnTo>
                    <a:lnTo>
                      <a:pt x="676" y="149"/>
                    </a:lnTo>
                    <a:lnTo>
                      <a:pt x="669" y="122"/>
                    </a:lnTo>
                    <a:lnTo>
                      <a:pt x="666" y="110"/>
                    </a:lnTo>
                    <a:lnTo>
                      <a:pt x="663" y="102"/>
                    </a:lnTo>
                    <a:lnTo>
                      <a:pt x="653" y="83"/>
                    </a:lnTo>
                    <a:lnTo>
                      <a:pt x="641" y="66"/>
                    </a:lnTo>
                    <a:lnTo>
                      <a:pt x="626" y="48"/>
                    </a:lnTo>
                    <a:lnTo>
                      <a:pt x="610" y="32"/>
                    </a:lnTo>
                    <a:lnTo>
                      <a:pt x="602" y="26"/>
                    </a:lnTo>
                    <a:lnTo>
                      <a:pt x="592" y="19"/>
                    </a:lnTo>
                    <a:lnTo>
                      <a:pt x="583" y="13"/>
                    </a:lnTo>
                    <a:lnTo>
                      <a:pt x="572" y="8"/>
                    </a:lnTo>
                    <a:lnTo>
                      <a:pt x="559" y="5"/>
                    </a:lnTo>
                    <a:lnTo>
                      <a:pt x="548" y="2"/>
                    </a:lnTo>
                    <a:lnTo>
                      <a:pt x="533" y="0"/>
                    </a:lnTo>
                    <a:lnTo>
                      <a:pt x="519" y="0"/>
                    </a:lnTo>
                    <a:lnTo>
                      <a:pt x="479" y="13"/>
                    </a:lnTo>
                    <a:lnTo>
                      <a:pt x="463" y="26"/>
                    </a:lnTo>
                    <a:lnTo>
                      <a:pt x="447" y="40"/>
                    </a:lnTo>
                    <a:lnTo>
                      <a:pt x="431" y="56"/>
                    </a:lnTo>
                    <a:lnTo>
                      <a:pt x="418" y="72"/>
                    </a:lnTo>
                    <a:lnTo>
                      <a:pt x="405" y="90"/>
                    </a:lnTo>
                    <a:lnTo>
                      <a:pt x="394" y="109"/>
                    </a:lnTo>
                    <a:lnTo>
                      <a:pt x="384" y="130"/>
                    </a:lnTo>
                    <a:lnTo>
                      <a:pt x="376" y="151"/>
                    </a:lnTo>
                    <a:lnTo>
                      <a:pt x="373" y="168"/>
                    </a:lnTo>
                    <a:lnTo>
                      <a:pt x="370" y="184"/>
                    </a:lnTo>
                    <a:lnTo>
                      <a:pt x="370" y="203"/>
                    </a:lnTo>
                    <a:lnTo>
                      <a:pt x="368" y="223"/>
                    </a:lnTo>
                    <a:lnTo>
                      <a:pt x="371" y="259"/>
                    </a:lnTo>
                    <a:lnTo>
                      <a:pt x="376" y="295"/>
                    </a:lnTo>
                    <a:lnTo>
                      <a:pt x="371" y="331"/>
                    </a:lnTo>
                    <a:lnTo>
                      <a:pt x="368" y="360"/>
                    </a:lnTo>
                    <a:lnTo>
                      <a:pt x="367" y="386"/>
                    </a:lnTo>
                    <a:lnTo>
                      <a:pt x="365" y="412"/>
                    </a:lnTo>
                    <a:lnTo>
                      <a:pt x="362" y="424"/>
                    </a:lnTo>
                    <a:lnTo>
                      <a:pt x="359" y="436"/>
                    </a:lnTo>
                    <a:lnTo>
                      <a:pt x="355" y="440"/>
                    </a:lnTo>
                    <a:lnTo>
                      <a:pt x="352" y="445"/>
                    </a:lnTo>
                    <a:lnTo>
                      <a:pt x="347" y="447"/>
                    </a:lnTo>
                    <a:lnTo>
                      <a:pt x="343" y="450"/>
                    </a:lnTo>
                    <a:lnTo>
                      <a:pt x="331" y="452"/>
                    </a:lnTo>
                    <a:lnTo>
                      <a:pt x="320" y="456"/>
                    </a:lnTo>
                    <a:lnTo>
                      <a:pt x="283" y="487"/>
                    </a:lnTo>
                    <a:lnTo>
                      <a:pt x="227" y="498"/>
                    </a:lnTo>
                    <a:lnTo>
                      <a:pt x="206" y="514"/>
                    </a:lnTo>
                    <a:lnTo>
                      <a:pt x="186" y="532"/>
                    </a:lnTo>
                    <a:lnTo>
                      <a:pt x="176" y="541"/>
                    </a:lnTo>
                    <a:lnTo>
                      <a:pt x="168" y="552"/>
                    </a:lnTo>
                    <a:lnTo>
                      <a:pt x="162" y="564"/>
                    </a:lnTo>
                    <a:lnTo>
                      <a:pt x="155" y="575"/>
                    </a:lnTo>
                    <a:lnTo>
                      <a:pt x="150" y="617"/>
                    </a:lnTo>
                    <a:lnTo>
                      <a:pt x="136" y="634"/>
                    </a:lnTo>
                    <a:lnTo>
                      <a:pt x="134" y="639"/>
                    </a:lnTo>
                    <a:lnTo>
                      <a:pt x="136" y="642"/>
                    </a:lnTo>
                    <a:lnTo>
                      <a:pt x="141" y="650"/>
                    </a:lnTo>
                    <a:lnTo>
                      <a:pt x="144" y="658"/>
                    </a:lnTo>
                    <a:lnTo>
                      <a:pt x="146" y="663"/>
                    </a:lnTo>
                    <a:lnTo>
                      <a:pt x="146" y="669"/>
                    </a:lnTo>
                    <a:lnTo>
                      <a:pt x="142" y="693"/>
                    </a:lnTo>
                    <a:lnTo>
                      <a:pt x="142" y="719"/>
                    </a:lnTo>
                    <a:lnTo>
                      <a:pt x="144" y="745"/>
                    </a:lnTo>
                    <a:lnTo>
                      <a:pt x="146" y="769"/>
                    </a:lnTo>
                    <a:lnTo>
                      <a:pt x="149" y="786"/>
                    </a:lnTo>
                    <a:lnTo>
                      <a:pt x="149" y="804"/>
                    </a:lnTo>
                    <a:lnTo>
                      <a:pt x="147" y="839"/>
                    </a:lnTo>
                    <a:lnTo>
                      <a:pt x="147" y="873"/>
                    </a:lnTo>
                    <a:lnTo>
                      <a:pt x="147" y="890"/>
                    </a:lnTo>
                    <a:lnTo>
                      <a:pt x="149" y="906"/>
                    </a:lnTo>
                    <a:lnTo>
                      <a:pt x="154" y="929"/>
                    </a:lnTo>
                    <a:lnTo>
                      <a:pt x="157" y="954"/>
                    </a:lnTo>
                    <a:lnTo>
                      <a:pt x="158" y="980"/>
                    </a:lnTo>
                    <a:lnTo>
                      <a:pt x="158" y="991"/>
                    </a:lnTo>
                    <a:lnTo>
                      <a:pt x="157" y="1004"/>
                    </a:lnTo>
                    <a:lnTo>
                      <a:pt x="146" y="1082"/>
                    </a:lnTo>
                    <a:lnTo>
                      <a:pt x="144" y="1145"/>
                    </a:lnTo>
                    <a:lnTo>
                      <a:pt x="142" y="1163"/>
                    </a:lnTo>
                    <a:lnTo>
                      <a:pt x="139" y="1182"/>
                    </a:lnTo>
                    <a:lnTo>
                      <a:pt x="139" y="1201"/>
                    </a:lnTo>
                    <a:lnTo>
                      <a:pt x="141" y="1220"/>
                    </a:lnTo>
                    <a:lnTo>
                      <a:pt x="142" y="1241"/>
                    </a:lnTo>
                    <a:lnTo>
                      <a:pt x="142" y="1262"/>
                    </a:lnTo>
                    <a:lnTo>
                      <a:pt x="144" y="1284"/>
                    </a:lnTo>
                    <a:lnTo>
                      <a:pt x="146" y="1307"/>
                    </a:lnTo>
                    <a:lnTo>
                      <a:pt x="147" y="1327"/>
                    </a:lnTo>
                    <a:lnTo>
                      <a:pt x="149" y="1352"/>
                    </a:lnTo>
                    <a:lnTo>
                      <a:pt x="149" y="1377"/>
                    </a:lnTo>
                    <a:lnTo>
                      <a:pt x="146" y="1400"/>
                    </a:lnTo>
                    <a:lnTo>
                      <a:pt x="141" y="1422"/>
                    </a:lnTo>
                    <a:lnTo>
                      <a:pt x="136" y="1443"/>
                    </a:lnTo>
                    <a:lnTo>
                      <a:pt x="136" y="1451"/>
                    </a:lnTo>
                    <a:lnTo>
                      <a:pt x="136" y="1459"/>
                    </a:lnTo>
                    <a:lnTo>
                      <a:pt x="139" y="1473"/>
                    </a:lnTo>
                    <a:lnTo>
                      <a:pt x="141" y="1488"/>
                    </a:lnTo>
                    <a:lnTo>
                      <a:pt x="141" y="1494"/>
                    </a:lnTo>
                    <a:lnTo>
                      <a:pt x="139" y="1502"/>
                    </a:lnTo>
                    <a:lnTo>
                      <a:pt x="131" y="1532"/>
                    </a:lnTo>
                    <a:lnTo>
                      <a:pt x="125" y="1561"/>
                    </a:lnTo>
                    <a:lnTo>
                      <a:pt x="125" y="1577"/>
                    </a:lnTo>
                    <a:lnTo>
                      <a:pt x="123" y="1592"/>
                    </a:lnTo>
                    <a:lnTo>
                      <a:pt x="125" y="1608"/>
                    </a:lnTo>
                    <a:lnTo>
                      <a:pt x="126" y="1624"/>
                    </a:lnTo>
                    <a:lnTo>
                      <a:pt x="128" y="1665"/>
                    </a:lnTo>
                    <a:lnTo>
                      <a:pt x="131" y="1672"/>
                    </a:lnTo>
                    <a:lnTo>
                      <a:pt x="136" y="1677"/>
                    </a:lnTo>
                    <a:lnTo>
                      <a:pt x="141" y="1681"/>
                    </a:lnTo>
                    <a:lnTo>
                      <a:pt x="146" y="1686"/>
                    </a:lnTo>
                    <a:lnTo>
                      <a:pt x="154" y="1697"/>
                    </a:lnTo>
                    <a:lnTo>
                      <a:pt x="160" y="1710"/>
                    </a:lnTo>
                    <a:lnTo>
                      <a:pt x="166" y="1721"/>
                    </a:lnTo>
                    <a:lnTo>
                      <a:pt x="174" y="1734"/>
                    </a:lnTo>
                    <a:lnTo>
                      <a:pt x="187" y="1744"/>
                    </a:lnTo>
                    <a:lnTo>
                      <a:pt x="184" y="1872"/>
                    </a:lnTo>
                    <a:lnTo>
                      <a:pt x="184" y="1882"/>
                    </a:lnTo>
                    <a:lnTo>
                      <a:pt x="184" y="1891"/>
                    </a:lnTo>
                    <a:lnTo>
                      <a:pt x="179" y="1910"/>
                    </a:lnTo>
                    <a:lnTo>
                      <a:pt x="179" y="1918"/>
                    </a:lnTo>
                    <a:lnTo>
                      <a:pt x="179" y="1925"/>
                    </a:lnTo>
                    <a:lnTo>
                      <a:pt x="181" y="1942"/>
                    </a:lnTo>
                    <a:lnTo>
                      <a:pt x="182" y="1958"/>
                    </a:lnTo>
                    <a:lnTo>
                      <a:pt x="184" y="1968"/>
                    </a:lnTo>
                    <a:lnTo>
                      <a:pt x="182" y="1976"/>
                    </a:lnTo>
                    <a:lnTo>
                      <a:pt x="178" y="2034"/>
                    </a:lnTo>
                    <a:lnTo>
                      <a:pt x="171" y="2053"/>
                    </a:lnTo>
                    <a:lnTo>
                      <a:pt x="165" y="2072"/>
                    </a:lnTo>
                    <a:lnTo>
                      <a:pt x="162" y="2088"/>
                    </a:lnTo>
                    <a:lnTo>
                      <a:pt x="160" y="2104"/>
                    </a:lnTo>
                    <a:lnTo>
                      <a:pt x="160" y="2136"/>
                    </a:lnTo>
                    <a:lnTo>
                      <a:pt x="162" y="2168"/>
                    </a:lnTo>
                    <a:lnTo>
                      <a:pt x="160" y="2184"/>
                    </a:lnTo>
                    <a:lnTo>
                      <a:pt x="158" y="2199"/>
                    </a:lnTo>
                    <a:lnTo>
                      <a:pt x="154" y="2647"/>
                    </a:lnTo>
                    <a:lnTo>
                      <a:pt x="149" y="2673"/>
                    </a:lnTo>
                    <a:lnTo>
                      <a:pt x="142" y="2697"/>
                    </a:lnTo>
                    <a:lnTo>
                      <a:pt x="126" y="2743"/>
                    </a:lnTo>
                    <a:lnTo>
                      <a:pt x="123" y="2749"/>
                    </a:lnTo>
                    <a:lnTo>
                      <a:pt x="120" y="2754"/>
                    </a:lnTo>
                    <a:lnTo>
                      <a:pt x="117" y="2761"/>
                    </a:lnTo>
                    <a:lnTo>
                      <a:pt x="114" y="2765"/>
                    </a:lnTo>
                    <a:lnTo>
                      <a:pt x="117" y="2781"/>
                    </a:lnTo>
                    <a:lnTo>
                      <a:pt x="118" y="2794"/>
                    </a:lnTo>
                    <a:lnTo>
                      <a:pt x="115" y="2810"/>
                    </a:lnTo>
                    <a:lnTo>
                      <a:pt x="112" y="2825"/>
                    </a:lnTo>
                    <a:lnTo>
                      <a:pt x="107" y="2834"/>
                    </a:lnTo>
                    <a:lnTo>
                      <a:pt x="96" y="2838"/>
                    </a:lnTo>
                    <a:lnTo>
                      <a:pt x="85" y="2841"/>
                    </a:lnTo>
                    <a:lnTo>
                      <a:pt x="85" y="2846"/>
                    </a:lnTo>
                    <a:lnTo>
                      <a:pt x="82" y="2850"/>
                    </a:lnTo>
                    <a:lnTo>
                      <a:pt x="74" y="2860"/>
                    </a:lnTo>
                    <a:lnTo>
                      <a:pt x="62" y="2868"/>
                    </a:lnTo>
                    <a:lnTo>
                      <a:pt x="50" y="2878"/>
                    </a:lnTo>
                    <a:lnTo>
                      <a:pt x="21" y="2892"/>
                    </a:lnTo>
                    <a:lnTo>
                      <a:pt x="8" y="2898"/>
                    </a:lnTo>
                    <a:lnTo>
                      <a:pt x="0" y="2906"/>
                    </a:lnTo>
                    <a:lnTo>
                      <a:pt x="0" y="2916"/>
                    </a:lnTo>
                    <a:lnTo>
                      <a:pt x="1" y="2919"/>
                    </a:lnTo>
                    <a:lnTo>
                      <a:pt x="3" y="2922"/>
                    </a:lnTo>
                    <a:lnTo>
                      <a:pt x="6" y="2924"/>
                    </a:lnTo>
                    <a:lnTo>
                      <a:pt x="10" y="2926"/>
                    </a:lnTo>
                    <a:lnTo>
                      <a:pt x="21" y="2926"/>
                    </a:lnTo>
                    <a:lnTo>
                      <a:pt x="126" y="2916"/>
                    </a:lnTo>
                    <a:lnTo>
                      <a:pt x="139" y="2914"/>
                    </a:lnTo>
                    <a:lnTo>
                      <a:pt x="154" y="2914"/>
                    </a:lnTo>
                    <a:lnTo>
                      <a:pt x="166" y="2913"/>
                    </a:lnTo>
                    <a:lnTo>
                      <a:pt x="173" y="2911"/>
                    </a:lnTo>
                    <a:lnTo>
                      <a:pt x="178" y="2910"/>
                    </a:lnTo>
                    <a:lnTo>
                      <a:pt x="182" y="2906"/>
                    </a:lnTo>
                    <a:lnTo>
                      <a:pt x="187" y="2900"/>
                    </a:lnTo>
                    <a:lnTo>
                      <a:pt x="194" y="2887"/>
                    </a:lnTo>
                    <a:lnTo>
                      <a:pt x="200" y="2871"/>
                    </a:lnTo>
                    <a:lnTo>
                      <a:pt x="205" y="2860"/>
                    </a:lnTo>
                    <a:lnTo>
                      <a:pt x="245" y="2857"/>
                    </a:lnTo>
                    <a:lnTo>
                      <a:pt x="266" y="2855"/>
                    </a:lnTo>
                    <a:lnTo>
                      <a:pt x="272" y="2857"/>
                    </a:lnTo>
                    <a:lnTo>
                      <a:pt x="274" y="2858"/>
                    </a:lnTo>
                    <a:lnTo>
                      <a:pt x="274" y="2860"/>
                    </a:lnTo>
                    <a:lnTo>
                      <a:pt x="275" y="2878"/>
                    </a:lnTo>
                    <a:lnTo>
                      <a:pt x="279" y="2879"/>
                    </a:lnTo>
                    <a:lnTo>
                      <a:pt x="282" y="2881"/>
                    </a:lnTo>
                    <a:lnTo>
                      <a:pt x="285" y="2881"/>
                    </a:lnTo>
                    <a:lnTo>
                      <a:pt x="291" y="2878"/>
                    </a:lnTo>
                    <a:lnTo>
                      <a:pt x="291" y="2863"/>
                    </a:lnTo>
                    <a:lnTo>
                      <a:pt x="293" y="2857"/>
                    </a:lnTo>
                    <a:lnTo>
                      <a:pt x="295" y="2852"/>
                    </a:lnTo>
                    <a:lnTo>
                      <a:pt x="307" y="2847"/>
                    </a:lnTo>
                    <a:lnTo>
                      <a:pt x="319" y="2844"/>
                    </a:lnTo>
                    <a:lnTo>
                      <a:pt x="331" y="2841"/>
                    </a:lnTo>
                    <a:lnTo>
                      <a:pt x="341" y="2836"/>
                    </a:lnTo>
                    <a:lnTo>
                      <a:pt x="354" y="2821"/>
                    </a:lnTo>
                    <a:lnTo>
                      <a:pt x="379" y="2812"/>
                    </a:lnTo>
                    <a:lnTo>
                      <a:pt x="381" y="2805"/>
                    </a:lnTo>
                    <a:lnTo>
                      <a:pt x="381" y="2794"/>
                    </a:lnTo>
                    <a:lnTo>
                      <a:pt x="376" y="2761"/>
                    </a:lnTo>
                    <a:lnTo>
                      <a:pt x="373" y="2727"/>
                    </a:lnTo>
                    <a:lnTo>
                      <a:pt x="371" y="2705"/>
                    </a:lnTo>
                    <a:lnTo>
                      <a:pt x="360" y="2532"/>
                    </a:lnTo>
                    <a:lnTo>
                      <a:pt x="363" y="2496"/>
                    </a:lnTo>
                    <a:lnTo>
                      <a:pt x="360" y="2407"/>
                    </a:lnTo>
                    <a:lnTo>
                      <a:pt x="362" y="2336"/>
                    </a:lnTo>
                    <a:lnTo>
                      <a:pt x="363" y="2267"/>
                    </a:lnTo>
                    <a:lnTo>
                      <a:pt x="367" y="2202"/>
                    </a:lnTo>
                    <a:lnTo>
                      <a:pt x="370" y="2171"/>
                    </a:lnTo>
                    <a:lnTo>
                      <a:pt x="375" y="2141"/>
                    </a:lnTo>
                    <a:lnTo>
                      <a:pt x="381" y="2072"/>
                    </a:lnTo>
                    <a:lnTo>
                      <a:pt x="384" y="2064"/>
                    </a:lnTo>
                    <a:lnTo>
                      <a:pt x="389" y="2054"/>
                    </a:lnTo>
                    <a:lnTo>
                      <a:pt x="394" y="2046"/>
                    </a:lnTo>
                    <a:lnTo>
                      <a:pt x="397" y="2037"/>
                    </a:lnTo>
                    <a:lnTo>
                      <a:pt x="403" y="1970"/>
                    </a:lnTo>
                    <a:lnTo>
                      <a:pt x="426" y="1824"/>
                    </a:lnTo>
                    <a:lnTo>
                      <a:pt x="431" y="1795"/>
                    </a:lnTo>
                    <a:lnTo>
                      <a:pt x="434" y="1768"/>
                    </a:lnTo>
                    <a:lnTo>
                      <a:pt x="437" y="1742"/>
                    </a:lnTo>
                    <a:lnTo>
                      <a:pt x="445" y="1717"/>
                    </a:lnTo>
                    <a:lnTo>
                      <a:pt x="453" y="1693"/>
                    </a:lnTo>
                    <a:lnTo>
                      <a:pt x="463" y="1670"/>
                    </a:lnTo>
                    <a:lnTo>
                      <a:pt x="472" y="1648"/>
                    </a:lnTo>
                    <a:lnTo>
                      <a:pt x="480" y="1625"/>
                    </a:lnTo>
                    <a:lnTo>
                      <a:pt x="487" y="1605"/>
                    </a:lnTo>
                    <a:lnTo>
                      <a:pt x="493" y="1584"/>
                    </a:lnTo>
                    <a:lnTo>
                      <a:pt x="498" y="1572"/>
                    </a:lnTo>
                    <a:lnTo>
                      <a:pt x="501" y="1563"/>
                    </a:lnTo>
                    <a:lnTo>
                      <a:pt x="506" y="1553"/>
                    </a:lnTo>
                    <a:lnTo>
                      <a:pt x="512" y="1547"/>
                    </a:lnTo>
                    <a:lnTo>
                      <a:pt x="514" y="1560"/>
                    </a:lnTo>
                    <a:lnTo>
                      <a:pt x="516" y="1571"/>
                    </a:lnTo>
                    <a:lnTo>
                      <a:pt x="520" y="1588"/>
                    </a:lnTo>
                    <a:lnTo>
                      <a:pt x="519" y="1646"/>
                    </a:lnTo>
                    <a:lnTo>
                      <a:pt x="524" y="1672"/>
                    </a:lnTo>
                    <a:lnTo>
                      <a:pt x="525" y="1686"/>
                    </a:lnTo>
                    <a:lnTo>
                      <a:pt x="525" y="1701"/>
                    </a:lnTo>
                    <a:lnTo>
                      <a:pt x="522" y="1725"/>
                    </a:lnTo>
                    <a:lnTo>
                      <a:pt x="524" y="1779"/>
                    </a:lnTo>
                    <a:lnTo>
                      <a:pt x="524" y="1808"/>
                    </a:lnTo>
                    <a:lnTo>
                      <a:pt x="522" y="1835"/>
                    </a:lnTo>
                    <a:lnTo>
                      <a:pt x="522" y="1888"/>
                    </a:lnTo>
                    <a:lnTo>
                      <a:pt x="520" y="1933"/>
                    </a:lnTo>
                    <a:lnTo>
                      <a:pt x="519" y="1955"/>
                    </a:lnTo>
                    <a:lnTo>
                      <a:pt x="516" y="1974"/>
                    </a:lnTo>
                    <a:lnTo>
                      <a:pt x="514" y="1987"/>
                    </a:lnTo>
                    <a:lnTo>
                      <a:pt x="514" y="1998"/>
                    </a:lnTo>
                    <a:lnTo>
                      <a:pt x="514" y="2021"/>
                    </a:lnTo>
                    <a:lnTo>
                      <a:pt x="516" y="2042"/>
                    </a:lnTo>
                    <a:lnTo>
                      <a:pt x="516" y="2053"/>
                    </a:lnTo>
                    <a:lnTo>
                      <a:pt x="514" y="2062"/>
                    </a:lnTo>
                    <a:lnTo>
                      <a:pt x="514" y="2114"/>
                    </a:lnTo>
                    <a:lnTo>
                      <a:pt x="516" y="2183"/>
                    </a:lnTo>
                    <a:lnTo>
                      <a:pt x="514" y="2218"/>
                    </a:lnTo>
                    <a:lnTo>
                      <a:pt x="511" y="2250"/>
                    </a:lnTo>
                    <a:lnTo>
                      <a:pt x="500" y="2509"/>
                    </a:lnTo>
                    <a:lnTo>
                      <a:pt x="498" y="2525"/>
                    </a:lnTo>
                    <a:lnTo>
                      <a:pt x="496" y="2543"/>
                    </a:lnTo>
                    <a:lnTo>
                      <a:pt x="496" y="2578"/>
                    </a:lnTo>
                    <a:lnTo>
                      <a:pt x="495" y="2615"/>
                    </a:lnTo>
                    <a:lnTo>
                      <a:pt x="493" y="2633"/>
                    </a:lnTo>
                    <a:lnTo>
                      <a:pt x="492" y="2649"/>
                    </a:lnTo>
                    <a:lnTo>
                      <a:pt x="492" y="2698"/>
                    </a:lnTo>
                    <a:lnTo>
                      <a:pt x="488" y="2713"/>
                    </a:lnTo>
                    <a:lnTo>
                      <a:pt x="484" y="2730"/>
                    </a:lnTo>
                    <a:lnTo>
                      <a:pt x="480" y="2749"/>
                    </a:lnTo>
                    <a:lnTo>
                      <a:pt x="480" y="2759"/>
                    </a:lnTo>
                    <a:lnTo>
                      <a:pt x="482" y="2769"/>
                    </a:lnTo>
                    <a:lnTo>
                      <a:pt x="485" y="2777"/>
                    </a:lnTo>
                    <a:lnTo>
                      <a:pt x="492" y="2786"/>
                    </a:lnTo>
                    <a:lnTo>
                      <a:pt x="496" y="2796"/>
                    </a:lnTo>
                    <a:lnTo>
                      <a:pt x="501" y="2805"/>
                    </a:lnTo>
                    <a:lnTo>
                      <a:pt x="503" y="2818"/>
                    </a:lnTo>
                    <a:lnTo>
                      <a:pt x="503" y="2834"/>
                    </a:lnTo>
                    <a:lnTo>
                      <a:pt x="498" y="2868"/>
                    </a:lnTo>
                    <a:lnTo>
                      <a:pt x="495" y="2898"/>
                    </a:lnTo>
                    <a:lnTo>
                      <a:pt x="493" y="2911"/>
                    </a:lnTo>
                    <a:lnTo>
                      <a:pt x="496" y="2921"/>
                    </a:lnTo>
                    <a:lnTo>
                      <a:pt x="498" y="2924"/>
                    </a:lnTo>
                    <a:lnTo>
                      <a:pt x="501" y="2927"/>
                    </a:lnTo>
                    <a:lnTo>
                      <a:pt x="509" y="2932"/>
                    </a:lnTo>
                    <a:lnTo>
                      <a:pt x="530" y="2938"/>
                    </a:lnTo>
                    <a:lnTo>
                      <a:pt x="549" y="2948"/>
                    </a:lnTo>
                    <a:lnTo>
                      <a:pt x="560" y="2953"/>
                    </a:lnTo>
                    <a:lnTo>
                      <a:pt x="570" y="2956"/>
                    </a:lnTo>
                    <a:lnTo>
                      <a:pt x="578" y="2956"/>
                    </a:lnTo>
                    <a:lnTo>
                      <a:pt x="588" y="2954"/>
                    </a:lnTo>
                    <a:lnTo>
                      <a:pt x="599" y="2948"/>
                    </a:lnTo>
                    <a:lnTo>
                      <a:pt x="608" y="2942"/>
                    </a:lnTo>
                    <a:lnTo>
                      <a:pt x="618" y="2934"/>
                    </a:lnTo>
                    <a:lnTo>
                      <a:pt x="626" y="2926"/>
                    </a:lnTo>
                    <a:lnTo>
                      <a:pt x="631" y="2919"/>
                    </a:lnTo>
                    <a:lnTo>
                      <a:pt x="634" y="2914"/>
                    </a:lnTo>
                    <a:lnTo>
                      <a:pt x="636" y="2897"/>
                    </a:lnTo>
                    <a:lnTo>
                      <a:pt x="634" y="2887"/>
                    </a:lnTo>
                    <a:lnTo>
                      <a:pt x="634" y="2881"/>
                    </a:lnTo>
                    <a:lnTo>
                      <a:pt x="625" y="2874"/>
                    </a:lnTo>
                    <a:lnTo>
                      <a:pt x="623" y="2865"/>
                    </a:lnTo>
                    <a:lnTo>
                      <a:pt x="621" y="2847"/>
                    </a:lnTo>
                    <a:lnTo>
                      <a:pt x="620" y="2820"/>
                    </a:lnTo>
                    <a:lnTo>
                      <a:pt x="652" y="2812"/>
                    </a:lnTo>
                    <a:lnTo>
                      <a:pt x="668" y="2807"/>
                    </a:lnTo>
                    <a:lnTo>
                      <a:pt x="674" y="2804"/>
                    </a:lnTo>
                    <a:lnTo>
                      <a:pt x="681" y="2801"/>
                    </a:lnTo>
                    <a:lnTo>
                      <a:pt x="685" y="2727"/>
                    </a:lnTo>
                    <a:lnTo>
                      <a:pt x="681" y="2709"/>
                    </a:lnTo>
                    <a:lnTo>
                      <a:pt x="679" y="2700"/>
                    </a:lnTo>
                    <a:lnTo>
                      <a:pt x="681" y="2689"/>
                    </a:lnTo>
                    <a:lnTo>
                      <a:pt x="689" y="2604"/>
                    </a:lnTo>
                    <a:lnTo>
                      <a:pt x="689" y="2567"/>
                    </a:lnTo>
                    <a:lnTo>
                      <a:pt x="695" y="2532"/>
                    </a:lnTo>
                    <a:lnTo>
                      <a:pt x="698" y="2495"/>
                    </a:lnTo>
                    <a:lnTo>
                      <a:pt x="705" y="2424"/>
                    </a:lnTo>
                    <a:lnTo>
                      <a:pt x="711" y="2354"/>
                    </a:lnTo>
                    <a:lnTo>
                      <a:pt x="716" y="2317"/>
                    </a:lnTo>
                    <a:lnTo>
                      <a:pt x="721" y="2282"/>
                    </a:lnTo>
                    <a:lnTo>
                      <a:pt x="722" y="2258"/>
                    </a:lnTo>
                    <a:lnTo>
                      <a:pt x="724" y="2235"/>
                    </a:lnTo>
                    <a:lnTo>
                      <a:pt x="724" y="2213"/>
                    </a:lnTo>
                    <a:lnTo>
                      <a:pt x="727" y="2192"/>
                    </a:lnTo>
                    <a:lnTo>
                      <a:pt x="732" y="2107"/>
                    </a:lnTo>
                    <a:lnTo>
                      <a:pt x="738" y="2053"/>
                    </a:lnTo>
                    <a:lnTo>
                      <a:pt x="743" y="1998"/>
                    </a:lnTo>
                    <a:lnTo>
                      <a:pt x="748" y="1946"/>
                    </a:lnTo>
                    <a:lnTo>
                      <a:pt x="753" y="1920"/>
                    </a:lnTo>
                    <a:lnTo>
                      <a:pt x="757" y="1894"/>
                    </a:lnTo>
                    <a:lnTo>
                      <a:pt x="762" y="1838"/>
                    </a:lnTo>
                    <a:lnTo>
                      <a:pt x="769" y="1813"/>
                    </a:lnTo>
                    <a:lnTo>
                      <a:pt x="772" y="1785"/>
                    </a:lnTo>
                    <a:lnTo>
                      <a:pt x="778" y="1731"/>
                    </a:lnTo>
                    <a:lnTo>
                      <a:pt x="783" y="1675"/>
                    </a:lnTo>
                    <a:lnTo>
                      <a:pt x="786" y="1648"/>
                    </a:lnTo>
                    <a:lnTo>
                      <a:pt x="791" y="1619"/>
                    </a:lnTo>
                    <a:lnTo>
                      <a:pt x="809" y="1508"/>
                    </a:lnTo>
                    <a:lnTo>
                      <a:pt x="813" y="1489"/>
                    </a:lnTo>
                    <a:lnTo>
                      <a:pt x="817" y="1467"/>
                    </a:lnTo>
                    <a:lnTo>
                      <a:pt x="818" y="1444"/>
                    </a:lnTo>
                    <a:lnTo>
                      <a:pt x="818" y="1433"/>
                    </a:lnTo>
                    <a:lnTo>
                      <a:pt x="817" y="1422"/>
                    </a:lnTo>
                    <a:lnTo>
                      <a:pt x="807" y="1368"/>
                    </a:lnTo>
                    <a:lnTo>
                      <a:pt x="796" y="1318"/>
                    </a:lnTo>
                    <a:lnTo>
                      <a:pt x="794" y="1308"/>
                    </a:lnTo>
                    <a:lnTo>
                      <a:pt x="794" y="1300"/>
                    </a:lnTo>
                    <a:lnTo>
                      <a:pt x="794" y="1281"/>
                    </a:lnTo>
                    <a:lnTo>
                      <a:pt x="794" y="1262"/>
                    </a:lnTo>
                    <a:lnTo>
                      <a:pt x="793" y="1254"/>
                    </a:lnTo>
                    <a:lnTo>
                      <a:pt x="791" y="1246"/>
                    </a:lnTo>
                    <a:lnTo>
                      <a:pt x="793" y="1244"/>
                    </a:lnTo>
                    <a:lnTo>
                      <a:pt x="805" y="1254"/>
                    </a:lnTo>
                    <a:lnTo>
                      <a:pt x="823" y="1251"/>
                    </a:lnTo>
                    <a:lnTo>
                      <a:pt x="841" y="1246"/>
                    </a:lnTo>
                    <a:lnTo>
                      <a:pt x="855" y="1239"/>
                    </a:lnTo>
                    <a:lnTo>
                      <a:pt x="862" y="1235"/>
                    </a:lnTo>
                    <a:lnTo>
                      <a:pt x="865" y="1230"/>
                    </a:lnTo>
                    <a:lnTo>
                      <a:pt x="874" y="1204"/>
                    </a:lnTo>
                    <a:lnTo>
                      <a:pt x="879" y="1198"/>
                    </a:lnTo>
                    <a:lnTo>
                      <a:pt x="884" y="1191"/>
                    </a:lnTo>
                    <a:lnTo>
                      <a:pt x="894" y="1180"/>
                    </a:lnTo>
                    <a:lnTo>
                      <a:pt x="921" y="1139"/>
                    </a:lnTo>
                    <a:lnTo>
                      <a:pt x="934" y="1123"/>
                    </a:lnTo>
                    <a:lnTo>
                      <a:pt x="946" y="1107"/>
                    </a:lnTo>
                    <a:lnTo>
                      <a:pt x="961" y="1087"/>
                    </a:lnTo>
                    <a:lnTo>
                      <a:pt x="974" y="1065"/>
                    </a:lnTo>
                    <a:lnTo>
                      <a:pt x="986" y="1044"/>
                    </a:lnTo>
                    <a:lnTo>
                      <a:pt x="998" y="1020"/>
                    </a:lnTo>
                    <a:lnTo>
                      <a:pt x="1006" y="998"/>
                    </a:lnTo>
                    <a:lnTo>
                      <a:pt x="1010" y="975"/>
                    </a:lnTo>
                    <a:lnTo>
                      <a:pt x="1010" y="966"/>
                    </a:lnTo>
                    <a:lnTo>
                      <a:pt x="1010" y="958"/>
                    </a:lnTo>
                    <a:lnTo>
                      <a:pt x="1007" y="938"/>
                    </a:lnTo>
                    <a:lnTo>
                      <a:pt x="1001" y="918"/>
                    </a:lnTo>
                    <a:lnTo>
                      <a:pt x="993" y="897"/>
                    </a:lnTo>
                    <a:lnTo>
                      <a:pt x="975" y="857"/>
                    </a:lnTo>
                    <a:lnTo>
                      <a:pt x="962" y="826"/>
                    </a:lnTo>
                    <a:close/>
                    <a:moveTo>
                      <a:pt x="194" y="1678"/>
                    </a:moveTo>
                    <a:lnTo>
                      <a:pt x="194" y="1678"/>
                    </a:lnTo>
                    <a:lnTo>
                      <a:pt x="192" y="1680"/>
                    </a:lnTo>
                    <a:lnTo>
                      <a:pt x="189" y="1678"/>
                    </a:lnTo>
                    <a:lnTo>
                      <a:pt x="182" y="1654"/>
                    </a:lnTo>
                    <a:lnTo>
                      <a:pt x="179" y="1640"/>
                    </a:lnTo>
                    <a:lnTo>
                      <a:pt x="178" y="1627"/>
                    </a:lnTo>
                    <a:lnTo>
                      <a:pt x="178" y="1614"/>
                    </a:lnTo>
                    <a:lnTo>
                      <a:pt x="179" y="1601"/>
                    </a:lnTo>
                    <a:lnTo>
                      <a:pt x="184" y="1590"/>
                    </a:lnTo>
                    <a:lnTo>
                      <a:pt x="187" y="1585"/>
                    </a:lnTo>
                    <a:lnTo>
                      <a:pt x="192" y="1580"/>
                    </a:lnTo>
                    <a:lnTo>
                      <a:pt x="198" y="1580"/>
                    </a:lnTo>
                    <a:lnTo>
                      <a:pt x="202" y="1584"/>
                    </a:lnTo>
                    <a:lnTo>
                      <a:pt x="200" y="1630"/>
                    </a:lnTo>
                    <a:lnTo>
                      <a:pt x="198" y="1656"/>
                    </a:lnTo>
                    <a:lnTo>
                      <a:pt x="194" y="1678"/>
                    </a:lnTo>
                    <a:close/>
                    <a:moveTo>
                      <a:pt x="253" y="1355"/>
                    </a:moveTo>
                    <a:lnTo>
                      <a:pt x="253" y="1355"/>
                    </a:lnTo>
                    <a:lnTo>
                      <a:pt x="247" y="1356"/>
                    </a:lnTo>
                    <a:lnTo>
                      <a:pt x="242" y="1358"/>
                    </a:lnTo>
                    <a:lnTo>
                      <a:pt x="234" y="1366"/>
                    </a:lnTo>
                    <a:lnTo>
                      <a:pt x="235" y="1372"/>
                    </a:lnTo>
                    <a:lnTo>
                      <a:pt x="237" y="1376"/>
                    </a:lnTo>
                    <a:lnTo>
                      <a:pt x="243" y="1384"/>
                    </a:lnTo>
                    <a:lnTo>
                      <a:pt x="242" y="1395"/>
                    </a:lnTo>
                    <a:lnTo>
                      <a:pt x="237" y="1406"/>
                    </a:lnTo>
                    <a:lnTo>
                      <a:pt x="232" y="1416"/>
                    </a:lnTo>
                    <a:lnTo>
                      <a:pt x="229" y="1425"/>
                    </a:lnTo>
                    <a:lnTo>
                      <a:pt x="215" y="1484"/>
                    </a:lnTo>
                    <a:lnTo>
                      <a:pt x="213" y="1484"/>
                    </a:lnTo>
                    <a:lnTo>
                      <a:pt x="211" y="1467"/>
                    </a:lnTo>
                    <a:lnTo>
                      <a:pt x="210" y="1449"/>
                    </a:lnTo>
                    <a:lnTo>
                      <a:pt x="211" y="1416"/>
                    </a:lnTo>
                    <a:lnTo>
                      <a:pt x="218" y="1382"/>
                    </a:lnTo>
                    <a:lnTo>
                      <a:pt x="224" y="1348"/>
                    </a:lnTo>
                    <a:lnTo>
                      <a:pt x="240" y="1283"/>
                    </a:lnTo>
                    <a:lnTo>
                      <a:pt x="248" y="1251"/>
                    </a:lnTo>
                    <a:lnTo>
                      <a:pt x="255" y="1217"/>
                    </a:lnTo>
                    <a:lnTo>
                      <a:pt x="256" y="1220"/>
                    </a:lnTo>
                    <a:lnTo>
                      <a:pt x="256" y="1225"/>
                    </a:lnTo>
                    <a:lnTo>
                      <a:pt x="253" y="1233"/>
                    </a:lnTo>
                    <a:lnTo>
                      <a:pt x="250" y="1243"/>
                    </a:lnTo>
                    <a:lnTo>
                      <a:pt x="250" y="1247"/>
                    </a:lnTo>
                    <a:lnTo>
                      <a:pt x="251" y="1252"/>
                    </a:lnTo>
                    <a:lnTo>
                      <a:pt x="256" y="1257"/>
                    </a:lnTo>
                    <a:lnTo>
                      <a:pt x="255" y="1305"/>
                    </a:lnTo>
                    <a:lnTo>
                      <a:pt x="253" y="1355"/>
                    </a:lnTo>
                    <a:close/>
                    <a:moveTo>
                      <a:pt x="303" y="1033"/>
                    </a:moveTo>
                    <a:lnTo>
                      <a:pt x="303" y="1033"/>
                    </a:lnTo>
                    <a:lnTo>
                      <a:pt x="295" y="1063"/>
                    </a:lnTo>
                    <a:lnTo>
                      <a:pt x="287" y="1092"/>
                    </a:lnTo>
                    <a:lnTo>
                      <a:pt x="279" y="1119"/>
                    </a:lnTo>
                    <a:lnTo>
                      <a:pt x="271" y="1147"/>
                    </a:lnTo>
                    <a:lnTo>
                      <a:pt x="271" y="1179"/>
                    </a:lnTo>
                    <a:lnTo>
                      <a:pt x="261" y="1201"/>
                    </a:lnTo>
                    <a:lnTo>
                      <a:pt x="258" y="1201"/>
                    </a:lnTo>
                    <a:lnTo>
                      <a:pt x="258" y="1195"/>
                    </a:lnTo>
                    <a:lnTo>
                      <a:pt x="261" y="1183"/>
                    </a:lnTo>
                    <a:lnTo>
                      <a:pt x="263" y="1172"/>
                    </a:lnTo>
                    <a:lnTo>
                      <a:pt x="263" y="1159"/>
                    </a:lnTo>
                    <a:lnTo>
                      <a:pt x="266" y="1148"/>
                    </a:lnTo>
                    <a:lnTo>
                      <a:pt x="272" y="1119"/>
                    </a:lnTo>
                    <a:lnTo>
                      <a:pt x="275" y="1089"/>
                    </a:lnTo>
                    <a:lnTo>
                      <a:pt x="277" y="1073"/>
                    </a:lnTo>
                    <a:lnTo>
                      <a:pt x="277" y="1057"/>
                    </a:lnTo>
                    <a:lnTo>
                      <a:pt x="277" y="1041"/>
                    </a:lnTo>
                    <a:lnTo>
                      <a:pt x="274" y="1025"/>
                    </a:lnTo>
                    <a:lnTo>
                      <a:pt x="272" y="962"/>
                    </a:lnTo>
                    <a:lnTo>
                      <a:pt x="269" y="938"/>
                    </a:lnTo>
                    <a:lnTo>
                      <a:pt x="269" y="914"/>
                    </a:lnTo>
                    <a:lnTo>
                      <a:pt x="269" y="865"/>
                    </a:lnTo>
                    <a:lnTo>
                      <a:pt x="269" y="834"/>
                    </a:lnTo>
                    <a:lnTo>
                      <a:pt x="272" y="842"/>
                    </a:lnTo>
                    <a:lnTo>
                      <a:pt x="275" y="852"/>
                    </a:lnTo>
                    <a:lnTo>
                      <a:pt x="280" y="873"/>
                    </a:lnTo>
                    <a:lnTo>
                      <a:pt x="282" y="897"/>
                    </a:lnTo>
                    <a:lnTo>
                      <a:pt x="285" y="919"/>
                    </a:lnTo>
                    <a:lnTo>
                      <a:pt x="291" y="945"/>
                    </a:lnTo>
                    <a:lnTo>
                      <a:pt x="299" y="974"/>
                    </a:lnTo>
                    <a:lnTo>
                      <a:pt x="301" y="988"/>
                    </a:lnTo>
                    <a:lnTo>
                      <a:pt x="303" y="1002"/>
                    </a:lnTo>
                    <a:lnTo>
                      <a:pt x="304" y="1018"/>
                    </a:lnTo>
                    <a:lnTo>
                      <a:pt x="303" y="1033"/>
                    </a:lnTo>
                    <a:close/>
                    <a:moveTo>
                      <a:pt x="898" y="980"/>
                    </a:moveTo>
                    <a:lnTo>
                      <a:pt x="898" y="980"/>
                    </a:lnTo>
                    <a:lnTo>
                      <a:pt x="895" y="986"/>
                    </a:lnTo>
                    <a:lnTo>
                      <a:pt x="892" y="993"/>
                    </a:lnTo>
                    <a:lnTo>
                      <a:pt x="886" y="1004"/>
                    </a:lnTo>
                    <a:lnTo>
                      <a:pt x="876" y="1015"/>
                    </a:lnTo>
                    <a:lnTo>
                      <a:pt x="870" y="1028"/>
                    </a:lnTo>
                    <a:lnTo>
                      <a:pt x="857" y="1063"/>
                    </a:lnTo>
                    <a:lnTo>
                      <a:pt x="847" y="1086"/>
                    </a:lnTo>
                    <a:lnTo>
                      <a:pt x="836" y="1110"/>
                    </a:lnTo>
                    <a:lnTo>
                      <a:pt x="829" y="1123"/>
                    </a:lnTo>
                    <a:lnTo>
                      <a:pt x="823" y="1134"/>
                    </a:lnTo>
                    <a:lnTo>
                      <a:pt x="815" y="1142"/>
                    </a:lnTo>
                    <a:lnTo>
                      <a:pt x="809" y="1147"/>
                    </a:lnTo>
                    <a:lnTo>
                      <a:pt x="805" y="1139"/>
                    </a:lnTo>
                    <a:lnTo>
                      <a:pt x="802" y="1131"/>
                    </a:lnTo>
                    <a:lnTo>
                      <a:pt x="789" y="1113"/>
                    </a:lnTo>
                    <a:lnTo>
                      <a:pt x="764" y="1084"/>
                    </a:lnTo>
                    <a:lnTo>
                      <a:pt x="757" y="1070"/>
                    </a:lnTo>
                    <a:lnTo>
                      <a:pt x="754" y="1065"/>
                    </a:lnTo>
                    <a:lnTo>
                      <a:pt x="749" y="1063"/>
                    </a:lnTo>
                    <a:lnTo>
                      <a:pt x="745" y="1062"/>
                    </a:lnTo>
                    <a:lnTo>
                      <a:pt x="740" y="1058"/>
                    </a:lnTo>
                    <a:lnTo>
                      <a:pt x="730" y="1033"/>
                    </a:lnTo>
                    <a:lnTo>
                      <a:pt x="722" y="1006"/>
                    </a:lnTo>
                    <a:lnTo>
                      <a:pt x="717" y="978"/>
                    </a:lnTo>
                    <a:lnTo>
                      <a:pt x="714" y="950"/>
                    </a:lnTo>
                    <a:lnTo>
                      <a:pt x="714" y="919"/>
                    </a:lnTo>
                    <a:lnTo>
                      <a:pt x="716" y="889"/>
                    </a:lnTo>
                    <a:lnTo>
                      <a:pt x="721" y="860"/>
                    </a:lnTo>
                    <a:lnTo>
                      <a:pt x="727" y="829"/>
                    </a:lnTo>
                    <a:lnTo>
                      <a:pt x="732" y="796"/>
                    </a:lnTo>
                    <a:lnTo>
                      <a:pt x="738" y="775"/>
                    </a:lnTo>
                    <a:lnTo>
                      <a:pt x="741" y="764"/>
                    </a:lnTo>
                    <a:lnTo>
                      <a:pt x="745" y="754"/>
                    </a:lnTo>
                    <a:lnTo>
                      <a:pt x="753" y="745"/>
                    </a:lnTo>
                    <a:lnTo>
                      <a:pt x="756" y="740"/>
                    </a:lnTo>
                    <a:lnTo>
                      <a:pt x="759" y="732"/>
                    </a:lnTo>
                    <a:lnTo>
                      <a:pt x="764" y="737"/>
                    </a:lnTo>
                    <a:lnTo>
                      <a:pt x="769" y="743"/>
                    </a:lnTo>
                    <a:lnTo>
                      <a:pt x="780" y="764"/>
                    </a:lnTo>
                    <a:lnTo>
                      <a:pt x="801" y="801"/>
                    </a:lnTo>
                    <a:lnTo>
                      <a:pt x="810" y="815"/>
                    </a:lnTo>
                    <a:lnTo>
                      <a:pt x="821" y="826"/>
                    </a:lnTo>
                    <a:lnTo>
                      <a:pt x="833" y="839"/>
                    </a:lnTo>
                    <a:lnTo>
                      <a:pt x="842" y="852"/>
                    </a:lnTo>
                    <a:lnTo>
                      <a:pt x="852" y="871"/>
                    </a:lnTo>
                    <a:lnTo>
                      <a:pt x="860" y="889"/>
                    </a:lnTo>
                    <a:lnTo>
                      <a:pt x="868" y="908"/>
                    </a:lnTo>
                    <a:lnTo>
                      <a:pt x="878" y="926"/>
                    </a:lnTo>
                    <a:lnTo>
                      <a:pt x="884" y="937"/>
                    </a:lnTo>
                    <a:lnTo>
                      <a:pt x="892" y="950"/>
                    </a:lnTo>
                    <a:lnTo>
                      <a:pt x="895" y="956"/>
                    </a:lnTo>
                    <a:lnTo>
                      <a:pt x="898" y="964"/>
                    </a:lnTo>
                    <a:lnTo>
                      <a:pt x="898" y="972"/>
                    </a:lnTo>
                    <a:lnTo>
                      <a:pt x="898" y="980"/>
                    </a:lnTo>
                    <a:close/>
                  </a:path>
                </a:pathLst>
              </a:custGeom>
              <a:solidFill>
                <a:schemeClr val="accent1"/>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29" name="Gruppieren 33"/>
            <p:cNvGrpSpPr/>
            <p:nvPr/>
          </p:nvGrpSpPr>
          <p:grpSpPr>
            <a:xfrm>
              <a:off x="3128576" y="2594981"/>
              <a:ext cx="939368" cy="1409690"/>
              <a:chOff x="3506739" y="2431056"/>
              <a:chExt cx="939368" cy="1409690"/>
            </a:xfrm>
          </p:grpSpPr>
          <p:sp>
            <p:nvSpPr>
              <p:cNvPr id="32" name="Ellipse 4"/>
              <p:cNvSpPr/>
              <p:nvPr/>
            </p:nvSpPr>
            <p:spPr>
              <a:xfrm>
                <a:off x="3506739" y="3579680"/>
                <a:ext cx="939368" cy="261066"/>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Freeform 10"/>
              <p:cNvSpPr>
                <a:spLocks noEditPoints="1"/>
              </p:cNvSpPr>
              <p:nvPr/>
            </p:nvSpPr>
            <p:spPr bwMode="auto">
              <a:xfrm rot="21317180">
                <a:off x="3760248" y="2431056"/>
                <a:ext cx="427798" cy="1291552"/>
              </a:xfrm>
              <a:custGeom>
                <a:avLst/>
                <a:gdLst>
                  <a:gd name="T0" fmla="*/ 879 w 943"/>
                  <a:gd name="T1" fmla="*/ 962 h 2850"/>
                  <a:gd name="T2" fmla="*/ 897 w 943"/>
                  <a:gd name="T3" fmla="*/ 760 h 2850"/>
                  <a:gd name="T4" fmla="*/ 881 w 943"/>
                  <a:gd name="T5" fmla="*/ 603 h 2850"/>
                  <a:gd name="T6" fmla="*/ 796 w 943"/>
                  <a:gd name="T7" fmla="*/ 525 h 2850"/>
                  <a:gd name="T8" fmla="*/ 679 w 943"/>
                  <a:gd name="T9" fmla="*/ 443 h 2850"/>
                  <a:gd name="T10" fmla="*/ 696 w 943"/>
                  <a:gd name="T11" fmla="*/ 371 h 2850"/>
                  <a:gd name="T12" fmla="*/ 740 w 943"/>
                  <a:gd name="T13" fmla="*/ 282 h 2850"/>
                  <a:gd name="T14" fmla="*/ 720 w 943"/>
                  <a:gd name="T15" fmla="*/ 136 h 2850"/>
                  <a:gd name="T16" fmla="*/ 685 w 943"/>
                  <a:gd name="T17" fmla="*/ 65 h 2850"/>
                  <a:gd name="T18" fmla="*/ 652 w 943"/>
                  <a:gd name="T19" fmla="*/ 16 h 2850"/>
                  <a:gd name="T20" fmla="*/ 533 w 943"/>
                  <a:gd name="T21" fmla="*/ 6 h 2850"/>
                  <a:gd name="T22" fmla="*/ 431 w 943"/>
                  <a:gd name="T23" fmla="*/ 61 h 2850"/>
                  <a:gd name="T24" fmla="*/ 418 w 943"/>
                  <a:gd name="T25" fmla="*/ 205 h 2850"/>
                  <a:gd name="T26" fmla="*/ 493 w 943"/>
                  <a:gd name="T27" fmla="*/ 350 h 2850"/>
                  <a:gd name="T28" fmla="*/ 455 w 943"/>
                  <a:gd name="T29" fmla="*/ 419 h 2850"/>
                  <a:gd name="T30" fmla="*/ 416 w 943"/>
                  <a:gd name="T31" fmla="*/ 440 h 2850"/>
                  <a:gd name="T32" fmla="*/ 320 w 943"/>
                  <a:gd name="T33" fmla="*/ 483 h 2850"/>
                  <a:gd name="T34" fmla="*/ 218 w 943"/>
                  <a:gd name="T35" fmla="*/ 551 h 2850"/>
                  <a:gd name="T36" fmla="*/ 163 w 943"/>
                  <a:gd name="T37" fmla="*/ 722 h 2850"/>
                  <a:gd name="T38" fmla="*/ 150 w 943"/>
                  <a:gd name="T39" fmla="*/ 922 h 2850"/>
                  <a:gd name="T40" fmla="*/ 136 w 943"/>
                  <a:gd name="T41" fmla="*/ 1266 h 2850"/>
                  <a:gd name="T42" fmla="*/ 141 w 943"/>
                  <a:gd name="T43" fmla="*/ 1473 h 2850"/>
                  <a:gd name="T44" fmla="*/ 149 w 943"/>
                  <a:gd name="T45" fmla="*/ 1604 h 2850"/>
                  <a:gd name="T46" fmla="*/ 197 w 943"/>
                  <a:gd name="T47" fmla="*/ 1934 h 2850"/>
                  <a:gd name="T48" fmla="*/ 133 w 943"/>
                  <a:gd name="T49" fmla="*/ 2190 h 2850"/>
                  <a:gd name="T50" fmla="*/ 53 w 943"/>
                  <a:gd name="T51" fmla="*/ 2663 h 2850"/>
                  <a:gd name="T52" fmla="*/ 14 w 943"/>
                  <a:gd name="T53" fmla="*/ 2796 h 2850"/>
                  <a:gd name="T54" fmla="*/ 94 w 943"/>
                  <a:gd name="T55" fmla="*/ 2850 h 2850"/>
                  <a:gd name="T56" fmla="*/ 179 w 943"/>
                  <a:gd name="T57" fmla="*/ 2812 h 2850"/>
                  <a:gd name="T58" fmla="*/ 243 w 943"/>
                  <a:gd name="T59" fmla="*/ 2720 h 2850"/>
                  <a:gd name="T60" fmla="*/ 266 w 943"/>
                  <a:gd name="T61" fmla="*/ 2616 h 2850"/>
                  <a:gd name="T62" fmla="*/ 399 w 943"/>
                  <a:gd name="T63" fmla="*/ 2099 h 2850"/>
                  <a:gd name="T64" fmla="*/ 472 w 943"/>
                  <a:gd name="T65" fmla="*/ 1776 h 2850"/>
                  <a:gd name="T66" fmla="*/ 523 w 943"/>
                  <a:gd name="T67" fmla="*/ 1691 h 2850"/>
                  <a:gd name="T68" fmla="*/ 519 w 943"/>
                  <a:gd name="T69" fmla="*/ 1878 h 2850"/>
                  <a:gd name="T70" fmla="*/ 483 w 943"/>
                  <a:gd name="T71" fmla="*/ 2217 h 2850"/>
                  <a:gd name="T72" fmla="*/ 443 w 943"/>
                  <a:gd name="T73" fmla="*/ 2507 h 2850"/>
                  <a:gd name="T74" fmla="*/ 413 w 943"/>
                  <a:gd name="T75" fmla="*/ 2765 h 2850"/>
                  <a:gd name="T76" fmla="*/ 499 w 943"/>
                  <a:gd name="T77" fmla="*/ 2791 h 2850"/>
                  <a:gd name="T78" fmla="*/ 576 w 943"/>
                  <a:gd name="T79" fmla="*/ 2837 h 2850"/>
                  <a:gd name="T80" fmla="*/ 671 w 943"/>
                  <a:gd name="T81" fmla="*/ 2799 h 2850"/>
                  <a:gd name="T82" fmla="*/ 615 w 943"/>
                  <a:gd name="T83" fmla="*/ 2696 h 2850"/>
                  <a:gd name="T84" fmla="*/ 666 w 943"/>
                  <a:gd name="T85" fmla="*/ 2445 h 2850"/>
                  <a:gd name="T86" fmla="*/ 696 w 943"/>
                  <a:gd name="T87" fmla="*/ 2192 h 2850"/>
                  <a:gd name="T88" fmla="*/ 829 w 943"/>
                  <a:gd name="T89" fmla="*/ 1580 h 2850"/>
                  <a:gd name="T90" fmla="*/ 841 w 943"/>
                  <a:gd name="T91" fmla="*/ 1345 h 2850"/>
                  <a:gd name="T92" fmla="*/ 858 w 943"/>
                  <a:gd name="T93" fmla="*/ 1436 h 2850"/>
                  <a:gd name="T94" fmla="*/ 857 w 943"/>
                  <a:gd name="T95" fmla="*/ 1507 h 2850"/>
                  <a:gd name="T96" fmla="*/ 876 w 943"/>
                  <a:gd name="T97" fmla="*/ 1585 h 2850"/>
                  <a:gd name="T98" fmla="*/ 841 w 943"/>
                  <a:gd name="T99" fmla="*/ 1659 h 2850"/>
                  <a:gd name="T100" fmla="*/ 927 w 943"/>
                  <a:gd name="T101" fmla="*/ 1599 h 2850"/>
                  <a:gd name="T102" fmla="*/ 937 w 943"/>
                  <a:gd name="T103" fmla="*/ 1442 h 2850"/>
                  <a:gd name="T104" fmla="*/ 259 w 943"/>
                  <a:gd name="T105" fmla="*/ 1295 h 2850"/>
                  <a:gd name="T106" fmla="*/ 245 w 943"/>
                  <a:gd name="T107" fmla="*/ 1402 h 2850"/>
                  <a:gd name="T108" fmla="*/ 240 w 943"/>
                  <a:gd name="T109" fmla="*/ 1390 h 2850"/>
                  <a:gd name="T110" fmla="*/ 290 w 943"/>
                  <a:gd name="T111" fmla="*/ 888 h 2850"/>
                  <a:gd name="T112" fmla="*/ 315 w 943"/>
                  <a:gd name="T113" fmla="*/ 1015 h 2850"/>
                  <a:gd name="T114" fmla="*/ 310 w 943"/>
                  <a:gd name="T115" fmla="*/ 1119 h 28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43"/>
                  <a:gd name="T175" fmla="*/ 0 h 2850"/>
                  <a:gd name="T176" fmla="*/ 943 w 943"/>
                  <a:gd name="T177" fmla="*/ 2850 h 285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43" h="2850">
                    <a:moveTo>
                      <a:pt x="937" y="1442"/>
                    </a:moveTo>
                    <a:lnTo>
                      <a:pt x="937" y="1442"/>
                    </a:lnTo>
                    <a:lnTo>
                      <a:pt x="916" y="1241"/>
                    </a:lnTo>
                    <a:lnTo>
                      <a:pt x="911" y="1141"/>
                    </a:lnTo>
                    <a:lnTo>
                      <a:pt x="895" y="1055"/>
                    </a:lnTo>
                    <a:lnTo>
                      <a:pt x="887" y="1010"/>
                    </a:lnTo>
                    <a:lnTo>
                      <a:pt x="879" y="962"/>
                    </a:lnTo>
                    <a:lnTo>
                      <a:pt x="874" y="914"/>
                    </a:lnTo>
                    <a:lnTo>
                      <a:pt x="873" y="866"/>
                    </a:lnTo>
                    <a:lnTo>
                      <a:pt x="873" y="842"/>
                    </a:lnTo>
                    <a:lnTo>
                      <a:pt x="874" y="816"/>
                    </a:lnTo>
                    <a:lnTo>
                      <a:pt x="877" y="792"/>
                    </a:lnTo>
                    <a:lnTo>
                      <a:pt x="881" y="770"/>
                    </a:lnTo>
                    <a:lnTo>
                      <a:pt x="889" y="765"/>
                    </a:lnTo>
                    <a:lnTo>
                      <a:pt x="897" y="760"/>
                    </a:lnTo>
                    <a:lnTo>
                      <a:pt x="905" y="754"/>
                    </a:lnTo>
                    <a:lnTo>
                      <a:pt x="906" y="751"/>
                    </a:lnTo>
                    <a:lnTo>
                      <a:pt x="908" y="746"/>
                    </a:lnTo>
                    <a:lnTo>
                      <a:pt x="901" y="723"/>
                    </a:lnTo>
                    <a:lnTo>
                      <a:pt x="897" y="701"/>
                    </a:lnTo>
                    <a:lnTo>
                      <a:pt x="889" y="651"/>
                    </a:lnTo>
                    <a:lnTo>
                      <a:pt x="885" y="627"/>
                    </a:lnTo>
                    <a:lnTo>
                      <a:pt x="881" y="603"/>
                    </a:lnTo>
                    <a:lnTo>
                      <a:pt x="874" y="583"/>
                    </a:lnTo>
                    <a:lnTo>
                      <a:pt x="869" y="575"/>
                    </a:lnTo>
                    <a:lnTo>
                      <a:pt x="863" y="565"/>
                    </a:lnTo>
                    <a:lnTo>
                      <a:pt x="853" y="555"/>
                    </a:lnTo>
                    <a:lnTo>
                      <a:pt x="844" y="546"/>
                    </a:lnTo>
                    <a:lnTo>
                      <a:pt x="833" y="539"/>
                    </a:lnTo>
                    <a:lnTo>
                      <a:pt x="821" y="533"/>
                    </a:lnTo>
                    <a:lnTo>
                      <a:pt x="796" y="525"/>
                    </a:lnTo>
                    <a:lnTo>
                      <a:pt x="770" y="519"/>
                    </a:lnTo>
                    <a:lnTo>
                      <a:pt x="745" y="509"/>
                    </a:lnTo>
                    <a:lnTo>
                      <a:pt x="732" y="503"/>
                    </a:lnTo>
                    <a:lnTo>
                      <a:pt x="720" y="496"/>
                    </a:lnTo>
                    <a:lnTo>
                      <a:pt x="708" y="486"/>
                    </a:lnTo>
                    <a:lnTo>
                      <a:pt x="698" y="475"/>
                    </a:lnTo>
                    <a:lnTo>
                      <a:pt x="687" y="461"/>
                    </a:lnTo>
                    <a:lnTo>
                      <a:pt x="679" y="443"/>
                    </a:lnTo>
                    <a:lnTo>
                      <a:pt x="674" y="432"/>
                    </a:lnTo>
                    <a:lnTo>
                      <a:pt x="671" y="416"/>
                    </a:lnTo>
                    <a:lnTo>
                      <a:pt x="669" y="400"/>
                    </a:lnTo>
                    <a:lnTo>
                      <a:pt x="671" y="392"/>
                    </a:lnTo>
                    <a:lnTo>
                      <a:pt x="672" y="384"/>
                    </a:lnTo>
                    <a:lnTo>
                      <a:pt x="677" y="379"/>
                    </a:lnTo>
                    <a:lnTo>
                      <a:pt x="684" y="376"/>
                    </a:lnTo>
                    <a:lnTo>
                      <a:pt x="696" y="371"/>
                    </a:lnTo>
                    <a:lnTo>
                      <a:pt x="703" y="368"/>
                    </a:lnTo>
                    <a:lnTo>
                      <a:pt x="709" y="365"/>
                    </a:lnTo>
                    <a:lnTo>
                      <a:pt x="716" y="362"/>
                    </a:lnTo>
                    <a:lnTo>
                      <a:pt x="719" y="355"/>
                    </a:lnTo>
                    <a:lnTo>
                      <a:pt x="725" y="342"/>
                    </a:lnTo>
                    <a:lnTo>
                      <a:pt x="730" y="325"/>
                    </a:lnTo>
                    <a:lnTo>
                      <a:pt x="735" y="304"/>
                    </a:lnTo>
                    <a:lnTo>
                      <a:pt x="740" y="282"/>
                    </a:lnTo>
                    <a:lnTo>
                      <a:pt x="741" y="261"/>
                    </a:lnTo>
                    <a:lnTo>
                      <a:pt x="741" y="238"/>
                    </a:lnTo>
                    <a:lnTo>
                      <a:pt x="741" y="219"/>
                    </a:lnTo>
                    <a:lnTo>
                      <a:pt x="736" y="203"/>
                    </a:lnTo>
                    <a:lnTo>
                      <a:pt x="716" y="171"/>
                    </a:lnTo>
                    <a:lnTo>
                      <a:pt x="720" y="136"/>
                    </a:lnTo>
                    <a:lnTo>
                      <a:pt x="719" y="129"/>
                    </a:lnTo>
                    <a:lnTo>
                      <a:pt x="714" y="123"/>
                    </a:lnTo>
                    <a:lnTo>
                      <a:pt x="704" y="107"/>
                    </a:lnTo>
                    <a:lnTo>
                      <a:pt x="695" y="93"/>
                    </a:lnTo>
                    <a:lnTo>
                      <a:pt x="687" y="80"/>
                    </a:lnTo>
                    <a:lnTo>
                      <a:pt x="685" y="77"/>
                    </a:lnTo>
                    <a:lnTo>
                      <a:pt x="685" y="73"/>
                    </a:lnTo>
                    <a:lnTo>
                      <a:pt x="685" y="65"/>
                    </a:lnTo>
                    <a:lnTo>
                      <a:pt x="687" y="59"/>
                    </a:lnTo>
                    <a:lnTo>
                      <a:pt x="687" y="54"/>
                    </a:lnTo>
                    <a:lnTo>
                      <a:pt x="685" y="49"/>
                    </a:lnTo>
                    <a:lnTo>
                      <a:pt x="680" y="43"/>
                    </a:lnTo>
                    <a:lnTo>
                      <a:pt x="676" y="35"/>
                    </a:lnTo>
                    <a:lnTo>
                      <a:pt x="671" y="30"/>
                    </a:lnTo>
                    <a:lnTo>
                      <a:pt x="664" y="24"/>
                    </a:lnTo>
                    <a:lnTo>
                      <a:pt x="652" y="16"/>
                    </a:lnTo>
                    <a:lnTo>
                      <a:pt x="634" y="9"/>
                    </a:lnTo>
                    <a:lnTo>
                      <a:pt x="616" y="4"/>
                    </a:lnTo>
                    <a:lnTo>
                      <a:pt x="596" y="1"/>
                    </a:lnTo>
                    <a:lnTo>
                      <a:pt x="575" y="0"/>
                    </a:lnTo>
                    <a:lnTo>
                      <a:pt x="551" y="0"/>
                    </a:lnTo>
                    <a:lnTo>
                      <a:pt x="548" y="3"/>
                    </a:lnTo>
                    <a:lnTo>
                      <a:pt x="543" y="4"/>
                    </a:lnTo>
                    <a:lnTo>
                      <a:pt x="533" y="6"/>
                    </a:lnTo>
                    <a:lnTo>
                      <a:pt x="523" y="6"/>
                    </a:lnTo>
                    <a:lnTo>
                      <a:pt x="512" y="9"/>
                    </a:lnTo>
                    <a:lnTo>
                      <a:pt x="491" y="17"/>
                    </a:lnTo>
                    <a:lnTo>
                      <a:pt x="467" y="30"/>
                    </a:lnTo>
                    <a:lnTo>
                      <a:pt x="456" y="37"/>
                    </a:lnTo>
                    <a:lnTo>
                      <a:pt x="447" y="45"/>
                    </a:lnTo>
                    <a:lnTo>
                      <a:pt x="437" y="53"/>
                    </a:lnTo>
                    <a:lnTo>
                      <a:pt x="431" y="61"/>
                    </a:lnTo>
                    <a:lnTo>
                      <a:pt x="424" y="73"/>
                    </a:lnTo>
                    <a:lnTo>
                      <a:pt x="419" y="86"/>
                    </a:lnTo>
                    <a:lnTo>
                      <a:pt x="416" y="99"/>
                    </a:lnTo>
                    <a:lnTo>
                      <a:pt x="413" y="113"/>
                    </a:lnTo>
                    <a:lnTo>
                      <a:pt x="413" y="128"/>
                    </a:lnTo>
                    <a:lnTo>
                      <a:pt x="411" y="144"/>
                    </a:lnTo>
                    <a:lnTo>
                      <a:pt x="413" y="174"/>
                    </a:lnTo>
                    <a:lnTo>
                      <a:pt x="418" y="205"/>
                    </a:lnTo>
                    <a:lnTo>
                      <a:pt x="426" y="233"/>
                    </a:lnTo>
                    <a:lnTo>
                      <a:pt x="435" y="259"/>
                    </a:lnTo>
                    <a:lnTo>
                      <a:pt x="447" y="280"/>
                    </a:lnTo>
                    <a:lnTo>
                      <a:pt x="477" y="312"/>
                    </a:lnTo>
                    <a:lnTo>
                      <a:pt x="483" y="323"/>
                    </a:lnTo>
                    <a:lnTo>
                      <a:pt x="488" y="338"/>
                    </a:lnTo>
                    <a:lnTo>
                      <a:pt x="493" y="350"/>
                    </a:lnTo>
                    <a:lnTo>
                      <a:pt x="499" y="362"/>
                    </a:lnTo>
                    <a:lnTo>
                      <a:pt x="488" y="405"/>
                    </a:lnTo>
                    <a:lnTo>
                      <a:pt x="482" y="408"/>
                    </a:lnTo>
                    <a:lnTo>
                      <a:pt x="477" y="411"/>
                    </a:lnTo>
                    <a:lnTo>
                      <a:pt x="474" y="414"/>
                    </a:lnTo>
                    <a:lnTo>
                      <a:pt x="471" y="419"/>
                    </a:lnTo>
                    <a:lnTo>
                      <a:pt x="455" y="419"/>
                    </a:lnTo>
                    <a:lnTo>
                      <a:pt x="451" y="422"/>
                    </a:lnTo>
                    <a:lnTo>
                      <a:pt x="450" y="427"/>
                    </a:lnTo>
                    <a:lnTo>
                      <a:pt x="448" y="430"/>
                    </a:lnTo>
                    <a:lnTo>
                      <a:pt x="447" y="435"/>
                    </a:lnTo>
                    <a:lnTo>
                      <a:pt x="443" y="437"/>
                    </a:lnTo>
                    <a:lnTo>
                      <a:pt x="416" y="440"/>
                    </a:lnTo>
                    <a:lnTo>
                      <a:pt x="405" y="448"/>
                    </a:lnTo>
                    <a:lnTo>
                      <a:pt x="392" y="458"/>
                    </a:lnTo>
                    <a:lnTo>
                      <a:pt x="381" y="467"/>
                    </a:lnTo>
                    <a:lnTo>
                      <a:pt x="368" y="475"/>
                    </a:lnTo>
                    <a:lnTo>
                      <a:pt x="367" y="477"/>
                    </a:lnTo>
                    <a:lnTo>
                      <a:pt x="320" y="483"/>
                    </a:lnTo>
                    <a:lnTo>
                      <a:pt x="302" y="490"/>
                    </a:lnTo>
                    <a:lnTo>
                      <a:pt x="286" y="494"/>
                    </a:lnTo>
                    <a:lnTo>
                      <a:pt x="272" y="501"/>
                    </a:lnTo>
                    <a:lnTo>
                      <a:pt x="259" y="509"/>
                    </a:lnTo>
                    <a:lnTo>
                      <a:pt x="248" y="517"/>
                    </a:lnTo>
                    <a:lnTo>
                      <a:pt x="237" y="527"/>
                    </a:lnTo>
                    <a:lnTo>
                      <a:pt x="227" y="538"/>
                    </a:lnTo>
                    <a:lnTo>
                      <a:pt x="218" y="551"/>
                    </a:lnTo>
                    <a:lnTo>
                      <a:pt x="208" y="565"/>
                    </a:lnTo>
                    <a:lnTo>
                      <a:pt x="200" y="583"/>
                    </a:lnTo>
                    <a:lnTo>
                      <a:pt x="192" y="602"/>
                    </a:lnTo>
                    <a:lnTo>
                      <a:pt x="186" y="623"/>
                    </a:lnTo>
                    <a:lnTo>
                      <a:pt x="174" y="664"/>
                    </a:lnTo>
                    <a:lnTo>
                      <a:pt x="166" y="704"/>
                    </a:lnTo>
                    <a:lnTo>
                      <a:pt x="163" y="722"/>
                    </a:lnTo>
                    <a:lnTo>
                      <a:pt x="165" y="739"/>
                    </a:lnTo>
                    <a:lnTo>
                      <a:pt x="165" y="759"/>
                    </a:lnTo>
                    <a:lnTo>
                      <a:pt x="163" y="778"/>
                    </a:lnTo>
                    <a:lnTo>
                      <a:pt x="160" y="796"/>
                    </a:lnTo>
                    <a:lnTo>
                      <a:pt x="158" y="816"/>
                    </a:lnTo>
                    <a:lnTo>
                      <a:pt x="155" y="858"/>
                    </a:lnTo>
                    <a:lnTo>
                      <a:pt x="152" y="901"/>
                    </a:lnTo>
                    <a:lnTo>
                      <a:pt x="150" y="922"/>
                    </a:lnTo>
                    <a:lnTo>
                      <a:pt x="147" y="943"/>
                    </a:lnTo>
                    <a:lnTo>
                      <a:pt x="141" y="986"/>
                    </a:lnTo>
                    <a:lnTo>
                      <a:pt x="134" y="1031"/>
                    </a:lnTo>
                    <a:lnTo>
                      <a:pt x="131" y="1077"/>
                    </a:lnTo>
                    <a:lnTo>
                      <a:pt x="128" y="1125"/>
                    </a:lnTo>
                    <a:lnTo>
                      <a:pt x="128" y="1173"/>
                    </a:lnTo>
                    <a:lnTo>
                      <a:pt x="131" y="1221"/>
                    </a:lnTo>
                    <a:lnTo>
                      <a:pt x="136" y="1266"/>
                    </a:lnTo>
                    <a:lnTo>
                      <a:pt x="142" y="1310"/>
                    </a:lnTo>
                    <a:lnTo>
                      <a:pt x="146" y="1338"/>
                    </a:lnTo>
                    <a:lnTo>
                      <a:pt x="147" y="1382"/>
                    </a:lnTo>
                    <a:lnTo>
                      <a:pt x="149" y="1422"/>
                    </a:lnTo>
                    <a:lnTo>
                      <a:pt x="149" y="1438"/>
                    </a:lnTo>
                    <a:lnTo>
                      <a:pt x="147" y="1447"/>
                    </a:lnTo>
                    <a:lnTo>
                      <a:pt x="141" y="1473"/>
                    </a:lnTo>
                    <a:lnTo>
                      <a:pt x="133" y="1510"/>
                    </a:lnTo>
                    <a:lnTo>
                      <a:pt x="130" y="1529"/>
                    </a:lnTo>
                    <a:lnTo>
                      <a:pt x="128" y="1548"/>
                    </a:lnTo>
                    <a:lnTo>
                      <a:pt x="130" y="1566"/>
                    </a:lnTo>
                    <a:lnTo>
                      <a:pt x="131" y="1574"/>
                    </a:lnTo>
                    <a:lnTo>
                      <a:pt x="134" y="1582"/>
                    </a:lnTo>
                    <a:lnTo>
                      <a:pt x="141" y="1593"/>
                    </a:lnTo>
                    <a:lnTo>
                      <a:pt x="149" y="1604"/>
                    </a:lnTo>
                    <a:lnTo>
                      <a:pt x="158" y="1615"/>
                    </a:lnTo>
                    <a:lnTo>
                      <a:pt x="168" y="1625"/>
                    </a:lnTo>
                    <a:lnTo>
                      <a:pt x="190" y="1646"/>
                    </a:lnTo>
                    <a:lnTo>
                      <a:pt x="210" y="1663"/>
                    </a:lnTo>
                    <a:lnTo>
                      <a:pt x="194" y="1852"/>
                    </a:lnTo>
                    <a:lnTo>
                      <a:pt x="197" y="1934"/>
                    </a:lnTo>
                    <a:lnTo>
                      <a:pt x="178" y="1964"/>
                    </a:lnTo>
                    <a:lnTo>
                      <a:pt x="174" y="1990"/>
                    </a:lnTo>
                    <a:lnTo>
                      <a:pt x="152" y="2032"/>
                    </a:lnTo>
                    <a:lnTo>
                      <a:pt x="147" y="2123"/>
                    </a:lnTo>
                    <a:lnTo>
                      <a:pt x="133" y="2190"/>
                    </a:lnTo>
                    <a:lnTo>
                      <a:pt x="120" y="2261"/>
                    </a:lnTo>
                    <a:lnTo>
                      <a:pt x="94" y="2402"/>
                    </a:lnTo>
                    <a:lnTo>
                      <a:pt x="85" y="2451"/>
                    </a:lnTo>
                    <a:lnTo>
                      <a:pt x="78" y="2501"/>
                    </a:lnTo>
                    <a:lnTo>
                      <a:pt x="72" y="2551"/>
                    </a:lnTo>
                    <a:lnTo>
                      <a:pt x="64" y="2603"/>
                    </a:lnTo>
                    <a:lnTo>
                      <a:pt x="53" y="2663"/>
                    </a:lnTo>
                    <a:lnTo>
                      <a:pt x="75" y="2691"/>
                    </a:lnTo>
                    <a:lnTo>
                      <a:pt x="64" y="2725"/>
                    </a:lnTo>
                    <a:lnTo>
                      <a:pt x="56" y="2736"/>
                    </a:lnTo>
                    <a:lnTo>
                      <a:pt x="46" y="2749"/>
                    </a:lnTo>
                    <a:lnTo>
                      <a:pt x="24" y="2780"/>
                    </a:lnTo>
                    <a:lnTo>
                      <a:pt x="14" y="2796"/>
                    </a:lnTo>
                    <a:lnTo>
                      <a:pt x="5" y="2812"/>
                    </a:lnTo>
                    <a:lnTo>
                      <a:pt x="3" y="2820"/>
                    </a:lnTo>
                    <a:lnTo>
                      <a:pt x="1" y="2828"/>
                    </a:lnTo>
                    <a:lnTo>
                      <a:pt x="0" y="2836"/>
                    </a:lnTo>
                    <a:lnTo>
                      <a:pt x="1" y="2844"/>
                    </a:lnTo>
                    <a:lnTo>
                      <a:pt x="46" y="2848"/>
                    </a:lnTo>
                    <a:lnTo>
                      <a:pt x="70" y="2850"/>
                    </a:lnTo>
                    <a:lnTo>
                      <a:pt x="94" y="2850"/>
                    </a:lnTo>
                    <a:lnTo>
                      <a:pt x="118" y="2850"/>
                    </a:lnTo>
                    <a:lnTo>
                      <a:pt x="141" y="2848"/>
                    </a:lnTo>
                    <a:lnTo>
                      <a:pt x="162" y="2844"/>
                    </a:lnTo>
                    <a:lnTo>
                      <a:pt x="181" y="2839"/>
                    </a:lnTo>
                    <a:lnTo>
                      <a:pt x="179" y="2826"/>
                    </a:lnTo>
                    <a:lnTo>
                      <a:pt x="178" y="2813"/>
                    </a:lnTo>
                    <a:lnTo>
                      <a:pt x="179" y="2812"/>
                    </a:lnTo>
                    <a:lnTo>
                      <a:pt x="202" y="2810"/>
                    </a:lnTo>
                    <a:lnTo>
                      <a:pt x="222" y="2807"/>
                    </a:lnTo>
                    <a:lnTo>
                      <a:pt x="230" y="2804"/>
                    </a:lnTo>
                    <a:lnTo>
                      <a:pt x="238" y="2800"/>
                    </a:lnTo>
                    <a:lnTo>
                      <a:pt x="246" y="2796"/>
                    </a:lnTo>
                    <a:lnTo>
                      <a:pt x="254" y="2789"/>
                    </a:lnTo>
                    <a:lnTo>
                      <a:pt x="243" y="2720"/>
                    </a:lnTo>
                    <a:lnTo>
                      <a:pt x="259" y="2701"/>
                    </a:lnTo>
                    <a:lnTo>
                      <a:pt x="262" y="2690"/>
                    </a:lnTo>
                    <a:lnTo>
                      <a:pt x="264" y="2679"/>
                    </a:lnTo>
                    <a:lnTo>
                      <a:pt x="264" y="2658"/>
                    </a:lnTo>
                    <a:lnTo>
                      <a:pt x="264" y="2637"/>
                    </a:lnTo>
                    <a:lnTo>
                      <a:pt x="264" y="2626"/>
                    </a:lnTo>
                    <a:lnTo>
                      <a:pt x="266" y="2616"/>
                    </a:lnTo>
                    <a:lnTo>
                      <a:pt x="283" y="2536"/>
                    </a:lnTo>
                    <a:lnTo>
                      <a:pt x="301" y="2454"/>
                    </a:lnTo>
                    <a:lnTo>
                      <a:pt x="318" y="2374"/>
                    </a:lnTo>
                    <a:lnTo>
                      <a:pt x="336" y="2299"/>
                    </a:lnTo>
                    <a:lnTo>
                      <a:pt x="367" y="2166"/>
                    </a:lnTo>
                    <a:lnTo>
                      <a:pt x="399" y="2099"/>
                    </a:lnTo>
                    <a:lnTo>
                      <a:pt x="413" y="2064"/>
                    </a:lnTo>
                    <a:lnTo>
                      <a:pt x="419" y="2045"/>
                    </a:lnTo>
                    <a:lnTo>
                      <a:pt x="426" y="2025"/>
                    </a:lnTo>
                    <a:lnTo>
                      <a:pt x="440" y="1905"/>
                    </a:lnTo>
                    <a:lnTo>
                      <a:pt x="455" y="1843"/>
                    </a:lnTo>
                    <a:lnTo>
                      <a:pt x="463" y="1809"/>
                    </a:lnTo>
                    <a:lnTo>
                      <a:pt x="472" y="1776"/>
                    </a:lnTo>
                    <a:lnTo>
                      <a:pt x="482" y="1742"/>
                    </a:lnTo>
                    <a:lnTo>
                      <a:pt x="493" y="1711"/>
                    </a:lnTo>
                    <a:lnTo>
                      <a:pt x="506" y="1684"/>
                    </a:lnTo>
                    <a:lnTo>
                      <a:pt x="514" y="1671"/>
                    </a:lnTo>
                    <a:lnTo>
                      <a:pt x="520" y="1662"/>
                    </a:lnTo>
                    <a:lnTo>
                      <a:pt x="523" y="1663"/>
                    </a:lnTo>
                    <a:lnTo>
                      <a:pt x="523" y="1691"/>
                    </a:lnTo>
                    <a:lnTo>
                      <a:pt x="522" y="1721"/>
                    </a:lnTo>
                    <a:lnTo>
                      <a:pt x="517" y="1750"/>
                    </a:lnTo>
                    <a:lnTo>
                      <a:pt x="512" y="1777"/>
                    </a:lnTo>
                    <a:lnTo>
                      <a:pt x="511" y="1792"/>
                    </a:lnTo>
                    <a:lnTo>
                      <a:pt x="511" y="1806"/>
                    </a:lnTo>
                    <a:lnTo>
                      <a:pt x="515" y="1833"/>
                    </a:lnTo>
                    <a:lnTo>
                      <a:pt x="519" y="1862"/>
                    </a:lnTo>
                    <a:lnTo>
                      <a:pt x="519" y="1878"/>
                    </a:lnTo>
                    <a:lnTo>
                      <a:pt x="517" y="1892"/>
                    </a:lnTo>
                    <a:lnTo>
                      <a:pt x="506" y="2051"/>
                    </a:lnTo>
                    <a:lnTo>
                      <a:pt x="506" y="2099"/>
                    </a:lnTo>
                    <a:lnTo>
                      <a:pt x="491" y="2150"/>
                    </a:lnTo>
                    <a:lnTo>
                      <a:pt x="487" y="2184"/>
                    </a:lnTo>
                    <a:lnTo>
                      <a:pt x="483" y="2217"/>
                    </a:lnTo>
                    <a:lnTo>
                      <a:pt x="479" y="2285"/>
                    </a:lnTo>
                    <a:lnTo>
                      <a:pt x="475" y="2318"/>
                    </a:lnTo>
                    <a:lnTo>
                      <a:pt x="472" y="2350"/>
                    </a:lnTo>
                    <a:lnTo>
                      <a:pt x="467" y="2382"/>
                    </a:lnTo>
                    <a:lnTo>
                      <a:pt x="461" y="2411"/>
                    </a:lnTo>
                    <a:lnTo>
                      <a:pt x="453" y="2442"/>
                    </a:lnTo>
                    <a:lnTo>
                      <a:pt x="448" y="2474"/>
                    </a:lnTo>
                    <a:lnTo>
                      <a:pt x="443" y="2507"/>
                    </a:lnTo>
                    <a:lnTo>
                      <a:pt x="440" y="2541"/>
                    </a:lnTo>
                    <a:lnTo>
                      <a:pt x="437" y="2610"/>
                    </a:lnTo>
                    <a:lnTo>
                      <a:pt x="431" y="2672"/>
                    </a:lnTo>
                    <a:lnTo>
                      <a:pt x="426" y="2693"/>
                    </a:lnTo>
                    <a:lnTo>
                      <a:pt x="419" y="2720"/>
                    </a:lnTo>
                    <a:lnTo>
                      <a:pt x="413" y="2746"/>
                    </a:lnTo>
                    <a:lnTo>
                      <a:pt x="413" y="2757"/>
                    </a:lnTo>
                    <a:lnTo>
                      <a:pt x="413" y="2765"/>
                    </a:lnTo>
                    <a:lnTo>
                      <a:pt x="416" y="2768"/>
                    </a:lnTo>
                    <a:lnTo>
                      <a:pt x="419" y="2773"/>
                    </a:lnTo>
                    <a:lnTo>
                      <a:pt x="427" y="2778"/>
                    </a:lnTo>
                    <a:lnTo>
                      <a:pt x="439" y="2781"/>
                    </a:lnTo>
                    <a:lnTo>
                      <a:pt x="451" y="2784"/>
                    </a:lnTo>
                    <a:lnTo>
                      <a:pt x="475" y="2788"/>
                    </a:lnTo>
                    <a:lnTo>
                      <a:pt x="488" y="2789"/>
                    </a:lnTo>
                    <a:lnTo>
                      <a:pt x="499" y="2791"/>
                    </a:lnTo>
                    <a:lnTo>
                      <a:pt x="496" y="2802"/>
                    </a:lnTo>
                    <a:lnTo>
                      <a:pt x="496" y="2813"/>
                    </a:lnTo>
                    <a:lnTo>
                      <a:pt x="504" y="2818"/>
                    </a:lnTo>
                    <a:lnTo>
                      <a:pt x="512" y="2823"/>
                    </a:lnTo>
                    <a:lnTo>
                      <a:pt x="531" y="2829"/>
                    </a:lnTo>
                    <a:lnTo>
                      <a:pt x="552" y="2834"/>
                    </a:lnTo>
                    <a:lnTo>
                      <a:pt x="576" y="2837"/>
                    </a:lnTo>
                    <a:lnTo>
                      <a:pt x="600" y="2837"/>
                    </a:lnTo>
                    <a:lnTo>
                      <a:pt x="624" y="2836"/>
                    </a:lnTo>
                    <a:lnTo>
                      <a:pt x="648" y="2834"/>
                    </a:lnTo>
                    <a:lnTo>
                      <a:pt x="671" y="2829"/>
                    </a:lnTo>
                    <a:lnTo>
                      <a:pt x="676" y="2820"/>
                    </a:lnTo>
                    <a:lnTo>
                      <a:pt x="674" y="2808"/>
                    </a:lnTo>
                    <a:lnTo>
                      <a:pt x="671" y="2799"/>
                    </a:lnTo>
                    <a:lnTo>
                      <a:pt x="663" y="2781"/>
                    </a:lnTo>
                    <a:lnTo>
                      <a:pt x="653" y="2765"/>
                    </a:lnTo>
                    <a:lnTo>
                      <a:pt x="644" y="2751"/>
                    </a:lnTo>
                    <a:lnTo>
                      <a:pt x="632" y="2738"/>
                    </a:lnTo>
                    <a:lnTo>
                      <a:pt x="624" y="2725"/>
                    </a:lnTo>
                    <a:lnTo>
                      <a:pt x="618" y="2711"/>
                    </a:lnTo>
                    <a:lnTo>
                      <a:pt x="615" y="2703"/>
                    </a:lnTo>
                    <a:lnTo>
                      <a:pt x="615" y="2696"/>
                    </a:lnTo>
                    <a:lnTo>
                      <a:pt x="624" y="2691"/>
                    </a:lnTo>
                    <a:lnTo>
                      <a:pt x="634" y="2688"/>
                    </a:lnTo>
                    <a:lnTo>
                      <a:pt x="629" y="2615"/>
                    </a:lnTo>
                    <a:lnTo>
                      <a:pt x="637" y="2573"/>
                    </a:lnTo>
                    <a:lnTo>
                      <a:pt x="647" y="2530"/>
                    </a:lnTo>
                    <a:lnTo>
                      <a:pt x="656" y="2488"/>
                    </a:lnTo>
                    <a:lnTo>
                      <a:pt x="666" y="2445"/>
                    </a:lnTo>
                    <a:lnTo>
                      <a:pt x="671" y="2413"/>
                    </a:lnTo>
                    <a:lnTo>
                      <a:pt x="674" y="2381"/>
                    </a:lnTo>
                    <a:lnTo>
                      <a:pt x="679" y="2317"/>
                    </a:lnTo>
                    <a:lnTo>
                      <a:pt x="680" y="2285"/>
                    </a:lnTo>
                    <a:lnTo>
                      <a:pt x="684" y="2253"/>
                    </a:lnTo>
                    <a:lnTo>
                      <a:pt x="688" y="2222"/>
                    </a:lnTo>
                    <a:lnTo>
                      <a:pt x="696" y="2192"/>
                    </a:lnTo>
                    <a:lnTo>
                      <a:pt x="762" y="2054"/>
                    </a:lnTo>
                    <a:lnTo>
                      <a:pt x="765" y="1998"/>
                    </a:lnTo>
                    <a:lnTo>
                      <a:pt x="793" y="1758"/>
                    </a:lnTo>
                    <a:lnTo>
                      <a:pt x="805" y="1700"/>
                    </a:lnTo>
                    <a:lnTo>
                      <a:pt x="818" y="1641"/>
                    </a:lnTo>
                    <a:lnTo>
                      <a:pt x="829" y="1580"/>
                    </a:lnTo>
                    <a:lnTo>
                      <a:pt x="842" y="1521"/>
                    </a:lnTo>
                    <a:lnTo>
                      <a:pt x="844" y="1447"/>
                    </a:lnTo>
                    <a:lnTo>
                      <a:pt x="845" y="1422"/>
                    </a:lnTo>
                    <a:lnTo>
                      <a:pt x="845" y="1396"/>
                    </a:lnTo>
                    <a:lnTo>
                      <a:pt x="844" y="1370"/>
                    </a:lnTo>
                    <a:lnTo>
                      <a:pt x="839" y="1348"/>
                    </a:lnTo>
                    <a:lnTo>
                      <a:pt x="841" y="1345"/>
                    </a:lnTo>
                    <a:lnTo>
                      <a:pt x="844" y="1346"/>
                    </a:lnTo>
                    <a:lnTo>
                      <a:pt x="861" y="1394"/>
                    </a:lnTo>
                    <a:lnTo>
                      <a:pt x="863" y="1406"/>
                    </a:lnTo>
                    <a:lnTo>
                      <a:pt x="863" y="1417"/>
                    </a:lnTo>
                    <a:lnTo>
                      <a:pt x="861" y="1426"/>
                    </a:lnTo>
                    <a:lnTo>
                      <a:pt x="858" y="1436"/>
                    </a:lnTo>
                    <a:lnTo>
                      <a:pt x="852" y="1454"/>
                    </a:lnTo>
                    <a:lnTo>
                      <a:pt x="850" y="1462"/>
                    </a:lnTo>
                    <a:lnTo>
                      <a:pt x="847" y="1471"/>
                    </a:lnTo>
                    <a:lnTo>
                      <a:pt x="847" y="1478"/>
                    </a:lnTo>
                    <a:lnTo>
                      <a:pt x="849" y="1482"/>
                    </a:lnTo>
                    <a:lnTo>
                      <a:pt x="850" y="1490"/>
                    </a:lnTo>
                    <a:lnTo>
                      <a:pt x="855" y="1499"/>
                    </a:lnTo>
                    <a:lnTo>
                      <a:pt x="857" y="1507"/>
                    </a:lnTo>
                    <a:lnTo>
                      <a:pt x="850" y="1545"/>
                    </a:lnTo>
                    <a:lnTo>
                      <a:pt x="858" y="1580"/>
                    </a:lnTo>
                    <a:lnTo>
                      <a:pt x="866" y="1583"/>
                    </a:lnTo>
                    <a:lnTo>
                      <a:pt x="871" y="1585"/>
                    </a:lnTo>
                    <a:lnTo>
                      <a:pt x="876" y="1585"/>
                    </a:lnTo>
                    <a:lnTo>
                      <a:pt x="871" y="1593"/>
                    </a:lnTo>
                    <a:lnTo>
                      <a:pt x="865" y="1601"/>
                    </a:lnTo>
                    <a:lnTo>
                      <a:pt x="847" y="1619"/>
                    </a:lnTo>
                    <a:lnTo>
                      <a:pt x="841" y="1627"/>
                    </a:lnTo>
                    <a:lnTo>
                      <a:pt x="836" y="1636"/>
                    </a:lnTo>
                    <a:lnTo>
                      <a:pt x="834" y="1641"/>
                    </a:lnTo>
                    <a:lnTo>
                      <a:pt x="836" y="1647"/>
                    </a:lnTo>
                    <a:lnTo>
                      <a:pt x="837" y="1652"/>
                    </a:lnTo>
                    <a:lnTo>
                      <a:pt x="841" y="1659"/>
                    </a:lnTo>
                    <a:lnTo>
                      <a:pt x="842" y="1659"/>
                    </a:lnTo>
                    <a:lnTo>
                      <a:pt x="858" y="1655"/>
                    </a:lnTo>
                    <a:lnTo>
                      <a:pt x="874" y="1652"/>
                    </a:lnTo>
                    <a:lnTo>
                      <a:pt x="889" y="1644"/>
                    </a:lnTo>
                    <a:lnTo>
                      <a:pt x="900" y="1636"/>
                    </a:lnTo>
                    <a:lnTo>
                      <a:pt x="911" y="1627"/>
                    </a:lnTo>
                    <a:lnTo>
                      <a:pt x="919" y="1614"/>
                    </a:lnTo>
                    <a:lnTo>
                      <a:pt x="927" y="1599"/>
                    </a:lnTo>
                    <a:lnTo>
                      <a:pt x="933" y="1585"/>
                    </a:lnTo>
                    <a:lnTo>
                      <a:pt x="938" y="1569"/>
                    </a:lnTo>
                    <a:lnTo>
                      <a:pt x="941" y="1551"/>
                    </a:lnTo>
                    <a:lnTo>
                      <a:pt x="943" y="1534"/>
                    </a:lnTo>
                    <a:lnTo>
                      <a:pt x="943" y="1516"/>
                    </a:lnTo>
                    <a:lnTo>
                      <a:pt x="943" y="1497"/>
                    </a:lnTo>
                    <a:lnTo>
                      <a:pt x="943" y="1479"/>
                    </a:lnTo>
                    <a:lnTo>
                      <a:pt x="937" y="1442"/>
                    </a:lnTo>
                    <a:close/>
                    <a:moveTo>
                      <a:pt x="310" y="1119"/>
                    </a:moveTo>
                    <a:lnTo>
                      <a:pt x="310" y="1119"/>
                    </a:lnTo>
                    <a:lnTo>
                      <a:pt x="290" y="1220"/>
                    </a:lnTo>
                    <a:lnTo>
                      <a:pt x="283" y="1237"/>
                    </a:lnTo>
                    <a:lnTo>
                      <a:pt x="274" y="1257"/>
                    </a:lnTo>
                    <a:lnTo>
                      <a:pt x="266" y="1274"/>
                    </a:lnTo>
                    <a:lnTo>
                      <a:pt x="259" y="1295"/>
                    </a:lnTo>
                    <a:lnTo>
                      <a:pt x="258" y="1310"/>
                    </a:lnTo>
                    <a:lnTo>
                      <a:pt x="256" y="1324"/>
                    </a:lnTo>
                    <a:lnTo>
                      <a:pt x="256" y="1348"/>
                    </a:lnTo>
                    <a:lnTo>
                      <a:pt x="254" y="1361"/>
                    </a:lnTo>
                    <a:lnTo>
                      <a:pt x="253" y="1372"/>
                    </a:lnTo>
                    <a:lnTo>
                      <a:pt x="248" y="1383"/>
                    </a:lnTo>
                    <a:lnTo>
                      <a:pt x="242" y="1396"/>
                    </a:lnTo>
                    <a:lnTo>
                      <a:pt x="245" y="1402"/>
                    </a:lnTo>
                    <a:lnTo>
                      <a:pt x="248" y="1406"/>
                    </a:lnTo>
                    <a:lnTo>
                      <a:pt x="253" y="1409"/>
                    </a:lnTo>
                    <a:lnTo>
                      <a:pt x="254" y="1415"/>
                    </a:lnTo>
                    <a:lnTo>
                      <a:pt x="250" y="1426"/>
                    </a:lnTo>
                    <a:lnTo>
                      <a:pt x="245" y="1423"/>
                    </a:lnTo>
                    <a:lnTo>
                      <a:pt x="240" y="1390"/>
                    </a:lnTo>
                    <a:lnTo>
                      <a:pt x="237" y="1356"/>
                    </a:lnTo>
                    <a:lnTo>
                      <a:pt x="235" y="1321"/>
                    </a:lnTo>
                    <a:lnTo>
                      <a:pt x="234" y="1286"/>
                    </a:lnTo>
                    <a:lnTo>
                      <a:pt x="235" y="1252"/>
                    </a:lnTo>
                    <a:lnTo>
                      <a:pt x="237" y="1217"/>
                    </a:lnTo>
                    <a:lnTo>
                      <a:pt x="243" y="1146"/>
                    </a:lnTo>
                    <a:lnTo>
                      <a:pt x="253" y="1079"/>
                    </a:lnTo>
                    <a:lnTo>
                      <a:pt x="266" y="1012"/>
                    </a:lnTo>
                    <a:lnTo>
                      <a:pt x="290" y="888"/>
                    </a:lnTo>
                    <a:lnTo>
                      <a:pt x="293" y="893"/>
                    </a:lnTo>
                    <a:lnTo>
                      <a:pt x="298" y="903"/>
                    </a:lnTo>
                    <a:lnTo>
                      <a:pt x="307" y="930"/>
                    </a:lnTo>
                    <a:lnTo>
                      <a:pt x="315" y="959"/>
                    </a:lnTo>
                    <a:lnTo>
                      <a:pt x="320" y="978"/>
                    </a:lnTo>
                    <a:lnTo>
                      <a:pt x="315" y="1015"/>
                    </a:lnTo>
                    <a:lnTo>
                      <a:pt x="326" y="1041"/>
                    </a:lnTo>
                    <a:lnTo>
                      <a:pt x="328" y="1052"/>
                    </a:lnTo>
                    <a:lnTo>
                      <a:pt x="326" y="1063"/>
                    </a:lnTo>
                    <a:lnTo>
                      <a:pt x="325" y="1074"/>
                    </a:lnTo>
                    <a:lnTo>
                      <a:pt x="323" y="1084"/>
                    </a:lnTo>
                    <a:lnTo>
                      <a:pt x="317" y="1103"/>
                    </a:lnTo>
                    <a:lnTo>
                      <a:pt x="310" y="1119"/>
                    </a:lnTo>
                    <a:close/>
                  </a:path>
                </a:pathLst>
              </a:custGeom>
              <a:solidFill>
                <a:schemeClr val="tx1">
                  <a:lumMod val="75000"/>
                  <a:lumOff val="25000"/>
                </a:schemeClr>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sp>
          <p:nvSpPr>
            <p:cNvPr id="30" name="Ellipse 4"/>
            <p:cNvSpPr/>
            <p:nvPr/>
          </p:nvSpPr>
          <p:spPr>
            <a:xfrm>
              <a:off x="3955139" y="4156053"/>
              <a:ext cx="1186156" cy="329653"/>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25"/>
            <p:cNvSpPr>
              <a:spLocks noEditPoints="1"/>
            </p:cNvSpPr>
            <p:nvPr>
              <p:custDataLst>
                <p:tags r:id="rId5"/>
              </p:custDataLst>
            </p:nvPr>
          </p:nvSpPr>
          <p:spPr bwMode="auto">
            <a:xfrm>
              <a:off x="4267023" y="2571877"/>
              <a:ext cx="540104" cy="1759694"/>
            </a:xfrm>
            <a:custGeom>
              <a:avLst/>
              <a:gdLst/>
              <a:ahLst/>
              <a:cxnLst>
                <a:cxn ang="0">
                  <a:pos x="267" y="1065"/>
                </a:cxn>
                <a:cxn ang="0">
                  <a:pos x="262" y="1226"/>
                </a:cxn>
                <a:cxn ang="0">
                  <a:pos x="272" y="1322"/>
                </a:cxn>
                <a:cxn ang="0">
                  <a:pos x="287" y="1437"/>
                </a:cxn>
                <a:cxn ang="0">
                  <a:pos x="295" y="1219"/>
                </a:cxn>
                <a:cxn ang="0">
                  <a:pos x="292" y="5"/>
                </a:cxn>
                <a:cxn ang="0">
                  <a:pos x="353" y="91"/>
                </a:cxn>
                <a:cxn ang="0">
                  <a:pos x="352" y="154"/>
                </a:cxn>
                <a:cxn ang="0">
                  <a:pos x="330" y="188"/>
                </a:cxn>
                <a:cxn ang="0">
                  <a:pos x="327" y="247"/>
                </a:cxn>
                <a:cxn ang="0">
                  <a:pos x="368" y="289"/>
                </a:cxn>
                <a:cxn ang="0">
                  <a:pos x="468" y="321"/>
                </a:cxn>
                <a:cxn ang="0">
                  <a:pos x="482" y="366"/>
                </a:cxn>
                <a:cxn ang="0">
                  <a:pos x="499" y="495"/>
                </a:cxn>
                <a:cxn ang="0">
                  <a:pos x="514" y="635"/>
                </a:cxn>
                <a:cxn ang="0">
                  <a:pos x="525" y="807"/>
                </a:cxn>
                <a:cxn ang="0">
                  <a:pos x="513" y="916"/>
                </a:cxn>
                <a:cxn ang="0">
                  <a:pos x="490" y="965"/>
                </a:cxn>
                <a:cxn ang="0">
                  <a:pos x="444" y="962"/>
                </a:cxn>
                <a:cxn ang="0">
                  <a:pos x="454" y="870"/>
                </a:cxn>
                <a:cxn ang="0">
                  <a:pos x="428" y="606"/>
                </a:cxn>
                <a:cxn ang="0">
                  <a:pos x="418" y="572"/>
                </a:cxn>
                <a:cxn ang="0">
                  <a:pos x="407" y="636"/>
                </a:cxn>
                <a:cxn ang="0">
                  <a:pos x="430" y="775"/>
                </a:cxn>
                <a:cxn ang="0">
                  <a:pos x="428" y="922"/>
                </a:cxn>
                <a:cxn ang="0">
                  <a:pos x="418" y="1017"/>
                </a:cxn>
                <a:cxn ang="0">
                  <a:pos x="407" y="1440"/>
                </a:cxn>
                <a:cxn ang="0">
                  <a:pos x="391" y="1600"/>
                </a:cxn>
                <a:cxn ang="0">
                  <a:pos x="398" y="1667"/>
                </a:cxn>
                <a:cxn ang="0">
                  <a:pos x="410" y="1709"/>
                </a:cxn>
                <a:cxn ang="0">
                  <a:pos x="310" y="1703"/>
                </a:cxn>
                <a:cxn ang="0">
                  <a:pos x="301" y="1680"/>
                </a:cxn>
                <a:cxn ang="0">
                  <a:pos x="242" y="1652"/>
                </a:cxn>
                <a:cxn ang="0">
                  <a:pos x="127" y="1664"/>
                </a:cxn>
                <a:cxn ang="0">
                  <a:pos x="119" y="1652"/>
                </a:cxn>
                <a:cxn ang="0">
                  <a:pos x="139" y="1632"/>
                </a:cxn>
                <a:cxn ang="0">
                  <a:pos x="198" y="1584"/>
                </a:cxn>
                <a:cxn ang="0">
                  <a:pos x="176" y="1391"/>
                </a:cxn>
                <a:cxn ang="0">
                  <a:pos x="167" y="1311"/>
                </a:cxn>
                <a:cxn ang="0">
                  <a:pos x="152" y="1185"/>
                </a:cxn>
                <a:cxn ang="0">
                  <a:pos x="122" y="999"/>
                </a:cxn>
                <a:cxn ang="0">
                  <a:pos x="99" y="950"/>
                </a:cxn>
                <a:cxn ang="0">
                  <a:pos x="103" y="758"/>
                </a:cxn>
                <a:cxn ang="0">
                  <a:pos x="84" y="799"/>
                </a:cxn>
                <a:cxn ang="0">
                  <a:pos x="66" y="874"/>
                </a:cxn>
                <a:cxn ang="0">
                  <a:pos x="56" y="944"/>
                </a:cxn>
                <a:cxn ang="0">
                  <a:pos x="67" y="962"/>
                </a:cxn>
                <a:cxn ang="0">
                  <a:pos x="12" y="888"/>
                </a:cxn>
                <a:cxn ang="0">
                  <a:pos x="4" y="839"/>
                </a:cxn>
                <a:cxn ang="0">
                  <a:pos x="23" y="704"/>
                </a:cxn>
                <a:cxn ang="0">
                  <a:pos x="36" y="582"/>
                </a:cxn>
                <a:cxn ang="0">
                  <a:pos x="52" y="464"/>
                </a:cxn>
                <a:cxn ang="0">
                  <a:pos x="61" y="343"/>
                </a:cxn>
                <a:cxn ang="0">
                  <a:pos x="98" y="326"/>
                </a:cxn>
                <a:cxn ang="0">
                  <a:pos x="179" y="289"/>
                </a:cxn>
                <a:cxn ang="0">
                  <a:pos x="213" y="251"/>
                </a:cxn>
                <a:cxn ang="0">
                  <a:pos x="198" y="181"/>
                </a:cxn>
                <a:cxn ang="0">
                  <a:pos x="181" y="132"/>
                </a:cxn>
                <a:cxn ang="0">
                  <a:pos x="181" y="63"/>
                </a:cxn>
                <a:cxn ang="0">
                  <a:pos x="262" y="0"/>
                </a:cxn>
              </a:cxnLst>
              <a:rect l="0" t="0" r="r" b="b"/>
              <a:pathLst>
                <a:path w="527" h="1717">
                  <a:moveTo>
                    <a:pt x="272" y="1011"/>
                  </a:moveTo>
                  <a:lnTo>
                    <a:pt x="270" y="1014"/>
                  </a:lnTo>
                  <a:lnTo>
                    <a:pt x="267" y="1019"/>
                  </a:lnTo>
                  <a:lnTo>
                    <a:pt x="265" y="1028"/>
                  </a:lnTo>
                  <a:lnTo>
                    <a:pt x="265" y="1044"/>
                  </a:lnTo>
                  <a:lnTo>
                    <a:pt x="267" y="1065"/>
                  </a:lnTo>
                  <a:lnTo>
                    <a:pt x="270" y="1094"/>
                  </a:lnTo>
                  <a:lnTo>
                    <a:pt x="273" y="1133"/>
                  </a:lnTo>
                  <a:lnTo>
                    <a:pt x="273" y="1165"/>
                  </a:lnTo>
                  <a:lnTo>
                    <a:pt x="270" y="1193"/>
                  </a:lnTo>
                  <a:lnTo>
                    <a:pt x="265" y="1213"/>
                  </a:lnTo>
                  <a:lnTo>
                    <a:pt x="262" y="1226"/>
                  </a:lnTo>
                  <a:lnTo>
                    <a:pt x="259" y="1234"/>
                  </a:lnTo>
                  <a:lnTo>
                    <a:pt x="259" y="1239"/>
                  </a:lnTo>
                  <a:lnTo>
                    <a:pt x="262" y="1251"/>
                  </a:lnTo>
                  <a:lnTo>
                    <a:pt x="265" y="1269"/>
                  </a:lnTo>
                  <a:lnTo>
                    <a:pt x="269" y="1292"/>
                  </a:lnTo>
                  <a:lnTo>
                    <a:pt x="272" y="1322"/>
                  </a:lnTo>
                  <a:lnTo>
                    <a:pt x="272" y="1355"/>
                  </a:lnTo>
                  <a:lnTo>
                    <a:pt x="270" y="1394"/>
                  </a:lnTo>
                  <a:lnTo>
                    <a:pt x="275" y="1403"/>
                  </a:lnTo>
                  <a:lnTo>
                    <a:pt x="279" y="1414"/>
                  </a:lnTo>
                  <a:lnTo>
                    <a:pt x="284" y="1426"/>
                  </a:lnTo>
                  <a:lnTo>
                    <a:pt x="287" y="1437"/>
                  </a:lnTo>
                  <a:lnTo>
                    <a:pt x="288" y="1448"/>
                  </a:lnTo>
                  <a:lnTo>
                    <a:pt x="288" y="1431"/>
                  </a:lnTo>
                  <a:lnTo>
                    <a:pt x="290" y="1405"/>
                  </a:lnTo>
                  <a:lnTo>
                    <a:pt x="292" y="1372"/>
                  </a:lnTo>
                  <a:lnTo>
                    <a:pt x="295" y="1296"/>
                  </a:lnTo>
                  <a:lnTo>
                    <a:pt x="295" y="1219"/>
                  </a:lnTo>
                  <a:lnTo>
                    <a:pt x="293" y="1185"/>
                  </a:lnTo>
                  <a:lnTo>
                    <a:pt x="292" y="1160"/>
                  </a:lnTo>
                  <a:lnTo>
                    <a:pt x="272" y="1011"/>
                  </a:lnTo>
                  <a:close/>
                  <a:moveTo>
                    <a:pt x="262" y="0"/>
                  </a:moveTo>
                  <a:lnTo>
                    <a:pt x="281" y="0"/>
                  </a:lnTo>
                  <a:lnTo>
                    <a:pt x="292" y="5"/>
                  </a:lnTo>
                  <a:lnTo>
                    <a:pt x="305" y="12"/>
                  </a:lnTo>
                  <a:lnTo>
                    <a:pt x="321" y="23"/>
                  </a:lnTo>
                  <a:lnTo>
                    <a:pt x="335" y="37"/>
                  </a:lnTo>
                  <a:lnTo>
                    <a:pt x="345" y="54"/>
                  </a:lnTo>
                  <a:lnTo>
                    <a:pt x="352" y="72"/>
                  </a:lnTo>
                  <a:lnTo>
                    <a:pt x="353" y="91"/>
                  </a:lnTo>
                  <a:lnTo>
                    <a:pt x="353" y="106"/>
                  </a:lnTo>
                  <a:lnTo>
                    <a:pt x="350" y="118"/>
                  </a:lnTo>
                  <a:lnTo>
                    <a:pt x="348" y="128"/>
                  </a:lnTo>
                  <a:lnTo>
                    <a:pt x="347" y="131"/>
                  </a:lnTo>
                  <a:lnTo>
                    <a:pt x="352" y="137"/>
                  </a:lnTo>
                  <a:lnTo>
                    <a:pt x="352" y="154"/>
                  </a:lnTo>
                  <a:lnTo>
                    <a:pt x="348" y="166"/>
                  </a:lnTo>
                  <a:lnTo>
                    <a:pt x="344" y="174"/>
                  </a:lnTo>
                  <a:lnTo>
                    <a:pt x="339" y="178"/>
                  </a:lnTo>
                  <a:lnTo>
                    <a:pt x="336" y="180"/>
                  </a:lnTo>
                  <a:lnTo>
                    <a:pt x="332" y="180"/>
                  </a:lnTo>
                  <a:lnTo>
                    <a:pt x="330" y="188"/>
                  </a:lnTo>
                  <a:lnTo>
                    <a:pt x="327" y="197"/>
                  </a:lnTo>
                  <a:lnTo>
                    <a:pt x="322" y="204"/>
                  </a:lnTo>
                  <a:lnTo>
                    <a:pt x="321" y="207"/>
                  </a:lnTo>
                  <a:lnTo>
                    <a:pt x="321" y="238"/>
                  </a:lnTo>
                  <a:lnTo>
                    <a:pt x="322" y="241"/>
                  </a:lnTo>
                  <a:lnTo>
                    <a:pt x="327" y="247"/>
                  </a:lnTo>
                  <a:lnTo>
                    <a:pt x="335" y="255"/>
                  </a:lnTo>
                  <a:lnTo>
                    <a:pt x="342" y="266"/>
                  </a:lnTo>
                  <a:lnTo>
                    <a:pt x="350" y="275"/>
                  </a:lnTo>
                  <a:lnTo>
                    <a:pt x="358" y="281"/>
                  </a:lnTo>
                  <a:lnTo>
                    <a:pt x="362" y="286"/>
                  </a:lnTo>
                  <a:lnTo>
                    <a:pt x="368" y="289"/>
                  </a:lnTo>
                  <a:lnTo>
                    <a:pt x="382" y="292"/>
                  </a:lnTo>
                  <a:lnTo>
                    <a:pt x="399" y="298"/>
                  </a:lnTo>
                  <a:lnTo>
                    <a:pt x="436" y="310"/>
                  </a:lnTo>
                  <a:lnTo>
                    <a:pt x="453" y="317"/>
                  </a:lnTo>
                  <a:lnTo>
                    <a:pt x="464" y="320"/>
                  </a:lnTo>
                  <a:lnTo>
                    <a:pt x="468" y="321"/>
                  </a:lnTo>
                  <a:lnTo>
                    <a:pt x="476" y="324"/>
                  </a:lnTo>
                  <a:lnTo>
                    <a:pt x="481" y="330"/>
                  </a:lnTo>
                  <a:lnTo>
                    <a:pt x="482" y="341"/>
                  </a:lnTo>
                  <a:lnTo>
                    <a:pt x="484" y="350"/>
                  </a:lnTo>
                  <a:lnTo>
                    <a:pt x="482" y="358"/>
                  </a:lnTo>
                  <a:lnTo>
                    <a:pt x="482" y="366"/>
                  </a:lnTo>
                  <a:lnTo>
                    <a:pt x="484" y="377"/>
                  </a:lnTo>
                  <a:lnTo>
                    <a:pt x="485" y="392"/>
                  </a:lnTo>
                  <a:lnTo>
                    <a:pt x="490" y="452"/>
                  </a:lnTo>
                  <a:lnTo>
                    <a:pt x="493" y="467"/>
                  </a:lnTo>
                  <a:lnTo>
                    <a:pt x="496" y="480"/>
                  </a:lnTo>
                  <a:lnTo>
                    <a:pt x="499" y="495"/>
                  </a:lnTo>
                  <a:lnTo>
                    <a:pt x="499" y="516"/>
                  </a:lnTo>
                  <a:lnTo>
                    <a:pt x="501" y="539"/>
                  </a:lnTo>
                  <a:lnTo>
                    <a:pt x="502" y="566"/>
                  </a:lnTo>
                  <a:lnTo>
                    <a:pt x="505" y="593"/>
                  </a:lnTo>
                  <a:lnTo>
                    <a:pt x="511" y="618"/>
                  </a:lnTo>
                  <a:lnTo>
                    <a:pt x="514" y="635"/>
                  </a:lnTo>
                  <a:lnTo>
                    <a:pt x="517" y="658"/>
                  </a:lnTo>
                  <a:lnTo>
                    <a:pt x="521" y="685"/>
                  </a:lnTo>
                  <a:lnTo>
                    <a:pt x="522" y="715"/>
                  </a:lnTo>
                  <a:lnTo>
                    <a:pt x="524" y="747"/>
                  </a:lnTo>
                  <a:lnTo>
                    <a:pt x="525" y="778"/>
                  </a:lnTo>
                  <a:lnTo>
                    <a:pt x="525" y="807"/>
                  </a:lnTo>
                  <a:lnTo>
                    <a:pt x="527" y="833"/>
                  </a:lnTo>
                  <a:lnTo>
                    <a:pt x="527" y="871"/>
                  </a:lnTo>
                  <a:lnTo>
                    <a:pt x="519" y="871"/>
                  </a:lnTo>
                  <a:lnTo>
                    <a:pt x="517" y="884"/>
                  </a:lnTo>
                  <a:lnTo>
                    <a:pt x="514" y="882"/>
                  </a:lnTo>
                  <a:lnTo>
                    <a:pt x="513" y="916"/>
                  </a:lnTo>
                  <a:lnTo>
                    <a:pt x="507" y="922"/>
                  </a:lnTo>
                  <a:lnTo>
                    <a:pt x="502" y="931"/>
                  </a:lnTo>
                  <a:lnTo>
                    <a:pt x="498" y="944"/>
                  </a:lnTo>
                  <a:lnTo>
                    <a:pt x="493" y="954"/>
                  </a:lnTo>
                  <a:lnTo>
                    <a:pt x="491" y="962"/>
                  </a:lnTo>
                  <a:lnTo>
                    <a:pt x="490" y="965"/>
                  </a:lnTo>
                  <a:lnTo>
                    <a:pt x="482" y="968"/>
                  </a:lnTo>
                  <a:lnTo>
                    <a:pt x="470" y="970"/>
                  </a:lnTo>
                  <a:lnTo>
                    <a:pt x="458" y="970"/>
                  </a:lnTo>
                  <a:lnTo>
                    <a:pt x="448" y="967"/>
                  </a:lnTo>
                  <a:lnTo>
                    <a:pt x="445" y="965"/>
                  </a:lnTo>
                  <a:lnTo>
                    <a:pt x="444" y="962"/>
                  </a:lnTo>
                  <a:lnTo>
                    <a:pt x="444" y="961"/>
                  </a:lnTo>
                  <a:lnTo>
                    <a:pt x="445" y="957"/>
                  </a:lnTo>
                  <a:lnTo>
                    <a:pt x="445" y="956"/>
                  </a:lnTo>
                  <a:lnTo>
                    <a:pt x="447" y="954"/>
                  </a:lnTo>
                  <a:lnTo>
                    <a:pt x="448" y="887"/>
                  </a:lnTo>
                  <a:lnTo>
                    <a:pt x="454" y="870"/>
                  </a:lnTo>
                  <a:lnTo>
                    <a:pt x="451" y="865"/>
                  </a:lnTo>
                  <a:lnTo>
                    <a:pt x="442" y="861"/>
                  </a:lnTo>
                  <a:lnTo>
                    <a:pt x="444" y="719"/>
                  </a:lnTo>
                  <a:lnTo>
                    <a:pt x="441" y="699"/>
                  </a:lnTo>
                  <a:lnTo>
                    <a:pt x="431" y="626"/>
                  </a:lnTo>
                  <a:lnTo>
                    <a:pt x="428" y="606"/>
                  </a:lnTo>
                  <a:lnTo>
                    <a:pt x="427" y="592"/>
                  </a:lnTo>
                  <a:lnTo>
                    <a:pt x="427" y="581"/>
                  </a:lnTo>
                  <a:lnTo>
                    <a:pt x="424" y="575"/>
                  </a:lnTo>
                  <a:lnTo>
                    <a:pt x="422" y="573"/>
                  </a:lnTo>
                  <a:lnTo>
                    <a:pt x="419" y="572"/>
                  </a:lnTo>
                  <a:lnTo>
                    <a:pt x="418" y="572"/>
                  </a:lnTo>
                  <a:lnTo>
                    <a:pt x="416" y="573"/>
                  </a:lnTo>
                  <a:lnTo>
                    <a:pt x="415" y="573"/>
                  </a:lnTo>
                  <a:lnTo>
                    <a:pt x="411" y="584"/>
                  </a:lnTo>
                  <a:lnTo>
                    <a:pt x="408" y="601"/>
                  </a:lnTo>
                  <a:lnTo>
                    <a:pt x="408" y="618"/>
                  </a:lnTo>
                  <a:lnTo>
                    <a:pt x="407" y="636"/>
                  </a:lnTo>
                  <a:lnTo>
                    <a:pt x="407" y="667"/>
                  </a:lnTo>
                  <a:lnTo>
                    <a:pt x="408" y="682"/>
                  </a:lnTo>
                  <a:lnTo>
                    <a:pt x="422" y="742"/>
                  </a:lnTo>
                  <a:lnTo>
                    <a:pt x="425" y="759"/>
                  </a:lnTo>
                  <a:lnTo>
                    <a:pt x="428" y="770"/>
                  </a:lnTo>
                  <a:lnTo>
                    <a:pt x="430" y="775"/>
                  </a:lnTo>
                  <a:lnTo>
                    <a:pt x="419" y="778"/>
                  </a:lnTo>
                  <a:lnTo>
                    <a:pt x="421" y="784"/>
                  </a:lnTo>
                  <a:lnTo>
                    <a:pt x="421" y="799"/>
                  </a:lnTo>
                  <a:lnTo>
                    <a:pt x="422" y="819"/>
                  </a:lnTo>
                  <a:lnTo>
                    <a:pt x="427" y="898"/>
                  </a:lnTo>
                  <a:lnTo>
                    <a:pt x="428" y="922"/>
                  </a:lnTo>
                  <a:lnTo>
                    <a:pt x="428" y="942"/>
                  </a:lnTo>
                  <a:lnTo>
                    <a:pt x="430" y="956"/>
                  </a:lnTo>
                  <a:lnTo>
                    <a:pt x="430" y="961"/>
                  </a:lnTo>
                  <a:lnTo>
                    <a:pt x="424" y="967"/>
                  </a:lnTo>
                  <a:lnTo>
                    <a:pt x="418" y="971"/>
                  </a:lnTo>
                  <a:lnTo>
                    <a:pt x="418" y="1017"/>
                  </a:lnTo>
                  <a:lnTo>
                    <a:pt x="416" y="1048"/>
                  </a:lnTo>
                  <a:lnTo>
                    <a:pt x="416" y="1309"/>
                  </a:lnTo>
                  <a:lnTo>
                    <a:pt x="415" y="1337"/>
                  </a:lnTo>
                  <a:lnTo>
                    <a:pt x="413" y="1369"/>
                  </a:lnTo>
                  <a:lnTo>
                    <a:pt x="410" y="1403"/>
                  </a:lnTo>
                  <a:lnTo>
                    <a:pt x="407" y="1440"/>
                  </a:lnTo>
                  <a:lnTo>
                    <a:pt x="404" y="1475"/>
                  </a:lnTo>
                  <a:lnTo>
                    <a:pt x="401" y="1509"/>
                  </a:lnTo>
                  <a:lnTo>
                    <a:pt x="398" y="1540"/>
                  </a:lnTo>
                  <a:lnTo>
                    <a:pt x="396" y="1566"/>
                  </a:lnTo>
                  <a:lnTo>
                    <a:pt x="393" y="1586"/>
                  </a:lnTo>
                  <a:lnTo>
                    <a:pt x="391" y="1600"/>
                  </a:lnTo>
                  <a:lnTo>
                    <a:pt x="391" y="1604"/>
                  </a:lnTo>
                  <a:lnTo>
                    <a:pt x="370" y="1608"/>
                  </a:lnTo>
                  <a:lnTo>
                    <a:pt x="373" y="1624"/>
                  </a:lnTo>
                  <a:lnTo>
                    <a:pt x="381" y="1640"/>
                  </a:lnTo>
                  <a:lnTo>
                    <a:pt x="390" y="1655"/>
                  </a:lnTo>
                  <a:lnTo>
                    <a:pt x="398" y="1667"/>
                  </a:lnTo>
                  <a:lnTo>
                    <a:pt x="404" y="1675"/>
                  </a:lnTo>
                  <a:lnTo>
                    <a:pt x="405" y="1678"/>
                  </a:lnTo>
                  <a:lnTo>
                    <a:pt x="411" y="1692"/>
                  </a:lnTo>
                  <a:lnTo>
                    <a:pt x="413" y="1701"/>
                  </a:lnTo>
                  <a:lnTo>
                    <a:pt x="411" y="1707"/>
                  </a:lnTo>
                  <a:lnTo>
                    <a:pt x="410" y="1709"/>
                  </a:lnTo>
                  <a:lnTo>
                    <a:pt x="391" y="1715"/>
                  </a:lnTo>
                  <a:lnTo>
                    <a:pt x="371" y="1717"/>
                  </a:lnTo>
                  <a:lnTo>
                    <a:pt x="353" y="1715"/>
                  </a:lnTo>
                  <a:lnTo>
                    <a:pt x="336" y="1712"/>
                  </a:lnTo>
                  <a:lnTo>
                    <a:pt x="313" y="1704"/>
                  </a:lnTo>
                  <a:lnTo>
                    <a:pt x="310" y="1703"/>
                  </a:lnTo>
                  <a:lnTo>
                    <a:pt x="307" y="1700"/>
                  </a:lnTo>
                  <a:lnTo>
                    <a:pt x="307" y="1694"/>
                  </a:lnTo>
                  <a:lnTo>
                    <a:pt x="308" y="1686"/>
                  </a:lnTo>
                  <a:lnTo>
                    <a:pt x="312" y="1680"/>
                  </a:lnTo>
                  <a:lnTo>
                    <a:pt x="313" y="1678"/>
                  </a:lnTo>
                  <a:lnTo>
                    <a:pt x="301" y="1680"/>
                  </a:lnTo>
                  <a:lnTo>
                    <a:pt x="292" y="1669"/>
                  </a:lnTo>
                  <a:lnTo>
                    <a:pt x="292" y="1646"/>
                  </a:lnTo>
                  <a:lnTo>
                    <a:pt x="264" y="1649"/>
                  </a:lnTo>
                  <a:lnTo>
                    <a:pt x="265" y="1638"/>
                  </a:lnTo>
                  <a:lnTo>
                    <a:pt x="261" y="1640"/>
                  </a:lnTo>
                  <a:lnTo>
                    <a:pt x="242" y="1652"/>
                  </a:lnTo>
                  <a:lnTo>
                    <a:pt x="235" y="1658"/>
                  </a:lnTo>
                  <a:lnTo>
                    <a:pt x="232" y="1660"/>
                  </a:lnTo>
                  <a:lnTo>
                    <a:pt x="218" y="1663"/>
                  </a:lnTo>
                  <a:lnTo>
                    <a:pt x="198" y="1666"/>
                  </a:lnTo>
                  <a:lnTo>
                    <a:pt x="139" y="1666"/>
                  </a:lnTo>
                  <a:lnTo>
                    <a:pt x="127" y="1664"/>
                  </a:lnTo>
                  <a:lnTo>
                    <a:pt x="122" y="1664"/>
                  </a:lnTo>
                  <a:lnTo>
                    <a:pt x="118" y="1661"/>
                  </a:lnTo>
                  <a:lnTo>
                    <a:pt x="115" y="1660"/>
                  </a:lnTo>
                  <a:lnTo>
                    <a:pt x="115" y="1655"/>
                  </a:lnTo>
                  <a:lnTo>
                    <a:pt x="118" y="1652"/>
                  </a:lnTo>
                  <a:lnTo>
                    <a:pt x="119" y="1652"/>
                  </a:lnTo>
                  <a:lnTo>
                    <a:pt x="121" y="1651"/>
                  </a:lnTo>
                  <a:lnTo>
                    <a:pt x="121" y="1641"/>
                  </a:lnTo>
                  <a:lnTo>
                    <a:pt x="122" y="1638"/>
                  </a:lnTo>
                  <a:lnTo>
                    <a:pt x="126" y="1635"/>
                  </a:lnTo>
                  <a:lnTo>
                    <a:pt x="132" y="1632"/>
                  </a:lnTo>
                  <a:lnTo>
                    <a:pt x="139" y="1632"/>
                  </a:lnTo>
                  <a:lnTo>
                    <a:pt x="155" y="1626"/>
                  </a:lnTo>
                  <a:lnTo>
                    <a:pt x="170" y="1618"/>
                  </a:lnTo>
                  <a:lnTo>
                    <a:pt x="182" y="1609"/>
                  </a:lnTo>
                  <a:lnTo>
                    <a:pt x="192" y="1601"/>
                  </a:lnTo>
                  <a:lnTo>
                    <a:pt x="201" y="1592"/>
                  </a:lnTo>
                  <a:lnTo>
                    <a:pt x="198" y="1584"/>
                  </a:lnTo>
                  <a:lnTo>
                    <a:pt x="195" y="1568"/>
                  </a:lnTo>
                  <a:lnTo>
                    <a:pt x="192" y="1545"/>
                  </a:lnTo>
                  <a:lnTo>
                    <a:pt x="189" y="1517"/>
                  </a:lnTo>
                  <a:lnTo>
                    <a:pt x="186" y="1486"/>
                  </a:lnTo>
                  <a:lnTo>
                    <a:pt x="179" y="1422"/>
                  </a:lnTo>
                  <a:lnTo>
                    <a:pt x="176" y="1391"/>
                  </a:lnTo>
                  <a:lnTo>
                    <a:pt x="175" y="1365"/>
                  </a:lnTo>
                  <a:lnTo>
                    <a:pt x="173" y="1343"/>
                  </a:lnTo>
                  <a:lnTo>
                    <a:pt x="172" y="1329"/>
                  </a:lnTo>
                  <a:lnTo>
                    <a:pt x="172" y="1325"/>
                  </a:lnTo>
                  <a:lnTo>
                    <a:pt x="170" y="1322"/>
                  </a:lnTo>
                  <a:lnTo>
                    <a:pt x="167" y="1311"/>
                  </a:lnTo>
                  <a:lnTo>
                    <a:pt x="162" y="1269"/>
                  </a:lnTo>
                  <a:lnTo>
                    <a:pt x="161" y="1259"/>
                  </a:lnTo>
                  <a:lnTo>
                    <a:pt x="161" y="1256"/>
                  </a:lnTo>
                  <a:lnTo>
                    <a:pt x="156" y="1203"/>
                  </a:lnTo>
                  <a:lnTo>
                    <a:pt x="155" y="1199"/>
                  </a:lnTo>
                  <a:lnTo>
                    <a:pt x="152" y="1185"/>
                  </a:lnTo>
                  <a:lnTo>
                    <a:pt x="147" y="1165"/>
                  </a:lnTo>
                  <a:lnTo>
                    <a:pt x="144" y="1140"/>
                  </a:lnTo>
                  <a:lnTo>
                    <a:pt x="135" y="1082"/>
                  </a:lnTo>
                  <a:lnTo>
                    <a:pt x="130" y="1051"/>
                  </a:lnTo>
                  <a:lnTo>
                    <a:pt x="127" y="1024"/>
                  </a:lnTo>
                  <a:lnTo>
                    <a:pt x="122" y="999"/>
                  </a:lnTo>
                  <a:lnTo>
                    <a:pt x="121" y="979"/>
                  </a:lnTo>
                  <a:lnTo>
                    <a:pt x="118" y="965"/>
                  </a:lnTo>
                  <a:lnTo>
                    <a:pt x="118" y="961"/>
                  </a:lnTo>
                  <a:lnTo>
                    <a:pt x="115" y="959"/>
                  </a:lnTo>
                  <a:lnTo>
                    <a:pt x="101" y="959"/>
                  </a:lnTo>
                  <a:lnTo>
                    <a:pt x="99" y="950"/>
                  </a:lnTo>
                  <a:lnTo>
                    <a:pt x="98" y="933"/>
                  </a:lnTo>
                  <a:lnTo>
                    <a:pt x="98" y="881"/>
                  </a:lnTo>
                  <a:lnTo>
                    <a:pt x="99" y="848"/>
                  </a:lnTo>
                  <a:lnTo>
                    <a:pt x="99" y="816"/>
                  </a:lnTo>
                  <a:lnTo>
                    <a:pt x="101" y="785"/>
                  </a:lnTo>
                  <a:lnTo>
                    <a:pt x="103" y="758"/>
                  </a:lnTo>
                  <a:lnTo>
                    <a:pt x="103" y="735"/>
                  </a:lnTo>
                  <a:lnTo>
                    <a:pt x="104" y="721"/>
                  </a:lnTo>
                  <a:lnTo>
                    <a:pt x="104" y="715"/>
                  </a:lnTo>
                  <a:lnTo>
                    <a:pt x="96" y="742"/>
                  </a:lnTo>
                  <a:lnTo>
                    <a:pt x="89" y="772"/>
                  </a:lnTo>
                  <a:lnTo>
                    <a:pt x="84" y="799"/>
                  </a:lnTo>
                  <a:lnTo>
                    <a:pt x="79" y="824"/>
                  </a:lnTo>
                  <a:lnTo>
                    <a:pt x="76" y="844"/>
                  </a:lnTo>
                  <a:lnTo>
                    <a:pt x="75" y="858"/>
                  </a:lnTo>
                  <a:lnTo>
                    <a:pt x="75" y="862"/>
                  </a:lnTo>
                  <a:lnTo>
                    <a:pt x="67" y="864"/>
                  </a:lnTo>
                  <a:lnTo>
                    <a:pt x="66" y="874"/>
                  </a:lnTo>
                  <a:lnTo>
                    <a:pt x="56" y="871"/>
                  </a:lnTo>
                  <a:lnTo>
                    <a:pt x="56" y="876"/>
                  </a:lnTo>
                  <a:lnTo>
                    <a:pt x="58" y="893"/>
                  </a:lnTo>
                  <a:lnTo>
                    <a:pt x="58" y="913"/>
                  </a:lnTo>
                  <a:lnTo>
                    <a:pt x="56" y="917"/>
                  </a:lnTo>
                  <a:lnTo>
                    <a:pt x="56" y="944"/>
                  </a:lnTo>
                  <a:lnTo>
                    <a:pt x="55" y="954"/>
                  </a:lnTo>
                  <a:lnTo>
                    <a:pt x="55" y="959"/>
                  </a:lnTo>
                  <a:lnTo>
                    <a:pt x="61" y="954"/>
                  </a:lnTo>
                  <a:lnTo>
                    <a:pt x="66" y="954"/>
                  </a:lnTo>
                  <a:lnTo>
                    <a:pt x="67" y="956"/>
                  </a:lnTo>
                  <a:lnTo>
                    <a:pt x="67" y="962"/>
                  </a:lnTo>
                  <a:lnTo>
                    <a:pt x="55" y="976"/>
                  </a:lnTo>
                  <a:lnTo>
                    <a:pt x="24" y="974"/>
                  </a:lnTo>
                  <a:lnTo>
                    <a:pt x="0" y="937"/>
                  </a:lnTo>
                  <a:lnTo>
                    <a:pt x="7" y="919"/>
                  </a:lnTo>
                  <a:lnTo>
                    <a:pt x="10" y="904"/>
                  </a:lnTo>
                  <a:lnTo>
                    <a:pt x="12" y="888"/>
                  </a:lnTo>
                  <a:lnTo>
                    <a:pt x="12" y="871"/>
                  </a:lnTo>
                  <a:lnTo>
                    <a:pt x="7" y="873"/>
                  </a:lnTo>
                  <a:lnTo>
                    <a:pt x="7" y="858"/>
                  </a:lnTo>
                  <a:lnTo>
                    <a:pt x="3" y="854"/>
                  </a:lnTo>
                  <a:lnTo>
                    <a:pt x="3" y="850"/>
                  </a:lnTo>
                  <a:lnTo>
                    <a:pt x="4" y="839"/>
                  </a:lnTo>
                  <a:lnTo>
                    <a:pt x="7" y="822"/>
                  </a:lnTo>
                  <a:lnTo>
                    <a:pt x="9" y="802"/>
                  </a:lnTo>
                  <a:lnTo>
                    <a:pt x="15" y="756"/>
                  </a:lnTo>
                  <a:lnTo>
                    <a:pt x="18" y="736"/>
                  </a:lnTo>
                  <a:lnTo>
                    <a:pt x="21" y="718"/>
                  </a:lnTo>
                  <a:lnTo>
                    <a:pt x="23" y="704"/>
                  </a:lnTo>
                  <a:lnTo>
                    <a:pt x="24" y="698"/>
                  </a:lnTo>
                  <a:lnTo>
                    <a:pt x="26" y="687"/>
                  </a:lnTo>
                  <a:lnTo>
                    <a:pt x="27" y="669"/>
                  </a:lnTo>
                  <a:lnTo>
                    <a:pt x="30" y="642"/>
                  </a:lnTo>
                  <a:lnTo>
                    <a:pt x="33" y="613"/>
                  </a:lnTo>
                  <a:lnTo>
                    <a:pt x="36" y="582"/>
                  </a:lnTo>
                  <a:lnTo>
                    <a:pt x="43" y="530"/>
                  </a:lnTo>
                  <a:lnTo>
                    <a:pt x="46" y="506"/>
                  </a:lnTo>
                  <a:lnTo>
                    <a:pt x="49" y="487"/>
                  </a:lnTo>
                  <a:lnTo>
                    <a:pt x="50" y="473"/>
                  </a:lnTo>
                  <a:lnTo>
                    <a:pt x="52" y="469"/>
                  </a:lnTo>
                  <a:lnTo>
                    <a:pt x="52" y="464"/>
                  </a:lnTo>
                  <a:lnTo>
                    <a:pt x="53" y="452"/>
                  </a:lnTo>
                  <a:lnTo>
                    <a:pt x="53" y="435"/>
                  </a:lnTo>
                  <a:lnTo>
                    <a:pt x="56" y="392"/>
                  </a:lnTo>
                  <a:lnTo>
                    <a:pt x="58" y="372"/>
                  </a:lnTo>
                  <a:lnTo>
                    <a:pt x="59" y="355"/>
                  </a:lnTo>
                  <a:lnTo>
                    <a:pt x="61" y="343"/>
                  </a:lnTo>
                  <a:lnTo>
                    <a:pt x="66" y="334"/>
                  </a:lnTo>
                  <a:lnTo>
                    <a:pt x="72" y="329"/>
                  </a:lnTo>
                  <a:lnTo>
                    <a:pt x="84" y="329"/>
                  </a:lnTo>
                  <a:lnTo>
                    <a:pt x="86" y="330"/>
                  </a:lnTo>
                  <a:lnTo>
                    <a:pt x="89" y="329"/>
                  </a:lnTo>
                  <a:lnTo>
                    <a:pt x="98" y="326"/>
                  </a:lnTo>
                  <a:lnTo>
                    <a:pt x="110" y="320"/>
                  </a:lnTo>
                  <a:lnTo>
                    <a:pt x="124" y="314"/>
                  </a:lnTo>
                  <a:lnTo>
                    <a:pt x="141" y="306"/>
                  </a:lnTo>
                  <a:lnTo>
                    <a:pt x="156" y="300"/>
                  </a:lnTo>
                  <a:lnTo>
                    <a:pt x="169" y="294"/>
                  </a:lnTo>
                  <a:lnTo>
                    <a:pt x="179" y="289"/>
                  </a:lnTo>
                  <a:lnTo>
                    <a:pt x="184" y="286"/>
                  </a:lnTo>
                  <a:lnTo>
                    <a:pt x="189" y="281"/>
                  </a:lnTo>
                  <a:lnTo>
                    <a:pt x="195" y="274"/>
                  </a:lnTo>
                  <a:lnTo>
                    <a:pt x="202" y="264"/>
                  </a:lnTo>
                  <a:lnTo>
                    <a:pt x="209" y="257"/>
                  </a:lnTo>
                  <a:lnTo>
                    <a:pt x="213" y="251"/>
                  </a:lnTo>
                  <a:lnTo>
                    <a:pt x="215" y="247"/>
                  </a:lnTo>
                  <a:lnTo>
                    <a:pt x="215" y="209"/>
                  </a:lnTo>
                  <a:lnTo>
                    <a:pt x="209" y="206"/>
                  </a:lnTo>
                  <a:lnTo>
                    <a:pt x="204" y="198"/>
                  </a:lnTo>
                  <a:lnTo>
                    <a:pt x="199" y="189"/>
                  </a:lnTo>
                  <a:lnTo>
                    <a:pt x="198" y="181"/>
                  </a:lnTo>
                  <a:lnTo>
                    <a:pt x="196" y="178"/>
                  </a:lnTo>
                  <a:lnTo>
                    <a:pt x="187" y="171"/>
                  </a:lnTo>
                  <a:lnTo>
                    <a:pt x="182" y="161"/>
                  </a:lnTo>
                  <a:lnTo>
                    <a:pt x="181" y="149"/>
                  </a:lnTo>
                  <a:lnTo>
                    <a:pt x="179" y="140"/>
                  </a:lnTo>
                  <a:lnTo>
                    <a:pt x="181" y="132"/>
                  </a:lnTo>
                  <a:lnTo>
                    <a:pt x="181" y="129"/>
                  </a:lnTo>
                  <a:lnTo>
                    <a:pt x="179" y="126"/>
                  </a:lnTo>
                  <a:lnTo>
                    <a:pt x="178" y="117"/>
                  </a:lnTo>
                  <a:lnTo>
                    <a:pt x="176" y="101"/>
                  </a:lnTo>
                  <a:lnTo>
                    <a:pt x="176" y="85"/>
                  </a:lnTo>
                  <a:lnTo>
                    <a:pt x="181" y="63"/>
                  </a:lnTo>
                  <a:lnTo>
                    <a:pt x="190" y="42"/>
                  </a:lnTo>
                  <a:lnTo>
                    <a:pt x="202" y="25"/>
                  </a:lnTo>
                  <a:lnTo>
                    <a:pt x="218" y="14"/>
                  </a:lnTo>
                  <a:lnTo>
                    <a:pt x="235" y="6"/>
                  </a:lnTo>
                  <a:lnTo>
                    <a:pt x="250" y="2"/>
                  </a:lnTo>
                  <a:lnTo>
                    <a:pt x="262" y="0"/>
                  </a:lnTo>
                  <a:close/>
                </a:path>
              </a:pathLst>
            </a:custGeom>
            <a:solidFill>
              <a:schemeClr val="tx2">
                <a:lumMod val="65000"/>
              </a:schemeClr>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a:p>
          </p:txBody>
        </p:sp>
      </p:grpSp>
      <p:grpSp>
        <p:nvGrpSpPr>
          <p:cNvPr id="247" name="Gruppieren 34"/>
          <p:cNvGrpSpPr/>
          <p:nvPr>
            <p:custDataLst>
              <p:tags r:id="rId3"/>
            </p:custDataLst>
          </p:nvPr>
        </p:nvGrpSpPr>
        <p:grpSpPr>
          <a:xfrm>
            <a:off x="899592" y="1916832"/>
            <a:ext cx="1512168" cy="1080120"/>
            <a:chOff x="3128576" y="2564899"/>
            <a:chExt cx="2307520" cy="1920807"/>
          </a:xfrm>
        </p:grpSpPr>
        <p:grpSp>
          <p:nvGrpSpPr>
            <p:cNvPr id="248" name="Gruppieren 19"/>
            <p:cNvGrpSpPr/>
            <p:nvPr/>
          </p:nvGrpSpPr>
          <p:grpSpPr>
            <a:xfrm>
              <a:off x="3851921" y="2564899"/>
              <a:ext cx="446793" cy="731248"/>
              <a:chOff x="1037032" y="2818028"/>
              <a:chExt cx="719938" cy="1178299"/>
            </a:xfrm>
          </p:grpSpPr>
          <p:sp>
            <p:nvSpPr>
              <p:cNvPr id="257" name="Ellipse 4"/>
              <p:cNvSpPr/>
              <p:nvPr/>
            </p:nvSpPr>
            <p:spPr>
              <a:xfrm>
                <a:off x="1037032" y="3837847"/>
                <a:ext cx="719938" cy="158480"/>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9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258" name="Freeform 11"/>
              <p:cNvSpPr>
                <a:spLocks noEditPoints="1"/>
              </p:cNvSpPr>
              <p:nvPr/>
            </p:nvSpPr>
            <p:spPr bwMode="auto">
              <a:xfrm>
                <a:off x="1226786" y="2818028"/>
                <a:ext cx="318435" cy="1103859"/>
              </a:xfrm>
              <a:custGeom>
                <a:avLst/>
                <a:gdLst>
                  <a:gd name="T0" fmla="*/ 762 w 834"/>
                  <a:gd name="T1" fmla="*/ 549 h 2898"/>
                  <a:gd name="T2" fmla="*/ 651 w 834"/>
                  <a:gd name="T3" fmla="*/ 486 h 2898"/>
                  <a:gd name="T4" fmla="*/ 515 w 834"/>
                  <a:gd name="T5" fmla="*/ 358 h 2898"/>
                  <a:gd name="T6" fmla="*/ 539 w 834"/>
                  <a:gd name="T7" fmla="*/ 272 h 2898"/>
                  <a:gd name="T8" fmla="*/ 575 w 834"/>
                  <a:gd name="T9" fmla="*/ 211 h 2898"/>
                  <a:gd name="T10" fmla="*/ 555 w 834"/>
                  <a:gd name="T11" fmla="*/ 133 h 2898"/>
                  <a:gd name="T12" fmla="*/ 525 w 834"/>
                  <a:gd name="T13" fmla="*/ 38 h 2898"/>
                  <a:gd name="T14" fmla="*/ 405 w 834"/>
                  <a:gd name="T15" fmla="*/ 4 h 2898"/>
                  <a:gd name="T16" fmla="*/ 304 w 834"/>
                  <a:gd name="T17" fmla="*/ 77 h 2898"/>
                  <a:gd name="T18" fmla="*/ 302 w 834"/>
                  <a:gd name="T19" fmla="*/ 161 h 2898"/>
                  <a:gd name="T20" fmla="*/ 283 w 834"/>
                  <a:gd name="T21" fmla="*/ 182 h 2898"/>
                  <a:gd name="T22" fmla="*/ 317 w 834"/>
                  <a:gd name="T23" fmla="*/ 256 h 2898"/>
                  <a:gd name="T24" fmla="*/ 326 w 834"/>
                  <a:gd name="T25" fmla="*/ 315 h 2898"/>
                  <a:gd name="T26" fmla="*/ 336 w 834"/>
                  <a:gd name="T27" fmla="*/ 379 h 2898"/>
                  <a:gd name="T28" fmla="*/ 97 w 834"/>
                  <a:gd name="T29" fmla="*/ 544 h 2898"/>
                  <a:gd name="T30" fmla="*/ 49 w 834"/>
                  <a:gd name="T31" fmla="*/ 723 h 2898"/>
                  <a:gd name="T32" fmla="*/ 9 w 834"/>
                  <a:gd name="T33" fmla="*/ 1141 h 2898"/>
                  <a:gd name="T34" fmla="*/ 0 w 834"/>
                  <a:gd name="T35" fmla="*/ 1287 h 2898"/>
                  <a:gd name="T36" fmla="*/ 6 w 834"/>
                  <a:gd name="T37" fmla="*/ 1385 h 2898"/>
                  <a:gd name="T38" fmla="*/ 3 w 834"/>
                  <a:gd name="T39" fmla="*/ 1466 h 2898"/>
                  <a:gd name="T40" fmla="*/ 20 w 834"/>
                  <a:gd name="T41" fmla="*/ 1481 h 2898"/>
                  <a:gd name="T42" fmla="*/ 48 w 834"/>
                  <a:gd name="T43" fmla="*/ 1655 h 2898"/>
                  <a:gd name="T44" fmla="*/ 113 w 834"/>
                  <a:gd name="T45" fmla="*/ 1691 h 2898"/>
                  <a:gd name="T46" fmla="*/ 174 w 834"/>
                  <a:gd name="T47" fmla="*/ 1936 h 2898"/>
                  <a:gd name="T48" fmla="*/ 192 w 834"/>
                  <a:gd name="T49" fmla="*/ 2448 h 2898"/>
                  <a:gd name="T50" fmla="*/ 216 w 834"/>
                  <a:gd name="T51" fmla="*/ 2672 h 2898"/>
                  <a:gd name="T52" fmla="*/ 233 w 834"/>
                  <a:gd name="T53" fmla="*/ 2757 h 2898"/>
                  <a:gd name="T54" fmla="*/ 206 w 834"/>
                  <a:gd name="T55" fmla="*/ 2804 h 2898"/>
                  <a:gd name="T56" fmla="*/ 147 w 834"/>
                  <a:gd name="T57" fmla="*/ 2844 h 2898"/>
                  <a:gd name="T58" fmla="*/ 243 w 834"/>
                  <a:gd name="T59" fmla="*/ 2885 h 2898"/>
                  <a:gd name="T60" fmla="*/ 344 w 834"/>
                  <a:gd name="T61" fmla="*/ 2866 h 2898"/>
                  <a:gd name="T62" fmla="*/ 379 w 834"/>
                  <a:gd name="T63" fmla="*/ 2858 h 2898"/>
                  <a:gd name="T64" fmla="*/ 424 w 834"/>
                  <a:gd name="T65" fmla="*/ 2808 h 2898"/>
                  <a:gd name="T66" fmla="*/ 400 w 834"/>
                  <a:gd name="T67" fmla="*/ 2349 h 2898"/>
                  <a:gd name="T68" fmla="*/ 366 w 834"/>
                  <a:gd name="T69" fmla="*/ 2182 h 2898"/>
                  <a:gd name="T70" fmla="*/ 370 w 834"/>
                  <a:gd name="T71" fmla="*/ 1944 h 2898"/>
                  <a:gd name="T72" fmla="*/ 408 w 834"/>
                  <a:gd name="T73" fmla="*/ 1630 h 2898"/>
                  <a:gd name="T74" fmla="*/ 440 w 834"/>
                  <a:gd name="T75" fmla="*/ 1670 h 2898"/>
                  <a:gd name="T76" fmla="*/ 501 w 834"/>
                  <a:gd name="T77" fmla="*/ 2025 h 2898"/>
                  <a:gd name="T78" fmla="*/ 539 w 834"/>
                  <a:gd name="T79" fmla="*/ 2293 h 2898"/>
                  <a:gd name="T80" fmla="*/ 594 w 834"/>
                  <a:gd name="T81" fmla="*/ 2768 h 2898"/>
                  <a:gd name="T82" fmla="*/ 579 w 834"/>
                  <a:gd name="T83" fmla="*/ 2847 h 2898"/>
                  <a:gd name="T84" fmla="*/ 621 w 834"/>
                  <a:gd name="T85" fmla="*/ 2882 h 2898"/>
                  <a:gd name="T86" fmla="*/ 794 w 834"/>
                  <a:gd name="T87" fmla="*/ 2880 h 2898"/>
                  <a:gd name="T88" fmla="*/ 740 w 834"/>
                  <a:gd name="T89" fmla="*/ 2783 h 2898"/>
                  <a:gd name="T90" fmla="*/ 749 w 834"/>
                  <a:gd name="T91" fmla="*/ 2744 h 2898"/>
                  <a:gd name="T92" fmla="*/ 743 w 834"/>
                  <a:gd name="T93" fmla="*/ 2510 h 2898"/>
                  <a:gd name="T94" fmla="*/ 728 w 834"/>
                  <a:gd name="T95" fmla="*/ 2128 h 2898"/>
                  <a:gd name="T96" fmla="*/ 812 w 834"/>
                  <a:gd name="T97" fmla="*/ 1615 h 2898"/>
                  <a:gd name="T98" fmla="*/ 834 w 834"/>
                  <a:gd name="T99" fmla="*/ 1226 h 2898"/>
                  <a:gd name="T100" fmla="*/ 799 w 834"/>
                  <a:gd name="T101" fmla="*/ 712 h 2898"/>
                  <a:gd name="T102" fmla="*/ 123 w 834"/>
                  <a:gd name="T103" fmla="*/ 1615 h 2898"/>
                  <a:gd name="T104" fmla="*/ 169 w 834"/>
                  <a:gd name="T105" fmla="*/ 1207 h 2898"/>
                  <a:gd name="T106" fmla="*/ 128 w 834"/>
                  <a:gd name="T107" fmla="*/ 1418 h 2898"/>
                  <a:gd name="T108" fmla="*/ 125 w 834"/>
                  <a:gd name="T109" fmla="*/ 1327 h 2898"/>
                  <a:gd name="T110" fmla="*/ 168 w 834"/>
                  <a:gd name="T111" fmla="*/ 1015 h 2898"/>
                  <a:gd name="T112" fmla="*/ 181 w 834"/>
                  <a:gd name="T113" fmla="*/ 991 h 2898"/>
                  <a:gd name="T114" fmla="*/ 668 w 834"/>
                  <a:gd name="T115" fmla="*/ 1159 h 2898"/>
                  <a:gd name="T116" fmla="*/ 682 w 834"/>
                  <a:gd name="T117" fmla="*/ 920 h 2898"/>
                  <a:gd name="T118" fmla="*/ 719 w 834"/>
                  <a:gd name="T119" fmla="*/ 1402 h 2898"/>
                  <a:gd name="T120" fmla="*/ 679 w 834"/>
                  <a:gd name="T121" fmla="*/ 1260 h 2898"/>
                  <a:gd name="T122" fmla="*/ 712 w 834"/>
                  <a:gd name="T123" fmla="*/ 1551 h 28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34"/>
                  <a:gd name="T187" fmla="*/ 0 h 2898"/>
                  <a:gd name="T188" fmla="*/ 834 w 834"/>
                  <a:gd name="T189" fmla="*/ 2898 h 28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34" h="2898">
                    <a:moveTo>
                      <a:pt x="799" y="712"/>
                    </a:moveTo>
                    <a:lnTo>
                      <a:pt x="799" y="712"/>
                    </a:lnTo>
                    <a:lnTo>
                      <a:pt x="784" y="621"/>
                    </a:lnTo>
                    <a:lnTo>
                      <a:pt x="780" y="600"/>
                    </a:lnTo>
                    <a:lnTo>
                      <a:pt x="775" y="581"/>
                    </a:lnTo>
                    <a:lnTo>
                      <a:pt x="770" y="565"/>
                    </a:lnTo>
                    <a:lnTo>
                      <a:pt x="762" y="549"/>
                    </a:lnTo>
                    <a:lnTo>
                      <a:pt x="757" y="542"/>
                    </a:lnTo>
                    <a:lnTo>
                      <a:pt x="749" y="534"/>
                    </a:lnTo>
                    <a:lnTo>
                      <a:pt x="738" y="526"/>
                    </a:lnTo>
                    <a:lnTo>
                      <a:pt x="724" y="517"/>
                    </a:lnTo>
                    <a:lnTo>
                      <a:pt x="708" y="509"/>
                    </a:lnTo>
                    <a:lnTo>
                      <a:pt x="690" y="501"/>
                    </a:lnTo>
                    <a:lnTo>
                      <a:pt x="671" y="493"/>
                    </a:lnTo>
                    <a:lnTo>
                      <a:pt x="651" y="486"/>
                    </a:lnTo>
                    <a:lnTo>
                      <a:pt x="611" y="464"/>
                    </a:lnTo>
                    <a:lnTo>
                      <a:pt x="573" y="442"/>
                    </a:lnTo>
                    <a:lnTo>
                      <a:pt x="541" y="422"/>
                    </a:lnTo>
                    <a:lnTo>
                      <a:pt x="520" y="411"/>
                    </a:lnTo>
                    <a:lnTo>
                      <a:pt x="515" y="373"/>
                    </a:lnTo>
                    <a:lnTo>
                      <a:pt x="515" y="358"/>
                    </a:lnTo>
                    <a:lnTo>
                      <a:pt x="517" y="352"/>
                    </a:lnTo>
                    <a:lnTo>
                      <a:pt x="520" y="346"/>
                    </a:lnTo>
                    <a:lnTo>
                      <a:pt x="528" y="331"/>
                    </a:lnTo>
                    <a:lnTo>
                      <a:pt x="535" y="314"/>
                    </a:lnTo>
                    <a:lnTo>
                      <a:pt x="538" y="294"/>
                    </a:lnTo>
                    <a:lnTo>
                      <a:pt x="539" y="272"/>
                    </a:lnTo>
                    <a:lnTo>
                      <a:pt x="555" y="269"/>
                    </a:lnTo>
                    <a:lnTo>
                      <a:pt x="559" y="267"/>
                    </a:lnTo>
                    <a:lnTo>
                      <a:pt x="563" y="262"/>
                    </a:lnTo>
                    <a:lnTo>
                      <a:pt x="568" y="253"/>
                    </a:lnTo>
                    <a:lnTo>
                      <a:pt x="571" y="240"/>
                    </a:lnTo>
                    <a:lnTo>
                      <a:pt x="575" y="225"/>
                    </a:lnTo>
                    <a:lnTo>
                      <a:pt x="575" y="211"/>
                    </a:lnTo>
                    <a:lnTo>
                      <a:pt x="573" y="197"/>
                    </a:lnTo>
                    <a:lnTo>
                      <a:pt x="571" y="184"/>
                    </a:lnTo>
                    <a:lnTo>
                      <a:pt x="568" y="179"/>
                    </a:lnTo>
                    <a:lnTo>
                      <a:pt x="567" y="176"/>
                    </a:lnTo>
                    <a:lnTo>
                      <a:pt x="563" y="174"/>
                    </a:lnTo>
                    <a:lnTo>
                      <a:pt x="560" y="174"/>
                    </a:lnTo>
                    <a:lnTo>
                      <a:pt x="555" y="133"/>
                    </a:lnTo>
                    <a:lnTo>
                      <a:pt x="554" y="112"/>
                    </a:lnTo>
                    <a:lnTo>
                      <a:pt x="551" y="91"/>
                    </a:lnTo>
                    <a:lnTo>
                      <a:pt x="546" y="73"/>
                    </a:lnTo>
                    <a:lnTo>
                      <a:pt x="541" y="57"/>
                    </a:lnTo>
                    <a:lnTo>
                      <a:pt x="533" y="46"/>
                    </a:lnTo>
                    <a:lnTo>
                      <a:pt x="530" y="41"/>
                    </a:lnTo>
                    <a:lnTo>
                      <a:pt x="525" y="38"/>
                    </a:lnTo>
                    <a:lnTo>
                      <a:pt x="514" y="25"/>
                    </a:lnTo>
                    <a:lnTo>
                      <a:pt x="499" y="16"/>
                    </a:lnTo>
                    <a:lnTo>
                      <a:pt x="487" y="8"/>
                    </a:lnTo>
                    <a:lnTo>
                      <a:pt x="471" y="3"/>
                    </a:lnTo>
                    <a:lnTo>
                      <a:pt x="454" y="1"/>
                    </a:lnTo>
                    <a:lnTo>
                      <a:pt x="438" y="0"/>
                    </a:lnTo>
                    <a:lnTo>
                      <a:pt x="421" y="1"/>
                    </a:lnTo>
                    <a:lnTo>
                      <a:pt x="405" y="4"/>
                    </a:lnTo>
                    <a:lnTo>
                      <a:pt x="389" y="9"/>
                    </a:lnTo>
                    <a:lnTo>
                      <a:pt x="373" y="16"/>
                    </a:lnTo>
                    <a:lnTo>
                      <a:pt x="357" y="24"/>
                    </a:lnTo>
                    <a:lnTo>
                      <a:pt x="344" y="33"/>
                    </a:lnTo>
                    <a:lnTo>
                      <a:pt x="331" y="43"/>
                    </a:lnTo>
                    <a:lnTo>
                      <a:pt x="320" y="54"/>
                    </a:lnTo>
                    <a:lnTo>
                      <a:pt x="312" y="65"/>
                    </a:lnTo>
                    <a:lnTo>
                      <a:pt x="304" y="77"/>
                    </a:lnTo>
                    <a:lnTo>
                      <a:pt x="301" y="88"/>
                    </a:lnTo>
                    <a:lnTo>
                      <a:pt x="299" y="97"/>
                    </a:lnTo>
                    <a:lnTo>
                      <a:pt x="299" y="109"/>
                    </a:lnTo>
                    <a:lnTo>
                      <a:pt x="301" y="121"/>
                    </a:lnTo>
                    <a:lnTo>
                      <a:pt x="302" y="142"/>
                    </a:lnTo>
                    <a:lnTo>
                      <a:pt x="302" y="152"/>
                    </a:lnTo>
                    <a:lnTo>
                      <a:pt x="302" y="161"/>
                    </a:lnTo>
                    <a:lnTo>
                      <a:pt x="298" y="163"/>
                    </a:lnTo>
                    <a:lnTo>
                      <a:pt x="293" y="165"/>
                    </a:lnTo>
                    <a:lnTo>
                      <a:pt x="290" y="168"/>
                    </a:lnTo>
                    <a:lnTo>
                      <a:pt x="286" y="169"/>
                    </a:lnTo>
                    <a:lnTo>
                      <a:pt x="285" y="174"/>
                    </a:lnTo>
                    <a:lnTo>
                      <a:pt x="283" y="182"/>
                    </a:lnTo>
                    <a:lnTo>
                      <a:pt x="286" y="216"/>
                    </a:lnTo>
                    <a:lnTo>
                      <a:pt x="288" y="233"/>
                    </a:lnTo>
                    <a:lnTo>
                      <a:pt x="294" y="253"/>
                    </a:lnTo>
                    <a:lnTo>
                      <a:pt x="296" y="256"/>
                    </a:lnTo>
                    <a:lnTo>
                      <a:pt x="299" y="257"/>
                    </a:lnTo>
                    <a:lnTo>
                      <a:pt x="309" y="257"/>
                    </a:lnTo>
                    <a:lnTo>
                      <a:pt x="317" y="256"/>
                    </a:lnTo>
                    <a:lnTo>
                      <a:pt x="320" y="257"/>
                    </a:lnTo>
                    <a:lnTo>
                      <a:pt x="322" y="262"/>
                    </a:lnTo>
                    <a:lnTo>
                      <a:pt x="323" y="273"/>
                    </a:lnTo>
                    <a:lnTo>
                      <a:pt x="322" y="286"/>
                    </a:lnTo>
                    <a:lnTo>
                      <a:pt x="323" y="301"/>
                    </a:lnTo>
                    <a:lnTo>
                      <a:pt x="323" y="307"/>
                    </a:lnTo>
                    <a:lnTo>
                      <a:pt x="326" y="315"/>
                    </a:lnTo>
                    <a:lnTo>
                      <a:pt x="330" y="320"/>
                    </a:lnTo>
                    <a:lnTo>
                      <a:pt x="331" y="323"/>
                    </a:lnTo>
                    <a:lnTo>
                      <a:pt x="334" y="326"/>
                    </a:lnTo>
                    <a:lnTo>
                      <a:pt x="334" y="331"/>
                    </a:lnTo>
                    <a:lnTo>
                      <a:pt x="336" y="355"/>
                    </a:lnTo>
                    <a:lnTo>
                      <a:pt x="336" y="379"/>
                    </a:lnTo>
                    <a:lnTo>
                      <a:pt x="334" y="400"/>
                    </a:lnTo>
                    <a:lnTo>
                      <a:pt x="334" y="419"/>
                    </a:lnTo>
                    <a:lnTo>
                      <a:pt x="277" y="451"/>
                    </a:lnTo>
                    <a:lnTo>
                      <a:pt x="217" y="483"/>
                    </a:lnTo>
                    <a:lnTo>
                      <a:pt x="158" y="515"/>
                    </a:lnTo>
                    <a:lnTo>
                      <a:pt x="129" y="530"/>
                    </a:lnTo>
                    <a:lnTo>
                      <a:pt x="97" y="544"/>
                    </a:lnTo>
                    <a:lnTo>
                      <a:pt x="93" y="552"/>
                    </a:lnTo>
                    <a:lnTo>
                      <a:pt x="88" y="562"/>
                    </a:lnTo>
                    <a:lnTo>
                      <a:pt x="78" y="586"/>
                    </a:lnTo>
                    <a:lnTo>
                      <a:pt x="70" y="613"/>
                    </a:lnTo>
                    <a:lnTo>
                      <a:pt x="62" y="647"/>
                    </a:lnTo>
                    <a:lnTo>
                      <a:pt x="56" y="683"/>
                    </a:lnTo>
                    <a:lnTo>
                      <a:pt x="49" y="723"/>
                    </a:lnTo>
                    <a:lnTo>
                      <a:pt x="40" y="812"/>
                    </a:lnTo>
                    <a:lnTo>
                      <a:pt x="27" y="936"/>
                    </a:lnTo>
                    <a:lnTo>
                      <a:pt x="20" y="997"/>
                    </a:lnTo>
                    <a:lnTo>
                      <a:pt x="17" y="1057"/>
                    </a:lnTo>
                    <a:lnTo>
                      <a:pt x="14" y="1101"/>
                    </a:lnTo>
                    <a:lnTo>
                      <a:pt x="9" y="1141"/>
                    </a:lnTo>
                    <a:lnTo>
                      <a:pt x="4" y="1178"/>
                    </a:lnTo>
                    <a:lnTo>
                      <a:pt x="3" y="1209"/>
                    </a:lnTo>
                    <a:lnTo>
                      <a:pt x="3" y="1225"/>
                    </a:lnTo>
                    <a:lnTo>
                      <a:pt x="1" y="1244"/>
                    </a:lnTo>
                    <a:lnTo>
                      <a:pt x="0" y="1265"/>
                    </a:lnTo>
                    <a:lnTo>
                      <a:pt x="0" y="1287"/>
                    </a:lnTo>
                    <a:lnTo>
                      <a:pt x="3" y="1306"/>
                    </a:lnTo>
                    <a:lnTo>
                      <a:pt x="8" y="1324"/>
                    </a:lnTo>
                    <a:lnTo>
                      <a:pt x="12" y="1342"/>
                    </a:lnTo>
                    <a:lnTo>
                      <a:pt x="14" y="1361"/>
                    </a:lnTo>
                    <a:lnTo>
                      <a:pt x="12" y="1369"/>
                    </a:lnTo>
                    <a:lnTo>
                      <a:pt x="9" y="1377"/>
                    </a:lnTo>
                    <a:lnTo>
                      <a:pt x="6" y="1385"/>
                    </a:lnTo>
                    <a:lnTo>
                      <a:pt x="4" y="1391"/>
                    </a:lnTo>
                    <a:lnTo>
                      <a:pt x="4" y="1414"/>
                    </a:lnTo>
                    <a:lnTo>
                      <a:pt x="3" y="1433"/>
                    </a:lnTo>
                    <a:lnTo>
                      <a:pt x="1" y="1449"/>
                    </a:lnTo>
                    <a:lnTo>
                      <a:pt x="1" y="1463"/>
                    </a:lnTo>
                    <a:lnTo>
                      <a:pt x="3" y="1466"/>
                    </a:lnTo>
                    <a:lnTo>
                      <a:pt x="6" y="1470"/>
                    </a:lnTo>
                    <a:lnTo>
                      <a:pt x="12" y="1471"/>
                    </a:lnTo>
                    <a:lnTo>
                      <a:pt x="19" y="1473"/>
                    </a:lnTo>
                    <a:lnTo>
                      <a:pt x="22" y="1474"/>
                    </a:lnTo>
                    <a:lnTo>
                      <a:pt x="22" y="1476"/>
                    </a:lnTo>
                    <a:lnTo>
                      <a:pt x="22" y="1479"/>
                    </a:lnTo>
                    <a:lnTo>
                      <a:pt x="20" y="1481"/>
                    </a:lnTo>
                    <a:lnTo>
                      <a:pt x="19" y="1482"/>
                    </a:lnTo>
                    <a:lnTo>
                      <a:pt x="22" y="1535"/>
                    </a:lnTo>
                    <a:lnTo>
                      <a:pt x="25" y="1580"/>
                    </a:lnTo>
                    <a:lnTo>
                      <a:pt x="27" y="1601"/>
                    </a:lnTo>
                    <a:lnTo>
                      <a:pt x="32" y="1620"/>
                    </a:lnTo>
                    <a:lnTo>
                      <a:pt x="38" y="1638"/>
                    </a:lnTo>
                    <a:lnTo>
                      <a:pt x="48" y="1655"/>
                    </a:lnTo>
                    <a:lnTo>
                      <a:pt x="54" y="1665"/>
                    </a:lnTo>
                    <a:lnTo>
                      <a:pt x="61" y="1671"/>
                    </a:lnTo>
                    <a:lnTo>
                      <a:pt x="70" y="1678"/>
                    </a:lnTo>
                    <a:lnTo>
                      <a:pt x="78" y="1683"/>
                    </a:lnTo>
                    <a:lnTo>
                      <a:pt x="89" y="1686"/>
                    </a:lnTo>
                    <a:lnTo>
                      <a:pt x="101" y="1689"/>
                    </a:lnTo>
                    <a:lnTo>
                      <a:pt x="113" y="1691"/>
                    </a:lnTo>
                    <a:lnTo>
                      <a:pt x="128" y="1691"/>
                    </a:lnTo>
                    <a:lnTo>
                      <a:pt x="141" y="1737"/>
                    </a:lnTo>
                    <a:lnTo>
                      <a:pt x="152" y="1785"/>
                    </a:lnTo>
                    <a:lnTo>
                      <a:pt x="161" y="1835"/>
                    </a:lnTo>
                    <a:lnTo>
                      <a:pt x="169" y="1886"/>
                    </a:lnTo>
                    <a:lnTo>
                      <a:pt x="174" y="1936"/>
                    </a:lnTo>
                    <a:lnTo>
                      <a:pt x="177" y="1987"/>
                    </a:lnTo>
                    <a:lnTo>
                      <a:pt x="181" y="2091"/>
                    </a:lnTo>
                    <a:lnTo>
                      <a:pt x="184" y="2197"/>
                    </a:lnTo>
                    <a:lnTo>
                      <a:pt x="187" y="2302"/>
                    </a:lnTo>
                    <a:lnTo>
                      <a:pt x="189" y="2352"/>
                    </a:lnTo>
                    <a:lnTo>
                      <a:pt x="190" y="2400"/>
                    </a:lnTo>
                    <a:lnTo>
                      <a:pt x="192" y="2448"/>
                    </a:lnTo>
                    <a:lnTo>
                      <a:pt x="193" y="2470"/>
                    </a:lnTo>
                    <a:lnTo>
                      <a:pt x="197" y="2494"/>
                    </a:lnTo>
                    <a:lnTo>
                      <a:pt x="201" y="2533"/>
                    </a:lnTo>
                    <a:lnTo>
                      <a:pt x="206" y="2578"/>
                    </a:lnTo>
                    <a:lnTo>
                      <a:pt x="209" y="2626"/>
                    </a:lnTo>
                    <a:lnTo>
                      <a:pt x="216" y="2672"/>
                    </a:lnTo>
                    <a:lnTo>
                      <a:pt x="217" y="2696"/>
                    </a:lnTo>
                    <a:lnTo>
                      <a:pt x="217" y="2719"/>
                    </a:lnTo>
                    <a:lnTo>
                      <a:pt x="221" y="2739"/>
                    </a:lnTo>
                    <a:lnTo>
                      <a:pt x="224" y="2747"/>
                    </a:lnTo>
                    <a:lnTo>
                      <a:pt x="227" y="2754"/>
                    </a:lnTo>
                    <a:lnTo>
                      <a:pt x="230" y="2757"/>
                    </a:lnTo>
                    <a:lnTo>
                      <a:pt x="233" y="2757"/>
                    </a:lnTo>
                    <a:lnTo>
                      <a:pt x="238" y="2757"/>
                    </a:lnTo>
                    <a:lnTo>
                      <a:pt x="241" y="2757"/>
                    </a:lnTo>
                    <a:lnTo>
                      <a:pt x="235" y="2771"/>
                    </a:lnTo>
                    <a:lnTo>
                      <a:pt x="227" y="2784"/>
                    </a:lnTo>
                    <a:lnTo>
                      <a:pt x="217" y="2796"/>
                    </a:lnTo>
                    <a:lnTo>
                      <a:pt x="206" y="2804"/>
                    </a:lnTo>
                    <a:lnTo>
                      <a:pt x="195" y="2810"/>
                    </a:lnTo>
                    <a:lnTo>
                      <a:pt x="182" y="2815"/>
                    </a:lnTo>
                    <a:lnTo>
                      <a:pt x="169" y="2821"/>
                    </a:lnTo>
                    <a:lnTo>
                      <a:pt x="163" y="2824"/>
                    </a:lnTo>
                    <a:lnTo>
                      <a:pt x="158" y="2829"/>
                    </a:lnTo>
                    <a:lnTo>
                      <a:pt x="152" y="2836"/>
                    </a:lnTo>
                    <a:lnTo>
                      <a:pt x="147" y="2844"/>
                    </a:lnTo>
                    <a:lnTo>
                      <a:pt x="139" y="2861"/>
                    </a:lnTo>
                    <a:lnTo>
                      <a:pt x="137" y="2864"/>
                    </a:lnTo>
                    <a:lnTo>
                      <a:pt x="137" y="2869"/>
                    </a:lnTo>
                    <a:lnTo>
                      <a:pt x="137" y="2876"/>
                    </a:lnTo>
                    <a:lnTo>
                      <a:pt x="192" y="2882"/>
                    </a:lnTo>
                    <a:lnTo>
                      <a:pt x="243" y="2885"/>
                    </a:lnTo>
                    <a:lnTo>
                      <a:pt x="267" y="2885"/>
                    </a:lnTo>
                    <a:lnTo>
                      <a:pt x="291" y="2885"/>
                    </a:lnTo>
                    <a:lnTo>
                      <a:pt x="314" y="2882"/>
                    </a:lnTo>
                    <a:lnTo>
                      <a:pt x="336" y="2877"/>
                    </a:lnTo>
                    <a:lnTo>
                      <a:pt x="339" y="2876"/>
                    </a:lnTo>
                    <a:lnTo>
                      <a:pt x="341" y="2872"/>
                    </a:lnTo>
                    <a:lnTo>
                      <a:pt x="344" y="2866"/>
                    </a:lnTo>
                    <a:lnTo>
                      <a:pt x="349" y="2858"/>
                    </a:lnTo>
                    <a:lnTo>
                      <a:pt x="350" y="2855"/>
                    </a:lnTo>
                    <a:lnTo>
                      <a:pt x="352" y="2855"/>
                    </a:lnTo>
                    <a:lnTo>
                      <a:pt x="358" y="2855"/>
                    </a:lnTo>
                    <a:lnTo>
                      <a:pt x="366" y="2856"/>
                    </a:lnTo>
                    <a:lnTo>
                      <a:pt x="374" y="2858"/>
                    </a:lnTo>
                    <a:lnTo>
                      <a:pt x="379" y="2858"/>
                    </a:lnTo>
                    <a:lnTo>
                      <a:pt x="402" y="2853"/>
                    </a:lnTo>
                    <a:lnTo>
                      <a:pt x="411" y="2850"/>
                    </a:lnTo>
                    <a:lnTo>
                      <a:pt x="421" y="2847"/>
                    </a:lnTo>
                    <a:lnTo>
                      <a:pt x="422" y="2840"/>
                    </a:lnTo>
                    <a:lnTo>
                      <a:pt x="424" y="2832"/>
                    </a:lnTo>
                    <a:lnTo>
                      <a:pt x="424" y="2808"/>
                    </a:lnTo>
                    <a:lnTo>
                      <a:pt x="418" y="2735"/>
                    </a:lnTo>
                    <a:lnTo>
                      <a:pt x="410" y="2591"/>
                    </a:lnTo>
                    <a:lnTo>
                      <a:pt x="406" y="2523"/>
                    </a:lnTo>
                    <a:lnTo>
                      <a:pt x="405" y="2474"/>
                    </a:lnTo>
                    <a:lnTo>
                      <a:pt x="405" y="2410"/>
                    </a:lnTo>
                    <a:lnTo>
                      <a:pt x="400" y="2349"/>
                    </a:lnTo>
                    <a:lnTo>
                      <a:pt x="394" y="2291"/>
                    </a:lnTo>
                    <a:lnTo>
                      <a:pt x="390" y="2264"/>
                    </a:lnTo>
                    <a:lnTo>
                      <a:pt x="386" y="2238"/>
                    </a:lnTo>
                    <a:lnTo>
                      <a:pt x="381" y="2224"/>
                    </a:lnTo>
                    <a:lnTo>
                      <a:pt x="376" y="2209"/>
                    </a:lnTo>
                    <a:lnTo>
                      <a:pt x="370" y="2195"/>
                    </a:lnTo>
                    <a:lnTo>
                      <a:pt x="366" y="2182"/>
                    </a:lnTo>
                    <a:lnTo>
                      <a:pt x="363" y="2168"/>
                    </a:lnTo>
                    <a:lnTo>
                      <a:pt x="360" y="2153"/>
                    </a:lnTo>
                    <a:lnTo>
                      <a:pt x="358" y="2118"/>
                    </a:lnTo>
                    <a:lnTo>
                      <a:pt x="358" y="2080"/>
                    </a:lnTo>
                    <a:lnTo>
                      <a:pt x="362" y="2037"/>
                    </a:lnTo>
                    <a:lnTo>
                      <a:pt x="365" y="1992"/>
                    </a:lnTo>
                    <a:lnTo>
                      <a:pt x="370" y="1944"/>
                    </a:lnTo>
                    <a:lnTo>
                      <a:pt x="381" y="1846"/>
                    </a:lnTo>
                    <a:lnTo>
                      <a:pt x="387" y="1788"/>
                    </a:lnTo>
                    <a:lnTo>
                      <a:pt x="394" y="1731"/>
                    </a:lnTo>
                    <a:lnTo>
                      <a:pt x="398" y="1681"/>
                    </a:lnTo>
                    <a:lnTo>
                      <a:pt x="405" y="1638"/>
                    </a:lnTo>
                    <a:lnTo>
                      <a:pt x="408" y="1630"/>
                    </a:lnTo>
                    <a:lnTo>
                      <a:pt x="410" y="1623"/>
                    </a:lnTo>
                    <a:lnTo>
                      <a:pt x="413" y="1617"/>
                    </a:lnTo>
                    <a:lnTo>
                      <a:pt x="416" y="1611"/>
                    </a:lnTo>
                    <a:lnTo>
                      <a:pt x="426" y="1611"/>
                    </a:lnTo>
                    <a:lnTo>
                      <a:pt x="429" y="1631"/>
                    </a:lnTo>
                    <a:lnTo>
                      <a:pt x="435" y="1651"/>
                    </a:lnTo>
                    <a:lnTo>
                      <a:pt x="440" y="1670"/>
                    </a:lnTo>
                    <a:lnTo>
                      <a:pt x="443" y="1691"/>
                    </a:lnTo>
                    <a:lnTo>
                      <a:pt x="454" y="1761"/>
                    </a:lnTo>
                    <a:lnTo>
                      <a:pt x="464" y="1835"/>
                    </a:lnTo>
                    <a:lnTo>
                      <a:pt x="475" y="1912"/>
                    </a:lnTo>
                    <a:lnTo>
                      <a:pt x="487" y="1992"/>
                    </a:lnTo>
                    <a:lnTo>
                      <a:pt x="501" y="2025"/>
                    </a:lnTo>
                    <a:lnTo>
                      <a:pt x="512" y="2056"/>
                    </a:lnTo>
                    <a:lnTo>
                      <a:pt x="519" y="2086"/>
                    </a:lnTo>
                    <a:lnTo>
                      <a:pt x="525" y="2120"/>
                    </a:lnTo>
                    <a:lnTo>
                      <a:pt x="530" y="2163"/>
                    </a:lnTo>
                    <a:lnTo>
                      <a:pt x="533" y="2206"/>
                    </a:lnTo>
                    <a:lnTo>
                      <a:pt x="536" y="2251"/>
                    </a:lnTo>
                    <a:lnTo>
                      <a:pt x="539" y="2293"/>
                    </a:lnTo>
                    <a:lnTo>
                      <a:pt x="555" y="2411"/>
                    </a:lnTo>
                    <a:lnTo>
                      <a:pt x="567" y="2525"/>
                    </a:lnTo>
                    <a:lnTo>
                      <a:pt x="586" y="2741"/>
                    </a:lnTo>
                    <a:lnTo>
                      <a:pt x="587" y="2751"/>
                    </a:lnTo>
                    <a:lnTo>
                      <a:pt x="591" y="2759"/>
                    </a:lnTo>
                    <a:lnTo>
                      <a:pt x="594" y="2768"/>
                    </a:lnTo>
                    <a:lnTo>
                      <a:pt x="594" y="2776"/>
                    </a:lnTo>
                    <a:lnTo>
                      <a:pt x="594" y="2786"/>
                    </a:lnTo>
                    <a:lnTo>
                      <a:pt x="592" y="2794"/>
                    </a:lnTo>
                    <a:lnTo>
                      <a:pt x="587" y="2812"/>
                    </a:lnTo>
                    <a:lnTo>
                      <a:pt x="583" y="2829"/>
                    </a:lnTo>
                    <a:lnTo>
                      <a:pt x="579" y="2837"/>
                    </a:lnTo>
                    <a:lnTo>
                      <a:pt x="579" y="2847"/>
                    </a:lnTo>
                    <a:lnTo>
                      <a:pt x="586" y="2852"/>
                    </a:lnTo>
                    <a:lnTo>
                      <a:pt x="594" y="2855"/>
                    </a:lnTo>
                    <a:lnTo>
                      <a:pt x="603" y="2860"/>
                    </a:lnTo>
                    <a:lnTo>
                      <a:pt x="611" y="2866"/>
                    </a:lnTo>
                    <a:lnTo>
                      <a:pt x="618" y="2874"/>
                    </a:lnTo>
                    <a:lnTo>
                      <a:pt x="621" y="2882"/>
                    </a:lnTo>
                    <a:lnTo>
                      <a:pt x="624" y="2892"/>
                    </a:lnTo>
                    <a:lnTo>
                      <a:pt x="664" y="2896"/>
                    </a:lnTo>
                    <a:lnTo>
                      <a:pt x="709" y="2898"/>
                    </a:lnTo>
                    <a:lnTo>
                      <a:pt x="754" y="2898"/>
                    </a:lnTo>
                    <a:lnTo>
                      <a:pt x="797" y="2896"/>
                    </a:lnTo>
                    <a:lnTo>
                      <a:pt x="794" y="2880"/>
                    </a:lnTo>
                    <a:lnTo>
                      <a:pt x="789" y="2861"/>
                    </a:lnTo>
                    <a:lnTo>
                      <a:pt x="781" y="2844"/>
                    </a:lnTo>
                    <a:lnTo>
                      <a:pt x="770" y="2826"/>
                    </a:lnTo>
                    <a:lnTo>
                      <a:pt x="760" y="2813"/>
                    </a:lnTo>
                    <a:lnTo>
                      <a:pt x="749" y="2800"/>
                    </a:lnTo>
                    <a:lnTo>
                      <a:pt x="741" y="2789"/>
                    </a:lnTo>
                    <a:lnTo>
                      <a:pt x="740" y="2783"/>
                    </a:lnTo>
                    <a:lnTo>
                      <a:pt x="738" y="2776"/>
                    </a:lnTo>
                    <a:lnTo>
                      <a:pt x="738" y="2773"/>
                    </a:lnTo>
                    <a:lnTo>
                      <a:pt x="740" y="2768"/>
                    </a:lnTo>
                    <a:lnTo>
                      <a:pt x="743" y="2762"/>
                    </a:lnTo>
                    <a:lnTo>
                      <a:pt x="748" y="2754"/>
                    </a:lnTo>
                    <a:lnTo>
                      <a:pt x="749" y="2749"/>
                    </a:lnTo>
                    <a:lnTo>
                      <a:pt x="749" y="2744"/>
                    </a:lnTo>
                    <a:lnTo>
                      <a:pt x="746" y="2717"/>
                    </a:lnTo>
                    <a:lnTo>
                      <a:pt x="743" y="2687"/>
                    </a:lnTo>
                    <a:lnTo>
                      <a:pt x="740" y="2655"/>
                    </a:lnTo>
                    <a:lnTo>
                      <a:pt x="736" y="2623"/>
                    </a:lnTo>
                    <a:lnTo>
                      <a:pt x="738" y="2567"/>
                    </a:lnTo>
                    <a:lnTo>
                      <a:pt x="743" y="2510"/>
                    </a:lnTo>
                    <a:lnTo>
                      <a:pt x="746" y="2453"/>
                    </a:lnTo>
                    <a:lnTo>
                      <a:pt x="748" y="2395"/>
                    </a:lnTo>
                    <a:lnTo>
                      <a:pt x="748" y="2355"/>
                    </a:lnTo>
                    <a:lnTo>
                      <a:pt x="744" y="2317"/>
                    </a:lnTo>
                    <a:lnTo>
                      <a:pt x="738" y="2241"/>
                    </a:lnTo>
                    <a:lnTo>
                      <a:pt x="730" y="2166"/>
                    </a:lnTo>
                    <a:lnTo>
                      <a:pt x="728" y="2128"/>
                    </a:lnTo>
                    <a:lnTo>
                      <a:pt x="728" y="2089"/>
                    </a:lnTo>
                    <a:lnTo>
                      <a:pt x="730" y="1878"/>
                    </a:lnTo>
                    <a:lnTo>
                      <a:pt x="733" y="1665"/>
                    </a:lnTo>
                    <a:lnTo>
                      <a:pt x="756" y="1654"/>
                    </a:lnTo>
                    <a:lnTo>
                      <a:pt x="775" y="1643"/>
                    </a:lnTo>
                    <a:lnTo>
                      <a:pt x="812" y="1615"/>
                    </a:lnTo>
                    <a:lnTo>
                      <a:pt x="816" y="1595"/>
                    </a:lnTo>
                    <a:lnTo>
                      <a:pt x="818" y="1567"/>
                    </a:lnTo>
                    <a:lnTo>
                      <a:pt x="823" y="1508"/>
                    </a:lnTo>
                    <a:lnTo>
                      <a:pt x="829" y="1425"/>
                    </a:lnTo>
                    <a:lnTo>
                      <a:pt x="832" y="1329"/>
                    </a:lnTo>
                    <a:lnTo>
                      <a:pt x="834" y="1226"/>
                    </a:lnTo>
                    <a:lnTo>
                      <a:pt x="834" y="1119"/>
                    </a:lnTo>
                    <a:lnTo>
                      <a:pt x="829" y="1012"/>
                    </a:lnTo>
                    <a:lnTo>
                      <a:pt x="823" y="904"/>
                    </a:lnTo>
                    <a:lnTo>
                      <a:pt x="818" y="853"/>
                    </a:lnTo>
                    <a:lnTo>
                      <a:pt x="813" y="804"/>
                    </a:lnTo>
                    <a:lnTo>
                      <a:pt x="807" y="757"/>
                    </a:lnTo>
                    <a:lnTo>
                      <a:pt x="799" y="712"/>
                    </a:lnTo>
                    <a:close/>
                    <a:moveTo>
                      <a:pt x="123" y="1636"/>
                    </a:moveTo>
                    <a:lnTo>
                      <a:pt x="113" y="1636"/>
                    </a:lnTo>
                    <a:lnTo>
                      <a:pt x="107" y="1577"/>
                    </a:lnTo>
                    <a:lnTo>
                      <a:pt x="113" y="1585"/>
                    </a:lnTo>
                    <a:lnTo>
                      <a:pt x="117" y="1595"/>
                    </a:lnTo>
                    <a:lnTo>
                      <a:pt x="123" y="1615"/>
                    </a:lnTo>
                    <a:lnTo>
                      <a:pt x="123" y="1636"/>
                    </a:lnTo>
                    <a:close/>
                    <a:moveTo>
                      <a:pt x="181" y="1065"/>
                    </a:moveTo>
                    <a:lnTo>
                      <a:pt x="181" y="1065"/>
                    </a:lnTo>
                    <a:lnTo>
                      <a:pt x="179" y="1100"/>
                    </a:lnTo>
                    <a:lnTo>
                      <a:pt x="176" y="1135"/>
                    </a:lnTo>
                    <a:lnTo>
                      <a:pt x="174" y="1170"/>
                    </a:lnTo>
                    <a:lnTo>
                      <a:pt x="169" y="1207"/>
                    </a:lnTo>
                    <a:lnTo>
                      <a:pt x="161" y="1236"/>
                    </a:lnTo>
                    <a:lnTo>
                      <a:pt x="153" y="1265"/>
                    </a:lnTo>
                    <a:lnTo>
                      <a:pt x="145" y="1292"/>
                    </a:lnTo>
                    <a:lnTo>
                      <a:pt x="137" y="1319"/>
                    </a:lnTo>
                    <a:lnTo>
                      <a:pt x="133" y="1346"/>
                    </a:lnTo>
                    <a:lnTo>
                      <a:pt x="131" y="1372"/>
                    </a:lnTo>
                    <a:lnTo>
                      <a:pt x="128" y="1418"/>
                    </a:lnTo>
                    <a:lnTo>
                      <a:pt x="125" y="1412"/>
                    </a:lnTo>
                    <a:lnTo>
                      <a:pt x="121" y="1401"/>
                    </a:lnTo>
                    <a:lnTo>
                      <a:pt x="118" y="1385"/>
                    </a:lnTo>
                    <a:lnTo>
                      <a:pt x="118" y="1362"/>
                    </a:lnTo>
                    <a:lnTo>
                      <a:pt x="120" y="1345"/>
                    </a:lnTo>
                    <a:lnTo>
                      <a:pt x="125" y="1327"/>
                    </a:lnTo>
                    <a:lnTo>
                      <a:pt x="136" y="1285"/>
                    </a:lnTo>
                    <a:lnTo>
                      <a:pt x="141" y="1261"/>
                    </a:lnTo>
                    <a:lnTo>
                      <a:pt x="147" y="1237"/>
                    </a:lnTo>
                    <a:lnTo>
                      <a:pt x="150" y="1210"/>
                    </a:lnTo>
                    <a:lnTo>
                      <a:pt x="153" y="1180"/>
                    </a:lnTo>
                    <a:lnTo>
                      <a:pt x="160" y="1095"/>
                    </a:lnTo>
                    <a:lnTo>
                      <a:pt x="168" y="1015"/>
                    </a:lnTo>
                    <a:lnTo>
                      <a:pt x="176" y="951"/>
                    </a:lnTo>
                    <a:lnTo>
                      <a:pt x="182" y="911"/>
                    </a:lnTo>
                    <a:lnTo>
                      <a:pt x="185" y="920"/>
                    </a:lnTo>
                    <a:lnTo>
                      <a:pt x="185" y="930"/>
                    </a:lnTo>
                    <a:lnTo>
                      <a:pt x="185" y="949"/>
                    </a:lnTo>
                    <a:lnTo>
                      <a:pt x="181" y="991"/>
                    </a:lnTo>
                    <a:lnTo>
                      <a:pt x="181" y="1008"/>
                    </a:lnTo>
                    <a:lnTo>
                      <a:pt x="182" y="1026"/>
                    </a:lnTo>
                    <a:lnTo>
                      <a:pt x="182" y="1045"/>
                    </a:lnTo>
                    <a:lnTo>
                      <a:pt x="181" y="1065"/>
                    </a:lnTo>
                    <a:close/>
                    <a:moveTo>
                      <a:pt x="669" y="1193"/>
                    </a:moveTo>
                    <a:lnTo>
                      <a:pt x="669" y="1193"/>
                    </a:lnTo>
                    <a:lnTo>
                      <a:pt x="668" y="1159"/>
                    </a:lnTo>
                    <a:lnTo>
                      <a:pt x="666" y="1124"/>
                    </a:lnTo>
                    <a:lnTo>
                      <a:pt x="664" y="1047"/>
                    </a:lnTo>
                    <a:lnTo>
                      <a:pt x="668" y="887"/>
                    </a:lnTo>
                    <a:lnTo>
                      <a:pt x="671" y="892"/>
                    </a:lnTo>
                    <a:lnTo>
                      <a:pt x="674" y="900"/>
                    </a:lnTo>
                    <a:lnTo>
                      <a:pt x="679" y="909"/>
                    </a:lnTo>
                    <a:lnTo>
                      <a:pt x="682" y="920"/>
                    </a:lnTo>
                    <a:lnTo>
                      <a:pt x="685" y="941"/>
                    </a:lnTo>
                    <a:lnTo>
                      <a:pt x="690" y="968"/>
                    </a:lnTo>
                    <a:lnTo>
                      <a:pt x="696" y="1036"/>
                    </a:lnTo>
                    <a:lnTo>
                      <a:pt x="701" y="1113"/>
                    </a:lnTo>
                    <a:lnTo>
                      <a:pt x="706" y="1194"/>
                    </a:lnTo>
                    <a:lnTo>
                      <a:pt x="714" y="1345"/>
                    </a:lnTo>
                    <a:lnTo>
                      <a:pt x="719" y="1402"/>
                    </a:lnTo>
                    <a:lnTo>
                      <a:pt x="724" y="1438"/>
                    </a:lnTo>
                    <a:lnTo>
                      <a:pt x="708" y="1447"/>
                    </a:lnTo>
                    <a:lnTo>
                      <a:pt x="706" y="1417"/>
                    </a:lnTo>
                    <a:lnTo>
                      <a:pt x="701" y="1386"/>
                    </a:lnTo>
                    <a:lnTo>
                      <a:pt x="690" y="1324"/>
                    </a:lnTo>
                    <a:lnTo>
                      <a:pt x="679" y="1260"/>
                    </a:lnTo>
                    <a:lnTo>
                      <a:pt x="674" y="1226"/>
                    </a:lnTo>
                    <a:lnTo>
                      <a:pt x="669" y="1193"/>
                    </a:lnTo>
                    <a:close/>
                    <a:moveTo>
                      <a:pt x="724" y="1591"/>
                    </a:moveTo>
                    <a:lnTo>
                      <a:pt x="719" y="1591"/>
                    </a:lnTo>
                    <a:lnTo>
                      <a:pt x="712" y="1551"/>
                    </a:lnTo>
                    <a:lnTo>
                      <a:pt x="719" y="1559"/>
                    </a:lnTo>
                    <a:lnTo>
                      <a:pt x="722" y="1567"/>
                    </a:lnTo>
                    <a:lnTo>
                      <a:pt x="724" y="1577"/>
                    </a:lnTo>
                    <a:lnTo>
                      <a:pt x="724" y="1591"/>
                    </a:lnTo>
                    <a:close/>
                  </a:path>
                </a:pathLst>
              </a:custGeom>
              <a:solidFill>
                <a:schemeClr val="accent1">
                  <a:lumMod val="75000"/>
                </a:schemeClr>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249" name="Gruppieren 26"/>
            <p:cNvGrpSpPr/>
            <p:nvPr/>
          </p:nvGrpSpPr>
          <p:grpSpPr>
            <a:xfrm>
              <a:off x="4762134" y="2581487"/>
              <a:ext cx="673962" cy="1063529"/>
              <a:chOff x="1593782" y="3418618"/>
              <a:chExt cx="817978" cy="1290794"/>
            </a:xfrm>
          </p:grpSpPr>
          <p:sp>
            <p:nvSpPr>
              <p:cNvPr id="255" name="Ellipse 4"/>
              <p:cNvSpPr/>
              <p:nvPr/>
            </p:nvSpPr>
            <p:spPr>
              <a:xfrm>
                <a:off x="1593782" y="4482081"/>
                <a:ext cx="817978" cy="227331"/>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256" name="Freeform 13"/>
              <p:cNvSpPr>
                <a:spLocks noEditPoints="1"/>
              </p:cNvSpPr>
              <p:nvPr/>
            </p:nvSpPr>
            <p:spPr bwMode="auto">
              <a:xfrm>
                <a:off x="1854828" y="3418618"/>
                <a:ext cx="412915" cy="1206109"/>
              </a:xfrm>
              <a:custGeom>
                <a:avLst/>
                <a:gdLst>
                  <a:gd name="T0" fmla="*/ 887 w 1010"/>
                  <a:gd name="T1" fmla="*/ 661 h 2956"/>
                  <a:gd name="T2" fmla="*/ 812 w 1010"/>
                  <a:gd name="T3" fmla="*/ 535 h 2956"/>
                  <a:gd name="T4" fmla="*/ 685 w 1010"/>
                  <a:gd name="T5" fmla="*/ 421 h 2956"/>
                  <a:gd name="T6" fmla="*/ 676 w 1010"/>
                  <a:gd name="T7" fmla="*/ 149 h 2956"/>
                  <a:gd name="T8" fmla="*/ 583 w 1010"/>
                  <a:gd name="T9" fmla="*/ 13 h 2956"/>
                  <a:gd name="T10" fmla="*/ 431 w 1010"/>
                  <a:gd name="T11" fmla="*/ 56 h 2956"/>
                  <a:gd name="T12" fmla="*/ 371 w 1010"/>
                  <a:gd name="T13" fmla="*/ 259 h 2956"/>
                  <a:gd name="T14" fmla="*/ 355 w 1010"/>
                  <a:gd name="T15" fmla="*/ 440 h 2956"/>
                  <a:gd name="T16" fmla="*/ 206 w 1010"/>
                  <a:gd name="T17" fmla="*/ 514 h 2956"/>
                  <a:gd name="T18" fmla="*/ 134 w 1010"/>
                  <a:gd name="T19" fmla="*/ 639 h 2956"/>
                  <a:gd name="T20" fmla="*/ 146 w 1010"/>
                  <a:gd name="T21" fmla="*/ 769 h 2956"/>
                  <a:gd name="T22" fmla="*/ 158 w 1010"/>
                  <a:gd name="T23" fmla="*/ 991 h 2956"/>
                  <a:gd name="T24" fmla="*/ 141 w 1010"/>
                  <a:gd name="T25" fmla="*/ 1220 h 2956"/>
                  <a:gd name="T26" fmla="*/ 141 w 1010"/>
                  <a:gd name="T27" fmla="*/ 1422 h 2956"/>
                  <a:gd name="T28" fmla="*/ 125 w 1010"/>
                  <a:gd name="T29" fmla="*/ 1561 h 2956"/>
                  <a:gd name="T30" fmla="*/ 146 w 1010"/>
                  <a:gd name="T31" fmla="*/ 1686 h 2956"/>
                  <a:gd name="T32" fmla="*/ 184 w 1010"/>
                  <a:gd name="T33" fmla="*/ 1882 h 2956"/>
                  <a:gd name="T34" fmla="*/ 178 w 1010"/>
                  <a:gd name="T35" fmla="*/ 2034 h 2956"/>
                  <a:gd name="T36" fmla="*/ 158 w 1010"/>
                  <a:gd name="T37" fmla="*/ 2199 h 2956"/>
                  <a:gd name="T38" fmla="*/ 114 w 1010"/>
                  <a:gd name="T39" fmla="*/ 2765 h 2956"/>
                  <a:gd name="T40" fmla="*/ 85 w 1010"/>
                  <a:gd name="T41" fmla="*/ 2846 h 2956"/>
                  <a:gd name="T42" fmla="*/ 3 w 1010"/>
                  <a:gd name="T43" fmla="*/ 2922 h 2956"/>
                  <a:gd name="T44" fmla="*/ 178 w 1010"/>
                  <a:gd name="T45" fmla="*/ 2910 h 2956"/>
                  <a:gd name="T46" fmla="*/ 274 w 1010"/>
                  <a:gd name="T47" fmla="*/ 2858 h 2956"/>
                  <a:gd name="T48" fmla="*/ 291 w 1010"/>
                  <a:gd name="T49" fmla="*/ 2863 h 2956"/>
                  <a:gd name="T50" fmla="*/ 379 w 1010"/>
                  <a:gd name="T51" fmla="*/ 2812 h 2956"/>
                  <a:gd name="T52" fmla="*/ 363 w 1010"/>
                  <a:gd name="T53" fmla="*/ 2496 h 2956"/>
                  <a:gd name="T54" fmla="*/ 384 w 1010"/>
                  <a:gd name="T55" fmla="*/ 2064 h 2956"/>
                  <a:gd name="T56" fmla="*/ 437 w 1010"/>
                  <a:gd name="T57" fmla="*/ 1742 h 2956"/>
                  <a:gd name="T58" fmla="*/ 501 w 1010"/>
                  <a:gd name="T59" fmla="*/ 1563 h 2956"/>
                  <a:gd name="T60" fmla="*/ 525 w 1010"/>
                  <a:gd name="T61" fmla="*/ 1686 h 2956"/>
                  <a:gd name="T62" fmla="*/ 519 w 1010"/>
                  <a:gd name="T63" fmla="*/ 1955 h 2956"/>
                  <a:gd name="T64" fmla="*/ 516 w 1010"/>
                  <a:gd name="T65" fmla="*/ 2183 h 2956"/>
                  <a:gd name="T66" fmla="*/ 492 w 1010"/>
                  <a:gd name="T67" fmla="*/ 2649 h 2956"/>
                  <a:gd name="T68" fmla="*/ 496 w 1010"/>
                  <a:gd name="T69" fmla="*/ 2796 h 2956"/>
                  <a:gd name="T70" fmla="*/ 501 w 1010"/>
                  <a:gd name="T71" fmla="*/ 2927 h 2956"/>
                  <a:gd name="T72" fmla="*/ 608 w 1010"/>
                  <a:gd name="T73" fmla="*/ 2942 h 2956"/>
                  <a:gd name="T74" fmla="*/ 625 w 1010"/>
                  <a:gd name="T75" fmla="*/ 2874 h 2956"/>
                  <a:gd name="T76" fmla="*/ 685 w 1010"/>
                  <a:gd name="T77" fmla="*/ 2727 h 2956"/>
                  <a:gd name="T78" fmla="*/ 711 w 1010"/>
                  <a:gd name="T79" fmla="*/ 2354 h 2956"/>
                  <a:gd name="T80" fmla="*/ 738 w 1010"/>
                  <a:gd name="T81" fmla="*/ 2053 h 2956"/>
                  <a:gd name="T82" fmla="*/ 783 w 1010"/>
                  <a:gd name="T83" fmla="*/ 1675 h 2956"/>
                  <a:gd name="T84" fmla="*/ 817 w 1010"/>
                  <a:gd name="T85" fmla="*/ 1422 h 2956"/>
                  <a:gd name="T86" fmla="*/ 793 w 1010"/>
                  <a:gd name="T87" fmla="*/ 1244 h 2956"/>
                  <a:gd name="T88" fmla="*/ 874 w 1010"/>
                  <a:gd name="T89" fmla="*/ 1204 h 2956"/>
                  <a:gd name="T90" fmla="*/ 986 w 1010"/>
                  <a:gd name="T91" fmla="*/ 1044 h 2956"/>
                  <a:gd name="T92" fmla="*/ 962 w 1010"/>
                  <a:gd name="T93" fmla="*/ 826 h 2956"/>
                  <a:gd name="T94" fmla="*/ 178 w 1010"/>
                  <a:gd name="T95" fmla="*/ 1614 h 2956"/>
                  <a:gd name="T96" fmla="*/ 194 w 1010"/>
                  <a:gd name="T97" fmla="*/ 1678 h 2956"/>
                  <a:gd name="T98" fmla="*/ 243 w 1010"/>
                  <a:gd name="T99" fmla="*/ 1384 h 2956"/>
                  <a:gd name="T100" fmla="*/ 211 w 1010"/>
                  <a:gd name="T101" fmla="*/ 1416 h 2956"/>
                  <a:gd name="T102" fmla="*/ 250 w 1010"/>
                  <a:gd name="T103" fmla="*/ 1247 h 2956"/>
                  <a:gd name="T104" fmla="*/ 287 w 1010"/>
                  <a:gd name="T105" fmla="*/ 1092 h 2956"/>
                  <a:gd name="T106" fmla="*/ 263 w 1010"/>
                  <a:gd name="T107" fmla="*/ 1159 h 2956"/>
                  <a:gd name="T108" fmla="*/ 272 w 1010"/>
                  <a:gd name="T109" fmla="*/ 962 h 2956"/>
                  <a:gd name="T110" fmla="*/ 285 w 1010"/>
                  <a:gd name="T111" fmla="*/ 919 h 2956"/>
                  <a:gd name="T112" fmla="*/ 892 w 1010"/>
                  <a:gd name="T113" fmla="*/ 993 h 2956"/>
                  <a:gd name="T114" fmla="*/ 815 w 1010"/>
                  <a:gd name="T115" fmla="*/ 1142 h 2956"/>
                  <a:gd name="T116" fmla="*/ 749 w 1010"/>
                  <a:gd name="T117" fmla="*/ 1063 h 2956"/>
                  <a:gd name="T118" fmla="*/ 727 w 1010"/>
                  <a:gd name="T119" fmla="*/ 829 h 2956"/>
                  <a:gd name="T120" fmla="*/ 759 w 1010"/>
                  <a:gd name="T121" fmla="*/ 732 h 2956"/>
                  <a:gd name="T122" fmla="*/ 852 w 1010"/>
                  <a:gd name="T123" fmla="*/ 871 h 2956"/>
                  <a:gd name="T124" fmla="*/ 898 w 1010"/>
                  <a:gd name="T125" fmla="*/ 980 h 29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10"/>
                  <a:gd name="T190" fmla="*/ 0 h 2956"/>
                  <a:gd name="T191" fmla="*/ 1010 w 1010"/>
                  <a:gd name="T192" fmla="*/ 2956 h 29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10" h="2956">
                    <a:moveTo>
                      <a:pt x="962" y="826"/>
                    </a:moveTo>
                    <a:lnTo>
                      <a:pt x="962" y="826"/>
                    </a:lnTo>
                    <a:lnTo>
                      <a:pt x="950" y="796"/>
                    </a:lnTo>
                    <a:lnTo>
                      <a:pt x="945" y="781"/>
                    </a:lnTo>
                    <a:lnTo>
                      <a:pt x="937" y="767"/>
                    </a:lnTo>
                    <a:lnTo>
                      <a:pt x="921" y="738"/>
                    </a:lnTo>
                    <a:lnTo>
                      <a:pt x="913" y="724"/>
                    </a:lnTo>
                    <a:lnTo>
                      <a:pt x="906" y="708"/>
                    </a:lnTo>
                    <a:lnTo>
                      <a:pt x="887" y="661"/>
                    </a:lnTo>
                    <a:lnTo>
                      <a:pt x="870" y="618"/>
                    </a:lnTo>
                    <a:lnTo>
                      <a:pt x="868" y="604"/>
                    </a:lnTo>
                    <a:lnTo>
                      <a:pt x="858" y="592"/>
                    </a:lnTo>
                    <a:lnTo>
                      <a:pt x="850" y="581"/>
                    </a:lnTo>
                    <a:lnTo>
                      <a:pt x="841" y="570"/>
                    </a:lnTo>
                    <a:lnTo>
                      <a:pt x="831" y="560"/>
                    </a:lnTo>
                    <a:lnTo>
                      <a:pt x="820" y="543"/>
                    </a:lnTo>
                    <a:lnTo>
                      <a:pt x="812" y="535"/>
                    </a:lnTo>
                    <a:lnTo>
                      <a:pt x="804" y="527"/>
                    </a:lnTo>
                    <a:lnTo>
                      <a:pt x="793" y="520"/>
                    </a:lnTo>
                    <a:lnTo>
                      <a:pt x="781" y="514"/>
                    </a:lnTo>
                    <a:lnTo>
                      <a:pt x="757" y="504"/>
                    </a:lnTo>
                    <a:lnTo>
                      <a:pt x="730" y="495"/>
                    </a:lnTo>
                    <a:lnTo>
                      <a:pt x="701" y="487"/>
                    </a:lnTo>
                    <a:lnTo>
                      <a:pt x="695" y="469"/>
                    </a:lnTo>
                    <a:lnTo>
                      <a:pt x="690" y="445"/>
                    </a:lnTo>
                    <a:lnTo>
                      <a:pt x="685" y="421"/>
                    </a:lnTo>
                    <a:lnTo>
                      <a:pt x="685" y="410"/>
                    </a:lnTo>
                    <a:lnTo>
                      <a:pt x="685" y="399"/>
                    </a:lnTo>
                    <a:lnTo>
                      <a:pt x="690" y="349"/>
                    </a:lnTo>
                    <a:lnTo>
                      <a:pt x="692" y="323"/>
                    </a:lnTo>
                    <a:lnTo>
                      <a:pt x="690" y="309"/>
                    </a:lnTo>
                    <a:lnTo>
                      <a:pt x="689" y="296"/>
                    </a:lnTo>
                    <a:lnTo>
                      <a:pt x="684" y="202"/>
                    </a:lnTo>
                    <a:lnTo>
                      <a:pt x="676" y="149"/>
                    </a:lnTo>
                    <a:lnTo>
                      <a:pt x="669" y="122"/>
                    </a:lnTo>
                    <a:lnTo>
                      <a:pt x="666" y="110"/>
                    </a:lnTo>
                    <a:lnTo>
                      <a:pt x="663" y="102"/>
                    </a:lnTo>
                    <a:lnTo>
                      <a:pt x="653" y="83"/>
                    </a:lnTo>
                    <a:lnTo>
                      <a:pt x="641" y="66"/>
                    </a:lnTo>
                    <a:lnTo>
                      <a:pt x="626" y="48"/>
                    </a:lnTo>
                    <a:lnTo>
                      <a:pt x="610" y="32"/>
                    </a:lnTo>
                    <a:lnTo>
                      <a:pt x="602" y="26"/>
                    </a:lnTo>
                    <a:lnTo>
                      <a:pt x="592" y="19"/>
                    </a:lnTo>
                    <a:lnTo>
                      <a:pt x="583" y="13"/>
                    </a:lnTo>
                    <a:lnTo>
                      <a:pt x="572" y="8"/>
                    </a:lnTo>
                    <a:lnTo>
                      <a:pt x="559" y="5"/>
                    </a:lnTo>
                    <a:lnTo>
                      <a:pt x="548" y="2"/>
                    </a:lnTo>
                    <a:lnTo>
                      <a:pt x="533" y="0"/>
                    </a:lnTo>
                    <a:lnTo>
                      <a:pt x="519" y="0"/>
                    </a:lnTo>
                    <a:lnTo>
                      <a:pt x="479" y="13"/>
                    </a:lnTo>
                    <a:lnTo>
                      <a:pt x="463" y="26"/>
                    </a:lnTo>
                    <a:lnTo>
                      <a:pt x="447" y="40"/>
                    </a:lnTo>
                    <a:lnTo>
                      <a:pt x="431" y="56"/>
                    </a:lnTo>
                    <a:lnTo>
                      <a:pt x="418" y="72"/>
                    </a:lnTo>
                    <a:lnTo>
                      <a:pt x="405" y="90"/>
                    </a:lnTo>
                    <a:lnTo>
                      <a:pt x="394" y="109"/>
                    </a:lnTo>
                    <a:lnTo>
                      <a:pt x="384" y="130"/>
                    </a:lnTo>
                    <a:lnTo>
                      <a:pt x="376" y="151"/>
                    </a:lnTo>
                    <a:lnTo>
                      <a:pt x="373" y="168"/>
                    </a:lnTo>
                    <a:lnTo>
                      <a:pt x="370" y="184"/>
                    </a:lnTo>
                    <a:lnTo>
                      <a:pt x="370" y="203"/>
                    </a:lnTo>
                    <a:lnTo>
                      <a:pt x="368" y="223"/>
                    </a:lnTo>
                    <a:lnTo>
                      <a:pt x="371" y="259"/>
                    </a:lnTo>
                    <a:lnTo>
                      <a:pt x="376" y="295"/>
                    </a:lnTo>
                    <a:lnTo>
                      <a:pt x="371" y="331"/>
                    </a:lnTo>
                    <a:lnTo>
                      <a:pt x="368" y="360"/>
                    </a:lnTo>
                    <a:lnTo>
                      <a:pt x="367" y="386"/>
                    </a:lnTo>
                    <a:lnTo>
                      <a:pt x="365" y="412"/>
                    </a:lnTo>
                    <a:lnTo>
                      <a:pt x="362" y="424"/>
                    </a:lnTo>
                    <a:lnTo>
                      <a:pt x="359" y="436"/>
                    </a:lnTo>
                    <a:lnTo>
                      <a:pt x="355" y="440"/>
                    </a:lnTo>
                    <a:lnTo>
                      <a:pt x="352" y="445"/>
                    </a:lnTo>
                    <a:lnTo>
                      <a:pt x="347" y="447"/>
                    </a:lnTo>
                    <a:lnTo>
                      <a:pt x="343" y="450"/>
                    </a:lnTo>
                    <a:lnTo>
                      <a:pt x="331" y="452"/>
                    </a:lnTo>
                    <a:lnTo>
                      <a:pt x="320" y="456"/>
                    </a:lnTo>
                    <a:lnTo>
                      <a:pt x="283" y="487"/>
                    </a:lnTo>
                    <a:lnTo>
                      <a:pt x="227" y="498"/>
                    </a:lnTo>
                    <a:lnTo>
                      <a:pt x="206" y="514"/>
                    </a:lnTo>
                    <a:lnTo>
                      <a:pt x="186" y="532"/>
                    </a:lnTo>
                    <a:lnTo>
                      <a:pt x="176" y="541"/>
                    </a:lnTo>
                    <a:lnTo>
                      <a:pt x="168" y="552"/>
                    </a:lnTo>
                    <a:lnTo>
                      <a:pt x="162" y="564"/>
                    </a:lnTo>
                    <a:lnTo>
                      <a:pt x="155" y="575"/>
                    </a:lnTo>
                    <a:lnTo>
                      <a:pt x="150" y="617"/>
                    </a:lnTo>
                    <a:lnTo>
                      <a:pt x="136" y="634"/>
                    </a:lnTo>
                    <a:lnTo>
                      <a:pt x="134" y="639"/>
                    </a:lnTo>
                    <a:lnTo>
                      <a:pt x="136" y="642"/>
                    </a:lnTo>
                    <a:lnTo>
                      <a:pt x="141" y="650"/>
                    </a:lnTo>
                    <a:lnTo>
                      <a:pt x="144" y="658"/>
                    </a:lnTo>
                    <a:lnTo>
                      <a:pt x="146" y="663"/>
                    </a:lnTo>
                    <a:lnTo>
                      <a:pt x="146" y="669"/>
                    </a:lnTo>
                    <a:lnTo>
                      <a:pt x="142" y="693"/>
                    </a:lnTo>
                    <a:lnTo>
                      <a:pt x="142" y="719"/>
                    </a:lnTo>
                    <a:lnTo>
                      <a:pt x="144" y="745"/>
                    </a:lnTo>
                    <a:lnTo>
                      <a:pt x="146" y="769"/>
                    </a:lnTo>
                    <a:lnTo>
                      <a:pt x="149" y="786"/>
                    </a:lnTo>
                    <a:lnTo>
                      <a:pt x="149" y="804"/>
                    </a:lnTo>
                    <a:lnTo>
                      <a:pt x="147" y="839"/>
                    </a:lnTo>
                    <a:lnTo>
                      <a:pt x="147" y="873"/>
                    </a:lnTo>
                    <a:lnTo>
                      <a:pt x="147" y="890"/>
                    </a:lnTo>
                    <a:lnTo>
                      <a:pt x="149" y="906"/>
                    </a:lnTo>
                    <a:lnTo>
                      <a:pt x="154" y="929"/>
                    </a:lnTo>
                    <a:lnTo>
                      <a:pt x="157" y="954"/>
                    </a:lnTo>
                    <a:lnTo>
                      <a:pt x="158" y="980"/>
                    </a:lnTo>
                    <a:lnTo>
                      <a:pt x="158" y="991"/>
                    </a:lnTo>
                    <a:lnTo>
                      <a:pt x="157" y="1004"/>
                    </a:lnTo>
                    <a:lnTo>
                      <a:pt x="146" y="1082"/>
                    </a:lnTo>
                    <a:lnTo>
                      <a:pt x="144" y="1145"/>
                    </a:lnTo>
                    <a:lnTo>
                      <a:pt x="142" y="1163"/>
                    </a:lnTo>
                    <a:lnTo>
                      <a:pt x="139" y="1182"/>
                    </a:lnTo>
                    <a:lnTo>
                      <a:pt x="139" y="1201"/>
                    </a:lnTo>
                    <a:lnTo>
                      <a:pt x="141" y="1220"/>
                    </a:lnTo>
                    <a:lnTo>
                      <a:pt x="142" y="1241"/>
                    </a:lnTo>
                    <a:lnTo>
                      <a:pt x="142" y="1262"/>
                    </a:lnTo>
                    <a:lnTo>
                      <a:pt x="144" y="1284"/>
                    </a:lnTo>
                    <a:lnTo>
                      <a:pt x="146" y="1307"/>
                    </a:lnTo>
                    <a:lnTo>
                      <a:pt x="147" y="1327"/>
                    </a:lnTo>
                    <a:lnTo>
                      <a:pt x="149" y="1352"/>
                    </a:lnTo>
                    <a:lnTo>
                      <a:pt x="149" y="1377"/>
                    </a:lnTo>
                    <a:lnTo>
                      <a:pt x="146" y="1400"/>
                    </a:lnTo>
                    <a:lnTo>
                      <a:pt x="141" y="1422"/>
                    </a:lnTo>
                    <a:lnTo>
                      <a:pt x="136" y="1443"/>
                    </a:lnTo>
                    <a:lnTo>
                      <a:pt x="136" y="1451"/>
                    </a:lnTo>
                    <a:lnTo>
                      <a:pt x="136" y="1459"/>
                    </a:lnTo>
                    <a:lnTo>
                      <a:pt x="139" y="1473"/>
                    </a:lnTo>
                    <a:lnTo>
                      <a:pt x="141" y="1488"/>
                    </a:lnTo>
                    <a:lnTo>
                      <a:pt x="141" y="1494"/>
                    </a:lnTo>
                    <a:lnTo>
                      <a:pt x="139" y="1502"/>
                    </a:lnTo>
                    <a:lnTo>
                      <a:pt x="131" y="1532"/>
                    </a:lnTo>
                    <a:lnTo>
                      <a:pt x="125" y="1561"/>
                    </a:lnTo>
                    <a:lnTo>
                      <a:pt x="125" y="1577"/>
                    </a:lnTo>
                    <a:lnTo>
                      <a:pt x="123" y="1592"/>
                    </a:lnTo>
                    <a:lnTo>
                      <a:pt x="125" y="1608"/>
                    </a:lnTo>
                    <a:lnTo>
                      <a:pt x="126" y="1624"/>
                    </a:lnTo>
                    <a:lnTo>
                      <a:pt x="128" y="1665"/>
                    </a:lnTo>
                    <a:lnTo>
                      <a:pt x="131" y="1672"/>
                    </a:lnTo>
                    <a:lnTo>
                      <a:pt x="136" y="1677"/>
                    </a:lnTo>
                    <a:lnTo>
                      <a:pt x="141" y="1681"/>
                    </a:lnTo>
                    <a:lnTo>
                      <a:pt x="146" y="1686"/>
                    </a:lnTo>
                    <a:lnTo>
                      <a:pt x="154" y="1697"/>
                    </a:lnTo>
                    <a:lnTo>
                      <a:pt x="160" y="1710"/>
                    </a:lnTo>
                    <a:lnTo>
                      <a:pt x="166" y="1721"/>
                    </a:lnTo>
                    <a:lnTo>
                      <a:pt x="174" y="1734"/>
                    </a:lnTo>
                    <a:lnTo>
                      <a:pt x="187" y="1744"/>
                    </a:lnTo>
                    <a:lnTo>
                      <a:pt x="184" y="1872"/>
                    </a:lnTo>
                    <a:lnTo>
                      <a:pt x="184" y="1882"/>
                    </a:lnTo>
                    <a:lnTo>
                      <a:pt x="184" y="1891"/>
                    </a:lnTo>
                    <a:lnTo>
                      <a:pt x="179" y="1910"/>
                    </a:lnTo>
                    <a:lnTo>
                      <a:pt x="179" y="1918"/>
                    </a:lnTo>
                    <a:lnTo>
                      <a:pt x="179" y="1925"/>
                    </a:lnTo>
                    <a:lnTo>
                      <a:pt x="181" y="1942"/>
                    </a:lnTo>
                    <a:lnTo>
                      <a:pt x="182" y="1958"/>
                    </a:lnTo>
                    <a:lnTo>
                      <a:pt x="184" y="1968"/>
                    </a:lnTo>
                    <a:lnTo>
                      <a:pt x="182" y="1976"/>
                    </a:lnTo>
                    <a:lnTo>
                      <a:pt x="178" y="2034"/>
                    </a:lnTo>
                    <a:lnTo>
                      <a:pt x="171" y="2053"/>
                    </a:lnTo>
                    <a:lnTo>
                      <a:pt x="165" y="2072"/>
                    </a:lnTo>
                    <a:lnTo>
                      <a:pt x="162" y="2088"/>
                    </a:lnTo>
                    <a:lnTo>
                      <a:pt x="160" y="2104"/>
                    </a:lnTo>
                    <a:lnTo>
                      <a:pt x="160" y="2136"/>
                    </a:lnTo>
                    <a:lnTo>
                      <a:pt x="162" y="2168"/>
                    </a:lnTo>
                    <a:lnTo>
                      <a:pt x="160" y="2184"/>
                    </a:lnTo>
                    <a:lnTo>
                      <a:pt x="158" y="2199"/>
                    </a:lnTo>
                    <a:lnTo>
                      <a:pt x="154" y="2647"/>
                    </a:lnTo>
                    <a:lnTo>
                      <a:pt x="149" y="2673"/>
                    </a:lnTo>
                    <a:lnTo>
                      <a:pt x="142" y="2697"/>
                    </a:lnTo>
                    <a:lnTo>
                      <a:pt x="126" y="2743"/>
                    </a:lnTo>
                    <a:lnTo>
                      <a:pt x="123" y="2749"/>
                    </a:lnTo>
                    <a:lnTo>
                      <a:pt x="120" y="2754"/>
                    </a:lnTo>
                    <a:lnTo>
                      <a:pt x="117" y="2761"/>
                    </a:lnTo>
                    <a:lnTo>
                      <a:pt x="114" y="2765"/>
                    </a:lnTo>
                    <a:lnTo>
                      <a:pt x="117" y="2781"/>
                    </a:lnTo>
                    <a:lnTo>
                      <a:pt x="118" y="2794"/>
                    </a:lnTo>
                    <a:lnTo>
                      <a:pt x="115" y="2810"/>
                    </a:lnTo>
                    <a:lnTo>
                      <a:pt x="112" y="2825"/>
                    </a:lnTo>
                    <a:lnTo>
                      <a:pt x="107" y="2834"/>
                    </a:lnTo>
                    <a:lnTo>
                      <a:pt x="96" y="2838"/>
                    </a:lnTo>
                    <a:lnTo>
                      <a:pt x="85" y="2841"/>
                    </a:lnTo>
                    <a:lnTo>
                      <a:pt x="85" y="2846"/>
                    </a:lnTo>
                    <a:lnTo>
                      <a:pt x="82" y="2850"/>
                    </a:lnTo>
                    <a:lnTo>
                      <a:pt x="74" y="2860"/>
                    </a:lnTo>
                    <a:lnTo>
                      <a:pt x="62" y="2868"/>
                    </a:lnTo>
                    <a:lnTo>
                      <a:pt x="50" y="2878"/>
                    </a:lnTo>
                    <a:lnTo>
                      <a:pt x="21" y="2892"/>
                    </a:lnTo>
                    <a:lnTo>
                      <a:pt x="8" y="2898"/>
                    </a:lnTo>
                    <a:lnTo>
                      <a:pt x="0" y="2906"/>
                    </a:lnTo>
                    <a:lnTo>
                      <a:pt x="0" y="2916"/>
                    </a:lnTo>
                    <a:lnTo>
                      <a:pt x="1" y="2919"/>
                    </a:lnTo>
                    <a:lnTo>
                      <a:pt x="3" y="2922"/>
                    </a:lnTo>
                    <a:lnTo>
                      <a:pt x="6" y="2924"/>
                    </a:lnTo>
                    <a:lnTo>
                      <a:pt x="10" y="2926"/>
                    </a:lnTo>
                    <a:lnTo>
                      <a:pt x="21" y="2926"/>
                    </a:lnTo>
                    <a:lnTo>
                      <a:pt x="126" y="2916"/>
                    </a:lnTo>
                    <a:lnTo>
                      <a:pt x="139" y="2914"/>
                    </a:lnTo>
                    <a:lnTo>
                      <a:pt x="154" y="2914"/>
                    </a:lnTo>
                    <a:lnTo>
                      <a:pt x="166" y="2913"/>
                    </a:lnTo>
                    <a:lnTo>
                      <a:pt x="173" y="2911"/>
                    </a:lnTo>
                    <a:lnTo>
                      <a:pt x="178" y="2910"/>
                    </a:lnTo>
                    <a:lnTo>
                      <a:pt x="182" y="2906"/>
                    </a:lnTo>
                    <a:lnTo>
                      <a:pt x="187" y="2900"/>
                    </a:lnTo>
                    <a:lnTo>
                      <a:pt x="194" y="2887"/>
                    </a:lnTo>
                    <a:lnTo>
                      <a:pt x="200" y="2871"/>
                    </a:lnTo>
                    <a:lnTo>
                      <a:pt x="205" y="2860"/>
                    </a:lnTo>
                    <a:lnTo>
                      <a:pt x="245" y="2857"/>
                    </a:lnTo>
                    <a:lnTo>
                      <a:pt x="266" y="2855"/>
                    </a:lnTo>
                    <a:lnTo>
                      <a:pt x="272" y="2857"/>
                    </a:lnTo>
                    <a:lnTo>
                      <a:pt x="274" y="2858"/>
                    </a:lnTo>
                    <a:lnTo>
                      <a:pt x="274" y="2860"/>
                    </a:lnTo>
                    <a:lnTo>
                      <a:pt x="275" y="2878"/>
                    </a:lnTo>
                    <a:lnTo>
                      <a:pt x="279" y="2879"/>
                    </a:lnTo>
                    <a:lnTo>
                      <a:pt x="282" y="2881"/>
                    </a:lnTo>
                    <a:lnTo>
                      <a:pt x="285" y="2881"/>
                    </a:lnTo>
                    <a:lnTo>
                      <a:pt x="291" y="2878"/>
                    </a:lnTo>
                    <a:lnTo>
                      <a:pt x="291" y="2863"/>
                    </a:lnTo>
                    <a:lnTo>
                      <a:pt x="293" y="2857"/>
                    </a:lnTo>
                    <a:lnTo>
                      <a:pt x="295" y="2852"/>
                    </a:lnTo>
                    <a:lnTo>
                      <a:pt x="307" y="2847"/>
                    </a:lnTo>
                    <a:lnTo>
                      <a:pt x="319" y="2844"/>
                    </a:lnTo>
                    <a:lnTo>
                      <a:pt x="331" y="2841"/>
                    </a:lnTo>
                    <a:lnTo>
                      <a:pt x="341" y="2836"/>
                    </a:lnTo>
                    <a:lnTo>
                      <a:pt x="354" y="2821"/>
                    </a:lnTo>
                    <a:lnTo>
                      <a:pt x="379" y="2812"/>
                    </a:lnTo>
                    <a:lnTo>
                      <a:pt x="381" y="2805"/>
                    </a:lnTo>
                    <a:lnTo>
                      <a:pt x="381" y="2794"/>
                    </a:lnTo>
                    <a:lnTo>
                      <a:pt x="376" y="2761"/>
                    </a:lnTo>
                    <a:lnTo>
                      <a:pt x="373" y="2727"/>
                    </a:lnTo>
                    <a:lnTo>
                      <a:pt x="371" y="2705"/>
                    </a:lnTo>
                    <a:lnTo>
                      <a:pt x="360" y="2532"/>
                    </a:lnTo>
                    <a:lnTo>
                      <a:pt x="363" y="2496"/>
                    </a:lnTo>
                    <a:lnTo>
                      <a:pt x="360" y="2407"/>
                    </a:lnTo>
                    <a:lnTo>
                      <a:pt x="362" y="2336"/>
                    </a:lnTo>
                    <a:lnTo>
                      <a:pt x="363" y="2267"/>
                    </a:lnTo>
                    <a:lnTo>
                      <a:pt x="367" y="2202"/>
                    </a:lnTo>
                    <a:lnTo>
                      <a:pt x="370" y="2171"/>
                    </a:lnTo>
                    <a:lnTo>
                      <a:pt x="375" y="2141"/>
                    </a:lnTo>
                    <a:lnTo>
                      <a:pt x="381" y="2072"/>
                    </a:lnTo>
                    <a:lnTo>
                      <a:pt x="384" y="2064"/>
                    </a:lnTo>
                    <a:lnTo>
                      <a:pt x="389" y="2054"/>
                    </a:lnTo>
                    <a:lnTo>
                      <a:pt x="394" y="2046"/>
                    </a:lnTo>
                    <a:lnTo>
                      <a:pt x="397" y="2037"/>
                    </a:lnTo>
                    <a:lnTo>
                      <a:pt x="403" y="1970"/>
                    </a:lnTo>
                    <a:lnTo>
                      <a:pt x="426" y="1824"/>
                    </a:lnTo>
                    <a:lnTo>
                      <a:pt x="431" y="1795"/>
                    </a:lnTo>
                    <a:lnTo>
                      <a:pt x="434" y="1768"/>
                    </a:lnTo>
                    <a:lnTo>
                      <a:pt x="437" y="1742"/>
                    </a:lnTo>
                    <a:lnTo>
                      <a:pt x="445" y="1717"/>
                    </a:lnTo>
                    <a:lnTo>
                      <a:pt x="453" y="1693"/>
                    </a:lnTo>
                    <a:lnTo>
                      <a:pt x="463" y="1670"/>
                    </a:lnTo>
                    <a:lnTo>
                      <a:pt x="472" y="1648"/>
                    </a:lnTo>
                    <a:lnTo>
                      <a:pt x="480" y="1625"/>
                    </a:lnTo>
                    <a:lnTo>
                      <a:pt x="487" y="1605"/>
                    </a:lnTo>
                    <a:lnTo>
                      <a:pt x="493" y="1584"/>
                    </a:lnTo>
                    <a:lnTo>
                      <a:pt x="498" y="1572"/>
                    </a:lnTo>
                    <a:lnTo>
                      <a:pt x="501" y="1563"/>
                    </a:lnTo>
                    <a:lnTo>
                      <a:pt x="506" y="1553"/>
                    </a:lnTo>
                    <a:lnTo>
                      <a:pt x="512" y="1547"/>
                    </a:lnTo>
                    <a:lnTo>
                      <a:pt x="514" y="1560"/>
                    </a:lnTo>
                    <a:lnTo>
                      <a:pt x="516" y="1571"/>
                    </a:lnTo>
                    <a:lnTo>
                      <a:pt x="520" y="1588"/>
                    </a:lnTo>
                    <a:lnTo>
                      <a:pt x="519" y="1646"/>
                    </a:lnTo>
                    <a:lnTo>
                      <a:pt x="524" y="1672"/>
                    </a:lnTo>
                    <a:lnTo>
                      <a:pt x="525" y="1686"/>
                    </a:lnTo>
                    <a:lnTo>
                      <a:pt x="525" y="1701"/>
                    </a:lnTo>
                    <a:lnTo>
                      <a:pt x="522" y="1725"/>
                    </a:lnTo>
                    <a:lnTo>
                      <a:pt x="524" y="1779"/>
                    </a:lnTo>
                    <a:lnTo>
                      <a:pt x="524" y="1808"/>
                    </a:lnTo>
                    <a:lnTo>
                      <a:pt x="522" y="1835"/>
                    </a:lnTo>
                    <a:lnTo>
                      <a:pt x="522" y="1888"/>
                    </a:lnTo>
                    <a:lnTo>
                      <a:pt x="520" y="1933"/>
                    </a:lnTo>
                    <a:lnTo>
                      <a:pt x="519" y="1955"/>
                    </a:lnTo>
                    <a:lnTo>
                      <a:pt x="516" y="1974"/>
                    </a:lnTo>
                    <a:lnTo>
                      <a:pt x="514" y="1987"/>
                    </a:lnTo>
                    <a:lnTo>
                      <a:pt x="514" y="1998"/>
                    </a:lnTo>
                    <a:lnTo>
                      <a:pt x="514" y="2021"/>
                    </a:lnTo>
                    <a:lnTo>
                      <a:pt x="516" y="2042"/>
                    </a:lnTo>
                    <a:lnTo>
                      <a:pt x="516" y="2053"/>
                    </a:lnTo>
                    <a:lnTo>
                      <a:pt x="514" y="2062"/>
                    </a:lnTo>
                    <a:lnTo>
                      <a:pt x="514" y="2114"/>
                    </a:lnTo>
                    <a:lnTo>
                      <a:pt x="516" y="2183"/>
                    </a:lnTo>
                    <a:lnTo>
                      <a:pt x="514" y="2218"/>
                    </a:lnTo>
                    <a:lnTo>
                      <a:pt x="511" y="2250"/>
                    </a:lnTo>
                    <a:lnTo>
                      <a:pt x="500" y="2509"/>
                    </a:lnTo>
                    <a:lnTo>
                      <a:pt x="498" y="2525"/>
                    </a:lnTo>
                    <a:lnTo>
                      <a:pt x="496" y="2543"/>
                    </a:lnTo>
                    <a:lnTo>
                      <a:pt x="496" y="2578"/>
                    </a:lnTo>
                    <a:lnTo>
                      <a:pt x="495" y="2615"/>
                    </a:lnTo>
                    <a:lnTo>
                      <a:pt x="493" y="2633"/>
                    </a:lnTo>
                    <a:lnTo>
                      <a:pt x="492" y="2649"/>
                    </a:lnTo>
                    <a:lnTo>
                      <a:pt x="492" y="2698"/>
                    </a:lnTo>
                    <a:lnTo>
                      <a:pt x="488" y="2713"/>
                    </a:lnTo>
                    <a:lnTo>
                      <a:pt x="484" y="2730"/>
                    </a:lnTo>
                    <a:lnTo>
                      <a:pt x="480" y="2749"/>
                    </a:lnTo>
                    <a:lnTo>
                      <a:pt x="480" y="2759"/>
                    </a:lnTo>
                    <a:lnTo>
                      <a:pt x="482" y="2769"/>
                    </a:lnTo>
                    <a:lnTo>
                      <a:pt x="485" y="2777"/>
                    </a:lnTo>
                    <a:lnTo>
                      <a:pt x="492" y="2786"/>
                    </a:lnTo>
                    <a:lnTo>
                      <a:pt x="496" y="2796"/>
                    </a:lnTo>
                    <a:lnTo>
                      <a:pt x="501" y="2805"/>
                    </a:lnTo>
                    <a:lnTo>
                      <a:pt x="503" y="2818"/>
                    </a:lnTo>
                    <a:lnTo>
                      <a:pt x="503" y="2834"/>
                    </a:lnTo>
                    <a:lnTo>
                      <a:pt x="498" y="2868"/>
                    </a:lnTo>
                    <a:lnTo>
                      <a:pt x="495" y="2898"/>
                    </a:lnTo>
                    <a:lnTo>
                      <a:pt x="493" y="2911"/>
                    </a:lnTo>
                    <a:lnTo>
                      <a:pt x="496" y="2921"/>
                    </a:lnTo>
                    <a:lnTo>
                      <a:pt x="498" y="2924"/>
                    </a:lnTo>
                    <a:lnTo>
                      <a:pt x="501" y="2927"/>
                    </a:lnTo>
                    <a:lnTo>
                      <a:pt x="509" y="2932"/>
                    </a:lnTo>
                    <a:lnTo>
                      <a:pt x="530" y="2938"/>
                    </a:lnTo>
                    <a:lnTo>
                      <a:pt x="549" y="2948"/>
                    </a:lnTo>
                    <a:lnTo>
                      <a:pt x="560" y="2953"/>
                    </a:lnTo>
                    <a:lnTo>
                      <a:pt x="570" y="2956"/>
                    </a:lnTo>
                    <a:lnTo>
                      <a:pt x="578" y="2956"/>
                    </a:lnTo>
                    <a:lnTo>
                      <a:pt x="588" y="2954"/>
                    </a:lnTo>
                    <a:lnTo>
                      <a:pt x="599" y="2948"/>
                    </a:lnTo>
                    <a:lnTo>
                      <a:pt x="608" y="2942"/>
                    </a:lnTo>
                    <a:lnTo>
                      <a:pt x="618" y="2934"/>
                    </a:lnTo>
                    <a:lnTo>
                      <a:pt x="626" y="2926"/>
                    </a:lnTo>
                    <a:lnTo>
                      <a:pt x="631" y="2919"/>
                    </a:lnTo>
                    <a:lnTo>
                      <a:pt x="634" y="2914"/>
                    </a:lnTo>
                    <a:lnTo>
                      <a:pt x="636" y="2897"/>
                    </a:lnTo>
                    <a:lnTo>
                      <a:pt x="634" y="2887"/>
                    </a:lnTo>
                    <a:lnTo>
                      <a:pt x="634" y="2881"/>
                    </a:lnTo>
                    <a:lnTo>
                      <a:pt x="625" y="2874"/>
                    </a:lnTo>
                    <a:lnTo>
                      <a:pt x="623" y="2865"/>
                    </a:lnTo>
                    <a:lnTo>
                      <a:pt x="621" y="2847"/>
                    </a:lnTo>
                    <a:lnTo>
                      <a:pt x="620" y="2820"/>
                    </a:lnTo>
                    <a:lnTo>
                      <a:pt x="652" y="2812"/>
                    </a:lnTo>
                    <a:lnTo>
                      <a:pt x="668" y="2807"/>
                    </a:lnTo>
                    <a:lnTo>
                      <a:pt x="674" y="2804"/>
                    </a:lnTo>
                    <a:lnTo>
                      <a:pt x="681" y="2801"/>
                    </a:lnTo>
                    <a:lnTo>
                      <a:pt x="685" y="2727"/>
                    </a:lnTo>
                    <a:lnTo>
                      <a:pt x="681" y="2709"/>
                    </a:lnTo>
                    <a:lnTo>
                      <a:pt x="679" y="2700"/>
                    </a:lnTo>
                    <a:lnTo>
                      <a:pt x="681" y="2689"/>
                    </a:lnTo>
                    <a:lnTo>
                      <a:pt x="689" y="2604"/>
                    </a:lnTo>
                    <a:lnTo>
                      <a:pt x="689" y="2567"/>
                    </a:lnTo>
                    <a:lnTo>
                      <a:pt x="695" y="2532"/>
                    </a:lnTo>
                    <a:lnTo>
                      <a:pt x="698" y="2495"/>
                    </a:lnTo>
                    <a:lnTo>
                      <a:pt x="705" y="2424"/>
                    </a:lnTo>
                    <a:lnTo>
                      <a:pt x="711" y="2354"/>
                    </a:lnTo>
                    <a:lnTo>
                      <a:pt x="716" y="2317"/>
                    </a:lnTo>
                    <a:lnTo>
                      <a:pt x="721" y="2282"/>
                    </a:lnTo>
                    <a:lnTo>
                      <a:pt x="722" y="2258"/>
                    </a:lnTo>
                    <a:lnTo>
                      <a:pt x="724" y="2235"/>
                    </a:lnTo>
                    <a:lnTo>
                      <a:pt x="724" y="2213"/>
                    </a:lnTo>
                    <a:lnTo>
                      <a:pt x="727" y="2192"/>
                    </a:lnTo>
                    <a:lnTo>
                      <a:pt x="732" y="2107"/>
                    </a:lnTo>
                    <a:lnTo>
                      <a:pt x="738" y="2053"/>
                    </a:lnTo>
                    <a:lnTo>
                      <a:pt x="743" y="1998"/>
                    </a:lnTo>
                    <a:lnTo>
                      <a:pt x="748" y="1946"/>
                    </a:lnTo>
                    <a:lnTo>
                      <a:pt x="753" y="1920"/>
                    </a:lnTo>
                    <a:lnTo>
                      <a:pt x="757" y="1894"/>
                    </a:lnTo>
                    <a:lnTo>
                      <a:pt x="762" y="1838"/>
                    </a:lnTo>
                    <a:lnTo>
                      <a:pt x="769" y="1813"/>
                    </a:lnTo>
                    <a:lnTo>
                      <a:pt x="772" y="1785"/>
                    </a:lnTo>
                    <a:lnTo>
                      <a:pt x="778" y="1731"/>
                    </a:lnTo>
                    <a:lnTo>
                      <a:pt x="783" y="1675"/>
                    </a:lnTo>
                    <a:lnTo>
                      <a:pt x="786" y="1648"/>
                    </a:lnTo>
                    <a:lnTo>
                      <a:pt x="791" y="1619"/>
                    </a:lnTo>
                    <a:lnTo>
                      <a:pt x="809" y="1508"/>
                    </a:lnTo>
                    <a:lnTo>
                      <a:pt x="813" y="1489"/>
                    </a:lnTo>
                    <a:lnTo>
                      <a:pt x="817" y="1467"/>
                    </a:lnTo>
                    <a:lnTo>
                      <a:pt x="818" y="1444"/>
                    </a:lnTo>
                    <a:lnTo>
                      <a:pt x="818" y="1433"/>
                    </a:lnTo>
                    <a:lnTo>
                      <a:pt x="817" y="1422"/>
                    </a:lnTo>
                    <a:lnTo>
                      <a:pt x="807" y="1368"/>
                    </a:lnTo>
                    <a:lnTo>
                      <a:pt x="796" y="1318"/>
                    </a:lnTo>
                    <a:lnTo>
                      <a:pt x="794" y="1308"/>
                    </a:lnTo>
                    <a:lnTo>
                      <a:pt x="794" y="1300"/>
                    </a:lnTo>
                    <a:lnTo>
                      <a:pt x="794" y="1281"/>
                    </a:lnTo>
                    <a:lnTo>
                      <a:pt x="794" y="1262"/>
                    </a:lnTo>
                    <a:lnTo>
                      <a:pt x="793" y="1254"/>
                    </a:lnTo>
                    <a:lnTo>
                      <a:pt x="791" y="1246"/>
                    </a:lnTo>
                    <a:lnTo>
                      <a:pt x="793" y="1244"/>
                    </a:lnTo>
                    <a:lnTo>
                      <a:pt x="805" y="1254"/>
                    </a:lnTo>
                    <a:lnTo>
                      <a:pt x="823" y="1251"/>
                    </a:lnTo>
                    <a:lnTo>
                      <a:pt x="841" y="1246"/>
                    </a:lnTo>
                    <a:lnTo>
                      <a:pt x="855" y="1239"/>
                    </a:lnTo>
                    <a:lnTo>
                      <a:pt x="862" y="1235"/>
                    </a:lnTo>
                    <a:lnTo>
                      <a:pt x="865" y="1230"/>
                    </a:lnTo>
                    <a:lnTo>
                      <a:pt x="874" y="1204"/>
                    </a:lnTo>
                    <a:lnTo>
                      <a:pt x="879" y="1198"/>
                    </a:lnTo>
                    <a:lnTo>
                      <a:pt x="884" y="1191"/>
                    </a:lnTo>
                    <a:lnTo>
                      <a:pt x="894" y="1180"/>
                    </a:lnTo>
                    <a:lnTo>
                      <a:pt x="921" y="1139"/>
                    </a:lnTo>
                    <a:lnTo>
                      <a:pt x="934" y="1123"/>
                    </a:lnTo>
                    <a:lnTo>
                      <a:pt x="946" y="1107"/>
                    </a:lnTo>
                    <a:lnTo>
                      <a:pt x="961" y="1087"/>
                    </a:lnTo>
                    <a:lnTo>
                      <a:pt x="974" y="1065"/>
                    </a:lnTo>
                    <a:lnTo>
                      <a:pt x="986" y="1044"/>
                    </a:lnTo>
                    <a:lnTo>
                      <a:pt x="998" y="1020"/>
                    </a:lnTo>
                    <a:lnTo>
                      <a:pt x="1006" y="998"/>
                    </a:lnTo>
                    <a:lnTo>
                      <a:pt x="1010" y="975"/>
                    </a:lnTo>
                    <a:lnTo>
                      <a:pt x="1010" y="966"/>
                    </a:lnTo>
                    <a:lnTo>
                      <a:pt x="1010" y="958"/>
                    </a:lnTo>
                    <a:lnTo>
                      <a:pt x="1007" y="938"/>
                    </a:lnTo>
                    <a:lnTo>
                      <a:pt x="1001" y="918"/>
                    </a:lnTo>
                    <a:lnTo>
                      <a:pt x="993" y="897"/>
                    </a:lnTo>
                    <a:lnTo>
                      <a:pt x="975" y="857"/>
                    </a:lnTo>
                    <a:lnTo>
                      <a:pt x="962" y="826"/>
                    </a:lnTo>
                    <a:close/>
                    <a:moveTo>
                      <a:pt x="194" y="1678"/>
                    </a:moveTo>
                    <a:lnTo>
                      <a:pt x="194" y="1678"/>
                    </a:lnTo>
                    <a:lnTo>
                      <a:pt x="192" y="1680"/>
                    </a:lnTo>
                    <a:lnTo>
                      <a:pt x="189" y="1678"/>
                    </a:lnTo>
                    <a:lnTo>
                      <a:pt x="182" y="1654"/>
                    </a:lnTo>
                    <a:lnTo>
                      <a:pt x="179" y="1640"/>
                    </a:lnTo>
                    <a:lnTo>
                      <a:pt x="178" y="1627"/>
                    </a:lnTo>
                    <a:lnTo>
                      <a:pt x="178" y="1614"/>
                    </a:lnTo>
                    <a:lnTo>
                      <a:pt x="179" y="1601"/>
                    </a:lnTo>
                    <a:lnTo>
                      <a:pt x="184" y="1590"/>
                    </a:lnTo>
                    <a:lnTo>
                      <a:pt x="187" y="1585"/>
                    </a:lnTo>
                    <a:lnTo>
                      <a:pt x="192" y="1580"/>
                    </a:lnTo>
                    <a:lnTo>
                      <a:pt x="198" y="1580"/>
                    </a:lnTo>
                    <a:lnTo>
                      <a:pt x="202" y="1584"/>
                    </a:lnTo>
                    <a:lnTo>
                      <a:pt x="200" y="1630"/>
                    </a:lnTo>
                    <a:lnTo>
                      <a:pt x="198" y="1656"/>
                    </a:lnTo>
                    <a:lnTo>
                      <a:pt x="194" y="1678"/>
                    </a:lnTo>
                    <a:close/>
                    <a:moveTo>
                      <a:pt x="253" y="1355"/>
                    </a:moveTo>
                    <a:lnTo>
                      <a:pt x="253" y="1355"/>
                    </a:lnTo>
                    <a:lnTo>
                      <a:pt x="247" y="1356"/>
                    </a:lnTo>
                    <a:lnTo>
                      <a:pt x="242" y="1358"/>
                    </a:lnTo>
                    <a:lnTo>
                      <a:pt x="234" y="1366"/>
                    </a:lnTo>
                    <a:lnTo>
                      <a:pt x="235" y="1372"/>
                    </a:lnTo>
                    <a:lnTo>
                      <a:pt x="237" y="1376"/>
                    </a:lnTo>
                    <a:lnTo>
                      <a:pt x="243" y="1384"/>
                    </a:lnTo>
                    <a:lnTo>
                      <a:pt x="242" y="1395"/>
                    </a:lnTo>
                    <a:lnTo>
                      <a:pt x="237" y="1406"/>
                    </a:lnTo>
                    <a:lnTo>
                      <a:pt x="232" y="1416"/>
                    </a:lnTo>
                    <a:lnTo>
                      <a:pt x="229" y="1425"/>
                    </a:lnTo>
                    <a:lnTo>
                      <a:pt x="215" y="1484"/>
                    </a:lnTo>
                    <a:lnTo>
                      <a:pt x="213" y="1484"/>
                    </a:lnTo>
                    <a:lnTo>
                      <a:pt x="211" y="1467"/>
                    </a:lnTo>
                    <a:lnTo>
                      <a:pt x="210" y="1449"/>
                    </a:lnTo>
                    <a:lnTo>
                      <a:pt x="211" y="1416"/>
                    </a:lnTo>
                    <a:lnTo>
                      <a:pt x="218" y="1382"/>
                    </a:lnTo>
                    <a:lnTo>
                      <a:pt x="224" y="1348"/>
                    </a:lnTo>
                    <a:lnTo>
                      <a:pt x="240" y="1283"/>
                    </a:lnTo>
                    <a:lnTo>
                      <a:pt x="248" y="1251"/>
                    </a:lnTo>
                    <a:lnTo>
                      <a:pt x="255" y="1217"/>
                    </a:lnTo>
                    <a:lnTo>
                      <a:pt x="256" y="1220"/>
                    </a:lnTo>
                    <a:lnTo>
                      <a:pt x="256" y="1225"/>
                    </a:lnTo>
                    <a:lnTo>
                      <a:pt x="253" y="1233"/>
                    </a:lnTo>
                    <a:lnTo>
                      <a:pt x="250" y="1243"/>
                    </a:lnTo>
                    <a:lnTo>
                      <a:pt x="250" y="1247"/>
                    </a:lnTo>
                    <a:lnTo>
                      <a:pt x="251" y="1252"/>
                    </a:lnTo>
                    <a:lnTo>
                      <a:pt x="256" y="1257"/>
                    </a:lnTo>
                    <a:lnTo>
                      <a:pt x="255" y="1305"/>
                    </a:lnTo>
                    <a:lnTo>
                      <a:pt x="253" y="1355"/>
                    </a:lnTo>
                    <a:close/>
                    <a:moveTo>
                      <a:pt x="303" y="1033"/>
                    </a:moveTo>
                    <a:lnTo>
                      <a:pt x="303" y="1033"/>
                    </a:lnTo>
                    <a:lnTo>
                      <a:pt x="295" y="1063"/>
                    </a:lnTo>
                    <a:lnTo>
                      <a:pt x="287" y="1092"/>
                    </a:lnTo>
                    <a:lnTo>
                      <a:pt x="279" y="1119"/>
                    </a:lnTo>
                    <a:lnTo>
                      <a:pt x="271" y="1147"/>
                    </a:lnTo>
                    <a:lnTo>
                      <a:pt x="271" y="1179"/>
                    </a:lnTo>
                    <a:lnTo>
                      <a:pt x="261" y="1201"/>
                    </a:lnTo>
                    <a:lnTo>
                      <a:pt x="258" y="1201"/>
                    </a:lnTo>
                    <a:lnTo>
                      <a:pt x="258" y="1195"/>
                    </a:lnTo>
                    <a:lnTo>
                      <a:pt x="261" y="1183"/>
                    </a:lnTo>
                    <a:lnTo>
                      <a:pt x="263" y="1172"/>
                    </a:lnTo>
                    <a:lnTo>
                      <a:pt x="263" y="1159"/>
                    </a:lnTo>
                    <a:lnTo>
                      <a:pt x="266" y="1148"/>
                    </a:lnTo>
                    <a:lnTo>
                      <a:pt x="272" y="1119"/>
                    </a:lnTo>
                    <a:lnTo>
                      <a:pt x="275" y="1089"/>
                    </a:lnTo>
                    <a:lnTo>
                      <a:pt x="277" y="1073"/>
                    </a:lnTo>
                    <a:lnTo>
                      <a:pt x="277" y="1057"/>
                    </a:lnTo>
                    <a:lnTo>
                      <a:pt x="277" y="1041"/>
                    </a:lnTo>
                    <a:lnTo>
                      <a:pt x="274" y="1025"/>
                    </a:lnTo>
                    <a:lnTo>
                      <a:pt x="272" y="962"/>
                    </a:lnTo>
                    <a:lnTo>
                      <a:pt x="269" y="938"/>
                    </a:lnTo>
                    <a:lnTo>
                      <a:pt x="269" y="914"/>
                    </a:lnTo>
                    <a:lnTo>
                      <a:pt x="269" y="865"/>
                    </a:lnTo>
                    <a:lnTo>
                      <a:pt x="269" y="834"/>
                    </a:lnTo>
                    <a:lnTo>
                      <a:pt x="272" y="842"/>
                    </a:lnTo>
                    <a:lnTo>
                      <a:pt x="275" y="852"/>
                    </a:lnTo>
                    <a:lnTo>
                      <a:pt x="280" y="873"/>
                    </a:lnTo>
                    <a:lnTo>
                      <a:pt x="282" y="897"/>
                    </a:lnTo>
                    <a:lnTo>
                      <a:pt x="285" y="919"/>
                    </a:lnTo>
                    <a:lnTo>
                      <a:pt x="291" y="945"/>
                    </a:lnTo>
                    <a:lnTo>
                      <a:pt x="299" y="974"/>
                    </a:lnTo>
                    <a:lnTo>
                      <a:pt x="301" y="988"/>
                    </a:lnTo>
                    <a:lnTo>
                      <a:pt x="303" y="1002"/>
                    </a:lnTo>
                    <a:lnTo>
                      <a:pt x="304" y="1018"/>
                    </a:lnTo>
                    <a:lnTo>
                      <a:pt x="303" y="1033"/>
                    </a:lnTo>
                    <a:close/>
                    <a:moveTo>
                      <a:pt x="898" y="980"/>
                    </a:moveTo>
                    <a:lnTo>
                      <a:pt x="898" y="980"/>
                    </a:lnTo>
                    <a:lnTo>
                      <a:pt x="895" y="986"/>
                    </a:lnTo>
                    <a:lnTo>
                      <a:pt x="892" y="993"/>
                    </a:lnTo>
                    <a:lnTo>
                      <a:pt x="886" y="1004"/>
                    </a:lnTo>
                    <a:lnTo>
                      <a:pt x="876" y="1015"/>
                    </a:lnTo>
                    <a:lnTo>
                      <a:pt x="870" y="1028"/>
                    </a:lnTo>
                    <a:lnTo>
                      <a:pt x="857" y="1063"/>
                    </a:lnTo>
                    <a:lnTo>
                      <a:pt x="847" y="1086"/>
                    </a:lnTo>
                    <a:lnTo>
                      <a:pt x="836" y="1110"/>
                    </a:lnTo>
                    <a:lnTo>
                      <a:pt x="829" y="1123"/>
                    </a:lnTo>
                    <a:lnTo>
                      <a:pt x="823" y="1134"/>
                    </a:lnTo>
                    <a:lnTo>
                      <a:pt x="815" y="1142"/>
                    </a:lnTo>
                    <a:lnTo>
                      <a:pt x="809" y="1147"/>
                    </a:lnTo>
                    <a:lnTo>
                      <a:pt x="805" y="1139"/>
                    </a:lnTo>
                    <a:lnTo>
                      <a:pt x="802" y="1131"/>
                    </a:lnTo>
                    <a:lnTo>
                      <a:pt x="789" y="1113"/>
                    </a:lnTo>
                    <a:lnTo>
                      <a:pt x="764" y="1084"/>
                    </a:lnTo>
                    <a:lnTo>
                      <a:pt x="757" y="1070"/>
                    </a:lnTo>
                    <a:lnTo>
                      <a:pt x="754" y="1065"/>
                    </a:lnTo>
                    <a:lnTo>
                      <a:pt x="749" y="1063"/>
                    </a:lnTo>
                    <a:lnTo>
                      <a:pt x="745" y="1062"/>
                    </a:lnTo>
                    <a:lnTo>
                      <a:pt x="740" y="1058"/>
                    </a:lnTo>
                    <a:lnTo>
                      <a:pt x="730" y="1033"/>
                    </a:lnTo>
                    <a:lnTo>
                      <a:pt x="722" y="1006"/>
                    </a:lnTo>
                    <a:lnTo>
                      <a:pt x="717" y="978"/>
                    </a:lnTo>
                    <a:lnTo>
                      <a:pt x="714" y="950"/>
                    </a:lnTo>
                    <a:lnTo>
                      <a:pt x="714" y="919"/>
                    </a:lnTo>
                    <a:lnTo>
                      <a:pt x="716" y="889"/>
                    </a:lnTo>
                    <a:lnTo>
                      <a:pt x="721" y="860"/>
                    </a:lnTo>
                    <a:lnTo>
                      <a:pt x="727" y="829"/>
                    </a:lnTo>
                    <a:lnTo>
                      <a:pt x="732" y="796"/>
                    </a:lnTo>
                    <a:lnTo>
                      <a:pt x="738" y="775"/>
                    </a:lnTo>
                    <a:lnTo>
                      <a:pt x="741" y="764"/>
                    </a:lnTo>
                    <a:lnTo>
                      <a:pt x="745" y="754"/>
                    </a:lnTo>
                    <a:lnTo>
                      <a:pt x="753" y="745"/>
                    </a:lnTo>
                    <a:lnTo>
                      <a:pt x="756" y="740"/>
                    </a:lnTo>
                    <a:lnTo>
                      <a:pt x="759" y="732"/>
                    </a:lnTo>
                    <a:lnTo>
                      <a:pt x="764" y="737"/>
                    </a:lnTo>
                    <a:lnTo>
                      <a:pt x="769" y="743"/>
                    </a:lnTo>
                    <a:lnTo>
                      <a:pt x="780" y="764"/>
                    </a:lnTo>
                    <a:lnTo>
                      <a:pt x="801" y="801"/>
                    </a:lnTo>
                    <a:lnTo>
                      <a:pt x="810" y="815"/>
                    </a:lnTo>
                    <a:lnTo>
                      <a:pt x="821" y="826"/>
                    </a:lnTo>
                    <a:lnTo>
                      <a:pt x="833" y="839"/>
                    </a:lnTo>
                    <a:lnTo>
                      <a:pt x="842" y="852"/>
                    </a:lnTo>
                    <a:lnTo>
                      <a:pt x="852" y="871"/>
                    </a:lnTo>
                    <a:lnTo>
                      <a:pt x="860" y="889"/>
                    </a:lnTo>
                    <a:lnTo>
                      <a:pt x="868" y="908"/>
                    </a:lnTo>
                    <a:lnTo>
                      <a:pt x="878" y="926"/>
                    </a:lnTo>
                    <a:lnTo>
                      <a:pt x="884" y="937"/>
                    </a:lnTo>
                    <a:lnTo>
                      <a:pt x="892" y="950"/>
                    </a:lnTo>
                    <a:lnTo>
                      <a:pt x="895" y="956"/>
                    </a:lnTo>
                    <a:lnTo>
                      <a:pt x="898" y="964"/>
                    </a:lnTo>
                    <a:lnTo>
                      <a:pt x="898" y="972"/>
                    </a:lnTo>
                    <a:lnTo>
                      <a:pt x="898" y="980"/>
                    </a:lnTo>
                    <a:close/>
                  </a:path>
                </a:pathLst>
              </a:custGeom>
              <a:solidFill>
                <a:schemeClr val="accent1"/>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250" name="Gruppieren 33"/>
            <p:cNvGrpSpPr/>
            <p:nvPr/>
          </p:nvGrpSpPr>
          <p:grpSpPr>
            <a:xfrm>
              <a:off x="3128576" y="2594981"/>
              <a:ext cx="939368" cy="1409690"/>
              <a:chOff x="3506739" y="2431056"/>
              <a:chExt cx="939368" cy="1409690"/>
            </a:xfrm>
          </p:grpSpPr>
          <p:sp>
            <p:nvSpPr>
              <p:cNvPr id="253" name="Ellipse 4"/>
              <p:cNvSpPr/>
              <p:nvPr/>
            </p:nvSpPr>
            <p:spPr>
              <a:xfrm>
                <a:off x="3506739" y="3579680"/>
                <a:ext cx="939368" cy="261066"/>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254" name="Freeform 10"/>
              <p:cNvSpPr>
                <a:spLocks noEditPoints="1"/>
              </p:cNvSpPr>
              <p:nvPr/>
            </p:nvSpPr>
            <p:spPr bwMode="auto">
              <a:xfrm rot="21317180">
                <a:off x="3760248" y="2431056"/>
                <a:ext cx="427798" cy="1291552"/>
              </a:xfrm>
              <a:custGeom>
                <a:avLst/>
                <a:gdLst>
                  <a:gd name="T0" fmla="*/ 879 w 943"/>
                  <a:gd name="T1" fmla="*/ 962 h 2850"/>
                  <a:gd name="T2" fmla="*/ 897 w 943"/>
                  <a:gd name="T3" fmla="*/ 760 h 2850"/>
                  <a:gd name="T4" fmla="*/ 881 w 943"/>
                  <a:gd name="T5" fmla="*/ 603 h 2850"/>
                  <a:gd name="T6" fmla="*/ 796 w 943"/>
                  <a:gd name="T7" fmla="*/ 525 h 2850"/>
                  <a:gd name="T8" fmla="*/ 679 w 943"/>
                  <a:gd name="T9" fmla="*/ 443 h 2850"/>
                  <a:gd name="T10" fmla="*/ 696 w 943"/>
                  <a:gd name="T11" fmla="*/ 371 h 2850"/>
                  <a:gd name="T12" fmla="*/ 740 w 943"/>
                  <a:gd name="T13" fmla="*/ 282 h 2850"/>
                  <a:gd name="T14" fmla="*/ 720 w 943"/>
                  <a:gd name="T15" fmla="*/ 136 h 2850"/>
                  <a:gd name="T16" fmla="*/ 685 w 943"/>
                  <a:gd name="T17" fmla="*/ 65 h 2850"/>
                  <a:gd name="T18" fmla="*/ 652 w 943"/>
                  <a:gd name="T19" fmla="*/ 16 h 2850"/>
                  <a:gd name="T20" fmla="*/ 533 w 943"/>
                  <a:gd name="T21" fmla="*/ 6 h 2850"/>
                  <a:gd name="T22" fmla="*/ 431 w 943"/>
                  <a:gd name="T23" fmla="*/ 61 h 2850"/>
                  <a:gd name="T24" fmla="*/ 418 w 943"/>
                  <a:gd name="T25" fmla="*/ 205 h 2850"/>
                  <a:gd name="T26" fmla="*/ 493 w 943"/>
                  <a:gd name="T27" fmla="*/ 350 h 2850"/>
                  <a:gd name="T28" fmla="*/ 455 w 943"/>
                  <a:gd name="T29" fmla="*/ 419 h 2850"/>
                  <a:gd name="T30" fmla="*/ 416 w 943"/>
                  <a:gd name="T31" fmla="*/ 440 h 2850"/>
                  <a:gd name="T32" fmla="*/ 320 w 943"/>
                  <a:gd name="T33" fmla="*/ 483 h 2850"/>
                  <a:gd name="T34" fmla="*/ 218 w 943"/>
                  <a:gd name="T35" fmla="*/ 551 h 2850"/>
                  <a:gd name="T36" fmla="*/ 163 w 943"/>
                  <a:gd name="T37" fmla="*/ 722 h 2850"/>
                  <a:gd name="T38" fmla="*/ 150 w 943"/>
                  <a:gd name="T39" fmla="*/ 922 h 2850"/>
                  <a:gd name="T40" fmla="*/ 136 w 943"/>
                  <a:gd name="T41" fmla="*/ 1266 h 2850"/>
                  <a:gd name="T42" fmla="*/ 141 w 943"/>
                  <a:gd name="T43" fmla="*/ 1473 h 2850"/>
                  <a:gd name="T44" fmla="*/ 149 w 943"/>
                  <a:gd name="T45" fmla="*/ 1604 h 2850"/>
                  <a:gd name="T46" fmla="*/ 197 w 943"/>
                  <a:gd name="T47" fmla="*/ 1934 h 2850"/>
                  <a:gd name="T48" fmla="*/ 133 w 943"/>
                  <a:gd name="T49" fmla="*/ 2190 h 2850"/>
                  <a:gd name="T50" fmla="*/ 53 w 943"/>
                  <a:gd name="T51" fmla="*/ 2663 h 2850"/>
                  <a:gd name="T52" fmla="*/ 14 w 943"/>
                  <a:gd name="T53" fmla="*/ 2796 h 2850"/>
                  <a:gd name="T54" fmla="*/ 94 w 943"/>
                  <a:gd name="T55" fmla="*/ 2850 h 2850"/>
                  <a:gd name="T56" fmla="*/ 179 w 943"/>
                  <a:gd name="T57" fmla="*/ 2812 h 2850"/>
                  <a:gd name="T58" fmla="*/ 243 w 943"/>
                  <a:gd name="T59" fmla="*/ 2720 h 2850"/>
                  <a:gd name="T60" fmla="*/ 266 w 943"/>
                  <a:gd name="T61" fmla="*/ 2616 h 2850"/>
                  <a:gd name="T62" fmla="*/ 399 w 943"/>
                  <a:gd name="T63" fmla="*/ 2099 h 2850"/>
                  <a:gd name="T64" fmla="*/ 472 w 943"/>
                  <a:gd name="T65" fmla="*/ 1776 h 2850"/>
                  <a:gd name="T66" fmla="*/ 523 w 943"/>
                  <a:gd name="T67" fmla="*/ 1691 h 2850"/>
                  <a:gd name="T68" fmla="*/ 519 w 943"/>
                  <a:gd name="T69" fmla="*/ 1878 h 2850"/>
                  <a:gd name="T70" fmla="*/ 483 w 943"/>
                  <a:gd name="T71" fmla="*/ 2217 h 2850"/>
                  <a:gd name="T72" fmla="*/ 443 w 943"/>
                  <a:gd name="T73" fmla="*/ 2507 h 2850"/>
                  <a:gd name="T74" fmla="*/ 413 w 943"/>
                  <a:gd name="T75" fmla="*/ 2765 h 2850"/>
                  <a:gd name="T76" fmla="*/ 499 w 943"/>
                  <a:gd name="T77" fmla="*/ 2791 h 2850"/>
                  <a:gd name="T78" fmla="*/ 576 w 943"/>
                  <a:gd name="T79" fmla="*/ 2837 h 2850"/>
                  <a:gd name="T80" fmla="*/ 671 w 943"/>
                  <a:gd name="T81" fmla="*/ 2799 h 2850"/>
                  <a:gd name="T82" fmla="*/ 615 w 943"/>
                  <a:gd name="T83" fmla="*/ 2696 h 2850"/>
                  <a:gd name="T84" fmla="*/ 666 w 943"/>
                  <a:gd name="T85" fmla="*/ 2445 h 2850"/>
                  <a:gd name="T86" fmla="*/ 696 w 943"/>
                  <a:gd name="T87" fmla="*/ 2192 h 2850"/>
                  <a:gd name="T88" fmla="*/ 829 w 943"/>
                  <a:gd name="T89" fmla="*/ 1580 h 2850"/>
                  <a:gd name="T90" fmla="*/ 841 w 943"/>
                  <a:gd name="T91" fmla="*/ 1345 h 2850"/>
                  <a:gd name="T92" fmla="*/ 858 w 943"/>
                  <a:gd name="T93" fmla="*/ 1436 h 2850"/>
                  <a:gd name="T94" fmla="*/ 857 w 943"/>
                  <a:gd name="T95" fmla="*/ 1507 h 2850"/>
                  <a:gd name="T96" fmla="*/ 876 w 943"/>
                  <a:gd name="T97" fmla="*/ 1585 h 2850"/>
                  <a:gd name="T98" fmla="*/ 841 w 943"/>
                  <a:gd name="T99" fmla="*/ 1659 h 2850"/>
                  <a:gd name="T100" fmla="*/ 927 w 943"/>
                  <a:gd name="T101" fmla="*/ 1599 h 2850"/>
                  <a:gd name="T102" fmla="*/ 937 w 943"/>
                  <a:gd name="T103" fmla="*/ 1442 h 2850"/>
                  <a:gd name="T104" fmla="*/ 259 w 943"/>
                  <a:gd name="T105" fmla="*/ 1295 h 2850"/>
                  <a:gd name="T106" fmla="*/ 245 w 943"/>
                  <a:gd name="T107" fmla="*/ 1402 h 2850"/>
                  <a:gd name="T108" fmla="*/ 240 w 943"/>
                  <a:gd name="T109" fmla="*/ 1390 h 2850"/>
                  <a:gd name="T110" fmla="*/ 290 w 943"/>
                  <a:gd name="T111" fmla="*/ 888 h 2850"/>
                  <a:gd name="T112" fmla="*/ 315 w 943"/>
                  <a:gd name="T113" fmla="*/ 1015 h 2850"/>
                  <a:gd name="T114" fmla="*/ 310 w 943"/>
                  <a:gd name="T115" fmla="*/ 1119 h 28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43"/>
                  <a:gd name="T175" fmla="*/ 0 h 2850"/>
                  <a:gd name="T176" fmla="*/ 943 w 943"/>
                  <a:gd name="T177" fmla="*/ 2850 h 285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43" h="2850">
                    <a:moveTo>
                      <a:pt x="937" y="1442"/>
                    </a:moveTo>
                    <a:lnTo>
                      <a:pt x="937" y="1442"/>
                    </a:lnTo>
                    <a:lnTo>
                      <a:pt x="916" y="1241"/>
                    </a:lnTo>
                    <a:lnTo>
                      <a:pt x="911" y="1141"/>
                    </a:lnTo>
                    <a:lnTo>
                      <a:pt x="895" y="1055"/>
                    </a:lnTo>
                    <a:lnTo>
                      <a:pt x="887" y="1010"/>
                    </a:lnTo>
                    <a:lnTo>
                      <a:pt x="879" y="962"/>
                    </a:lnTo>
                    <a:lnTo>
                      <a:pt x="874" y="914"/>
                    </a:lnTo>
                    <a:lnTo>
                      <a:pt x="873" y="866"/>
                    </a:lnTo>
                    <a:lnTo>
                      <a:pt x="873" y="842"/>
                    </a:lnTo>
                    <a:lnTo>
                      <a:pt x="874" y="816"/>
                    </a:lnTo>
                    <a:lnTo>
                      <a:pt x="877" y="792"/>
                    </a:lnTo>
                    <a:lnTo>
                      <a:pt x="881" y="770"/>
                    </a:lnTo>
                    <a:lnTo>
                      <a:pt x="889" y="765"/>
                    </a:lnTo>
                    <a:lnTo>
                      <a:pt x="897" y="760"/>
                    </a:lnTo>
                    <a:lnTo>
                      <a:pt x="905" y="754"/>
                    </a:lnTo>
                    <a:lnTo>
                      <a:pt x="906" y="751"/>
                    </a:lnTo>
                    <a:lnTo>
                      <a:pt x="908" y="746"/>
                    </a:lnTo>
                    <a:lnTo>
                      <a:pt x="901" y="723"/>
                    </a:lnTo>
                    <a:lnTo>
                      <a:pt x="897" y="701"/>
                    </a:lnTo>
                    <a:lnTo>
                      <a:pt x="889" y="651"/>
                    </a:lnTo>
                    <a:lnTo>
                      <a:pt x="885" y="627"/>
                    </a:lnTo>
                    <a:lnTo>
                      <a:pt x="881" y="603"/>
                    </a:lnTo>
                    <a:lnTo>
                      <a:pt x="874" y="583"/>
                    </a:lnTo>
                    <a:lnTo>
                      <a:pt x="869" y="575"/>
                    </a:lnTo>
                    <a:lnTo>
                      <a:pt x="863" y="565"/>
                    </a:lnTo>
                    <a:lnTo>
                      <a:pt x="853" y="555"/>
                    </a:lnTo>
                    <a:lnTo>
                      <a:pt x="844" y="546"/>
                    </a:lnTo>
                    <a:lnTo>
                      <a:pt x="833" y="539"/>
                    </a:lnTo>
                    <a:lnTo>
                      <a:pt x="821" y="533"/>
                    </a:lnTo>
                    <a:lnTo>
                      <a:pt x="796" y="525"/>
                    </a:lnTo>
                    <a:lnTo>
                      <a:pt x="770" y="519"/>
                    </a:lnTo>
                    <a:lnTo>
                      <a:pt x="745" y="509"/>
                    </a:lnTo>
                    <a:lnTo>
                      <a:pt x="732" y="503"/>
                    </a:lnTo>
                    <a:lnTo>
                      <a:pt x="720" y="496"/>
                    </a:lnTo>
                    <a:lnTo>
                      <a:pt x="708" y="486"/>
                    </a:lnTo>
                    <a:lnTo>
                      <a:pt x="698" y="475"/>
                    </a:lnTo>
                    <a:lnTo>
                      <a:pt x="687" y="461"/>
                    </a:lnTo>
                    <a:lnTo>
                      <a:pt x="679" y="443"/>
                    </a:lnTo>
                    <a:lnTo>
                      <a:pt x="674" y="432"/>
                    </a:lnTo>
                    <a:lnTo>
                      <a:pt x="671" y="416"/>
                    </a:lnTo>
                    <a:lnTo>
                      <a:pt x="669" y="400"/>
                    </a:lnTo>
                    <a:lnTo>
                      <a:pt x="671" y="392"/>
                    </a:lnTo>
                    <a:lnTo>
                      <a:pt x="672" y="384"/>
                    </a:lnTo>
                    <a:lnTo>
                      <a:pt x="677" y="379"/>
                    </a:lnTo>
                    <a:lnTo>
                      <a:pt x="684" y="376"/>
                    </a:lnTo>
                    <a:lnTo>
                      <a:pt x="696" y="371"/>
                    </a:lnTo>
                    <a:lnTo>
                      <a:pt x="703" y="368"/>
                    </a:lnTo>
                    <a:lnTo>
                      <a:pt x="709" y="365"/>
                    </a:lnTo>
                    <a:lnTo>
                      <a:pt x="716" y="362"/>
                    </a:lnTo>
                    <a:lnTo>
                      <a:pt x="719" y="355"/>
                    </a:lnTo>
                    <a:lnTo>
                      <a:pt x="725" y="342"/>
                    </a:lnTo>
                    <a:lnTo>
                      <a:pt x="730" y="325"/>
                    </a:lnTo>
                    <a:lnTo>
                      <a:pt x="735" y="304"/>
                    </a:lnTo>
                    <a:lnTo>
                      <a:pt x="740" y="282"/>
                    </a:lnTo>
                    <a:lnTo>
                      <a:pt x="741" y="261"/>
                    </a:lnTo>
                    <a:lnTo>
                      <a:pt x="741" y="238"/>
                    </a:lnTo>
                    <a:lnTo>
                      <a:pt x="741" y="219"/>
                    </a:lnTo>
                    <a:lnTo>
                      <a:pt x="736" y="203"/>
                    </a:lnTo>
                    <a:lnTo>
                      <a:pt x="716" y="171"/>
                    </a:lnTo>
                    <a:lnTo>
                      <a:pt x="720" y="136"/>
                    </a:lnTo>
                    <a:lnTo>
                      <a:pt x="719" y="129"/>
                    </a:lnTo>
                    <a:lnTo>
                      <a:pt x="714" y="123"/>
                    </a:lnTo>
                    <a:lnTo>
                      <a:pt x="704" y="107"/>
                    </a:lnTo>
                    <a:lnTo>
                      <a:pt x="695" y="93"/>
                    </a:lnTo>
                    <a:lnTo>
                      <a:pt x="687" y="80"/>
                    </a:lnTo>
                    <a:lnTo>
                      <a:pt x="685" y="77"/>
                    </a:lnTo>
                    <a:lnTo>
                      <a:pt x="685" y="73"/>
                    </a:lnTo>
                    <a:lnTo>
                      <a:pt x="685" y="65"/>
                    </a:lnTo>
                    <a:lnTo>
                      <a:pt x="687" y="59"/>
                    </a:lnTo>
                    <a:lnTo>
                      <a:pt x="687" y="54"/>
                    </a:lnTo>
                    <a:lnTo>
                      <a:pt x="685" y="49"/>
                    </a:lnTo>
                    <a:lnTo>
                      <a:pt x="680" y="43"/>
                    </a:lnTo>
                    <a:lnTo>
                      <a:pt x="676" y="35"/>
                    </a:lnTo>
                    <a:lnTo>
                      <a:pt x="671" y="30"/>
                    </a:lnTo>
                    <a:lnTo>
                      <a:pt x="664" y="24"/>
                    </a:lnTo>
                    <a:lnTo>
                      <a:pt x="652" y="16"/>
                    </a:lnTo>
                    <a:lnTo>
                      <a:pt x="634" y="9"/>
                    </a:lnTo>
                    <a:lnTo>
                      <a:pt x="616" y="4"/>
                    </a:lnTo>
                    <a:lnTo>
                      <a:pt x="596" y="1"/>
                    </a:lnTo>
                    <a:lnTo>
                      <a:pt x="575" y="0"/>
                    </a:lnTo>
                    <a:lnTo>
                      <a:pt x="551" y="0"/>
                    </a:lnTo>
                    <a:lnTo>
                      <a:pt x="548" y="3"/>
                    </a:lnTo>
                    <a:lnTo>
                      <a:pt x="543" y="4"/>
                    </a:lnTo>
                    <a:lnTo>
                      <a:pt x="533" y="6"/>
                    </a:lnTo>
                    <a:lnTo>
                      <a:pt x="523" y="6"/>
                    </a:lnTo>
                    <a:lnTo>
                      <a:pt x="512" y="9"/>
                    </a:lnTo>
                    <a:lnTo>
                      <a:pt x="491" y="17"/>
                    </a:lnTo>
                    <a:lnTo>
                      <a:pt x="467" y="30"/>
                    </a:lnTo>
                    <a:lnTo>
                      <a:pt x="456" y="37"/>
                    </a:lnTo>
                    <a:lnTo>
                      <a:pt x="447" y="45"/>
                    </a:lnTo>
                    <a:lnTo>
                      <a:pt x="437" y="53"/>
                    </a:lnTo>
                    <a:lnTo>
                      <a:pt x="431" y="61"/>
                    </a:lnTo>
                    <a:lnTo>
                      <a:pt x="424" y="73"/>
                    </a:lnTo>
                    <a:lnTo>
                      <a:pt x="419" y="86"/>
                    </a:lnTo>
                    <a:lnTo>
                      <a:pt x="416" y="99"/>
                    </a:lnTo>
                    <a:lnTo>
                      <a:pt x="413" y="113"/>
                    </a:lnTo>
                    <a:lnTo>
                      <a:pt x="413" y="128"/>
                    </a:lnTo>
                    <a:lnTo>
                      <a:pt x="411" y="144"/>
                    </a:lnTo>
                    <a:lnTo>
                      <a:pt x="413" y="174"/>
                    </a:lnTo>
                    <a:lnTo>
                      <a:pt x="418" y="205"/>
                    </a:lnTo>
                    <a:lnTo>
                      <a:pt x="426" y="233"/>
                    </a:lnTo>
                    <a:lnTo>
                      <a:pt x="435" y="259"/>
                    </a:lnTo>
                    <a:lnTo>
                      <a:pt x="447" y="280"/>
                    </a:lnTo>
                    <a:lnTo>
                      <a:pt x="477" y="312"/>
                    </a:lnTo>
                    <a:lnTo>
                      <a:pt x="483" y="323"/>
                    </a:lnTo>
                    <a:lnTo>
                      <a:pt x="488" y="338"/>
                    </a:lnTo>
                    <a:lnTo>
                      <a:pt x="493" y="350"/>
                    </a:lnTo>
                    <a:lnTo>
                      <a:pt x="499" y="362"/>
                    </a:lnTo>
                    <a:lnTo>
                      <a:pt x="488" y="405"/>
                    </a:lnTo>
                    <a:lnTo>
                      <a:pt x="482" y="408"/>
                    </a:lnTo>
                    <a:lnTo>
                      <a:pt x="477" y="411"/>
                    </a:lnTo>
                    <a:lnTo>
                      <a:pt x="474" y="414"/>
                    </a:lnTo>
                    <a:lnTo>
                      <a:pt x="471" y="419"/>
                    </a:lnTo>
                    <a:lnTo>
                      <a:pt x="455" y="419"/>
                    </a:lnTo>
                    <a:lnTo>
                      <a:pt x="451" y="422"/>
                    </a:lnTo>
                    <a:lnTo>
                      <a:pt x="450" y="427"/>
                    </a:lnTo>
                    <a:lnTo>
                      <a:pt x="448" y="430"/>
                    </a:lnTo>
                    <a:lnTo>
                      <a:pt x="447" y="435"/>
                    </a:lnTo>
                    <a:lnTo>
                      <a:pt x="443" y="437"/>
                    </a:lnTo>
                    <a:lnTo>
                      <a:pt x="416" y="440"/>
                    </a:lnTo>
                    <a:lnTo>
                      <a:pt x="405" y="448"/>
                    </a:lnTo>
                    <a:lnTo>
                      <a:pt x="392" y="458"/>
                    </a:lnTo>
                    <a:lnTo>
                      <a:pt x="381" y="467"/>
                    </a:lnTo>
                    <a:lnTo>
                      <a:pt x="368" y="475"/>
                    </a:lnTo>
                    <a:lnTo>
                      <a:pt x="367" y="477"/>
                    </a:lnTo>
                    <a:lnTo>
                      <a:pt x="320" y="483"/>
                    </a:lnTo>
                    <a:lnTo>
                      <a:pt x="302" y="490"/>
                    </a:lnTo>
                    <a:lnTo>
                      <a:pt x="286" y="494"/>
                    </a:lnTo>
                    <a:lnTo>
                      <a:pt x="272" y="501"/>
                    </a:lnTo>
                    <a:lnTo>
                      <a:pt x="259" y="509"/>
                    </a:lnTo>
                    <a:lnTo>
                      <a:pt x="248" y="517"/>
                    </a:lnTo>
                    <a:lnTo>
                      <a:pt x="237" y="527"/>
                    </a:lnTo>
                    <a:lnTo>
                      <a:pt x="227" y="538"/>
                    </a:lnTo>
                    <a:lnTo>
                      <a:pt x="218" y="551"/>
                    </a:lnTo>
                    <a:lnTo>
                      <a:pt x="208" y="565"/>
                    </a:lnTo>
                    <a:lnTo>
                      <a:pt x="200" y="583"/>
                    </a:lnTo>
                    <a:lnTo>
                      <a:pt x="192" y="602"/>
                    </a:lnTo>
                    <a:lnTo>
                      <a:pt x="186" y="623"/>
                    </a:lnTo>
                    <a:lnTo>
                      <a:pt x="174" y="664"/>
                    </a:lnTo>
                    <a:lnTo>
                      <a:pt x="166" y="704"/>
                    </a:lnTo>
                    <a:lnTo>
                      <a:pt x="163" y="722"/>
                    </a:lnTo>
                    <a:lnTo>
                      <a:pt x="165" y="739"/>
                    </a:lnTo>
                    <a:lnTo>
                      <a:pt x="165" y="759"/>
                    </a:lnTo>
                    <a:lnTo>
                      <a:pt x="163" y="778"/>
                    </a:lnTo>
                    <a:lnTo>
                      <a:pt x="160" y="796"/>
                    </a:lnTo>
                    <a:lnTo>
                      <a:pt x="158" y="816"/>
                    </a:lnTo>
                    <a:lnTo>
                      <a:pt x="155" y="858"/>
                    </a:lnTo>
                    <a:lnTo>
                      <a:pt x="152" y="901"/>
                    </a:lnTo>
                    <a:lnTo>
                      <a:pt x="150" y="922"/>
                    </a:lnTo>
                    <a:lnTo>
                      <a:pt x="147" y="943"/>
                    </a:lnTo>
                    <a:lnTo>
                      <a:pt x="141" y="986"/>
                    </a:lnTo>
                    <a:lnTo>
                      <a:pt x="134" y="1031"/>
                    </a:lnTo>
                    <a:lnTo>
                      <a:pt x="131" y="1077"/>
                    </a:lnTo>
                    <a:lnTo>
                      <a:pt x="128" y="1125"/>
                    </a:lnTo>
                    <a:lnTo>
                      <a:pt x="128" y="1173"/>
                    </a:lnTo>
                    <a:lnTo>
                      <a:pt x="131" y="1221"/>
                    </a:lnTo>
                    <a:lnTo>
                      <a:pt x="136" y="1266"/>
                    </a:lnTo>
                    <a:lnTo>
                      <a:pt x="142" y="1310"/>
                    </a:lnTo>
                    <a:lnTo>
                      <a:pt x="146" y="1338"/>
                    </a:lnTo>
                    <a:lnTo>
                      <a:pt x="147" y="1382"/>
                    </a:lnTo>
                    <a:lnTo>
                      <a:pt x="149" y="1422"/>
                    </a:lnTo>
                    <a:lnTo>
                      <a:pt x="149" y="1438"/>
                    </a:lnTo>
                    <a:lnTo>
                      <a:pt x="147" y="1447"/>
                    </a:lnTo>
                    <a:lnTo>
                      <a:pt x="141" y="1473"/>
                    </a:lnTo>
                    <a:lnTo>
                      <a:pt x="133" y="1510"/>
                    </a:lnTo>
                    <a:lnTo>
                      <a:pt x="130" y="1529"/>
                    </a:lnTo>
                    <a:lnTo>
                      <a:pt x="128" y="1548"/>
                    </a:lnTo>
                    <a:lnTo>
                      <a:pt x="130" y="1566"/>
                    </a:lnTo>
                    <a:lnTo>
                      <a:pt x="131" y="1574"/>
                    </a:lnTo>
                    <a:lnTo>
                      <a:pt x="134" y="1582"/>
                    </a:lnTo>
                    <a:lnTo>
                      <a:pt x="141" y="1593"/>
                    </a:lnTo>
                    <a:lnTo>
                      <a:pt x="149" y="1604"/>
                    </a:lnTo>
                    <a:lnTo>
                      <a:pt x="158" y="1615"/>
                    </a:lnTo>
                    <a:lnTo>
                      <a:pt x="168" y="1625"/>
                    </a:lnTo>
                    <a:lnTo>
                      <a:pt x="190" y="1646"/>
                    </a:lnTo>
                    <a:lnTo>
                      <a:pt x="210" y="1663"/>
                    </a:lnTo>
                    <a:lnTo>
                      <a:pt x="194" y="1852"/>
                    </a:lnTo>
                    <a:lnTo>
                      <a:pt x="197" y="1934"/>
                    </a:lnTo>
                    <a:lnTo>
                      <a:pt x="178" y="1964"/>
                    </a:lnTo>
                    <a:lnTo>
                      <a:pt x="174" y="1990"/>
                    </a:lnTo>
                    <a:lnTo>
                      <a:pt x="152" y="2032"/>
                    </a:lnTo>
                    <a:lnTo>
                      <a:pt x="147" y="2123"/>
                    </a:lnTo>
                    <a:lnTo>
                      <a:pt x="133" y="2190"/>
                    </a:lnTo>
                    <a:lnTo>
                      <a:pt x="120" y="2261"/>
                    </a:lnTo>
                    <a:lnTo>
                      <a:pt x="94" y="2402"/>
                    </a:lnTo>
                    <a:lnTo>
                      <a:pt x="85" y="2451"/>
                    </a:lnTo>
                    <a:lnTo>
                      <a:pt x="78" y="2501"/>
                    </a:lnTo>
                    <a:lnTo>
                      <a:pt x="72" y="2551"/>
                    </a:lnTo>
                    <a:lnTo>
                      <a:pt x="64" y="2603"/>
                    </a:lnTo>
                    <a:lnTo>
                      <a:pt x="53" y="2663"/>
                    </a:lnTo>
                    <a:lnTo>
                      <a:pt x="75" y="2691"/>
                    </a:lnTo>
                    <a:lnTo>
                      <a:pt x="64" y="2725"/>
                    </a:lnTo>
                    <a:lnTo>
                      <a:pt x="56" y="2736"/>
                    </a:lnTo>
                    <a:lnTo>
                      <a:pt x="46" y="2749"/>
                    </a:lnTo>
                    <a:lnTo>
                      <a:pt x="24" y="2780"/>
                    </a:lnTo>
                    <a:lnTo>
                      <a:pt x="14" y="2796"/>
                    </a:lnTo>
                    <a:lnTo>
                      <a:pt x="5" y="2812"/>
                    </a:lnTo>
                    <a:lnTo>
                      <a:pt x="3" y="2820"/>
                    </a:lnTo>
                    <a:lnTo>
                      <a:pt x="1" y="2828"/>
                    </a:lnTo>
                    <a:lnTo>
                      <a:pt x="0" y="2836"/>
                    </a:lnTo>
                    <a:lnTo>
                      <a:pt x="1" y="2844"/>
                    </a:lnTo>
                    <a:lnTo>
                      <a:pt x="46" y="2848"/>
                    </a:lnTo>
                    <a:lnTo>
                      <a:pt x="70" y="2850"/>
                    </a:lnTo>
                    <a:lnTo>
                      <a:pt x="94" y="2850"/>
                    </a:lnTo>
                    <a:lnTo>
                      <a:pt x="118" y="2850"/>
                    </a:lnTo>
                    <a:lnTo>
                      <a:pt x="141" y="2848"/>
                    </a:lnTo>
                    <a:lnTo>
                      <a:pt x="162" y="2844"/>
                    </a:lnTo>
                    <a:lnTo>
                      <a:pt x="181" y="2839"/>
                    </a:lnTo>
                    <a:lnTo>
                      <a:pt x="179" y="2826"/>
                    </a:lnTo>
                    <a:lnTo>
                      <a:pt x="178" y="2813"/>
                    </a:lnTo>
                    <a:lnTo>
                      <a:pt x="179" y="2812"/>
                    </a:lnTo>
                    <a:lnTo>
                      <a:pt x="202" y="2810"/>
                    </a:lnTo>
                    <a:lnTo>
                      <a:pt x="222" y="2807"/>
                    </a:lnTo>
                    <a:lnTo>
                      <a:pt x="230" y="2804"/>
                    </a:lnTo>
                    <a:lnTo>
                      <a:pt x="238" y="2800"/>
                    </a:lnTo>
                    <a:lnTo>
                      <a:pt x="246" y="2796"/>
                    </a:lnTo>
                    <a:lnTo>
                      <a:pt x="254" y="2789"/>
                    </a:lnTo>
                    <a:lnTo>
                      <a:pt x="243" y="2720"/>
                    </a:lnTo>
                    <a:lnTo>
                      <a:pt x="259" y="2701"/>
                    </a:lnTo>
                    <a:lnTo>
                      <a:pt x="262" y="2690"/>
                    </a:lnTo>
                    <a:lnTo>
                      <a:pt x="264" y="2679"/>
                    </a:lnTo>
                    <a:lnTo>
                      <a:pt x="264" y="2658"/>
                    </a:lnTo>
                    <a:lnTo>
                      <a:pt x="264" y="2637"/>
                    </a:lnTo>
                    <a:lnTo>
                      <a:pt x="264" y="2626"/>
                    </a:lnTo>
                    <a:lnTo>
                      <a:pt x="266" y="2616"/>
                    </a:lnTo>
                    <a:lnTo>
                      <a:pt x="283" y="2536"/>
                    </a:lnTo>
                    <a:lnTo>
                      <a:pt x="301" y="2454"/>
                    </a:lnTo>
                    <a:lnTo>
                      <a:pt x="318" y="2374"/>
                    </a:lnTo>
                    <a:lnTo>
                      <a:pt x="336" y="2299"/>
                    </a:lnTo>
                    <a:lnTo>
                      <a:pt x="367" y="2166"/>
                    </a:lnTo>
                    <a:lnTo>
                      <a:pt x="399" y="2099"/>
                    </a:lnTo>
                    <a:lnTo>
                      <a:pt x="413" y="2064"/>
                    </a:lnTo>
                    <a:lnTo>
                      <a:pt x="419" y="2045"/>
                    </a:lnTo>
                    <a:lnTo>
                      <a:pt x="426" y="2025"/>
                    </a:lnTo>
                    <a:lnTo>
                      <a:pt x="440" y="1905"/>
                    </a:lnTo>
                    <a:lnTo>
                      <a:pt x="455" y="1843"/>
                    </a:lnTo>
                    <a:lnTo>
                      <a:pt x="463" y="1809"/>
                    </a:lnTo>
                    <a:lnTo>
                      <a:pt x="472" y="1776"/>
                    </a:lnTo>
                    <a:lnTo>
                      <a:pt x="482" y="1742"/>
                    </a:lnTo>
                    <a:lnTo>
                      <a:pt x="493" y="1711"/>
                    </a:lnTo>
                    <a:lnTo>
                      <a:pt x="506" y="1684"/>
                    </a:lnTo>
                    <a:lnTo>
                      <a:pt x="514" y="1671"/>
                    </a:lnTo>
                    <a:lnTo>
                      <a:pt x="520" y="1662"/>
                    </a:lnTo>
                    <a:lnTo>
                      <a:pt x="523" y="1663"/>
                    </a:lnTo>
                    <a:lnTo>
                      <a:pt x="523" y="1691"/>
                    </a:lnTo>
                    <a:lnTo>
                      <a:pt x="522" y="1721"/>
                    </a:lnTo>
                    <a:lnTo>
                      <a:pt x="517" y="1750"/>
                    </a:lnTo>
                    <a:lnTo>
                      <a:pt x="512" y="1777"/>
                    </a:lnTo>
                    <a:lnTo>
                      <a:pt x="511" y="1792"/>
                    </a:lnTo>
                    <a:lnTo>
                      <a:pt x="511" y="1806"/>
                    </a:lnTo>
                    <a:lnTo>
                      <a:pt x="515" y="1833"/>
                    </a:lnTo>
                    <a:lnTo>
                      <a:pt x="519" y="1862"/>
                    </a:lnTo>
                    <a:lnTo>
                      <a:pt x="519" y="1878"/>
                    </a:lnTo>
                    <a:lnTo>
                      <a:pt x="517" y="1892"/>
                    </a:lnTo>
                    <a:lnTo>
                      <a:pt x="506" y="2051"/>
                    </a:lnTo>
                    <a:lnTo>
                      <a:pt x="506" y="2099"/>
                    </a:lnTo>
                    <a:lnTo>
                      <a:pt x="491" y="2150"/>
                    </a:lnTo>
                    <a:lnTo>
                      <a:pt x="487" y="2184"/>
                    </a:lnTo>
                    <a:lnTo>
                      <a:pt x="483" y="2217"/>
                    </a:lnTo>
                    <a:lnTo>
                      <a:pt x="479" y="2285"/>
                    </a:lnTo>
                    <a:lnTo>
                      <a:pt x="475" y="2318"/>
                    </a:lnTo>
                    <a:lnTo>
                      <a:pt x="472" y="2350"/>
                    </a:lnTo>
                    <a:lnTo>
                      <a:pt x="467" y="2382"/>
                    </a:lnTo>
                    <a:lnTo>
                      <a:pt x="461" y="2411"/>
                    </a:lnTo>
                    <a:lnTo>
                      <a:pt x="453" y="2442"/>
                    </a:lnTo>
                    <a:lnTo>
                      <a:pt x="448" y="2474"/>
                    </a:lnTo>
                    <a:lnTo>
                      <a:pt x="443" y="2507"/>
                    </a:lnTo>
                    <a:lnTo>
                      <a:pt x="440" y="2541"/>
                    </a:lnTo>
                    <a:lnTo>
                      <a:pt x="437" y="2610"/>
                    </a:lnTo>
                    <a:lnTo>
                      <a:pt x="431" y="2672"/>
                    </a:lnTo>
                    <a:lnTo>
                      <a:pt x="426" y="2693"/>
                    </a:lnTo>
                    <a:lnTo>
                      <a:pt x="419" y="2720"/>
                    </a:lnTo>
                    <a:lnTo>
                      <a:pt x="413" y="2746"/>
                    </a:lnTo>
                    <a:lnTo>
                      <a:pt x="413" y="2757"/>
                    </a:lnTo>
                    <a:lnTo>
                      <a:pt x="413" y="2765"/>
                    </a:lnTo>
                    <a:lnTo>
                      <a:pt x="416" y="2768"/>
                    </a:lnTo>
                    <a:lnTo>
                      <a:pt x="419" y="2773"/>
                    </a:lnTo>
                    <a:lnTo>
                      <a:pt x="427" y="2778"/>
                    </a:lnTo>
                    <a:lnTo>
                      <a:pt x="439" y="2781"/>
                    </a:lnTo>
                    <a:lnTo>
                      <a:pt x="451" y="2784"/>
                    </a:lnTo>
                    <a:lnTo>
                      <a:pt x="475" y="2788"/>
                    </a:lnTo>
                    <a:lnTo>
                      <a:pt x="488" y="2789"/>
                    </a:lnTo>
                    <a:lnTo>
                      <a:pt x="499" y="2791"/>
                    </a:lnTo>
                    <a:lnTo>
                      <a:pt x="496" y="2802"/>
                    </a:lnTo>
                    <a:lnTo>
                      <a:pt x="496" y="2813"/>
                    </a:lnTo>
                    <a:lnTo>
                      <a:pt x="504" y="2818"/>
                    </a:lnTo>
                    <a:lnTo>
                      <a:pt x="512" y="2823"/>
                    </a:lnTo>
                    <a:lnTo>
                      <a:pt x="531" y="2829"/>
                    </a:lnTo>
                    <a:lnTo>
                      <a:pt x="552" y="2834"/>
                    </a:lnTo>
                    <a:lnTo>
                      <a:pt x="576" y="2837"/>
                    </a:lnTo>
                    <a:lnTo>
                      <a:pt x="600" y="2837"/>
                    </a:lnTo>
                    <a:lnTo>
                      <a:pt x="624" y="2836"/>
                    </a:lnTo>
                    <a:lnTo>
                      <a:pt x="648" y="2834"/>
                    </a:lnTo>
                    <a:lnTo>
                      <a:pt x="671" y="2829"/>
                    </a:lnTo>
                    <a:lnTo>
                      <a:pt x="676" y="2820"/>
                    </a:lnTo>
                    <a:lnTo>
                      <a:pt x="674" y="2808"/>
                    </a:lnTo>
                    <a:lnTo>
                      <a:pt x="671" y="2799"/>
                    </a:lnTo>
                    <a:lnTo>
                      <a:pt x="663" y="2781"/>
                    </a:lnTo>
                    <a:lnTo>
                      <a:pt x="653" y="2765"/>
                    </a:lnTo>
                    <a:lnTo>
                      <a:pt x="644" y="2751"/>
                    </a:lnTo>
                    <a:lnTo>
                      <a:pt x="632" y="2738"/>
                    </a:lnTo>
                    <a:lnTo>
                      <a:pt x="624" y="2725"/>
                    </a:lnTo>
                    <a:lnTo>
                      <a:pt x="618" y="2711"/>
                    </a:lnTo>
                    <a:lnTo>
                      <a:pt x="615" y="2703"/>
                    </a:lnTo>
                    <a:lnTo>
                      <a:pt x="615" y="2696"/>
                    </a:lnTo>
                    <a:lnTo>
                      <a:pt x="624" y="2691"/>
                    </a:lnTo>
                    <a:lnTo>
                      <a:pt x="634" y="2688"/>
                    </a:lnTo>
                    <a:lnTo>
                      <a:pt x="629" y="2615"/>
                    </a:lnTo>
                    <a:lnTo>
                      <a:pt x="637" y="2573"/>
                    </a:lnTo>
                    <a:lnTo>
                      <a:pt x="647" y="2530"/>
                    </a:lnTo>
                    <a:lnTo>
                      <a:pt x="656" y="2488"/>
                    </a:lnTo>
                    <a:lnTo>
                      <a:pt x="666" y="2445"/>
                    </a:lnTo>
                    <a:lnTo>
                      <a:pt x="671" y="2413"/>
                    </a:lnTo>
                    <a:lnTo>
                      <a:pt x="674" y="2381"/>
                    </a:lnTo>
                    <a:lnTo>
                      <a:pt x="679" y="2317"/>
                    </a:lnTo>
                    <a:lnTo>
                      <a:pt x="680" y="2285"/>
                    </a:lnTo>
                    <a:lnTo>
                      <a:pt x="684" y="2253"/>
                    </a:lnTo>
                    <a:lnTo>
                      <a:pt x="688" y="2222"/>
                    </a:lnTo>
                    <a:lnTo>
                      <a:pt x="696" y="2192"/>
                    </a:lnTo>
                    <a:lnTo>
                      <a:pt x="762" y="2054"/>
                    </a:lnTo>
                    <a:lnTo>
                      <a:pt x="765" y="1998"/>
                    </a:lnTo>
                    <a:lnTo>
                      <a:pt x="793" y="1758"/>
                    </a:lnTo>
                    <a:lnTo>
                      <a:pt x="805" y="1700"/>
                    </a:lnTo>
                    <a:lnTo>
                      <a:pt x="818" y="1641"/>
                    </a:lnTo>
                    <a:lnTo>
                      <a:pt x="829" y="1580"/>
                    </a:lnTo>
                    <a:lnTo>
                      <a:pt x="842" y="1521"/>
                    </a:lnTo>
                    <a:lnTo>
                      <a:pt x="844" y="1447"/>
                    </a:lnTo>
                    <a:lnTo>
                      <a:pt x="845" y="1422"/>
                    </a:lnTo>
                    <a:lnTo>
                      <a:pt x="845" y="1396"/>
                    </a:lnTo>
                    <a:lnTo>
                      <a:pt x="844" y="1370"/>
                    </a:lnTo>
                    <a:lnTo>
                      <a:pt x="839" y="1348"/>
                    </a:lnTo>
                    <a:lnTo>
                      <a:pt x="841" y="1345"/>
                    </a:lnTo>
                    <a:lnTo>
                      <a:pt x="844" y="1346"/>
                    </a:lnTo>
                    <a:lnTo>
                      <a:pt x="861" y="1394"/>
                    </a:lnTo>
                    <a:lnTo>
                      <a:pt x="863" y="1406"/>
                    </a:lnTo>
                    <a:lnTo>
                      <a:pt x="863" y="1417"/>
                    </a:lnTo>
                    <a:lnTo>
                      <a:pt x="861" y="1426"/>
                    </a:lnTo>
                    <a:lnTo>
                      <a:pt x="858" y="1436"/>
                    </a:lnTo>
                    <a:lnTo>
                      <a:pt x="852" y="1454"/>
                    </a:lnTo>
                    <a:lnTo>
                      <a:pt x="850" y="1462"/>
                    </a:lnTo>
                    <a:lnTo>
                      <a:pt x="847" y="1471"/>
                    </a:lnTo>
                    <a:lnTo>
                      <a:pt x="847" y="1478"/>
                    </a:lnTo>
                    <a:lnTo>
                      <a:pt x="849" y="1482"/>
                    </a:lnTo>
                    <a:lnTo>
                      <a:pt x="850" y="1490"/>
                    </a:lnTo>
                    <a:lnTo>
                      <a:pt x="855" y="1499"/>
                    </a:lnTo>
                    <a:lnTo>
                      <a:pt x="857" y="1507"/>
                    </a:lnTo>
                    <a:lnTo>
                      <a:pt x="850" y="1545"/>
                    </a:lnTo>
                    <a:lnTo>
                      <a:pt x="858" y="1580"/>
                    </a:lnTo>
                    <a:lnTo>
                      <a:pt x="866" y="1583"/>
                    </a:lnTo>
                    <a:lnTo>
                      <a:pt x="871" y="1585"/>
                    </a:lnTo>
                    <a:lnTo>
                      <a:pt x="876" y="1585"/>
                    </a:lnTo>
                    <a:lnTo>
                      <a:pt x="871" y="1593"/>
                    </a:lnTo>
                    <a:lnTo>
                      <a:pt x="865" y="1601"/>
                    </a:lnTo>
                    <a:lnTo>
                      <a:pt x="847" y="1619"/>
                    </a:lnTo>
                    <a:lnTo>
                      <a:pt x="841" y="1627"/>
                    </a:lnTo>
                    <a:lnTo>
                      <a:pt x="836" y="1636"/>
                    </a:lnTo>
                    <a:lnTo>
                      <a:pt x="834" y="1641"/>
                    </a:lnTo>
                    <a:lnTo>
                      <a:pt x="836" y="1647"/>
                    </a:lnTo>
                    <a:lnTo>
                      <a:pt x="837" y="1652"/>
                    </a:lnTo>
                    <a:lnTo>
                      <a:pt x="841" y="1659"/>
                    </a:lnTo>
                    <a:lnTo>
                      <a:pt x="842" y="1659"/>
                    </a:lnTo>
                    <a:lnTo>
                      <a:pt x="858" y="1655"/>
                    </a:lnTo>
                    <a:lnTo>
                      <a:pt x="874" y="1652"/>
                    </a:lnTo>
                    <a:lnTo>
                      <a:pt x="889" y="1644"/>
                    </a:lnTo>
                    <a:lnTo>
                      <a:pt x="900" y="1636"/>
                    </a:lnTo>
                    <a:lnTo>
                      <a:pt x="911" y="1627"/>
                    </a:lnTo>
                    <a:lnTo>
                      <a:pt x="919" y="1614"/>
                    </a:lnTo>
                    <a:lnTo>
                      <a:pt x="927" y="1599"/>
                    </a:lnTo>
                    <a:lnTo>
                      <a:pt x="933" y="1585"/>
                    </a:lnTo>
                    <a:lnTo>
                      <a:pt x="938" y="1569"/>
                    </a:lnTo>
                    <a:lnTo>
                      <a:pt x="941" y="1551"/>
                    </a:lnTo>
                    <a:lnTo>
                      <a:pt x="943" y="1534"/>
                    </a:lnTo>
                    <a:lnTo>
                      <a:pt x="943" y="1516"/>
                    </a:lnTo>
                    <a:lnTo>
                      <a:pt x="943" y="1497"/>
                    </a:lnTo>
                    <a:lnTo>
                      <a:pt x="943" y="1479"/>
                    </a:lnTo>
                    <a:lnTo>
                      <a:pt x="937" y="1442"/>
                    </a:lnTo>
                    <a:close/>
                    <a:moveTo>
                      <a:pt x="310" y="1119"/>
                    </a:moveTo>
                    <a:lnTo>
                      <a:pt x="310" y="1119"/>
                    </a:lnTo>
                    <a:lnTo>
                      <a:pt x="290" y="1220"/>
                    </a:lnTo>
                    <a:lnTo>
                      <a:pt x="283" y="1237"/>
                    </a:lnTo>
                    <a:lnTo>
                      <a:pt x="274" y="1257"/>
                    </a:lnTo>
                    <a:lnTo>
                      <a:pt x="266" y="1274"/>
                    </a:lnTo>
                    <a:lnTo>
                      <a:pt x="259" y="1295"/>
                    </a:lnTo>
                    <a:lnTo>
                      <a:pt x="258" y="1310"/>
                    </a:lnTo>
                    <a:lnTo>
                      <a:pt x="256" y="1324"/>
                    </a:lnTo>
                    <a:lnTo>
                      <a:pt x="256" y="1348"/>
                    </a:lnTo>
                    <a:lnTo>
                      <a:pt x="254" y="1361"/>
                    </a:lnTo>
                    <a:lnTo>
                      <a:pt x="253" y="1372"/>
                    </a:lnTo>
                    <a:lnTo>
                      <a:pt x="248" y="1383"/>
                    </a:lnTo>
                    <a:lnTo>
                      <a:pt x="242" y="1396"/>
                    </a:lnTo>
                    <a:lnTo>
                      <a:pt x="245" y="1402"/>
                    </a:lnTo>
                    <a:lnTo>
                      <a:pt x="248" y="1406"/>
                    </a:lnTo>
                    <a:lnTo>
                      <a:pt x="253" y="1409"/>
                    </a:lnTo>
                    <a:lnTo>
                      <a:pt x="254" y="1415"/>
                    </a:lnTo>
                    <a:lnTo>
                      <a:pt x="250" y="1426"/>
                    </a:lnTo>
                    <a:lnTo>
                      <a:pt x="245" y="1423"/>
                    </a:lnTo>
                    <a:lnTo>
                      <a:pt x="240" y="1390"/>
                    </a:lnTo>
                    <a:lnTo>
                      <a:pt x="237" y="1356"/>
                    </a:lnTo>
                    <a:lnTo>
                      <a:pt x="235" y="1321"/>
                    </a:lnTo>
                    <a:lnTo>
                      <a:pt x="234" y="1286"/>
                    </a:lnTo>
                    <a:lnTo>
                      <a:pt x="235" y="1252"/>
                    </a:lnTo>
                    <a:lnTo>
                      <a:pt x="237" y="1217"/>
                    </a:lnTo>
                    <a:lnTo>
                      <a:pt x="243" y="1146"/>
                    </a:lnTo>
                    <a:lnTo>
                      <a:pt x="253" y="1079"/>
                    </a:lnTo>
                    <a:lnTo>
                      <a:pt x="266" y="1012"/>
                    </a:lnTo>
                    <a:lnTo>
                      <a:pt x="290" y="888"/>
                    </a:lnTo>
                    <a:lnTo>
                      <a:pt x="293" y="893"/>
                    </a:lnTo>
                    <a:lnTo>
                      <a:pt x="298" y="903"/>
                    </a:lnTo>
                    <a:lnTo>
                      <a:pt x="307" y="930"/>
                    </a:lnTo>
                    <a:lnTo>
                      <a:pt x="315" y="959"/>
                    </a:lnTo>
                    <a:lnTo>
                      <a:pt x="320" y="978"/>
                    </a:lnTo>
                    <a:lnTo>
                      <a:pt x="315" y="1015"/>
                    </a:lnTo>
                    <a:lnTo>
                      <a:pt x="326" y="1041"/>
                    </a:lnTo>
                    <a:lnTo>
                      <a:pt x="328" y="1052"/>
                    </a:lnTo>
                    <a:lnTo>
                      <a:pt x="326" y="1063"/>
                    </a:lnTo>
                    <a:lnTo>
                      <a:pt x="325" y="1074"/>
                    </a:lnTo>
                    <a:lnTo>
                      <a:pt x="323" y="1084"/>
                    </a:lnTo>
                    <a:lnTo>
                      <a:pt x="317" y="1103"/>
                    </a:lnTo>
                    <a:lnTo>
                      <a:pt x="310" y="1119"/>
                    </a:lnTo>
                    <a:close/>
                  </a:path>
                </a:pathLst>
              </a:custGeom>
              <a:solidFill>
                <a:schemeClr val="tx1">
                  <a:lumMod val="75000"/>
                  <a:lumOff val="25000"/>
                </a:schemeClr>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sp>
          <p:nvSpPr>
            <p:cNvPr id="251" name="Ellipse 4"/>
            <p:cNvSpPr/>
            <p:nvPr/>
          </p:nvSpPr>
          <p:spPr>
            <a:xfrm>
              <a:off x="3955139" y="4156053"/>
              <a:ext cx="1186156" cy="329653"/>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252" name="Freeform 25"/>
            <p:cNvSpPr>
              <a:spLocks noEditPoints="1"/>
            </p:cNvSpPr>
            <p:nvPr>
              <p:custDataLst>
                <p:tags r:id="rId4"/>
              </p:custDataLst>
            </p:nvPr>
          </p:nvSpPr>
          <p:spPr bwMode="auto">
            <a:xfrm>
              <a:off x="4267023" y="2571877"/>
              <a:ext cx="540104" cy="1759694"/>
            </a:xfrm>
            <a:custGeom>
              <a:avLst/>
              <a:gdLst/>
              <a:ahLst/>
              <a:cxnLst>
                <a:cxn ang="0">
                  <a:pos x="267" y="1065"/>
                </a:cxn>
                <a:cxn ang="0">
                  <a:pos x="262" y="1226"/>
                </a:cxn>
                <a:cxn ang="0">
                  <a:pos x="272" y="1322"/>
                </a:cxn>
                <a:cxn ang="0">
                  <a:pos x="287" y="1437"/>
                </a:cxn>
                <a:cxn ang="0">
                  <a:pos x="295" y="1219"/>
                </a:cxn>
                <a:cxn ang="0">
                  <a:pos x="292" y="5"/>
                </a:cxn>
                <a:cxn ang="0">
                  <a:pos x="353" y="91"/>
                </a:cxn>
                <a:cxn ang="0">
                  <a:pos x="352" y="154"/>
                </a:cxn>
                <a:cxn ang="0">
                  <a:pos x="330" y="188"/>
                </a:cxn>
                <a:cxn ang="0">
                  <a:pos x="327" y="247"/>
                </a:cxn>
                <a:cxn ang="0">
                  <a:pos x="368" y="289"/>
                </a:cxn>
                <a:cxn ang="0">
                  <a:pos x="468" y="321"/>
                </a:cxn>
                <a:cxn ang="0">
                  <a:pos x="482" y="366"/>
                </a:cxn>
                <a:cxn ang="0">
                  <a:pos x="499" y="495"/>
                </a:cxn>
                <a:cxn ang="0">
                  <a:pos x="514" y="635"/>
                </a:cxn>
                <a:cxn ang="0">
                  <a:pos x="525" y="807"/>
                </a:cxn>
                <a:cxn ang="0">
                  <a:pos x="513" y="916"/>
                </a:cxn>
                <a:cxn ang="0">
                  <a:pos x="490" y="965"/>
                </a:cxn>
                <a:cxn ang="0">
                  <a:pos x="444" y="962"/>
                </a:cxn>
                <a:cxn ang="0">
                  <a:pos x="454" y="870"/>
                </a:cxn>
                <a:cxn ang="0">
                  <a:pos x="428" y="606"/>
                </a:cxn>
                <a:cxn ang="0">
                  <a:pos x="418" y="572"/>
                </a:cxn>
                <a:cxn ang="0">
                  <a:pos x="407" y="636"/>
                </a:cxn>
                <a:cxn ang="0">
                  <a:pos x="430" y="775"/>
                </a:cxn>
                <a:cxn ang="0">
                  <a:pos x="428" y="922"/>
                </a:cxn>
                <a:cxn ang="0">
                  <a:pos x="418" y="1017"/>
                </a:cxn>
                <a:cxn ang="0">
                  <a:pos x="407" y="1440"/>
                </a:cxn>
                <a:cxn ang="0">
                  <a:pos x="391" y="1600"/>
                </a:cxn>
                <a:cxn ang="0">
                  <a:pos x="398" y="1667"/>
                </a:cxn>
                <a:cxn ang="0">
                  <a:pos x="410" y="1709"/>
                </a:cxn>
                <a:cxn ang="0">
                  <a:pos x="310" y="1703"/>
                </a:cxn>
                <a:cxn ang="0">
                  <a:pos x="301" y="1680"/>
                </a:cxn>
                <a:cxn ang="0">
                  <a:pos x="242" y="1652"/>
                </a:cxn>
                <a:cxn ang="0">
                  <a:pos x="127" y="1664"/>
                </a:cxn>
                <a:cxn ang="0">
                  <a:pos x="119" y="1652"/>
                </a:cxn>
                <a:cxn ang="0">
                  <a:pos x="139" y="1632"/>
                </a:cxn>
                <a:cxn ang="0">
                  <a:pos x="198" y="1584"/>
                </a:cxn>
                <a:cxn ang="0">
                  <a:pos x="176" y="1391"/>
                </a:cxn>
                <a:cxn ang="0">
                  <a:pos x="167" y="1311"/>
                </a:cxn>
                <a:cxn ang="0">
                  <a:pos x="152" y="1185"/>
                </a:cxn>
                <a:cxn ang="0">
                  <a:pos x="122" y="999"/>
                </a:cxn>
                <a:cxn ang="0">
                  <a:pos x="99" y="950"/>
                </a:cxn>
                <a:cxn ang="0">
                  <a:pos x="103" y="758"/>
                </a:cxn>
                <a:cxn ang="0">
                  <a:pos x="84" y="799"/>
                </a:cxn>
                <a:cxn ang="0">
                  <a:pos x="66" y="874"/>
                </a:cxn>
                <a:cxn ang="0">
                  <a:pos x="56" y="944"/>
                </a:cxn>
                <a:cxn ang="0">
                  <a:pos x="67" y="962"/>
                </a:cxn>
                <a:cxn ang="0">
                  <a:pos x="12" y="888"/>
                </a:cxn>
                <a:cxn ang="0">
                  <a:pos x="4" y="839"/>
                </a:cxn>
                <a:cxn ang="0">
                  <a:pos x="23" y="704"/>
                </a:cxn>
                <a:cxn ang="0">
                  <a:pos x="36" y="582"/>
                </a:cxn>
                <a:cxn ang="0">
                  <a:pos x="52" y="464"/>
                </a:cxn>
                <a:cxn ang="0">
                  <a:pos x="61" y="343"/>
                </a:cxn>
                <a:cxn ang="0">
                  <a:pos x="98" y="326"/>
                </a:cxn>
                <a:cxn ang="0">
                  <a:pos x="179" y="289"/>
                </a:cxn>
                <a:cxn ang="0">
                  <a:pos x="213" y="251"/>
                </a:cxn>
                <a:cxn ang="0">
                  <a:pos x="198" y="181"/>
                </a:cxn>
                <a:cxn ang="0">
                  <a:pos x="181" y="132"/>
                </a:cxn>
                <a:cxn ang="0">
                  <a:pos x="181" y="63"/>
                </a:cxn>
                <a:cxn ang="0">
                  <a:pos x="262" y="0"/>
                </a:cxn>
              </a:cxnLst>
              <a:rect l="0" t="0" r="r" b="b"/>
              <a:pathLst>
                <a:path w="527" h="1717">
                  <a:moveTo>
                    <a:pt x="272" y="1011"/>
                  </a:moveTo>
                  <a:lnTo>
                    <a:pt x="270" y="1014"/>
                  </a:lnTo>
                  <a:lnTo>
                    <a:pt x="267" y="1019"/>
                  </a:lnTo>
                  <a:lnTo>
                    <a:pt x="265" y="1028"/>
                  </a:lnTo>
                  <a:lnTo>
                    <a:pt x="265" y="1044"/>
                  </a:lnTo>
                  <a:lnTo>
                    <a:pt x="267" y="1065"/>
                  </a:lnTo>
                  <a:lnTo>
                    <a:pt x="270" y="1094"/>
                  </a:lnTo>
                  <a:lnTo>
                    <a:pt x="273" y="1133"/>
                  </a:lnTo>
                  <a:lnTo>
                    <a:pt x="273" y="1165"/>
                  </a:lnTo>
                  <a:lnTo>
                    <a:pt x="270" y="1193"/>
                  </a:lnTo>
                  <a:lnTo>
                    <a:pt x="265" y="1213"/>
                  </a:lnTo>
                  <a:lnTo>
                    <a:pt x="262" y="1226"/>
                  </a:lnTo>
                  <a:lnTo>
                    <a:pt x="259" y="1234"/>
                  </a:lnTo>
                  <a:lnTo>
                    <a:pt x="259" y="1239"/>
                  </a:lnTo>
                  <a:lnTo>
                    <a:pt x="262" y="1251"/>
                  </a:lnTo>
                  <a:lnTo>
                    <a:pt x="265" y="1269"/>
                  </a:lnTo>
                  <a:lnTo>
                    <a:pt x="269" y="1292"/>
                  </a:lnTo>
                  <a:lnTo>
                    <a:pt x="272" y="1322"/>
                  </a:lnTo>
                  <a:lnTo>
                    <a:pt x="272" y="1355"/>
                  </a:lnTo>
                  <a:lnTo>
                    <a:pt x="270" y="1394"/>
                  </a:lnTo>
                  <a:lnTo>
                    <a:pt x="275" y="1403"/>
                  </a:lnTo>
                  <a:lnTo>
                    <a:pt x="279" y="1414"/>
                  </a:lnTo>
                  <a:lnTo>
                    <a:pt x="284" y="1426"/>
                  </a:lnTo>
                  <a:lnTo>
                    <a:pt x="287" y="1437"/>
                  </a:lnTo>
                  <a:lnTo>
                    <a:pt x="288" y="1448"/>
                  </a:lnTo>
                  <a:lnTo>
                    <a:pt x="288" y="1431"/>
                  </a:lnTo>
                  <a:lnTo>
                    <a:pt x="290" y="1405"/>
                  </a:lnTo>
                  <a:lnTo>
                    <a:pt x="292" y="1372"/>
                  </a:lnTo>
                  <a:lnTo>
                    <a:pt x="295" y="1296"/>
                  </a:lnTo>
                  <a:lnTo>
                    <a:pt x="295" y="1219"/>
                  </a:lnTo>
                  <a:lnTo>
                    <a:pt x="293" y="1185"/>
                  </a:lnTo>
                  <a:lnTo>
                    <a:pt x="292" y="1160"/>
                  </a:lnTo>
                  <a:lnTo>
                    <a:pt x="272" y="1011"/>
                  </a:lnTo>
                  <a:close/>
                  <a:moveTo>
                    <a:pt x="262" y="0"/>
                  </a:moveTo>
                  <a:lnTo>
                    <a:pt x="281" y="0"/>
                  </a:lnTo>
                  <a:lnTo>
                    <a:pt x="292" y="5"/>
                  </a:lnTo>
                  <a:lnTo>
                    <a:pt x="305" y="12"/>
                  </a:lnTo>
                  <a:lnTo>
                    <a:pt x="321" y="23"/>
                  </a:lnTo>
                  <a:lnTo>
                    <a:pt x="335" y="37"/>
                  </a:lnTo>
                  <a:lnTo>
                    <a:pt x="345" y="54"/>
                  </a:lnTo>
                  <a:lnTo>
                    <a:pt x="352" y="72"/>
                  </a:lnTo>
                  <a:lnTo>
                    <a:pt x="353" y="91"/>
                  </a:lnTo>
                  <a:lnTo>
                    <a:pt x="353" y="106"/>
                  </a:lnTo>
                  <a:lnTo>
                    <a:pt x="350" y="118"/>
                  </a:lnTo>
                  <a:lnTo>
                    <a:pt x="348" y="128"/>
                  </a:lnTo>
                  <a:lnTo>
                    <a:pt x="347" y="131"/>
                  </a:lnTo>
                  <a:lnTo>
                    <a:pt x="352" y="137"/>
                  </a:lnTo>
                  <a:lnTo>
                    <a:pt x="352" y="154"/>
                  </a:lnTo>
                  <a:lnTo>
                    <a:pt x="348" y="166"/>
                  </a:lnTo>
                  <a:lnTo>
                    <a:pt x="344" y="174"/>
                  </a:lnTo>
                  <a:lnTo>
                    <a:pt x="339" y="178"/>
                  </a:lnTo>
                  <a:lnTo>
                    <a:pt x="336" y="180"/>
                  </a:lnTo>
                  <a:lnTo>
                    <a:pt x="332" y="180"/>
                  </a:lnTo>
                  <a:lnTo>
                    <a:pt x="330" y="188"/>
                  </a:lnTo>
                  <a:lnTo>
                    <a:pt x="327" y="197"/>
                  </a:lnTo>
                  <a:lnTo>
                    <a:pt x="322" y="204"/>
                  </a:lnTo>
                  <a:lnTo>
                    <a:pt x="321" y="207"/>
                  </a:lnTo>
                  <a:lnTo>
                    <a:pt x="321" y="238"/>
                  </a:lnTo>
                  <a:lnTo>
                    <a:pt x="322" y="241"/>
                  </a:lnTo>
                  <a:lnTo>
                    <a:pt x="327" y="247"/>
                  </a:lnTo>
                  <a:lnTo>
                    <a:pt x="335" y="255"/>
                  </a:lnTo>
                  <a:lnTo>
                    <a:pt x="342" y="266"/>
                  </a:lnTo>
                  <a:lnTo>
                    <a:pt x="350" y="275"/>
                  </a:lnTo>
                  <a:lnTo>
                    <a:pt x="358" y="281"/>
                  </a:lnTo>
                  <a:lnTo>
                    <a:pt x="362" y="286"/>
                  </a:lnTo>
                  <a:lnTo>
                    <a:pt x="368" y="289"/>
                  </a:lnTo>
                  <a:lnTo>
                    <a:pt x="382" y="292"/>
                  </a:lnTo>
                  <a:lnTo>
                    <a:pt x="399" y="298"/>
                  </a:lnTo>
                  <a:lnTo>
                    <a:pt x="436" y="310"/>
                  </a:lnTo>
                  <a:lnTo>
                    <a:pt x="453" y="317"/>
                  </a:lnTo>
                  <a:lnTo>
                    <a:pt x="464" y="320"/>
                  </a:lnTo>
                  <a:lnTo>
                    <a:pt x="468" y="321"/>
                  </a:lnTo>
                  <a:lnTo>
                    <a:pt x="476" y="324"/>
                  </a:lnTo>
                  <a:lnTo>
                    <a:pt x="481" y="330"/>
                  </a:lnTo>
                  <a:lnTo>
                    <a:pt x="482" y="341"/>
                  </a:lnTo>
                  <a:lnTo>
                    <a:pt x="484" y="350"/>
                  </a:lnTo>
                  <a:lnTo>
                    <a:pt x="482" y="358"/>
                  </a:lnTo>
                  <a:lnTo>
                    <a:pt x="482" y="366"/>
                  </a:lnTo>
                  <a:lnTo>
                    <a:pt x="484" y="377"/>
                  </a:lnTo>
                  <a:lnTo>
                    <a:pt x="485" y="392"/>
                  </a:lnTo>
                  <a:lnTo>
                    <a:pt x="490" y="452"/>
                  </a:lnTo>
                  <a:lnTo>
                    <a:pt x="493" y="467"/>
                  </a:lnTo>
                  <a:lnTo>
                    <a:pt x="496" y="480"/>
                  </a:lnTo>
                  <a:lnTo>
                    <a:pt x="499" y="495"/>
                  </a:lnTo>
                  <a:lnTo>
                    <a:pt x="499" y="516"/>
                  </a:lnTo>
                  <a:lnTo>
                    <a:pt x="501" y="539"/>
                  </a:lnTo>
                  <a:lnTo>
                    <a:pt x="502" y="566"/>
                  </a:lnTo>
                  <a:lnTo>
                    <a:pt x="505" y="593"/>
                  </a:lnTo>
                  <a:lnTo>
                    <a:pt x="511" y="618"/>
                  </a:lnTo>
                  <a:lnTo>
                    <a:pt x="514" y="635"/>
                  </a:lnTo>
                  <a:lnTo>
                    <a:pt x="517" y="658"/>
                  </a:lnTo>
                  <a:lnTo>
                    <a:pt x="521" y="685"/>
                  </a:lnTo>
                  <a:lnTo>
                    <a:pt x="522" y="715"/>
                  </a:lnTo>
                  <a:lnTo>
                    <a:pt x="524" y="747"/>
                  </a:lnTo>
                  <a:lnTo>
                    <a:pt x="525" y="778"/>
                  </a:lnTo>
                  <a:lnTo>
                    <a:pt x="525" y="807"/>
                  </a:lnTo>
                  <a:lnTo>
                    <a:pt x="527" y="833"/>
                  </a:lnTo>
                  <a:lnTo>
                    <a:pt x="527" y="871"/>
                  </a:lnTo>
                  <a:lnTo>
                    <a:pt x="519" y="871"/>
                  </a:lnTo>
                  <a:lnTo>
                    <a:pt x="517" y="884"/>
                  </a:lnTo>
                  <a:lnTo>
                    <a:pt x="514" y="882"/>
                  </a:lnTo>
                  <a:lnTo>
                    <a:pt x="513" y="916"/>
                  </a:lnTo>
                  <a:lnTo>
                    <a:pt x="507" y="922"/>
                  </a:lnTo>
                  <a:lnTo>
                    <a:pt x="502" y="931"/>
                  </a:lnTo>
                  <a:lnTo>
                    <a:pt x="498" y="944"/>
                  </a:lnTo>
                  <a:lnTo>
                    <a:pt x="493" y="954"/>
                  </a:lnTo>
                  <a:lnTo>
                    <a:pt x="491" y="962"/>
                  </a:lnTo>
                  <a:lnTo>
                    <a:pt x="490" y="965"/>
                  </a:lnTo>
                  <a:lnTo>
                    <a:pt x="482" y="968"/>
                  </a:lnTo>
                  <a:lnTo>
                    <a:pt x="470" y="970"/>
                  </a:lnTo>
                  <a:lnTo>
                    <a:pt x="458" y="970"/>
                  </a:lnTo>
                  <a:lnTo>
                    <a:pt x="448" y="967"/>
                  </a:lnTo>
                  <a:lnTo>
                    <a:pt x="445" y="965"/>
                  </a:lnTo>
                  <a:lnTo>
                    <a:pt x="444" y="962"/>
                  </a:lnTo>
                  <a:lnTo>
                    <a:pt x="444" y="961"/>
                  </a:lnTo>
                  <a:lnTo>
                    <a:pt x="445" y="957"/>
                  </a:lnTo>
                  <a:lnTo>
                    <a:pt x="445" y="956"/>
                  </a:lnTo>
                  <a:lnTo>
                    <a:pt x="447" y="954"/>
                  </a:lnTo>
                  <a:lnTo>
                    <a:pt x="448" y="887"/>
                  </a:lnTo>
                  <a:lnTo>
                    <a:pt x="454" y="870"/>
                  </a:lnTo>
                  <a:lnTo>
                    <a:pt x="451" y="865"/>
                  </a:lnTo>
                  <a:lnTo>
                    <a:pt x="442" y="861"/>
                  </a:lnTo>
                  <a:lnTo>
                    <a:pt x="444" y="719"/>
                  </a:lnTo>
                  <a:lnTo>
                    <a:pt x="441" y="699"/>
                  </a:lnTo>
                  <a:lnTo>
                    <a:pt x="431" y="626"/>
                  </a:lnTo>
                  <a:lnTo>
                    <a:pt x="428" y="606"/>
                  </a:lnTo>
                  <a:lnTo>
                    <a:pt x="427" y="592"/>
                  </a:lnTo>
                  <a:lnTo>
                    <a:pt x="427" y="581"/>
                  </a:lnTo>
                  <a:lnTo>
                    <a:pt x="424" y="575"/>
                  </a:lnTo>
                  <a:lnTo>
                    <a:pt x="422" y="573"/>
                  </a:lnTo>
                  <a:lnTo>
                    <a:pt x="419" y="572"/>
                  </a:lnTo>
                  <a:lnTo>
                    <a:pt x="418" y="572"/>
                  </a:lnTo>
                  <a:lnTo>
                    <a:pt x="416" y="573"/>
                  </a:lnTo>
                  <a:lnTo>
                    <a:pt x="415" y="573"/>
                  </a:lnTo>
                  <a:lnTo>
                    <a:pt x="411" y="584"/>
                  </a:lnTo>
                  <a:lnTo>
                    <a:pt x="408" y="601"/>
                  </a:lnTo>
                  <a:lnTo>
                    <a:pt x="408" y="618"/>
                  </a:lnTo>
                  <a:lnTo>
                    <a:pt x="407" y="636"/>
                  </a:lnTo>
                  <a:lnTo>
                    <a:pt x="407" y="667"/>
                  </a:lnTo>
                  <a:lnTo>
                    <a:pt x="408" y="682"/>
                  </a:lnTo>
                  <a:lnTo>
                    <a:pt x="422" y="742"/>
                  </a:lnTo>
                  <a:lnTo>
                    <a:pt x="425" y="759"/>
                  </a:lnTo>
                  <a:lnTo>
                    <a:pt x="428" y="770"/>
                  </a:lnTo>
                  <a:lnTo>
                    <a:pt x="430" y="775"/>
                  </a:lnTo>
                  <a:lnTo>
                    <a:pt x="419" y="778"/>
                  </a:lnTo>
                  <a:lnTo>
                    <a:pt x="421" y="784"/>
                  </a:lnTo>
                  <a:lnTo>
                    <a:pt x="421" y="799"/>
                  </a:lnTo>
                  <a:lnTo>
                    <a:pt x="422" y="819"/>
                  </a:lnTo>
                  <a:lnTo>
                    <a:pt x="427" y="898"/>
                  </a:lnTo>
                  <a:lnTo>
                    <a:pt x="428" y="922"/>
                  </a:lnTo>
                  <a:lnTo>
                    <a:pt x="428" y="942"/>
                  </a:lnTo>
                  <a:lnTo>
                    <a:pt x="430" y="956"/>
                  </a:lnTo>
                  <a:lnTo>
                    <a:pt x="430" y="961"/>
                  </a:lnTo>
                  <a:lnTo>
                    <a:pt x="424" y="967"/>
                  </a:lnTo>
                  <a:lnTo>
                    <a:pt x="418" y="971"/>
                  </a:lnTo>
                  <a:lnTo>
                    <a:pt x="418" y="1017"/>
                  </a:lnTo>
                  <a:lnTo>
                    <a:pt x="416" y="1048"/>
                  </a:lnTo>
                  <a:lnTo>
                    <a:pt x="416" y="1309"/>
                  </a:lnTo>
                  <a:lnTo>
                    <a:pt x="415" y="1337"/>
                  </a:lnTo>
                  <a:lnTo>
                    <a:pt x="413" y="1369"/>
                  </a:lnTo>
                  <a:lnTo>
                    <a:pt x="410" y="1403"/>
                  </a:lnTo>
                  <a:lnTo>
                    <a:pt x="407" y="1440"/>
                  </a:lnTo>
                  <a:lnTo>
                    <a:pt x="404" y="1475"/>
                  </a:lnTo>
                  <a:lnTo>
                    <a:pt x="401" y="1509"/>
                  </a:lnTo>
                  <a:lnTo>
                    <a:pt x="398" y="1540"/>
                  </a:lnTo>
                  <a:lnTo>
                    <a:pt x="396" y="1566"/>
                  </a:lnTo>
                  <a:lnTo>
                    <a:pt x="393" y="1586"/>
                  </a:lnTo>
                  <a:lnTo>
                    <a:pt x="391" y="1600"/>
                  </a:lnTo>
                  <a:lnTo>
                    <a:pt x="391" y="1604"/>
                  </a:lnTo>
                  <a:lnTo>
                    <a:pt x="370" y="1608"/>
                  </a:lnTo>
                  <a:lnTo>
                    <a:pt x="373" y="1624"/>
                  </a:lnTo>
                  <a:lnTo>
                    <a:pt x="381" y="1640"/>
                  </a:lnTo>
                  <a:lnTo>
                    <a:pt x="390" y="1655"/>
                  </a:lnTo>
                  <a:lnTo>
                    <a:pt x="398" y="1667"/>
                  </a:lnTo>
                  <a:lnTo>
                    <a:pt x="404" y="1675"/>
                  </a:lnTo>
                  <a:lnTo>
                    <a:pt x="405" y="1678"/>
                  </a:lnTo>
                  <a:lnTo>
                    <a:pt x="411" y="1692"/>
                  </a:lnTo>
                  <a:lnTo>
                    <a:pt x="413" y="1701"/>
                  </a:lnTo>
                  <a:lnTo>
                    <a:pt x="411" y="1707"/>
                  </a:lnTo>
                  <a:lnTo>
                    <a:pt x="410" y="1709"/>
                  </a:lnTo>
                  <a:lnTo>
                    <a:pt x="391" y="1715"/>
                  </a:lnTo>
                  <a:lnTo>
                    <a:pt x="371" y="1717"/>
                  </a:lnTo>
                  <a:lnTo>
                    <a:pt x="353" y="1715"/>
                  </a:lnTo>
                  <a:lnTo>
                    <a:pt x="336" y="1712"/>
                  </a:lnTo>
                  <a:lnTo>
                    <a:pt x="313" y="1704"/>
                  </a:lnTo>
                  <a:lnTo>
                    <a:pt x="310" y="1703"/>
                  </a:lnTo>
                  <a:lnTo>
                    <a:pt x="307" y="1700"/>
                  </a:lnTo>
                  <a:lnTo>
                    <a:pt x="307" y="1694"/>
                  </a:lnTo>
                  <a:lnTo>
                    <a:pt x="308" y="1686"/>
                  </a:lnTo>
                  <a:lnTo>
                    <a:pt x="312" y="1680"/>
                  </a:lnTo>
                  <a:lnTo>
                    <a:pt x="313" y="1678"/>
                  </a:lnTo>
                  <a:lnTo>
                    <a:pt x="301" y="1680"/>
                  </a:lnTo>
                  <a:lnTo>
                    <a:pt x="292" y="1669"/>
                  </a:lnTo>
                  <a:lnTo>
                    <a:pt x="292" y="1646"/>
                  </a:lnTo>
                  <a:lnTo>
                    <a:pt x="264" y="1649"/>
                  </a:lnTo>
                  <a:lnTo>
                    <a:pt x="265" y="1638"/>
                  </a:lnTo>
                  <a:lnTo>
                    <a:pt x="261" y="1640"/>
                  </a:lnTo>
                  <a:lnTo>
                    <a:pt x="242" y="1652"/>
                  </a:lnTo>
                  <a:lnTo>
                    <a:pt x="235" y="1658"/>
                  </a:lnTo>
                  <a:lnTo>
                    <a:pt x="232" y="1660"/>
                  </a:lnTo>
                  <a:lnTo>
                    <a:pt x="218" y="1663"/>
                  </a:lnTo>
                  <a:lnTo>
                    <a:pt x="198" y="1666"/>
                  </a:lnTo>
                  <a:lnTo>
                    <a:pt x="139" y="1666"/>
                  </a:lnTo>
                  <a:lnTo>
                    <a:pt x="127" y="1664"/>
                  </a:lnTo>
                  <a:lnTo>
                    <a:pt x="122" y="1664"/>
                  </a:lnTo>
                  <a:lnTo>
                    <a:pt x="118" y="1661"/>
                  </a:lnTo>
                  <a:lnTo>
                    <a:pt x="115" y="1660"/>
                  </a:lnTo>
                  <a:lnTo>
                    <a:pt x="115" y="1655"/>
                  </a:lnTo>
                  <a:lnTo>
                    <a:pt x="118" y="1652"/>
                  </a:lnTo>
                  <a:lnTo>
                    <a:pt x="119" y="1652"/>
                  </a:lnTo>
                  <a:lnTo>
                    <a:pt x="121" y="1651"/>
                  </a:lnTo>
                  <a:lnTo>
                    <a:pt x="121" y="1641"/>
                  </a:lnTo>
                  <a:lnTo>
                    <a:pt x="122" y="1638"/>
                  </a:lnTo>
                  <a:lnTo>
                    <a:pt x="126" y="1635"/>
                  </a:lnTo>
                  <a:lnTo>
                    <a:pt x="132" y="1632"/>
                  </a:lnTo>
                  <a:lnTo>
                    <a:pt x="139" y="1632"/>
                  </a:lnTo>
                  <a:lnTo>
                    <a:pt x="155" y="1626"/>
                  </a:lnTo>
                  <a:lnTo>
                    <a:pt x="170" y="1618"/>
                  </a:lnTo>
                  <a:lnTo>
                    <a:pt x="182" y="1609"/>
                  </a:lnTo>
                  <a:lnTo>
                    <a:pt x="192" y="1601"/>
                  </a:lnTo>
                  <a:lnTo>
                    <a:pt x="201" y="1592"/>
                  </a:lnTo>
                  <a:lnTo>
                    <a:pt x="198" y="1584"/>
                  </a:lnTo>
                  <a:lnTo>
                    <a:pt x="195" y="1568"/>
                  </a:lnTo>
                  <a:lnTo>
                    <a:pt x="192" y="1545"/>
                  </a:lnTo>
                  <a:lnTo>
                    <a:pt x="189" y="1517"/>
                  </a:lnTo>
                  <a:lnTo>
                    <a:pt x="186" y="1486"/>
                  </a:lnTo>
                  <a:lnTo>
                    <a:pt x="179" y="1422"/>
                  </a:lnTo>
                  <a:lnTo>
                    <a:pt x="176" y="1391"/>
                  </a:lnTo>
                  <a:lnTo>
                    <a:pt x="175" y="1365"/>
                  </a:lnTo>
                  <a:lnTo>
                    <a:pt x="173" y="1343"/>
                  </a:lnTo>
                  <a:lnTo>
                    <a:pt x="172" y="1329"/>
                  </a:lnTo>
                  <a:lnTo>
                    <a:pt x="172" y="1325"/>
                  </a:lnTo>
                  <a:lnTo>
                    <a:pt x="170" y="1322"/>
                  </a:lnTo>
                  <a:lnTo>
                    <a:pt x="167" y="1311"/>
                  </a:lnTo>
                  <a:lnTo>
                    <a:pt x="162" y="1269"/>
                  </a:lnTo>
                  <a:lnTo>
                    <a:pt x="161" y="1259"/>
                  </a:lnTo>
                  <a:lnTo>
                    <a:pt x="161" y="1256"/>
                  </a:lnTo>
                  <a:lnTo>
                    <a:pt x="156" y="1203"/>
                  </a:lnTo>
                  <a:lnTo>
                    <a:pt x="155" y="1199"/>
                  </a:lnTo>
                  <a:lnTo>
                    <a:pt x="152" y="1185"/>
                  </a:lnTo>
                  <a:lnTo>
                    <a:pt x="147" y="1165"/>
                  </a:lnTo>
                  <a:lnTo>
                    <a:pt x="144" y="1140"/>
                  </a:lnTo>
                  <a:lnTo>
                    <a:pt x="135" y="1082"/>
                  </a:lnTo>
                  <a:lnTo>
                    <a:pt x="130" y="1051"/>
                  </a:lnTo>
                  <a:lnTo>
                    <a:pt x="127" y="1024"/>
                  </a:lnTo>
                  <a:lnTo>
                    <a:pt x="122" y="999"/>
                  </a:lnTo>
                  <a:lnTo>
                    <a:pt x="121" y="979"/>
                  </a:lnTo>
                  <a:lnTo>
                    <a:pt x="118" y="965"/>
                  </a:lnTo>
                  <a:lnTo>
                    <a:pt x="118" y="961"/>
                  </a:lnTo>
                  <a:lnTo>
                    <a:pt x="115" y="959"/>
                  </a:lnTo>
                  <a:lnTo>
                    <a:pt x="101" y="959"/>
                  </a:lnTo>
                  <a:lnTo>
                    <a:pt x="99" y="950"/>
                  </a:lnTo>
                  <a:lnTo>
                    <a:pt x="98" y="933"/>
                  </a:lnTo>
                  <a:lnTo>
                    <a:pt x="98" y="881"/>
                  </a:lnTo>
                  <a:lnTo>
                    <a:pt x="99" y="848"/>
                  </a:lnTo>
                  <a:lnTo>
                    <a:pt x="99" y="816"/>
                  </a:lnTo>
                  <a:lnTo>
                    <a:pt x="101" y="785"/>
                  </a:lnTo>
                  <a:lnTo>
                    <a:pt x="103" y="758"/>
                  </a:lnTo>
                  <a:lnTo>
                    <a:pt x="103" y="735"/>
                  </a:lnTo>
                  <a:lnTo>
                    <a:pt x="104" y="721"/>
                  </a:lnTo>
                  <a:lnTo>
                    <a:pt x="104" y="715"/>
                  </a:lnTo>
                  <a:lnTo>
                    <a:pt x="96" y="742"/>
                  </a:lnTo>
                  <a:lnTo>
                    <a:pt x="89" y="772"/>
                  </a:lnTo>
                  <a:lnTo>
                    <a:pt x="84" y="799"/>
                  </a:lnTo>
                  <a:lnTo>
                    <a:pt x="79" y="824"/>
                  </a:lnTo>
                  <a:lnTo>
                    <a:pt x="76" y="844"/>
                  </a:lnTo>
                  <a:lnTo>
                    <a:pt x="75" y="858"/>
                  </a:lnTo>
                  <a:lnTo>
                    <a:pt x="75" y="862"/>
                  </a:lnTo>
                  <a:lnTo>
                    <a:pt x="67" y="864"/>
                  </a:lnTo>
                  <a:lnTo>
                    <a:pt x="66" y="874"/>
                  </a:lnTo>
                  <a:lnTo>
                    <a:pt x="56" y="871"/>
                  </a:lnTo>
                  <a:lnTo>
                    <a:pt x="56" y="876"/>
                  </a:lnTo>
                  <a:lnTo>
                    <a:pt x="58" y="893"/>
                  </a:lnTo>
                  <a:lnTo>
                    <a:pt x="58" y="913"/>
                  </a:lnTo>
                  <a:lnTo>
                    <a:pt x="56" y="917"/>
                  </a:lnTo>
                  <a:lnTo>
                    <a:pt x="56" y="944"/>
                  </a:lnTo>
                  <a:lnTo>
                    <a:pt x="55" y="954"/>
                  </a:lnTo>
                  <a:lnTo>
                    <a:pt x="55" y="959"/>
                  </a:lnTo>
                  <a:lnTo>
                    <a:pt x="61" y="954"/>
                  </a:lnTo>
                  <a:lnTo>
                    <a:pt x="66" y="954"/>
                  </a:lnTo>
                  <a:lnTo>
                    <a:pt x="67" y="956"/>
                  </a:lnTo>
                  <a:lnTo>
                    <a:pt x="67" y="962"/>
                  </a:lnTo>
                  <a:lnTo>
                    <a:pt x="55" y="976"/>
                  </a:lnTo>
                  <a:lnTo>
                    <a:pt x="24" y="974"/>
                  </a:lnTo>
                  <a:lnTo>
                    <a:pt x="0" y="937"/>
                  </a:lnTo>
                  <a:lnTo>
                    <a:pt x="7" y="919"/>
                  </a:lnTo>
                  <a:lnTo>
                    <a:pt x="10" y="904"/>
                  </a:lnTo>
                  <a:lnTo>
                    <a:pt x="12" y="888"/>
                  </a:lnTo>
                  <a:lnTo>
                    <a:pt x="12" y="871"/>
                  </a:lnTo>
                  <a:lnTo>
                    <a:pt x="7" y="873"/>
                  </a:lnTo>
                  <a:lnTo>
                    <a:pt x="7" y="858"/>
                  </a:lnTo>
                  <a:lnTo>
                    <a:pt x="3" y="854"/>
                  </a:lnTo>
                  <a:lnTo>
                    <a:pt x="3" y="850"/>
                  </a:lnTo>
                  <a:lnTo>
                    <a:pt x="4" y="839"/>
                  </a:lnTo>
                  <a:lnTo>
                    <a:pt x="7" y="822"/>
                  </a:lnTo>
                  <a:lnTo>
                    <a:pt x="9" y="802"/>
                  </a:lnTo>
                  <a:lnTo>
                    <a:pt x="15" y="756"/>
                  </a:lnTo>
                  <a:lnTo>
                    <a:pt x="18" y="736"/>
                  </a:lnTo>
                  <a:lnTo>
                    <a:pt x="21" y="718"/>
                  </a:lnTo>
                  <a:lnTo>
                    <a:pt x="23" y="704"/>
                  </a:lnTo>
                  <a:lnTo>
                    <a:pt x="24" y="698"/>
                  </a:lnTo>
                  <a:lnTo>
                    <a:pt x="26" y="687"/>
                  </a:lnTo>
                  <a:lnTo>
                    <a:pt x="27" y="669"/>
                  </a:lnTo>
                  <a:lnTo>
                    <a:pt x="30" y="642"/>
                  </a:lnTo>
                  <a:lnTo>
                    <a:pt x="33" y="613"/>
                  </a:lnTo>
                  <a:lnTo>
                    <a:pt x="36" y="582"/>
                  </a:lnTo>
                  <a:lnTo>
                    <a:pt x="43" y="530"/>
                  </a:lnTo>
                  <a:lnTo>
                    <a:pt x="46" y="506"/>
                  </a:lnTo>
                  <a:lnTo>
                    <a:pt x="49" y="487"/>
                  </a:lnTo>
                  <a:lnTo>
                    <a:pt x="50" y="473"/>
                  </a:lnTo>
                  <a:lnTo>
                    <a:pt x="52" y="469"/>
                  </a:lnTo>
                  <a:lnTo>
                    <a:pt x="52" y="464"/>
                  </a:lnTo>
                  <a:lnTo>
                    <a:pt x="53" y="452"/>
                  </a:lnTo>
                  <a:lnTo>
                    <a:pt x="53" y="435"/>
                  </a:lnTo>
                  <a:lnTo>
                    <a:pt x="56" y="392"/>
                  </a:lnTo>
                  <a:lnTo>
                    <a:pt x="58" y="372"/>
                  </a:lnTo>
                  <a:lnTo>
                    <a:pt x="59" y="355"/>
                  </a:lnTo>
                  <a:lnTo>
                    <a:pt x="61" y="343"/>
                  </a:lnTo>
                  <a:lnTo>
                    <a:pt x="66" y="334"/>
                  </a:lnTo>
                  <a:lnTo>
                    <a:pt x="72" y="329"/>
                  </a:lnTo>
                  <a:lnTo>
                    <a:pt x="84" y="329"/>
                  </a:lnTo>
                  <a:lnTo>
                    <a:pt x="86" y="330"/>
                  </a:lnTo>
                  <a:lnTo>
                    <a:pt x="89" y="329"/>
                  </a:lnTo>
                  <a:lnTo>
                    <a:pt x="98" y="326"/>
                  </a:lnTo>
                  <a:lnTo>
                    <a:pt x="110" y="320"/>
                  </a:lnTo>
                  <a:lnTo>
                    <a:pt x="124" y="314"/>
                  </a:lnTo>
                  <a:lnTo>
                    <a:pt x="141" y="306"/>
                  </a:lnTo>
                  <a:lnTo>
                    <a:pt x="156" y="300"/>
                  </a:lnTo>
                  <a:lnTo>
                    <a:pt x="169" y="294"/>
                  </a:lnTo>
                  <a:lnTo>
                    <a:pt x="179" y="289"/>
                  </a:lnTo>
                  <a:lnTo>
                    <a:pt x="184" y="286"/>
                  </a:lnTo>
                  <a:lnTo>
                    <a:pt x="189" y="281"/>
                  </a:lnTo>
                  <a:lnTo>
                    <a:pt x="195" y="274"/>
                  </a:lnTo>
                  <a:lnTo>
                    <a:pt x="202" y="264"/>
                  </a:lnTo>
                  <a:lnTo>
                    <a:pt x="209" y="257"/>
                  </a:lnTo>
                  <a:lnTo>
                    <a:pt x="213" y="251"/>
                  </a:lnTo>
                  <a:lnTo>
                    <a:pt x="215" y="247"/>
                  </a:lnTo>
                  <a:lnTo>
                    <a:pt x="215" y="209"/>
                  </a:lnTo>
                  <a:lnTo>
                    <a:pt x="209" y="206"/>
                  </a:lnTo>
                  <a:lnTo>
                    <a:pt x="204" y="198"/>
                  </a:lnTo>
                  <a:lnTo>
                    <a:pt x="199" y="189"/>
                  </a:lnTo>
                  <a:lnTo>
                    <a:pt x="198" y="181"/>
                  </a:lnTo>
                  <a:lnTo>
                    <a:pt x="196" y="178"/>
                  </a:lnTo>
                  <a:lnTo>
                    <a:pt x="187" y="171"/>
                  </a:lnTo>
                  <a:lnTo>
                    <a:pt x="182" y="161"/>
                  </a:lnTo>
                  <a:lnTo>
                    <a:pt x="181" y="149"/>
                  </a:lnTo>
                  <a:lnTo>
                    <a:pt x="179" y="140"/>
                  </a:lnTo>
                  <a:lnTo>
                    <a:pt x="181" y="132"/>
                  </a:lnTo>
                  <a:lnTo>
                    <a:pt x="181" y="129"/>
                  </a:lnTo>
                  <a:lnTo>
                    <a:pt x="179" y="126"/>
                  </a:lnTo>
                  <a:lnTo>
                    <a:pt x="178" y="117"/>
                  </a:lnTo>
                  <a:lnTo>
                    <a:pt x="176" y="101"/>
                  </a:lnTo>
                  <a:lnTo>
                    <a:pt x="176" y="85"/>
                  </a:lnTo>
                  <a:lnTo>
                    <a:pt x="181" y="63"/>
                  </a:lnTo>
                  <a:lnTo>
                    <a:pt x="190" y="42"/>
                  </a:lnTo>
                  <a:lnTo>
                    <a:pt x="202" y="25"/>
                  </a:lnTo>
                  <a:lnTo>
                    <a:pt x="218" y="14"/>
                  </a:lnTo>
                  <a:lnTo>
                    <a:pt x="235" y="6"/>
                  </a:lnTo>
                  <a:lnTo>
                    <a:pt x="250" y="2"/>
                  </a:lnTo>
                  <a:lnTo>
                    <a:pt x="262" y="0"/>
                  </a:lnTo>
                  <a:close/>
                </a:path>
              </a:pathLst>
            </a:custGeom>
            <a:solidFill>
              <a:schemeClr val="tx2">
                <a:lumMod val="65000"/>
              </a:schemeClr>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a:p>
          </p:txBody>
        </p:sp>
      </p:gr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hteck 12"/>
          <p:cNvSpPr/>
          <p:nvPr/>
        </p:nvSpPr>
        <p:spPr>
          <a:xfrm>
            <a:off x="310551" y="1039625"/>
            <a:ext cx="8149881" cy="1066959"/>
          </a:xfrm>
          <a:prstGeom prst="rect">
            <a:avLst/>
          </a:prstGeom>
        </p:spPr>
        <p:txBody>
          <a:bodyPr wrap="square">
            <a:spAutoFit/>
          </a:bodyPr>
          <a:lstStyle/>
          <a:p>
            <a:pPr marL="273050" indent="-273050" algn="l" defTabSz="873161">
              <a:spcAft>
                <a:spcPts val="400"/>
              </a:spcAft>
              <a:buClr>
                <a:srgbClr val="E19900"/>
              </a:buClr>
              <a:buBlip>
                <a:blip r:embed="rId8"/>
              </a:buBlip>
            </a:pPr>
            <a:r>
              <a:rPr lang="en-US" sz="1500" kern="0" dirty="0" err="1" smtClean="0">
                <a:solidFill>
                  <a:srgbClr val="000000"/>
                </a:solidFill>
                <a:latin typeface="Arial"/>
              </a:rPr>
              <a:t>A</a:t>
            </a:r>
            <a:r>
              <a:rPr lang="en-US" sz="1500" i="0" kern="0" dirty="0" err="1" smtClean="0">
                <a:solidFill>
                  <a:srgbClr val="000000"/>
                </a:solidFill>
                <a:latin typeface="Arial"/>
                <a:ea typeface="+mn-ea"/>
                <a:cs typeface="+mn-cs"/>
              </a:rPr>
              <a:t>usgewählte</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Nutzer</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jeder</a:t>
            </a:r>
            <a:r>
              <a:rPr lang="en-US" sz="1500" i="0" kern="0" dirty="0" smtClean="0">
                <a:solidFill>
                  <a:srgbClr val="000000"/>
                </a:solidFill>
                <a:latin typeface="Arial"/>
                <a:ea typeface="+mn-ea"/>
                <a:cs typeface="+mn-cs"/>
              </a:rPr>
              <a:t> Division, Region, </a:t>
            </a:r>
            <a:r>
              <a:rPr lang="en-US" sz="1500" i="0" kern="0" dirty="0" err="1" smtClean="0">
                <a:solidFill>
                  <a:srgbClr val="000000"/>
                </a:solidFill>
                <a:latin typeface="Arial"/>
                <a:ea typeface="+mn-ea"/>
                <a:cs typeface="+mn-cs"/>
              </a:rPr>
              <a:t>Funktion</a:t>
            </a:r>
            <a:r>
              <a:rPr lang="en-US" sz="1500" i="0" kern="0" dirty="0" smtClean="0">
                <a:solidFill>
                  <a:srgbClr val="000000"/>
                </a:solidFill>
                <a:latin typeface="Arial"/>
                <a:ea typeface="+mn-ea"/>
                <a:cs typeface="+mn-cs"/>
              </a:rPr>
              <a:t> und/</a:t>
            </a:r>
            <a:r>
              <a:rPr lang="en-US" sz="1500" i="0" kern="0" dirty="0" err="1" smtClean="0">
                <a:solidFill>
                  <a:srgbClr val="000000"/>
                </a:solidFill>
                <a:latin typeface="Arial"/>
                <a:ea typeface="+mn-ea"/>
                <a:cs typeface="+mn-cs"/>
              </a:rPr>
              <a:t>oder</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Altersgruppe</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testen</a:t>
            </a:r>
            <a:r>
              <a:rPr lang="en-US" sz="1500" i="0" kern="0" dirty="0" smtClean="0">
                <a:solidFill>
                  <a:srgbClr val="000000"/>
                </a:solidFill>
                <a:latin typeface="Arial"/>
                <a:ea typeface="+mn-ea"/>
                <a:cs typeface="+mn-cs"/>
              </a:rPr>
              <a:t> die </a:t>
            </a:r>
            <a:r>
              <a:rPr lang="en-US" sz="1500" i="0" kern="0" dirty="0" err="1" smtClean="0">
                <a:solidFill>
                  <a:srgbClr val="000000"/>
                </a:solidFill>
                <a:latin typeface="Arial"/>
                <a:ea typeface="+mn-ea"/>
                <a:cs typeface="+mn-cs"/>
              </a:rPr>
              <a:t>einzelnen</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Anwendungen</a:t>
            </a:r>
            <a:r>
              <a:rPr lang="en-US" sz="1500" i="0" kern="0" dirty="0" smtClean="0">
                <a:solidFill>
                  <a:srgbClr val="000000"/>
                </a:solidFill>
                <a:latin typeface="Arial"/>
                <a:ea typeface="+mn-ea"/>
                <a:cs typeface="+mn-cs"/>
              </a:rPr>
              <a:t> und </a:t>
            </a:r>
            <a:r>
              <a:rPr lang="en-US" sz="1500" i="0" kern="0" dirty="0" err="1" smtClean="0">
                <a:solidFill>
                  <a:srgbClr val="000000"/>
                </a:solidFill>
                <a:latin typeface="Arial"/>
                <a:ea typeface="+mn-ea"/>
                <a:cs typeface="+mn-cs"/>
              </a:rPr>
              <a:t>geben</a:t>
            </a:r>
            <a:r>
              <a:rPr lang="en-US" sz="1500" i="0" kern="0" dirty="0" smtClean="0">
                <a:solidFill>
                  <a:srgbClr val="000000"/>
                </a:solidFill>
                <a:latin typeface="Arial"/>
                <a:ea typeface="+mn-ea"/>
                <a:cs typeface="+mn-cs"/>
              </a:rPr>
              <a:t> </a:t>
            </a:r>
            <a:r>
              <a:rPr lang="en-US" sz="1500" i="0" kern="0" dirty="0" err="1" smtClean="0">
                <a:solidFill>
                  <a:srgbClr val="000000"/>
                </a:solidFill>
                <a:latin typeface="Arial"/>
                <a:ea typeface="+mn-ea"/>
                <a:cs typeface="+mn-cs"/>
              </a:rPr>
              <a:t>detailliertes</a:t>
            </a:r>
            <a:r>
              <a:rPr lang="en-US" sz="1500" i="0" kern="0" dirty="0" smtClean="0">
                <a:solidFill>
                  <a:srgbClr val="000000"/>
                </a:solidFill>
                <a:latin typeface="Arial"/>
                <a:ea typeface="+mn-ea"/>
                <a:cs typeface="+mn-cs"/>
              </a:rPr>
              <a:t> Feedback</a:t>
            </a:r>
          </a:p>
          <a:p>
            <a:pPr marL="273050" indent="-273050" algn="l" defTabSz="873161">
              <a:spcAft>
                <a:spcPts val="400"/>
              </a:spcAft>
              <a:buClr>
                <a:srgbClr val="E19900"/>
              </a:buClr>
              <a:buBlip>
                <a:blip r:embed="rId8"/>
              </a:buBlip>
            </a:pPr>
            <a:r>
              <a:rPr lang="en-US" sz="1500" kern="0" dirty="0" smtClean="0">
                <a:solidFill>
                  <a:srgbClr val="000000"/>
                </a:solidFill>
                <a:latin typeface="Arial"/>
              </a:rPr>
              <a:t>Das Feedback </a:t>
            </a:r>
            <a:r>
              <a:rPr lang="en-US" sz="1500" kern="0" dirty="0" err="1" smtClean="0">
                <a:solidFill>
                  <a:srgbClr val="000000"/>
                </a:solidFill>
                <a:latin typeface="Arial"/>
              </a:rPr>
              <a:t>dient</a:t>
            </a:r>
            <a:r>
              <a:rPr lang="en-US" sz="1500" kern="0" dirty="0" smtClean="0">
                <a:solidFill>
                  <a:srgbClr val="000000"/>
                </a:solidFill>
                <a:latin typeface="Arial"/>
              </a:rPr>
              <a:t> </a:t>
            </a:r>
            <a:r>
              <a:rPr lang="en-US" sz="1500" kern="0" dirty="0" err="1" smtClean="0">
                <a:solidFill>
                  <a:srgbClr val="000000"/>
                </a:solidFill>
                <a:latin typeface="Arial"/>
              </a:rPr>
              <a:t>der</a:t>
            </a:r>
            <a:r>
              <a:rPr lang="en-US" sz="1500" kern="0" dirty="0" smtClean="0">
                <a:solidFill>
                  <a:srgbClr val="000000"/>
                </a:solidFill>
                <a:latin typeface="Arial"/>
              </a:rPr>
              <a:t> </a:t>
            </a:r>
            <a:r>
              <a:rPr lang="en-US" sz="1500" kern="0" dirty="0" err="1" smtClean="0">
                <a:solidFill>
                  <a:srgbClr val="000000"/>
                </a:solidFill>
                <a:latin typeface="Arial"/>
              </a:rPr>
              <a:t>Optimierung</a:t>
            </a:r>
            <a:r>
              <a:rPr lang="en-US" sz="1500" kern="0" dirty="0" smtClean="0">
                <a:solidFill>
                  <a:srgbClr val="000000"/>
                </a:solidFill>
                <a:latin typeface="Arial"/>
              </a:rPr>
              <a:t> von </a:t>
            </a:r>
            <a:r>
              <a:rPr lang="en-US" sz="1500" kern="0" dirty="0" err="1" smtClean="0">
                <a:solidFill>
                  <a:srgbClr val="000000"/>
                </a:solidFill>
                <a:latin typeface="Arial"/>
              </a:rPr>
              <a:t>Trainingsmaterialien</a:t>
            </a:r>
            <a:r>
              <a:rPr lang="en-US" sz="1500" kern="0" dirty="0" smtClean="0">
                <a:solidFill>
                  <a:srgbClr val="000000"/>
                </a:solidFill>
                <a:latin typeface="Arial"/>
              </a:rPr>
              <a:t>, </a:t>
            </a:r>
            <a:r>
              <a:rPr lang="en-US" sz="1500" kern="0" dirty="0" err="1" smtClean="0">
                <a:solidFill>
                  <a:srgbClr val="000000"/>
                </a:solidFill>
                <a:latin typeface="Arial"/>
              </a:rPr>
              <a:t>Kommunikation</a:t>
            </a:r>
            <a:r>
              <a:rPr lang="en-US" sz="1500" kern="0" dirty="0" smtClean="0">
                <a:solidFill>
                  <a:srgbClr val="000000"/>
                </a:solidFill>
                <a:latin typeface="Arial"/>
              </a:rPr>
              <a:t> u. </a:t>
            </a:r>
            <a:r>
              <a:rPr lang="en-US" sz="1500" kern="0" dirty="0" err="1" smtClean="0">
                <a:solidFill>
                  <a:srgbClr val="000000"/>
                </a:solidFill>
                <a:latin typeface="Arial"/>
              </a:rPr>
              <a:t>Implementierung</a:t>
            </a:r>
            <a:endParaRPr lang="en-US" sz="1500" i="0" kern="0" dirty="0">
              <a:solidFill>
                <a:srgbClr val="000000"/>
              </a:solidFill>
              <a:latin typeface="Arial"/>
              <a:ea typeface="+mn-ea"/>
              <a:cs typeface="+mn-cs"/>
            </a:endParaRPr>
          </a:p>
        </p:txBody>
      </p:sp>
      <p:sp>
        <p:nvSpPr>
          <p:cNvPr id="2" name="Titel 1"/>
          <p:cNvSpPr>
            <a:spLocks noGrp="1"/>
          </p:cNvSpPr>
          <p:nvPr>
            <p:ph type="title"/>
          </p:nvPr>
        </p:nvSpPr>
        <p:spPr/>
        <p:txBody>
          <a:bodyPr/>
          <a:lstStyle/>
          <a:p>
            <a:pPr algn="l" defTabSz="914400">
              <a:spcBef>
                <a:spcPct val="0"/>
              </a:spcBef>
              <a:buNone/>
            </a:pPr>
            <a:r>
              <a:rPr lang="en-US" sz="2100" b="1" i="0" dirty="0" smtClean="0">
                <a:solidFill>
                  <a:srgbClr val="000000"/>
                </a:solidFill>
                <a:latin typeface="Arial"/>
                <a:ea typeface="+mj-ea"/>
                <a:cs typeface="Arial"/>
              </a:rPr>
              <a:t>Das </a:t>
            </a:r>
            <a:r>
              <a:rPr lang="en-US" sz="2100" b="1" i="0" dirty="0" err="1" smtClean="0">
                <a:solidFill>
                  <a:srgbClr val="000000"/>
                </a:solidFill>
                <a:latin typeface="Arial"/>
                <a:ea typeface="+mj-ea"/>
                <a:cs typeface="Arial"/>
              </a:rPr>
              <a:t>Konzept</a:t>
            </a:r>
            <a:r>
              <a:rPr lang="en-US" sz="2100" b="1" i="0" dirty="0" smtClean="0">
                <a:solidFill>
                  <a:srgbClr val="000000"/>
                </a:solidFill>
                <a:latin typeface="Arial"/>
                <a:ea typeface="+mj-ea"/>
                <a:cs typeface="Arial"/>
              </a:rPr>
              <a:t> “User </a:t>
            </a:r>
            <a:r>
              <a:rPr lang="en-US" sz="2100" b="1" i="0" dirty="0">
                <a:solidFill>
                  <a:srgbClr val="000000"/>
                </a:solidFill>
                <a:latin typeface="Arial"/>
                <a:ea typeface="+mj-ea"/>
                <a:cs typeface="Arial"/>
              </a:rPr>
              <a:t>Feedback </a:t>
            </a:r>
            <a:r>
              <a:rPr lang="en-US" sz="2100" b="1" i="0" dirty="0" err="1" smtClean="0">
                <a:solidFill>
                  <a:srgbClr val="000000"/>
                </a:solidFill>
                <a:latin typeface="Arial"/>
                <a:ea typeface="+mj-ea"/>
                <a:cs typeface="Arial"/>
              </a:rPr>
              <a:t>Gruppe</a:t>
            </a:r>
            <a:r>
              <a:rPr lang="en-US" sz="2100" b="1" i="0" dirty="0" smtClean="0">
                <a:solidFill>
                  <a:srgbClr val="000000"/>
                </a:solidFill>
                <a:latin typeface="Arial"/>
                <a:ea typeface="+mj-ea"/>
                <a:cs typeface="Arial"/>
              </a:rPr>
              <a:t>”</a:t>
            </a:r>
            <a:endParaRPr lang="en-US" dirty="0"/>
          </a:p>
        </p:txBody>
      </p:sp>
      <p:graphicFrame>
        <p:nvGraphicFramePr>
          <p:cNvPr id="18" name="Diagramm 7"/>
          <p:cNvGraphicFramePr/>
          <p:nvPr>
            <p:custDataLst>
              <p:tags r:id="rId1"/>
            </p:custDataLst>
            <p:extLst>
              <p:ext uri="{D42A27DB-BD31-4B8C-83A1-F6EECF244321}">
                <p14:modId xmlns:p14="http://schemas.microsoft.com/office/powerpoint/2010/main" xmlns="" val="1481480305"/>
              </p:ext>
            </p:extLst>
          </p:nvPr>
        </p:nvGraphicFramePr>
        <p:xfrm>
          <a:off x="5292080" y="2204864"/>
          <a:ext cx="3255910" cy="36004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8" name="Abgerundetes Rechteck 7"/>
          <p:cNvSpPr/>
          <p:nvPr/>
        </p:nvSpPr>
        <p:spPr>
          <a:xfrm>
            <a:off x="5436096" y="5445224"/>
            <a:ext cx="2952328" cy="360040"/>
          </a:xfrm>
          <a:prstGeom prst="roundRect">
            <a:avLst/>
          </a:prstGeom>
          <a:ln/>
          <a:effectLst>
            <a:outerShdw blurRad="50800" dist="38100" algn="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rtlCol="0" anchor="ctr"/>
          <a:lstStyle/>
          <a:p>
            <a:pPr algn="ctr"/>
            <a:r>
              <a:rPr lang="de-DE" sz="1600" b="1" dirty="0" smtClean="0"/>
              <a:t>Emotionale Reaktion</a:t>
            </a:r>
          </a:p>
        </p:txBody>
      </p:sp>
      <p:grpSp>
        <p:nvGrpSpPr>
          <p:cNvPr id="3" name="Gruppieren 34"/>
          <p:cNvGrpSpPr/>
          <p:nvPr>
            <p:custDataLst>
              <p:tags r:id="rId2"/>
            </p:custDataLst>
          </p:nvPr>
        </p:nvGrpSpPr>
        <p:grpSpPr>
          <a:xfrm>
            <a:off x="683568" y="3573016"/>
            <a:ext cx="2160240" cy="1728192"/>
            <a:chOff x="3128576" y="2564899"/>
            <a:chExt cx="2307520" cy="1920807"/>
          </a:xfrm>
        </p:grpSpPr>
        <p:grpSp>
          <p:nvGrpSpPr>
            <p:cNvPr id="4" name="Gruppieren 19"/>
            <p:cNvGrpSpPr/>
            <p:nvPr/>
          </p:nvGrpSpPr>
          <p:grpSpPr>
            <a:xfrm>
              <a:off x="3851921" y="2564899"/>
              <a:ext cx="446793" cy="731248"/>
              <a:chOff x="1037032" y="2818028"/>
              <a:chExt cx="719938" cy="1178299"/>
            </a:xfrm>
          </p:grpSpPr>
          <p:sp>
            <p:nvSpPr>
              <p:cNvPr id="24" name="Ellipse 4"/>
              <p:cNvSpPr/>
              <p:nvPr/>
            </p:nvSpPr>
            <p:spPr>
              <a:xfrm>
                <a:off x="1037032" y="3837847"/>
                <a:ext cx="719938" cy="158480"/>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9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reeform 11"/>
              <p:cNvSpPr>
                <a:spLocks noEditPoints="1"/>
              </p:cNvSpPr>
              <p:nvPr/>
            </p:nvSpPr>
            <p:spPr bwMode="auto">
              <a:xfrm>
                <a:off x="1226786" y="2818028"/>
                <a:ext cx="318435" cy="1103859"/>
              </a:xfrm>
              <a:custGeom>
                <a:avLst/>
                <a:gdLst>
                  <a:gd name="T0" fmla="*/ 762 w 834"/>
                  <a:gd name="T1" fmla="*/ 549 h 2898"/>
                  <a:gd name="T2" fmla="*/ 651 w 834"/>
                  <a:gd name="T3" fmla="*/ 486 h 2898"/>
                  <a:gd name="T4" fmla="*/ 515 w 834"/>
                  <a:gd name="T5" fmla="*/ 358 h 2898"/>
                  <a:gd name="T6" fmla="*/ 539 w 834"/>
                  <a:gd name="T7" fmla="*/ 272 h 2898"/>
                  <a:gd name="T8" fmla="*/ 575 w 834"/>
                  <a:gd name="T9" fmla="*/ 211 h 2898"/>
                  <a:gd name="T10" fmla="*/ 555 w 834"/>
                  <a:gd name="T11" fmla="*/ 133 h 2898"/>
                  <a:gd name="T12" fmla="*/ 525 w 834"/>
                  <a:gd name="T13" fmla="*/ 38 h 2898"/>
                  <a:gd name="T14" fmla="*/ 405 w 834"/>
                  <a:gd name="T15" fmla="*/ 4 h 2898"/>
                  <a:gd name="T16" fmla="*/ 304 w 834"/>
                  <a:gd name="T17" fmla="*/ 77 h 2898"/>
                  <a:gd name="T18" fmla="*/ 302 w 834"/>
                  <a:gd name="T19" fmla="*/ 161 h 2898"/>
                  <a:gd name="T20" fmla="*/ 283 w 834"/>
                  <a:gd name="T21" fmla="*/ 182 h 2898"/>
                  <a:gd name="T22" fmla="*/ 317 w 834"/>
                  <a:gd name="T23" fmla="*/ 256 h 2898"/>
                  <a:gd name="T24" fmla="*/ 326 w 834"/>
                  <a:gd name="T25" fmla="*/ 315 h 2898"/>
                  <a:gd name="T26" fmla="*/ 336 w 834"/>
                  <a:gd name="T27" fmla="*/ 379 h 2898"/>
                  <a:gd name="T28" fmla="*/ 97 w 834"/>
                  <a:gd name="T29" fmla="*/ 544 h 2898"/>
                  <a:gd name="T30" fmla="*/ 49 w 834"/>
                  <a:gd name="T31" fmla="*/ 723 h 2898"/>
                  <a:gd name="T32" fmla="*/ 9 w 834"/>
                  <a:gd name="T33" fmla="*/ 1141 h 2898"/>
                  <a:gd name="T34" fmla="*/ 0 w 834"/>
                  <a:gd name="T35" fmla="*/ 1287 h 2898"/>
                  <a:gd name="T36" fmla="*/ 6 w 834"/>
                  <a:gd name="T37" fmla="*/ 1385 h 2898"/>
                  <a:gd name="T38" fmla="*/ 3 w 834"/>
                  <a:gd name="T39" fmla="*/ 1466 h 2898"/>
                  <a:gd name="T40" fmla="*/ 20 w 834"/>
                  <a:gd name="T41" fmla="*/ 1481 h 2898"/>
                  <a:gd name="T42" fmla="*/ 48 w 834"/>
                  <a:gd name="T43" fmla="*/ 1655 h 2898"/>
                  <a:gd name="T44" fmla="*/ 113 w 834"/>
                  <a:gd name="T45" fmla="*/ 1691 h 2898"/>
                  <a:gd name="T46" fmla="*/ 174 w 834"/>
                  <a:gd name="T47" fmla="*/ 1936 h 2898"/>
                  <a:gd name="T48" fmla="*/ 192 w 834"/>
                  <a:gd name="T49" fmla="*/ 2448 h 2898"/>
                  <a:gd name="T50" fmla="*/ 216 w 834"/>
                  <a:gd name="T51" fmla="*/ 2672 h 2898"/>
                  <a:gd name="T52" fmla="*/ 233 w 834"/>
                  <a:gd name="T53" fmla="*/ 2757 h 2898"/>
                  <a:gd name="T54" fmla="*/ 206 w 834"/>
                  <a:gd name="T55" fmla="*/ 2804 h 2898"/>
                  <a:gd name="T56" fmla="*/ 147 w 834"/>
                  <a:gd name="T57" fmla="*/ 2844 h 2898"/>
                  <a:gd name="T58" fmla="*/ 243 w 834"/>
                  <a:gd name="T59" fmla="*/ 2885 h 2898"/>
                  <a:gd name="T60" fmla="*/ 344 w 834"/>
                  <a:gd name="T61" fmla="*/ 2866 h 2898"/>
                  <a:gd name="T62" fmla="*/ 379 w 834"/>
                  <a:gd name="T63" fmla="*/ 2858 h 2898"/>
                  <a:gd name="T64" fmla="*/ 424 w 834"/>
                  <a:gd name="T65" fmla="*/ 2808 h 2898"/>
                  <a:gd name="T66" fmla="*/ 400 w 834"/>
                  <a:gd name="T67" fmla="*/ 2349 h 2898"/>
                  <a:gd name="T68" fmla="*/ 366 w 834"/>
                  <a:gd name="T69" fmla="*/ 2182 h 2898"/>
                  <a:gd name="T70" fmla="*/ 370 w 834"/>
                  <a:gd name="T71" fmla="*/ 1944 h 2898"/>
                  <a:gd name="T72" fmla="*/ 408 w 834"/>
                  <a:gd name="T73" fmla="*/ 1630 h 2898"/>
                  <a:gd name="T74" fmla="*/ 440 w 834"/>
                  <a:gd name="T75" fmla="*/ 1670 h 2898"/>
                  <a:gd name="T76" fmla="*/ 501 w 834"/>
                  <a:gd name="T77" fmla="*/ 2025 h 2898"/>
                  <a:gd name="T78" fmla="*/ 539 w 834"/>
                  <a:gd name="T79" fmla="*/ 2293 h 2898"/>
                  <a:gd name="T80" fmla="*/ 594 w 834"/>
                  <a:gd name="T81" fmla="*/ 2768 h 2898"/>
                  <a:gd name="T82" fmla="*/ 579 w 834"/>
                  <a:gd name="T83" fmla="*/ 2847 h 2898"/>
                  <a:gd name="T84" fmla="*/ 621 w 834"/>
                  <a:gd name="T85" fmla="*/ 2882 h 2898"/>
                  <a:gd name="T86" fmla="*/ 794 w 834"/>
                  <a:gd name="T87" fmla="*/ 2880 h 2898"/>
                  <a:gd name="T88" fmla="*/ 740 w 834"/>
                  <a:gd name="T89" fmla="*/ 2783 h 2898"/>
                  <a:gd name="T90" fmla="*/ 749 w 834"/>
                  <a:gd name="T91" fmla="*/ 2744 h 2898"/>
                  <a:gd name="T92" fmla="*/ 743 w 834"/>
                  <a:gd name="T93" fmla="*/ 2510 h 2898"/>
                  <a:gd name="T94" fmla="*/ 728 w 834"/>
                  <a:gd name="T95" fmla="*/ 2128 h 2898"/>
                  <a:gd name="T96" fmla="*/ 812 w 834"/>
                  <a:gd name="T97" fmla="*/ 1615 h 2898"/>
                  <a:gd name="T98" fmla="*/ 834 w 834"/>
                  <a:gd name="T99" fmla="*/ 1226 h 2898"/>
                  <a:gd name="T100" fmla="*/ 799 w 834"/>
                  <a:gd name="T101" fmla="*/ 712 h 2898"/>
                  <a:gd name="T102" fmla="*/ 123 w 834"/>
                  <a:gd name="T103" fmla="*/ 1615 h 2898"/>
                  <a:gd name="T104" fmla="*/ 169 w 834"/>
                  <a:gd name="T105" fmla="*/ 1207 h 2898"/>
                  <a:gd name="T106" fmla="*/ 128 w 834"/>
                  <a:gd name="T107" fmla="*/ 1418 h 2898"/>
                  <a:gd name="T108" fmla="*/ 125 w 834"/>
                  <a:gd name="T109" fmla="*/ 1327 h 2898"/>
                  <a:gd name="T110" fmla="*/ 168 w 834"/>
                  <a:gd name="T111" fmla="*/ 1015 h 2898"/>
                  <a:gd name="T112" fmla="*/ 181 w 834"/>
                  <a:gd name="T113" fmla="*/ 991 h 2898"/>
                  <a:gd name="T114" fmla="*/ 668 w 834"/>
                  <a:gd name="T115" fmla="*/ 1159 h 2898"/>
                  <a:gd name="T116" fmla="*/ 682 w 834"/>
                  <a:gd name="T117" fmla="*/ 920 h 2898"/>
                  <a:gd name="T118" fmla="*/ 719 w 834"/>
                  <a:gd name="T119" fmla="*/ 1402 h 2898"/>
                  <a:gd name="T120" fmla="*/ 679 w 834"/>
                  <a:gd name="T121" fmla="*/ 1260 h 2898"/>
                  <a:gd name="T122" fmla="*/ 712 w 834"/>
                  <a:gd name="T123" fmla="*/ 1551 h 28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34"/>
                  <a:gd name="T187" fmla="*/ 0 h 2898"/>
                  <a:gd name="T188" fmla="*/ 834 w 834"/>
                  <a:gd name="T189" fmla="*/ 2898 h 28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34" h="2898">
                    <a:moveTo>
                      <a:pt x="799" y="712"/>
                    </a:moveTo>
                    <a:lnTo>
                      <a:pt x="799" y="712"/>
                    </a:lnTo>
                    <a:lnTo>
                      <a:pt x="784" y="621"/>
                    </a:lnTo>
                    <a:lnTo>
                      <a:pt x="780" y="600"/>
                    </a:lnTo>
                    <a:lnTo>
                      <a:pt x="775" y="581"/>
                    </a:lnTo>
                    <a:lnTo>
                      <a:pt x="770" y="565"/>
                    </a:lnTo>
                    <a:lnTo>
                      <a:pt x="762" y="549"/>
                    </a:lnTo>
                    <a:lnTo>
                      <a:pt x="757" y="542"/>
                    </a:lnTo>
                    <a:lnTo>
                      <a:pt x="749" y="534"/>
                    </a:lnTo>
                    <a:lnTo>
                      <a:pt x="738" y="526"/>
                    </a:lnTo>
                    <a:lnTo>
                      <a:pt x="724" y="517"/>
                    </a:lnTo>
                    <a:lnTo>
                      <a:pt x="708" y="509"/>
                    </a:lnTo>
                    <a:lnTo>
                      <a:pt x="690" y="501"/>
                    </a:lnTo>
                    <a:lnTo>
                      <a:pt x="671" y="493"/>
                    </a:lnTo>
                    <a:lnTo>
                      <a:pt x="651" y="486"/>
                    </a:lnTo>
                    <a:lnTo>
                      <a:pt x="611" y="464"/>
                    </a:lnTo>
                    <a:lnTo>
                      <a:pt x="573" y="442"/>
                    </a:lnTo>
                    <a:lnTo>
                      <a:pt x="541" y="422"/>
                    </a:lnTo>
                    <a:lnTo>
                      <a:pt x="520" y="411"/>
                    </a:lnTo>
                    <a:lnTo>
                      <a:pt x="515" y="373"/>
                    </a:lnTo>
                    <a:lnTo>
                      <a:pt x="515" y="358"/>
                    </a:lnTo>
                    <a:lnTo>
                      <a:pt x="517" y="352"/>
                    </a:lnTo>
                    <a:lnTo>
                      <a:pt x="520" y="346"/>
                    </a:lnTo>
                    <a:lnTo>
                      <a:pt x="528" y="331"/>
                    </a:lnTo>
                    <a:lnTo>
                      <a:pt x="535" y="314"/>
                    </a:lnTo>
                    <a:lnTo>
                      <a:pt x="538" y="294"/>
                    </a:lnTo>
                    <a:lnTo>
                      <a:pt x="539" y="272"/>
                    </a:lnTo>
                    <a:lnTo>
                      <a:pt x="555" y="269"/>
                    </a:lnTo>
                    <a:lnTo>
                      <a:pt x="559" y="267"/>
                    </a:lnTo>
                    <a:lnTo>
                      <a:pt x="563" y="262"/>
                    </a:lnTo>
                    <a:lnTo>
                      <a:pt x="568" y="253"/>
                    </a:lnTo>
                    <a:lnTo>
                      <a:pt x="571" y="240"/>
                    </a:lnTo>
                    <a:lnTo>
                      <a:pt x="575" y="225"/>
                    </a:lnTo>
                    <a:lnTo>
                      <a:pt x="575" y="211"/>
                    </a:lnTo>
                    <a:lnTo>
                      <a:pt x="573" y="197"/>
                    </a:lnTo>
                    <a:lnTo>
                      <a:pt x="571" y="184"/>
                    </a:lnTo>
                    <a:lnTo>
                      <a:pt x="568" y="179"/>
                    </a:lnTo>
                    <a:lnTo>
                      <a:pt x="567" y="176"/>
                    </a:lnTo>
                    <a:lnTo>
                      <a:pt x="563" y="174"/>
                    </a:lnTo>
                    <a:lnTo>
                      <a:pt x="560" y="174"/>
                    </a:lnTo>
                    <a:lnTo>
                      <a:pt x="555" y="133"/>
                    </a:lnTo>
                    <a:lnTo>
                      <a:pt x="554" y="112"/>
                    </a:lnTo>
                    <a:lnTo>
                      <a:pt x="551" y="91"/>
                    </a:lnTo>
                    <a:lnTo>
                      <a:pt x="546" y="73"/>
                    </a:lnTo>
                    <a:lnTo>
                      <a:pt x="541" y="57"/>
                    </a:lnTo>
                    <a:lnTo>
                      <a:pt x="533" y="46"/>
                    </a:lnTo>
                    <a:lnTo>
                      <a:pt x="530" y="41"/>
                    </a:lnTo>
                    <a:lnTo>
                      <a:pt x="525" y="38"/>
                    </a:lnTo>
                    <a:lnTo>
                      <a:pt x="514" y="25"/>
                    </a:lnTo>
                    <a:lnTo>
                      <a:pt x="499" y="16"/>
                    </a:lnTo>
                    <a:lnTo>
                      <a:pt x="487" y="8"/>
                    </a:lnTo>
                    <a:lnTo>
                      <a:pt x="471" y="3"/>
                    </a:lnTo>
                    <a:lnTo>
                      <a:pt x="454" y="1"/>
                    </a:lnTo>
                    <a:lnTo>
                      <a:pt x="438" y="0"/>
                    </a:lnTo>
                    <a:lnTo>
                      <a:pt x="421" y="1"/>
                    </a:lnTo>
                    <a:lnTo>
                      <a:pt x="405" y="4"/>
                    </a:lnTo>
                    <a:lnTo>
                      <a:pt x="389" y="9"/>
                    </a:lnTo>
                    <a:lnTo>
                      <a:pt x="373" y="16"/>
                    </a:lnTo>
                    <a:lnTo>
                      <a:pt x="357" y="24"/>
                    </a:lnTo>
                    <a:lnTo>
                      <a:pt x="344" y="33"/>
                    </a:lnTo>
                    <a:lnTo>
                      <a:pt x="331" y="43"/>
                    </a:lnTo>
                    <a:lnTo>
                      <a:pt x="320" y="54"/>
                    </a:lnTo>
                    <a:lnTo>
                      <a:pt x="312" y="65"/>
                    </a:lnTo>
                    <a:lnTo>
                      <a:pt x="304" y="77"/>
                    </a:lnTo>
                    <a:lnTo>
                      <a:pt x="301" y="88"/>
                    </a:lnTo>
                    <a:lnTo>
                      <a:pt x="299" y="97"/>
                    </a:lnTo>
                    <a:lnTo>
                      <a:pt x="299" y="109"/>
                    </a:lnTo>
                    <a:lnTo>
                      <a:pt x="301" y="121"/>
                    </a:lnTo>
                    <a:lnTo>
                      <a:pt x="302" y="142"/>
                    </a:lnTo>
                    <a:lnTo>
                      <a:pt x="302" y="152"/>
                    </a:lnTo>
                    <a:lnTo>
                      <a:pt x="302" y="161"/>
                    </a:lnTo>
                    <a:lnTo>
                      <a:pt x="298" y="163"/>
                    </a:lnTo>
                    <a:lnTo>
                      <a:pt x="293" y="165"/>
                    </a:lnTo>
                    <a:lnTo>
                      <a:pt x="290" y="168"/>
                    </a:lnTo>
                    <a:lnTo>
                      <a:pt x="286" y="169"/>
                    </a:lnTo>
                    <a:lnTo>
                      <a:pt x="285" y="174"/>
                    </a:lnTo>
                    <a:lnTo>
                      <a:pt x="283" y="182"/>
                    </a:lnTo>
                    <a:lnTo>
                      <a:pt x="286" y="216"/>
                    </a:lnTo>
                    <a:lnTo>
                      <a:pt x="288" y="233"/>
                    </a:lnTo>
                    <a:lnTo>
                      <a:pt x="294" y="253"/>
                    </a:lnTo>
                    <a:lnTo>
                      <a:pt x="296" y="256"/>
                    </a:lnTo>
                    <a:lnTo>
                      <a:pt x="299" y="257"/>
                    </a:lnTo>
                    <a:lnTo>
                      <a:pt x="309" y="257"/>
                    </a:lnTo>
                    <a:lnTo>
                      <a:pt x="317" y="256"/>
                    </a:lnTo>
                    <a:lnTo>
                      <a:pt x="320" y="257"/>
                    </a:lnTo>
                    <a:lnTo>
                      <a:pt x="322" y="262"/>
                    </a:lnTo>
                    <a:lnTo>
                      <a:pt x="323" y="273"/>
                    </a:lnTo>
                    <a:lnTo>
                      <a:pt x="322" y="286"/>
                    </a:lnTo>
                    <a:lnTo>
                      <a:pt x="323" y="301"/>
                    </a:lnTo>
                    <a:lnTo>
                      <a:pt x="323" y="307"/>
                    </a:lnTo>
                    <a:lnTo>
                      <a:pt x="326" y="315"/>
                    </a:lnTo>
                    <a:lnTo>
                      <a:pt x="330" y="320"/>
                    </a:lnTo>
                    <a:lnTo>
                      <a:pt x="331" y="323"/>
                    </a:lnTo>
                    <a:lnTo>
                      <a:pt x="334" y="326"/>
                    </a:lnTo>
                    <a:lnTo>
                      <a:pt x="334" y="331"/>
                    </a:lnTo>
                    <a:lnTo>
                      <a:pt x="336" y="355"/>
                    </a:lnTo>
                    <a:lnTo>
                      <a:pt x="336" y="379"/>
                    </a:lnTo>
                    <a:lnTo>
                      <a:pt x="334" y="400"/>
                    </a:lnTo>
                    <a:lnTo>
                      <a:pt x="334" y="419"/>
                    </a:lnTo>
                    <a:lnTo>
                      <a:pt x="277" y="451"/>
                    </a:lnTo>
                    <a:lnTo>
                      <a:pt x="217" y="483"/>
                    </a:lnTo>
                    <a:lnTo>
                      <a:pt x="158" y="515"/>
                    </a:lnTo>
                    <a:lnTo>
                      <a:pt x="129" y="530"/>
                    </a:lnTo>
                    <a:lnTo>
                      <a:pt x="97" y="544"/>
                    </a:lnTo>
                    <a:lnTo>
                      <a:pt x="93" y="552"/>
                    </a:lnTo>
                    <a:lnTo>
                      <a:pt x="88" y="562"/>
                    </a:lnTo>
                    <a:lnTo>
                      <a:pt x="78" y="586"/>
                    </a:lnTo>
                    <a:lnTo>
                      <a:pt x="70" y="613"/>
                    </a:lnTo>
                    <a:lnTo>
                      <a:pt x="62" y="647"/>
                    </a:lnTo>
                    <a:lnTo>
                      <a:pt x="56" y="683"/>
                    </a:lnTo>
                    <a:lnTo>
                      <a:pt x="49" y="723"/>
                    </a:lnTo>
                    <a:lnTo>
                      <a:pt x="40" y="812"/>
                    </a:lnTo>
                    <a:lnTo>
                      <a:pt x="27" y="936"/>
                    </a:lnTo>
                    <a:lnTo>
                      <a:pt x="20" y="997"/>
                    </a:lnTo>
                    <a:lnTo>
                      <a:pt x="17" y="1057"/>
                    </a:lnTo>
                    <a:lnTo>
                      <a:pt x="14" y="1101"/>
                    </a:lnTo>
                    <a:lnTo>
                      <a:pt x="9" y="1141"/>
                    </a:lnTo>
                    <a:lnTo>
                      <a:pt x="4" y="1178"/>
                    </a:lnTo>
                    <a:lnTo>
                      <a:pt x="3" y="1209"/>
                    </a:lnTo>
                    <a:lnTo>
                      <a:pt x="3" y="1225"/>
                    </a:lnTo>
                    <a:lnTo>
                      <a:pt x="1" y="1244"/>
                    </a:lnTo>
                    <a:lnTo>
                      <a:pt x="0" y="1265"/>
                    </a:lnTo>
                    <a:lnTo>
                      <a:pt x="0" y="1287"/>
                    </a:lnTo>
                    <a:lnTo>
                      <a:pt x="3" y="1306"/>
                    </a:lnTo>
                    <a:lnTo>
                      <a:pt x="8" y="1324"/>
                    </a:lnTo>
                    <a:lnTo>
                      <a:pt x="12" y="1342"/>
                    </a:lnTo>
                    <a:lnTo>
                      <a:pt x="14" y="1361"/>
                    </a:lnTo>
                    <a:lnTo>
                      <a:pt x="12" y="1369"/>
                    </a:lnTo>
                    <a:lnTo>
                      <a:pt x="9" y="1377"/>
                    </a:lnTo>
                    <a:lnTo>
                      <a:pt x="6" y="1385"/>
                    </a:lnTo>
                    <a:lnTo>
                      <a:pt x="4" y="1391"/>
                    </a:lnTo>
                    <a:lnTo>
                      <a:pt x="4" y="1414"/>
                    </a:lnTo>
                    <a:lnTo>
                      <a:pt x="3" y="1433"/>
                    </a:lnTo>
                    <a:lnTo>
                      <a:pt x="1" y="1449"/>
                    </a:lnTo>
                    <a:lnTo>
                      <a:pt x="1" y="1463"/>
                    </a:lnTo>
                    <a:lnTo>
                      <a:pt x="3" y="1466"/>
                    </a:lnTo>
                    <a:lnTo>
                      <a:pt x="6" y="1470"/>
                    </a:lnTo>
                    <a:lnTo>
                      <a:pt x="12" y="1471"/>
                    </a:lnTo>
                    <a:lnTo>
                      <a:pt x="19" y="1473"/>
                    </a:lnTo>
                    <a:lnTo>
                      <a:pt x="22" y="1474"/>
                    </a:lnTo>
                    <a:lnTo>
                      <a:pt x="22" y="1476"/>
                    </a:lnTo>
                    <a:lnTo>
                      <a:pt x="22" y="1479"/>
                    </a:lnTo>
                    <a:lnTo>
                      <a:pt x="20" y="1481"/>
                    </a:lnTo>
                    <a:lnTo>
                      <a:pt x="19" y="1482"/>
                    </a:lnTo>
                    <a:lnTo>
                      <a:pt x="22" y="1535"/>
                    </a:lnTo>
                    <a:lnTo>
                      <a:pt x="25" y="1580"/>
                    </a:lnTo>
                    <a:lnTo>
                      <a:pt x="27" y="1601"/>
                    </a:lnTo>
                    <a:lnTo>
                      <a:pt x="32" y="1620"/>
                    </a:lnTo>
                    <a:lnTo>
                      <a:pt x="38" y="1638"/>
                    </a:lnTo>
                    <a:lnTo>
                      <a:pt x="48" y="1655"/>
                    </a:lnTo>
                    <a:lnTo>
                      <a:pt x="54" y="1665"/>
                    </a:lnTo>
                    <a:lnTo>
                      <a:pt x="61" y="1671"/>
                    </a:lnTo>
                    <a:lnTo>
                      <a:pt x="70" y="1678"/>
                    </a:lnTo>
                    <a:lnTo>
                      <a:pt x="78" y="1683"/>
                    </a:lnTo>
                    <a:lnTo>
                      <a:pt x="89" y="1686"/>
                    </a:lnTo>
                    <a:lnTo>
                      <a:pt x="101" y="1689"/>
                    </a:lnTo>
                    <a:lnTo>
                      <a:pt x="113" y="1691"/>
                    </a:lnTo>
                    <a:lnTo>
                      <a:pt x="128" y="1691"/>
                    </a:lnTo>
                    <a:lnTo>
                      <a:pt x="141" y="1737"/>
                    </a:lnTo>
                    <a:lnTo>
                      <a:pt x="152" y="1785"/>
                    </a:lnTo>
                    <a:lnTo>
                      <a:pt x="161" y="1835"/>
                    </a:lnTo>
                    <a:lnTo>
                      <a:pt x="169" y="1886"/>
                    </a:lnTo>
                    <a:lnTo>
                      <a:pt x="174" y="1936"/>
                    </a:lnTo>
                    <a:lnTo>
                      <a:pt x="177" y="1987"/>
                    </a:lnTo>
                    <a:lnTo>
                      <a:pt x="181" y="2091"/>
                    </a:lnTo>
                    <a:lnTo>
                      <a:pt x="184" y="2197"/>
                    </a:lnTo>
                    <a:lnTo>
                      <a:pt x="187" y="2302"/>
                    </a:lnTo>
                    <a:lnTo>
                      <a:pt x="189" y="2352"/>
                    </a:lnTo>
                    <a:lnTo>
                      <a:pt x="190" y="2400"/>
                    </a:lnTo>
                    <a:lnTo>
                      <a:pt x="192" y="2448"/>
                    </a:lnTo>
                    <a:lnTo>
                      <a:pt x="193" y="2470"/>
                    </a:lnTo>
                    <a:lnTo>
                      <a:pt x="197" y="2494"/>
                    </a:lnTo>
                    <a:lnTo>
                      <a:pt x="201" y="2533"/>
                    </a:lnTo>
                    <a:lnTo>
                      <a:pt x="206" y="2578"/>
                    </a:lnTo>
                    <a:lnTo>
                      <a:pt x="209" y="2626"/>
                    </a:lnTo>
                    <a:lnTo>
                      <a:pt x="216" y="2672"/>
                    </a:lnTo>
                    <a:lnTo>
                      <a:pt x="217" y="2696"/>
                    </a:lnTo>
                    <a:lnTo>
                      <a:pt x="217" y="2719"/>
                    </a:lnTo>
                    <a:lnTo>
                      <a:pt x="221" y="2739"/>
                    </a:lnTo>
                    <a:lnTo>
                      <a:pt x="224" y="2747"/>
                    </a:lnTo>
                    <a:lnTo>
                      <a:pt x="227" y="2754"/>
                    </a:lnTo>
                    <a:lnTo>
                      <a:pt x="230" y="2757"/>
                    </a:lnTo>
                    <a:lnTo>
                      <a:pt x="233" y="2757"/>
                    </a:lnTo>
                    <a:lnTo>
                      <a:pt x="238" y="2757"/>
                    </a:lnTo>
                    <a:lnTo>
                      <a:pt x="241" y="2757"/>
                    </a:lnTo>
                    <a:lnTo>
                      <a:pt x="235" y="2771"/>
                    </a:lnTo>
                    <a:lnTo>
                      <a:pt x="227" y="2784"/>
                    </a:lnTo>
                    <a:lnTo>
                      <a:pt x="217" y="2796"/>
                    </a:lnTo>
                    <a:lnTo>
                      <a:pt x="206" y="2804"/>
                    </a:lnTo>
                    <a:lnTo>
                      <a:pt x="195" y="2810"/>
                    </a:lnTo>
                    <a:lnTo>
                      <a:pt x="182" y="2815"/>
                    </a:lnTo>
                    <a:lnTo>
                      <a:pt x="169" y="2821"/>
                    </a:lnTo>
                    <a:lnTo>
                      <a:pt x="163" y="2824"/>
                    </a:lnTo>
                    <a:lnTo>
                      <a:pt x="158" y="2829"/>
                    </a:lnTo>
                    <a:lnTo>
                      <a:pt x="152" y="2836"/>
                    </a:lnTo>
                    <a:lnTo>
                      <a:pt x="147" y="2844"/>
                    </a:lnTo>
                    <a:lnTo>
                      <a:pt x="139" y="2861"/>
                    </a:lnTo>
                    <a:lnTo>
                      <a:pt x="137" y="2864"/>
                    </a:lnTo>
                    <a:lnTo>
                      <a:pt x="137" y="2869"/>
                    </a:lnTo>
                    <a:lnTo>
                      <a:pt x="137" y="2876"/>
                    </a:lnTo>
                    <a:lnTo>
                      <a:pt x="192" y="2882"/>
                    </a:lnTo>
                    <a:lnTo>
                      <a:pt x="243" y="2885"/>
                    </a:lnTo>
                    <a:lnTo>
                      <a:pt x="267" y="2885"/>
                    </a:lnTo>
                    <a:lnTo>
                      <a:pt x="291" y="2885"/>
                    </a:lnTo>
                    <a:lnTo>
                      <a:pt x="314" y="2882"/>
                    </a:lnTo>
                    <a:lnTo>
                      <a:pt x="336" y="2877"/>
                    </a:lnTo>
                    <a:lnTo>
                      <a:pt x="339" y="2876"/>
                    </a:lnTo>
                    <a:lnTo>
                      <a:pt x="341" y="2872"/>
                    </a:lnTo>
                    <a:lnTo>
                      <a:pt x="344" y="2866"/>
                    </a:lnTo>
                    <a:lnTo>
                      <a:pt x="349" y="2858"/>
                    </a:lnTo>
                    <a:lnTo>
                      <a:pt x="350" y="2855"/>
                    </a:lnTo>
                    <a:lnTo>
                      <a:pt x="352" y="2855"/>
                    </a:lnTo>
                    <a:lnTo>
                      <a:pt x="358" y="2855"/>
                    </a:lnTo>
                    <a:lnTo>
                      <a:pt x="366" y="2856"/>
                    </a:lnTo>
                    <a:lnTo>
                      <a:pt x="374" y="2858"/>
                    </a:lnTo>
                    <a:lnTo>
                      <a:pt x="379" y="2858"/>
                    </a:lnTo>
                    <a:lnTo>
                      <a:pt x="402" y="2853"/>
                    </a:lnTo>
                    <a:lnTo>
                      <a:pt x="411" y="2850"/>
                    </a:lnTo>
                    <a:lnTo>
                      <a:pt x="421" y="2847"/>
                    </a:lnTo>
                    <a:lnTo>
                      <a:pt x="422" y="2840"/>
                    </a:lnTo>
                    <a:lnTo>
                      <a:pt x="424" y="2832"/>
                    </a:lnTo>
                    <a:lnTo>
                      <a:pt x="424" y="2808"/>
                    </a:lnTo>
                    <a:lnTo>
                      <a:pt x="418" y="2735"/>
                    </a:lnTo>
                    <a:lnTo>
                      <a:pt x="410" y="2591"/>
                    </a:lnTo>
                    <a:lnTo>
                      <a:pt x="406" y="2523"/>
                    </a:lnTo>
                    <a:lnTo>
                      <a:pt x="405" y="2474"/>
                    </a:lnTo>
                    <a:lnTo>
                      <a:pt x="405" y="2410"/>
                    </a:lnTo>
                    <a:lnTo>
                      <a:pt x="400" y="2349"/>
                    </a:lnTo>
                    <a:lnTo>
                      <a:pt x="394" y="2291"/>
                    </a:lnTo>
                    <a:lnTo>
                      <a:pt x="390" y="2264"/>
                    </a:lnTo>
                    <a:lnTo>
                      <a:pt x="386" y="2238"/>
                    </a:lnTo>
                    <a:lnTo>
                      <a:pt x="381" y="2224"/>
                    </a:lnTo>
                    <a:lnTo>
                      <a:pt x="376" y="2209"/>
                    </a:lnTo>
                    <a:lnTo>
                      <a:pt x="370" y="2195"/>
                    </a:lnTo>
                    <a:lnTo>
                      <a:pt x="366" y="2182"/>
                    </a:lnTo>
                    <a:lnTo>
                      <a:pt x="363" y="2168"/>
                    </a:lnTo>
                    <a:lnTo>
                      <a:pt x="360" y="2153"/>
                    </a:lnTo>
                    <a:lnTo>
                      <a:pt x="358" y="2118"/>
                    </a:lnTo>
                    <a:lnTo>
                      <a:pt x="358" y="2080"/>
                    </a:lnTo>
                    <a:lnTo>
                      <a:pt x="362" y="2037"/>
                    </a:lnTo>
                    <a:lnTo>
                      <a:pt x="365" y="1992"/>
                    </a:lnTo>
                    <a:lnTo>
                      <a:pt x="370" y="1944"/>
                    </a:lnTo>
                    <a:lnTo>
                      <a:pt x="381" y="1846"/>
                    </a:lnTo>
                    <a:lnTo>
                      <a:pt x="387" y="1788"/>
                    </a:lnTo>
                    <a:lnTo>
                      <a:pt x="394" y="1731"/>
                    </a:lnTo>
                    <a:lnTo>
                      <a:pt x="398" y="1681"/>
                    </a:lnTo>
                    <a:lnTo>
                      <a:pt x="405" y="1638"/>
                    </a:lnTo>
                    <a:lnTo>
                      <a:pt x="408" y="1630"/>
                    </a:lnTo>
                    <a:lnTo>
                      <a:pt x="410" y="1623"/>
                    </a:lnTo>
                    <a:lnTo>
                      <a:pt x="413" y="1617"/>
                    </a:lnTo>
                    <a:lnTo>
                      <a:pt x="416" y="1611"/>
                    </a:lnTo>
                    <a:lnTo>
                      <a:pt x="426" y="1611"/>
                    </a:lnTo>
                    <a:lnTo>
                      <a:pt x="429" y="1631"/>
                    </a:lnTo>
                    <a:lnTo>
                      <a:pt x="435" y="1651"/>
                    </a:lnTo>
                    <a:lnTo>
                      <a:pt x="440" y="1670"/>
                    </a:lnTo>
                    <a:lnTo>
                      <a:pt x="443" y="1691"/>
                    </a:lnTo>
                    <a:lnTo>
                      <a:pt x="454" y="1761"/>
                    </a:lnTo>
                    <a:lnTo>
                      <a:pt x="464" y="1835"/>
                    </a:lnTo>
                    <a:lnTo>
                      <a:pt x="475" y="1912"/>
                    </a:lnTo>
                    <a:lnTo>
                      <a:pt x="487" y="1992"/>
                    </a:lnTo>
                    <a:lnTo>
                      <a:pt x="501" y="2025"/>
                    </a:lnTo>
                    <a:lnTo>
                      <a:pt x="512" y="2056"/>
                    </a:lnTo>
                    <a:lnTo>
                      <a:pt x="519" y="2086"/>
                    </a:lnTo>
                    <a:lnTo>
                      <a:pt x="525" y="2120"/>
                    </a:lnTo>
                    <a:lnTo>
                      <a:pt x="530" y="2163"/>
                    </a:lnTo>
                    <a:lnTo>
                      <a:pt x="533" y="2206"/>
                    </a:lnTo>
                    <a:lnTo>
                      <a:pt x="536" y="2251"/>
                    </a:lnTo>
                    <a:lnTo>
                      <a:pt x="539" y="2293"/>
                    </a:lnTo>
                    <a:lnTo>
                      <a:pt x="555" y="2411"/>
                    </a:lnTo>
                    <a:lnTo>
                      <a:pt x="567" y="2525"/>
                    </a:lnTo>
                    <a:lnTo>
                      <a:pt x="586" y="2741"/>
                    </a:lnTo>
                    <a:lnTo>
                      <a:pt x="587" y="2751"/>
                    </a:lnTo>
                    <a:lnTo>
                      <a:pt x="591" y="2759"/>
                    </a:lnTo>
                    <a:lnTo>
                      <a:pt x="594" y="2768"/>
                    </a:lnTo>
                    <a:lnTo>
                      <a:pt x="594" y="2776"/>
                    </a:lnTo>
                    <a:lnTo>
                      <a:pt x="594" y="2786"/>
                    </a:lnTo>
                    <a:lnTo>
                      <a:pt x="592" y="2794"/>
                    </a:lnTo>
                    <a:lnTo>
                      <a:pt x="587" y="2812"/>
                    </a:lnTo>
                    <a:lnTo>
                      <a:pt x="583" y="2829"/>
                    </a:lnTo>
                    <a:lnTo>
                      <a:pt x="579" y="2837"/>
                    </a:lnTo>
                    <a:lnTo>
                      <a:pt x="579" y="2847"/>
                    </a:lnTo>
                    <a:lnTo>
                      <a:pt x="586" y="2852"/>
                    </a:lnTo>
                    <a:lnTo>
                      <a:pt x="594" y="2855"/>
                    </a:lnTo>
                    <a:lnTo>
                      <a:pt x="603" y="2860"/>
                    </a:lnTo>
                    <a:lnTo>
                      <a:pt x="611" y="2866"/>
                    </a:lnTo>
                    <a:lnTo>
                      <a:pt x="618" y="2874"/>
                    </a:lnTo>
                    <a:lnTo>
                      <a:pt x="621" y="2882"/>
                    </a:lnTo>
                    <a:lnTo>
                      <a:pt x="624" y="2892"/>
                    </a:lnTo>
                    <a:lnTo>
                      <a:pt x="664" y="2896"/>
                    </a:lnTo>
                    <a:lnTo>
                      <a:pt x="709" y="2898"/>
                    </a:lnTo>
                    <a:lnTo>
                      <a:pt x="754" y="2898"/>
                    </a:lnTo>
                    <a:lnTo>
                      <a:pt x="797" y="2896"/>
                    </a:lnTo>
                    <a:lnTo>
                      <a:pt x="794" y="2880"/>
                    </a:lnTo>
                    <a:lnTo>
                      <a:pt x="789" y="2861"/>
                    </a:lnTo>
                    <a:lnTo>
                      <a:pt x="781" y="2844"/>
                    </a:lnTo>
                    <a:lnTo>
                      <a:pt x="770" y="2826"/>
                    </a:lnTo>
                    <a:lnTo>
                      <a:pt x="760" y="2813"/>
                    </a:lnTo>
                    <a:lnTo>
                      <a:pt x="749" y="2800"/>
                    </a:lnTo>
                    <a:lnTo>
                      <a:pt x="741" y="2789"/>
                    </a:lnTo>
                    <a:lnTo>
                      <a:pt x="740" y="2783"/>
                    </a:lnTo>
                    <a:lnTo>
                      <a:pt x="738" y="2776"/>
                    </a:lnTo>
                    <a:lnTo>
                      <a:pt x="738" y="2773"/>
                    </a:lnTo>
                    <a:lnTo>
                      <a:pt x="740" y="2768"/>
                    </a:lnTo>
                    <a:lnTo>
                      <a:pt x="743" y="2762"/>
                    </a:lnTo>
                    <a:lnTo>
                      <a:pt x="748" y="2754"/>
                    </a:lnTo>
                    <a:lnTo>
                      <a:pt x="749" y="2749"/>
                    </a:lnTo>
                    <a:lnTo>
                      <a:pt x="749" y="2744"/>
                    </a:lnTo>
                    <a:lnTo>
                      <a:pt x="746" y="2717"/>
                    </a:lnTo>
                    <a:lnTo>
                      <a:pt x="743" y="2687"/>
                    </a:lnTo>
                    <a:lnTo>
                      <a:pt x="740" y="2655"/>
                    </a:lnTo>
                    <a:lnTo>
                      <a:pt x="736" y="2623"/>
                    </a:lnTo>
                    <a:lnTo>
                      <a:pt x="738" y="2567"/>
                    </a:lnTo>
                    <a:lnTo>
                      <a:pt x="743" y="2510"/>
                    </a:lnTo>
                    <a:lnTo>
                      <a:pt x="746" y="2453"/>
                    </a:lnTo>
                    <a:lnTo>
                      <a:pt x="748" y="2395"/>
                    </a:lnTo>
                    <a:lnTo>
                      <a:pt x="748" y="2355"/>
                    </a:lnTo>
                    <a:lnTo>
                      <a:pt x="744" y="2317"/>
                    </a:lnTo>
                    <a:lnTo>
                      <a:pt x="738" y="2241"/>
                    </a:lnTo>
                    <a:lnTo>
                      <a:pt x="730" y="2166"/>
                    </a:lnTo>
                    <a:lnTo>
                      <a:pt x="728" y="2128"/>
                    </a:lnTo>
                    <a:lnTo>
                      <a:pt x="728" y="2089"/>
                    </a:lnTo>
                    <a:lnTo>
                      <a:pt x="730" y="1878"/>
                    </a:lnTo>
                    <a:lnTo>
                      <a:pt x="733" y="1665"/>
                    </a:lnTo>
                    <a:lnTo>
                      <a:pt x="756" y="1654"/>
                    </a:lnTo>
                    <a:lnTo>
                      <a:pt x="775" y="1643"/>
                    </a:lnTo>
                    <a:lnTo>
                      <a:pt x="812" y="1615"/>
                    </a:lnTo>
                    <a:lnTo>
                      <a:pt x="816" y="1595"/>
                    </a:lnTo>
                    <a:lnTo>
                      <a:pt x="818" y="1567"/>
                    </a:lnTo>
                    <a:lnTo>
                      <a:pt x="823" y="1508"/>
                    </a:lnTo>
                    <a:lnTo>
                      <a:pt x="829" y="1425"/>
                    </a:lnTo>
                    <a:lnTo>
                      <a:pt x="832" y="1329"/>
                    </a:lnTo>
                    <a:lnTo>
                      <a:pt x="834" y="1226"/>
                    </a:lnTo>
                    <a:lnTo>
                      <a:pt x="834" y="1119"/>
                    </a:lnTo>
                    <a:lnTo>
                      <a:pt x="829" y="1012"/>
                    </a:lnTo>
                    <a:lnTo>
                      <a:pt x="823" y="904"/>
                    </a:lnTo>
                    <a:lnTo>
                      <a:pt x="818" y="853"/>
                    </a:lnTo>
                    <a:lnTo>
                      <a:pt x="813" y="804"/>
                    </a:lnTo>
                    <a:lnTo>
                      <a:pt x="807" y="757"/>
                    </a:lnTo>
                    <a:lnTo>
                      <a:pt x="799" y="712"/>
                    </a:lnTo>
                    <a:close/>
                    <a:moveTo>
                      <a:pt x="123" y="1636"/>
                    </a:moveTo>
                    <a:lnTo>
                      <a:pt x="113" y="1636"/>
                    </a:lnTo>
                    <a:lnTo>
                      <a:pt x="107" y="1577"/>
                    </a:lnTo>
                    <a:lnTo>
                      <a:pt x="113" y="1585"/>
                    </a:lnTo>
                    <a:lnTo>
                      <a:pt x="117" y="1595"/>
                    </a:lnTo>
                    <a:lnTo>
                      <a:pt x="123" y="1615"/>
                    </a:lnTo>
                    <a:lnTo>
                      <a:pt x="123" y="1636"/>
                    </a:lnTo>
                    <a:close/>
                    <a:moveTo>
                      <a:pt x="181" y="1065"/>
                    </a:moveTo>
                    <a:lnTo>
                      <a:pt x="181" y="1065"/>
                    </a:lnTo>
                    <a:lnTo>
                      <a:pt x="179" y="1100"/>
                    </a:lnTo>
                    <a:lnTo>
                      <a:pt x="176" y="1135"/>
                    </a:lnTo>
                    <a:lnTo>
                      <a:pt x="174" y="1170"/>
                    </a:lnTo>
                    <a:lnTo>
                      <a:pt x="169" y="1207"/>
                    </a:lnTo>
                    <a:lnTo>
                      <a:pt x="161" y="1236"/>
                    </a:lnTo>
                    <a:lnTo>
                      <a:pt x="153" y="1265"/>
                    </a:lnTo>
                    <a:lnTo>
                      <a:pt x="145" y="1292"/>
                    </a:lnTo>
                    <a:lnTo>
                      <a:pt x="137" y="1319"/>
                    </a:lnTo>
                    <a:lnTo>
                      <a:pt x="133" y="1346"/>
                    </a:lnTo>
                    <a:lnTo>
                      <a:pt x="131" y="1372"/>
                    </a:lnTo>
                    <a:lnTo>
                      <a:pt x="128" y="1418"/>
                    </a:lnTo>
                    <a:lnTo>
                      <a:pt x="125" y="1412"/>
                    </a:lnTo>
                    <a:lnTo>
                      <a:pt x="121" y="1401"/>
                    </a:lnTo>
                    <a:lnTo>
                      <a:pt x="118" y="1385"/>
                    </a:lnTo>
                    <a:lnTo>
                      <a:pt x="118" y="1362"/>
                    </a:lnTo>
                    <a:lnTo>
                      <a:pt x="120" y="1345"/>
                    </a:lnTo>
                    <a:lnTo>
                      <a:pt x="125" y="1327"/>
                    </a:lnTo>
                    <a:lnTo>
                      <a:pt x="136" y="1285"/>
                    </a:lnTo>
                    <a:lnTo>
                      <a:pt x="141" y="1261"/>
                    </a:lnTo>
                    <a:lnTo>
                      <a:pt x="147" y="1237"/>
                    </a:lnTo>
                    <a:lnTo>
                      <a:pt x="150" y="1210"/>
                    </a:lnTo>
                    <a:lnTo>
                      <a:pt x="153" y="1180"/>
                    </a:lnTo>
                    <a:lnTo>
                      <a:pt x="160" y="1095"/>
                    </a:lnTo>
                    <a:lnTo>
                      <a:pt x="168" y="1015"/>
                    </a:lnTo>
                    <a:lnTo>
                      <a:pt x="176" y="951"/>
                    </a:lnTo>
                    <a:lnTo>
                      <a:pt x="182" y="911"/>
                    </a:lnTo>
                    <a:lnTo>
                      <a:pt x="185" y="920"/>
                    </a:lnTo>
                    <a:lnTo>
                      <a:pt x="185" y="930"/>
                    </a:lnTo>
                    <a:lnTo>
                      <a:pt x="185" y="949"/>
                    </a:lnTo>
                    <a:lnTo>
                      <a:pt x="181" y="991"/>
                    </a:lnTo>
                    <a:lnTo>
                      <a:pt x="181" y="1008"/>
                    </a:lnTo>
                    <a:lnTo>
                      <a:pt x="182" y="1026"/>
                    </a:lnTo>
                    <a:lnTo>
                      <a:pt x="182" y="1045"/>
                    </a:lnTo>
                    <a:lnTo>
                      <a:pt x="181" y="1065"/>
                    </a:lnTo>
                    <a:close/>
                    <a:moveTo>
                      <a:pt x="669" y="1193"/>
                    </a:moveTo>
                    <a:lnTo>
                      <a:pt x="669" y="1193"/>
                    </a:lnTo>
                    <a:lnTo>
                      <a:pt x="668" y="1159"/>
                    </a:lnTo>
                    <a:lnTo>
                      <a:pt x="666" y="1124"/>
                    </a:lnTo>
                    <a:lnTo>
                      <a:pt x="664" y="1047"/>
                    </a:lnTo>
                    <a:lnTo>
                      <a:pt x="668" y="887"/>
                    </a:lnTo>
                    <a:lnTo>
                      <a:pt x="671" y="892"/>
                    </a:lnTo>
                    <a:lnTo>
                      <a:pt x="674" y="900"/>
                    </a:lnTo>
                    <a:lnTo>
                      <a:pt x="679" y="909"/>
                    </a:lnTo>
                    <a:lnTo>
                      <a:pt x="682" y="920"/>
                    </a:lnTo>
                    <a:lnTo>
                      <a:pt x="685" y="941"/>
                    </a:lnTo>
                    <a:lnTo>
                      <a:pt x="690" y="968"/>
                    </a:lnTo>
                    <a:lnTo>
                      <a:pt x="696" y="1036"/>
                    </a:lnTo>
                    <a:lnTo>
                      <a:pt x="701" y="1113"/>
                    </a:lnTo>
                    <a:lnTo>
                      <a:pt x="706" y="1194"/>
                    </a:lnTo>
                    <a:lnTo>
                      <a:pt x="714" y="1345"/>
                    </a:lnTo>
                    <a:lnTo>
                      <a:pt x="719" y="1402"/>
                    </a:lnTo>
                    <a:lnTo>
                      <a:pt x="724" y="1438"/>
                    </a:lnTo>
                    <a:lnTo>
                      <a:pt x="708" y="1447"/>
                    </a:lnTo>
                    <a:lnTo>
                      <a:pt x="706" y="1417"/>
                    </a:lnTo>
                    <a:lnTo>
                      <a:pt x="701" y="1386"/>
                    </a:lnTo>
                    <a:lnTo>
                      <a:pt x="690" y="1324"/>
                    </a:lnTo>
                    <a:lnTo>
                      <a:pt x="679" y="1260"/>
                    </a:lnTo>
                    <a:lnTo>
                      <a:pt x="674" y="1226"/>
                    </a:lnTo>
                    <a:lnTo>
                      <a:pt x="669" y="1193"/>
                    </a:lnTo>
                    <a:close/>
                    <a:moveTo>
                      <a:pt x="724" y="1591"/>
                    </a:moveTo>
                    <a:lnTo>
                      <a:pt x="719" y="1591"/>
                    </a:lnTo>
                    <a:lnTo>
                      <a:pt x="712" y="1551"/>
                    </a:lnTo>
                    <a:lnTo>
                      <a:pt x="719" y="1559"/>
                    </a:lnTo>
                    <a:lnTo>
                      <a:pt x="722" y="1567"/>
                    </a:lnTo>
                    <a:lnTo>
                      <a:pt x="724" y="1577"/>
                    </a:lnTo>
                    <a:lnTo>
                      <a:pt x="724" y="1591"/>
                    </a:lnTo>
                    <a:close/>
                  </a:path>
                </a:pathLst>
              </a:custGeom>
              <a:solidFill>
                <a:schemeClr val="accent5"/>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5" name="Gruppieren 26"/>
            <p:cNvGrpSpPr/>
            <p:nvPr/>
          </p:nvGrpSpPr>
          <p:grpSpPr>
            <a:xfrm>
              <a:off x="4762134" y="2581487"/>
              <a:ext cx="673962" cy="1063529"/>
              <a:chOff x="1593782" y="3418618"/>
              <a:chExt cx="817978" cy="1290794"/>
            </a:xfrm>
          </p:grpSpPr>
          <p:sp>
            <p:nvSpPr>
              <p:cNvPr id="22" name="Ellipse 4"/>
              <p:cNvSpPr/>
              <p:nvPr/>
            </p:nvSpPr>
            <p:spPr>
              <a:xfrm>
                <a:off x="1593782" y="4482081"/>
                <a:ext cx="817978" cy="227331"/>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Freeform 13"/>
              <p:cNvSpPr>
                <a:spLocks noEditPoints="1"/>
              </p:cNvSpPr>
              <p:nvPr/>
            </p:nvSpPr>
            <p:spPr bwMode="auto">
              <a:xfrm>
                <a:off x="1854828" y="3418618"/>
                <a:ext cx="412915" cy="1206109"/>
              </a:xfrm>
              <a:custGeom>
                <a:avLst/>
                <a:gdLst>
                  <a:gd name="T0" fmla="*/ 887 w 1010"/>
                  <a:gd name="T1" fmla="*/ 661 h 2956"/>
                  <a:gd name="T2" fmla="*/ 812 w 1010"/>
                  <a:gd name="T3" fmla="*/ 535 h 2956"/>
                  <a:gd name="T4" fmla="*/ 685 w 1010"/>
                  <a:gd name="T5" fmla="*/ 421 h 2956"/>
                  <a:gd name="T6" fmla="*/ 676 w 1010"/>
                  <a:gd name="T7" fmla="*/ 149 h 2956"/>
                  <a:gd name="T8" fmla="*/ 583 w 1010"/>
                  <a:gd name="T9" fmla="*/ 13 h 2956"/>
                  <a:gd name="T10" fmla="*/ 431 w 1010"/>
                  <a:gd name="T11" fmla="*/ 56 h 2956"/>
                  <a:gd name="T12" fmla="*/ 371 w 1010"/>
                  <a:gd name="T13" fmla="*/ 259 h 2956"/>
                  <a:gd name="T14" fmla="*/ 355 w 1010"/>
                  <a:gd name="T15" fmla="*/ 440 h 2956"/>
                  <a:gd name="T16" fmla="*/ 206 w 1010"/>
                  <a:gd name="T17" fmla="*/ 514 h 2956"/>
                  <a:gd name="T18" fmla="*/ 134 w 1010"/>
                  <a:gd name="T19" fmla="*/ 639 h 2956"/>
                  <a:gd name="T20" fmla="*/ 146 w 1010"/>
                  <a:gd name="T21" fmla="*/ 769 h 2956"/>
                  <a:gd name="T22" fmla="*/ 158 w 1010"/>
                  <a:gd name="T23" fmla="*/ 991 h 2956"/>
                  <a:gd name="T24" fmla="*/ 141 w 1010"/>
                  <a:gd name="T25" fmla="*/ 1220 h 2956"/>
                  <a:gd name="T26" fmla="*/ 141 w 1010"/>
                  <a:gd name="T27" fmla="*/ 1422 h 2956"/>
                  <a:gd name="T28" fmla="*/ 125 w 1010"/>
                  <a:gd name="T29" fmla="*/ 1561 h 2956"/>
                  <a:gd name="T30" fmla="*/ 146 w 1010"/>
                  <a:gd name="T31" fmla="*/ 1686 h 2956"/>
                  <a:gd name="T32" fmla="*/ 184 w 1010"/>
                  <a:gd name="T33" fmla="*/ 1882 h 2956"/>
                  <a:gd name="T34" fmla="*/ 178 w 1010"/>
                  <a:gd name="T35" fmla="*/ 2034 h 2956"/>
                  <a:gd name="T36" fmla="*/ 158 w 1010"/>
                  <a:gd name="T37" fmla="*/ 2199 h 2956"/>
                  <a:gd name="T38" fmla="*/ 114 w 1010"/>
                  <a:gd name="T39" fmla="*/ 2765 h 2956"/>
                  <a:gd name="T40" fmla="*/ 85 w 1010"/>
                  <a:gd name="T41" fmla="*/ 2846 h 2956"/>
                  <a:gd name="T42" fmla="*/ 3 w 1010"/>
                  <a:gd name="T43" fmla="*/ 2922 h 2956"/>
                  <a:gd name="T44" fmla="*/ 178 w 1010"/>
                  <a:gd name="T45" fmla="*/ 2910 h 2956"/>
                  <a:gd name="T46" fmla="*/ 274 w 1010"/>
                  <a:gd name="T47" fmla="*/ 2858 h 2956"/>
                  <a:gd name="T48" fmla="*/ 291 w 1010"/>
                  <a:gd name="T49" fmla="*/ 2863 h 2956"/>
                  <a:gd name="T50" fmla="*/ 379 w 1010"/>
                  <a:gd name="T51" fmla="*/ 2812 h 2956"/>
                  <a:gd name="T52" fmla="*/ 363 w 1010"/>
                  <a:gd name="T53" fmla="*/ 2496 h 2956"/>
                  <a:gd name="T54" fmla="*/ 384 w 1010"/>
                  <a:gd name="T55" fmla="*/ 2064 h 2956"/>
                  <a:gd name="T56" fmla="*/ 437 w 1010"/>
                  <a:gd name="T57" fmla="*/ 1742 h 2956"/>
                  <a:gd name="T58" fmla="*/ 501 w 1010"/>
                  <a:gd name="T59" fmla="*/ 1563 h 2956"/>
                  <a:gd name="T60" fmla="*/ 525 w 1010"/>
                  <a:gd name="T61" fmla="*/ 1686 h 2956"/>
                  <a:gd name="T62" fmla="*/ 519 w 1010"/>
                  <a:gd name="T63" fmla="*/ 1955 h 2956"/>
                  <a:gd name="T64" fmla="*/ 516 w 1010"/>
                  <a:gd name="T65" fmla="*/ 2183 h 2956"/>
                  <a:gd name="T66" fmla="*/ 492 w 1010"/>
                  <a:gd name="T67" fmla="*/ 2649 h 2956"/>
                  <a:gd name="T68" fmla="*/ 496 w 1010"/>
                  <a:gd name="T69" fmla="*/ 2796 h 2956"/>
                  <a:gd name="T70" fmla="*/ 501 w 1010"/>
                  <a:gd name="T71" fmla="*/ 2927 h 2956"/>
                  <a:gd name="T72" fmla="*/ 608 w 1010"/>
                  <a:gd name="T73" fmla="*/ 2942 h 2956"/>
                  <a:gd name="T74" fmla="*/ 625 w 1010"/>
                  <a:gd name="T75" fmla="*/ 2874 h 2956"/>
                  <a:gd name="T76" fmla="*/ 685 w 1010"/>
                  <a:gd name="T77" fmla="*/ 2727 h 2956"/>
                  <a:gd name="T78" fmla="*/ 711 w 1010"/>
                  <a:gd name="T79" fmla="*/ 2354 h 2956"/>
                  <a:gd name="T80" fmla="*/ 738 w 1010"/>
                  <a:gd name="T81" fmla="*/ 2053 h 2956"/>
                  <a:gd name="T82" fmla="*/ 783 w 1010"/>
                  <a:gd name="T83" fmla="*/ 1675 h 2956"/>
                  <a:gd name="T84" fmla="*/ 817 w 1010"/>
                  <a:gd name="T85" fmla="*/ 1422 h 2956"/>
                  <a:gd name="T86" fmla="*/ 793 w 1010"/>
                  <a:gd name="T87" fmla="*/ 1244 h 2956"/>
                  <a:gd name="T88" fmla="*/ 874 w 1010"/>
                  <a:gd name="T89" fmla="*/ 1204 h 2956"/>
                  <a:gd name="T90" fmla="*/ 986 w 1010"/>
                  <a:gd name="T91" fmla="*/ 1044 h 2956"/>
                  <a:gd name="T92" fmla="*/ 962 w 1010"/>
                  <a:gd name="T93" fmla="*/ 826 h 2956"/>
                  <a:gd name="T94" fmla="*/ 178 w 1010"/>
                  <a:gd name="T95" fmla="*/ 1614 h 2956"/>
                  <a:gd name="T96" fmla="*/ 194 w 1010"/>
                  <a:gd name="T97" fmla="*/ 1678 h 2956"/>
                  <a:gd name="T98" fmla="*/ 243 w 1010"/>
                  <a:gd name="T99" fmla="*/ 1384 h 2956"/>
                  <a:gd name="T100" fmla="*/ 211 w 1010"/>
                  <a:gd name="T101" fmla="*/ 1416 h 2956"/>
                  <a:gd name="T102" fmla="*/ 250 w 1010"/>
                  <a:gd name="T103" fmla="*/ 1247 h 2956"/>
                  <a:gd name="T104" fmla="*/ 287 w 1010"/>
                  <a:gd name="T105" fmla="*/ 1092 h 2956"/>
                  <a:gd name="T106" fmla="*/ 263 w 1010"/>
                  <a:gd name="T107" fmla="*/ 1159 h 2956"/>
                  <a:gd name="T108" fmla="*/ 272 w 1010"/>
                  <a:gd name="T109" fmla="*/ 962 h 2956"/>
                  <a:gd name="T110" fmla="*/ 285 w 1010"/>
                  <a:gd name="T111" fmla="*/ 919 h 2956"/>
                  <a:gd name="T112" fmla="*/ 892 w 1010"/>
                  <a:gd name="T113" fmla="*/ 993 h 2956"/>
                  <a:gd name="T114" fmla="*/ 815 w 1010"/>
                  <a:gd name="T115" fmla="*/ 1142 h 2956"/>
                  <a:gd name="T116" fmla="*/ 749 w 1010"/>
                  <a:gd name="T117" fmla="*/ 1063 h 2956"/>
                  <a:gd name="T118" fmla="*/ 727 w 1010"/>
                  <a:gd name="T119" fmla="*/ 829 h 2956"/>
                  <a:gd name="T120" fmla="*/ 759 w 1010"/>
                  <a:gd name="T121" fmla="*/ 732 h 2956"/>
                  <a:gd name="T122" fmla="*/ 852 w 1010"/>
                  <a:gd name="T123" fmla="*/ 871 h 2956"/>
                  <a:gd name="T124" fmla="*/ 898 w 1010"/>
                  <a:gd name="T125" fmla="*/ 980 h 29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10"/>
                  <a:gd name="T190" fmla="*/ 0 h 2956"/>
                  <a:gd name="T191" fmla="*/ 1010 w 1010"/>
                  <a:gd name="T192" fmla="*/ 2956 h 29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10" h="2956">
                    <a:moveTo>
                      <a:pt x="962" y="826"/>
                    </a:moveTo>
                    <a:lnTo>
                      <a:pt x="962" y="826"/>
                    </a:lnTo>
                    <a:lnTo>
                      <a:pt x="950" y="796"/>
                    </a:lnTo>
                    <a:lnTo>
                      <a:pt x="945" y="781"/>
                    </a:lnTo>
                    <a:lnTo>
                      <a:pt x="937" y="767"/>
                    </a:lnTo>
                    <a:lnTo>
                      <a:pt x="921" y="738"/>
                    </a:lnTo>
                    <a:lnTo>
                      <a:pt x="913" y="724"/>
                    </a:lnTo>
                    <a:lnTo>
                      <a:pt x="906" y="708"/>
                    </a:lnTo>
                    <a:lnTo>
                      <a:pt x="887" y="661"/>
                    </a:lnTo>
                    <a:lnTo>
                      <a:pt x="870" y="618"/>
                    </a:lnTo>
                    <a:lnTo>
                      <a:pt x="868" y="604"/>
                    </a:lnTo>
                    <a:lnTo>
                      <a:pt x="858" y="592"/>
                    </a:lnTo>
                    <a:lnTo>
                      <a:pt x="850" y="581"/>
                    </a:lnTo>
                    <a:lnTo>
                      <a:pt x="841" y="570"/>
                    </a:lnTo>
                    <a:lnTo>
                      <a:pt x="831" y="560"/>
                    </a:lnTo>
                    <a:lnTo>
                      <a:pt x="820" y="543"/>
                    </a:lnTo>
                    <a:lnTo>
                      <a:pt x="812" y="535"/>
                    </a:lnTo>
                    <a:lnTo>
                      <a:pt x="804" y="527"/>
                    </a:lnTo>
                    <a:lnTo>
                      <a:pt x="793" y="520"/>
                    </a:lnTo>
                    <a:lnTo>
                      <a:pt x="781" y="514"/>
                    </a:lnTo>
                    <a:lnTo>
                      <a:pt x="757" y="504"/>
                    </a:lnTo>
                    <a:lnTo>
                      <a:pt x="730" y="495"/>
                    </a:lnTo>
                    <a:lnTo>
                      <a:pt x="701" y="487"/>
                    </a:lnTo>
                    <a:lnTo>
                      <a:pt x="695" y="469"/>
                    </a:lnTo>
                    <a:lnTo>
                      <a:pt x="690" y="445"/>
                    </a:lnTo>
                    <a:lnTo>
                      <a:pt x="685" y="421"/>
                    </a:lnTo>
                    <a:lnTo>
                      <a:pt x="685" y="410"/>
                    </a:lnTo>
                    <a:lnTo>
                      <a:pt x="685" y="399"/>
                    </a:lnTo>
                    <a:lnTo>
                      <a:pt x="690" y="349"/>
                    </a:lnTo>
                    <a:lnTo>
                      <a:pt x="692" y="323"/>
                    </a:lnTo>
                    <a:lnTo>
                      <a:pt x="690" y="309"/>
                    </a:lnTo>
                    <a:lnTo>
                      <a:pt x="689" y="296"/>
                    </a:lnTo>
                    <a:lnTo>
                      <a:pt x="684" y="202"/>
                    </a:lnTo>
                    <a:lnTo>
                      <a:pt x="676" y="149"/>
                    </a:lnTo>
                    <a:lnTo>
                      <a:pt x="669" y="122"/>
                    </a:lnTo>
                    <a:lnTo>
                      <a:pt x="666" y="110"/>
                    </a:lnTo>
                    <a:lnTo>
                      <a:pt x="663" y="102"/>
                    </a:lnTo>
                    <a:lnTo>
                      <a:pt x="653" y="83"/>
                    </a:lnTo>
                    <a:lnTo>
                      <a:pt x="641" y="66"/>
                    </a:lnTo>
                    <a:lnTo>
                      <a:pt x="626" y="48"/>
                    </a:lnTo>
                    <a:lnTo>
                      <a:pt x="610" y="32"/>
                    </a:lnTo>
                    <a:lnTo>
                      <a:pt x="602" y="26"/>
                    </a:lnTo>
                    <a:lnTo>
                      <a:pt x="592" y="19"/>
                    </a:lnTo>
                    <a:lnTo>
                      <a:pt x="583" y="13"/>
                    </a:lnTo>
                    <a:lnTo>
                      <a:pt x="572" y="8"/>
                    </a:lnTo>
                    <a:lnTo>
                      <a:pt x="559" y="5"/>
                    </a:lnTo>
                    <a:lnTo>
                      <a:pt x="548" y="2"/>
                    </a:lnTo>
                    <a:lnTo>
                      <a:pt x="533" y="0"/>
                    </a:lnTo>
                    <a:lnTo>
                      <a:pt x="519" y="0"/>
                    </a:lnTo>
                    <a:lnTo>
                      <a:pt x="479" y="13"/>
                    </a:lnTo>
                    <a:lnTo>
                      <a:pt x="463" y="26"/>
                    </a:lnTo>
                    <a:lnTo>
                      <a:pt x="447" y="40"/>
                    </a:lnTo>
                    <a:lnTo>
                      <a:pt x="431" y="56"/>
                    </a:lnTo>
                    <a:lnTo>
                      <a:pt x="418" y="72"/>
                    </a:lnTo>
                    <a:lnTo>
                      <a:pt x="405" y="90"/>
                    </a:lnTo>
                    <a:lnTo>
                      <a:pt x="394" y="109"/>
                    </a:lnTo>
                    <a:lnTo>
                      <a:pt x="384" y="130"/>
                    </a:lnTo>
                    <a:lnTo>
                      <a:pt x="376" y="151"/>
                    </a:lnTo>
                    <a:lnTo>
                      <a:pt x="373" y="168"/>
                    </a:lnTo>
                    <a:lnTo>
                      <a:pt x="370" y="184"/>
                    </a:lnTo>
                    <a:lnTo>
                      <a:pt x="370" y="203"/>
                    </a:lnTo>
                    <a:lnTo>
                      <a:pt x="368" y="223"/>
                    </a:lnTo>
                    <a:lnTo>
                      <a:pt x="371" y="259"/>
                    </a:lnTo>
                    <a:lnTo>
                      <a:pt x="376" y="295"/>
                    </a:lnTo>
                    <a:lnTo>
                      <a:pt x="371" y="331"/>
                    </a:lnTo>
                    <a:lnTo>
                      <a:pt x="368" y="360"/>
                    </a:lnTo>
                    <a:lnTo>
                      <a:pt x="367" y="386"/>
                    </a:lnTo>
                    <a:lnTo>
                      <a:pt x="365" y="412"/>
                    </a:lnTo>
                    <a:lnTo>
                      <a:pt x="362" y="424"/>
                    </a:lnTo>
                    <a:lnTo>
                      <a:pt x="359" y="436"/>
                    </a:lnTo>
                    <a:lnTo>
                      <a:pt x="355" y="440"/>
                    </a:lnTo>
                    <a:lnTo>
                      <a:pt x="352" y="445"/>
                    </a:lnTo>
                    <a:lnTo>
                      <a:pt x="347" y="447"/>
                    </a:lnTo>
                    <a:lnTo>
                      <a:pt x="343" y="450"/>
                    </a:lnTo>
                    <a:lnTo>
                      <a:pt x="331" y="452"/>
                    </a:lnTo>
                    <a:lnTo>
                      <a:pt x="320" y="456"/>
                    </a:lnTo>
                    <a:lnTo>
                      <a:pt x="283" y="487"/>
                    </a:lnTo>
                    <a:lnTo>
                      <a:pt x="227" y="498"/>
                    </a:lnTo>
                    <a:lnTo>
                      <a:pt x="206" y="514"/>
                    </a:lnTo>
                    <a:lnTo>
                      <a:pt x="186" y="532"/>
                    </a:lnTo>
                    <a:lnTo>
                      <a:pt x="176" y="541"/>
                    </a:lnTo>
                    <a:lnTo>
                      <a:pt x="168" y="552"/>
                    </a:lnTo>
                    <a:lnTo>
                      <a:pt x="162" y="564"/>
                    </a:lnTo>
                    <a:lnTo>
                      <a:pt x="155" y="575"/>
                    </a:lnTo>
                    <a:lnTo>
                      <a:pt x="150" y="617"/>
                    </a:lnTo>
                    <a:lnTo>
                      <a:pt x="136" y="634"/>
                    </a:lnTo>
                    <a:lnTo>
                      <a:pt x="134" y="639"/>
                    </a:lnTo>
                    <a:lnTo>
                      <a:pt x="136" y="642"/>
                    </a:lnTo>
                    <a:lnTo>
                      <a:pt x="141" y="650"/>
                    </a:lnTo>
                    <a:lnTo>
                      <a:pt x="144" y="658"/>
                    </a:lnTo>
                    <a:lnTo>
                      <a:pt x="146" y="663"/>
                    </a:lnTo>
                    <a:lnTo>
                      <a:pt x="146" y="669"/>
                    </a:lnTo>
                    <a:lnTo>
                      <a:pt x="142" y="693"/>
                    </a:lnTo>
                    <a:lnTo>
                      <a:pt x="142" y="719"/>
                    </a:lnTo>
                    <a:lnTo>
                      <a:pt x="144" y="745"/>
                    </a:lnTo>
                    <a:lnTo>
                      <a:pt x="146" y="769"/>
                    </a:lnTo>
                    <a:lnTo>
                      <a:pt x="149" y="786"/>
                    </a:lnTo>
                    <a:lnTo>
                      <a:pt x="149" y="804"/>
                    </a:lnTo>
                    <a:lnTo>
                      <a:pt x="147" y="839"/>
                    </a:lnTo>
                    <a:lnTo>
                      <a:pt x="147" y="873"/>
                    </a:lnTo>
                    <a:lnTo>
                      <a:pt x="147" y="890"/>
                    </a:lnTo>
                    <a:lnTo>
                      <a:pt x="149" y="906"/>
                    </a:lnTo>
                    <a:lnTo>
                      <a:pt x="154" y="929"/>
                    </a:lnTo>
                    <a:lnTo>
                      <a:pt x="157" y="954"/>
                    </a:lnTo>
                    <a:lnTo>
                      <a:pt x="158" y="980"/>
                    </a:lnTo>
                    <a:lnTo>
                      <a:pt x="158" y="991"/>
                    </a:lnTo>
                    <a:lnTo>
                      <a:pt x="157" y="1004"/>
                    </a:lnTo>
                    <a:lnTo>
                      <a:pt x="146" y="1082"/>
                    </a:lnTo>
                    <a:lnTo>
                      <a:pt x="144" y="1145"/>
                    </a:lnTo>
                    <a:lnTo>
                      <a:pt x="142" y="1163"/>
                    </a:lnTo>
                    <a:lnTo>
                      <a:pt x="139" y="1182"/>
                    </a:lnTo>
                    <a:lnTo>
                      <a:pt x="139" y="1201"/>
                    </a:lnTo>
                    <a:lnTo>
                      <a:pt x="141" y="1220"/>
                    </a:lnTo>
                    <a:lnTo>
                      <a:pt x="142" y="1241"/>
                    </a:lnTo>
                    <a:lnTo>
                      <a:pt x="142" y="1262"/>
                    </a:lnTo>
                    <a:lnTo>
                      <a:pt x="144" y="1284"/>
                    </a:lnTo>
                    <a:lnTo>
                      <a:pt x="146" y="1307"/>
                    </a:lnTo>
                    <a:lnTo>
                      <a:pt x="147" y="1327"/>
                    </a:lnTo>
                    <a:lnTo>
                      <a:pt x="149" y="1352"/>
                    </a:lnTo>
                    <a:lnTo>
                      <a:pt x="149" y="1377"/>
                    </a:lnTo>
                    <a:lnTo>
                      <a:pt x="146" y="1400"/>
                    </a:lnTo>
                    <a:lnTo>
                      <a:pt x="141" y="1422"/>
                    </a:lnTo>
                    <a:lnTo>
                      <a:pt x="136" y="1443"/>
                    </a:lnTo>
                    <a:lnTo>
                      <a:pt x="136" y="1451"/>
                    </a:lnTo>
                    <a:lnTo>
                      <a:pt x="136" y="1459"/>
                    </a:lnTo>
                    <a:lnTo>
                      <a:pt x="139" y="1473"/>
                    </a:lnTo>
                    <a:lnTo>
                      <a:pt x="141" y="1488"/>
                    </a:lnTo>
                    <a:lnTo>
                      <a:pt x="141" y="1494"/>
                    </a:lnTo>
                    <a:lnTo>
                      <a:pt x="139" y="1502"/>
                    </a:lnTo>
                    <a:lnTo>
                      <a:pt x="131" y="1532"/>
                    </a:lnTo>
                    <a:lnTo>
                      <a:pt x="125" y="1561"/>
                    </a:lnTo>
                    <a:lnTo>
                      <a:pt x="125" y="1577"/>
                    </a:lnTo>
                    <a:lnTo>
                      <a:pt x="123" y="1592"/>
                    </a:lnTo>
                    <a:lnTo>
                      <a:pt x="125" y="1608"/>
                    </a:lnTo>
                    <a:lnTo>
                      <a:pt x="126" y="1624"/>
                    </a:lnTo>
                    <a:lnTo>
                      <a:pt x="128" y="1665"/>
                    </a:lnTo>
                    <a:lnTo>
                      <a:pt x="131" y="1672"/>
                    </a:lnTo>
                    <a:lnTo>
                      <a:pt x="136" y="1677"/>
                    </a:lnTo>
                    <a:lnTo>
                      <a:pt x="141" y="1681"/>
                    </a:lnTo>
                    <a:lnTo>
                      <a:pt x="146" y="1686"/>
                    </a:lnTo>
                    <a:lnTo>
                      <a:pt x="154" y="1697"/>
                    </a:lnTo>
                    <a:lnTo>
                      <a:pt x="160" y="1710"/>
                    </a:lnTo>
                    <a:lnTo>
                      <a:pt x="166" y="1721"/>
                    </a:lnTo>
                    <a:lnTo>
                      <a:pt x="174" y="1734"/>
                    </a:lnTo>
                    <a:lnTo>
                      <a:pt x="187" y="1744"/>
                    </a:lnTo>
                    <a:lnTo>
                      <a:pt x="184" y="1872"/>
                    </a:lnTo>
                    <a:lnTo>
                      <a:pt x="184" y="1882"/>
                    </a:lnTo>
                    <a:lnTo>
                      <a:pt x="184" y="1891"/>
                    </a:lnTo>
                    <a:lnTo>
                      <a:pt x="179" y="1910"/>
                    </a:lnTo>
                    <a:lnTo>
                      <a:pt x="179" y="1918"/>
                    </a:lnTo>
                    <a:lnTo>
                      <a:pt x="179" y="1925"/>
                    </a:lnTo>
                    <a:lnTo>
                      <a:pt x="181" y="1942"/>
                    </a:lnTo>
                    <a:lnTo>
                      <a:pt x="182" y="1958"/>
                    </a:lnTo>
                    <a:lnTo>
                      <a:pt x="184" y="1968"/>
                    </a:lnTo>
                    <a:lnTo>
                      <a:pt x="182" y="1976"/>
                    </a:lnTo>
                    <a:lnTo>
                      <a:pt x="178" y="2034"/>
                    </a:lnTo>
                    <a:lnTo>
                      <a:pt x="171" y="2053"/>
                    </a:lnTo>
                    <a:lnTo>
                      <a:pt x="165" y="2072"/>
                    </a:lnTo>
                    <a:lnTo>
                      <a:pt x="162" y="2088"/>
                    </a:lnTo>
                    <a:lnTo>
                      <a:pt x="160" y="2104"/>
                    </a:lnTo>
                    <a:lnTo>
                      <a:pt x="160" y="2136"/>
                    </a:lnTo>
                    <a:lnTo>
                      <a:pt x="162" y="2168"/>
                    </a:lnTo>
                    <a:lnTo>
                      <a:pt x="160" y="2184"/>
                    </a:lnTo>
                    <a:lnTo>
                      <a:pt x="158" y="2199"/>
                    </a:lnTo>
                    <a:lnTo>
                      <a:pt x="154" y="2647"/>
                    </a:lnTo>
                    <a:lnTo>
                      <a:pt x="149" y="2673"/>
                    </a:lnTo>
                    <a:lnTo>
                      <a:pt x="142" y="2697"/>
                    </a:lnTo>
                    <a:lnTo>
                      <a:pt x="126" y="2743"/>
                    </a:lnTo>
                    <a:lnTo>
                      <a:pt x="123" y="2749"/>
                    </a:lnTo>
                    <a:lnTo>
                      <a:pt x="120" y="2754"/>
                    </a:lnTo>
                    <a:lnTo>
                      <a:pt x="117" y="2761"/>
                    </a:lnTo>
                    <a:lnTo>
                      <a:pt x="114" y="2765"/>
                    </a:lnTo>
                    <a:lnTo>
                      <a:pt x="117" y="2781"/>
                    </a:lnTo>
                    <a:lnTo>
                      <a:pt x="118" y="2794"/>
                    </a:lnTo>
                    <a:lnTo>
                      <a:pt x="115" y="2810"/>
                    </a:lnTo>
                    <a:lnTo>
                      <a:pt x="112" y="2825"/>
                    </a:lnTo>
                    <a:lnTo>
                      <a:pt x="107" y="2834"/>
                    </a:lnTo>
                    <a:lnTo>
                      <a:pt x="96" y="2838"/>
                    </a:lnTo>
                    <a:lnTo>
                      <a:pt x="85" y="2841"/>
                    </a:lnTo>
                    <a:lnTo>
                      <a:pt x="85" y="2846"/>
                    </a:lnTo>
                    <a:lnTo>
                      <a:pt x="82" y="2850"/>
                    </a:lnTo>
                    <a:lnTo>
                      <a:pt x="74" y="2860"/>
                    </a:lnTo>
                    <a:lnTo>
                      <a:pt x="62" y="2868"/>
                    </a:lnTo>
                    <a:lnTo>
                      <a:pt x="50" y="2878"/>
                    </a:lnTo>
                    <a:lnTo>
                      <a:pt x="21" y="2892"/>
                    </a:lnTo>
                    <a:lnTo>
                      <a:pt x="8" y="2898"/>
                    </a:lnTo>
                    <a:lnTo>
                      <a:pt x="0" y="2906"/>
                    </a:lnTo>
                    <a:lnTo>
                      <a:pt x="0" y="2916"/>
                    </a:lnTo>
                    <a:lnTo>
                      <a:pt x="1" y="2919"/>
                    </a:lnTo>
                    <a:lnTo>
                      <a:pt x="3" y="2922"/>
                    </a:lnTo>
                    <a:lnTo>
                      <a:pt x="6" y="2924"/>
                    </a:lnTo>
                    <a:lnTo>
                      <a:pt x="10" y="2926"/>
                    </a:lnTo>
                    <a:lnTo>
                      <a:pt x="21" y="2926"/>
                    </a:lnTo>
                    <a:lnTo>
                      <a:pt x="126" y="2916"/>
                    </a:lnTo>
                    <a:lnTo>
                      <a:pt x="139" y="2914"/>
                    </a:lnTo>
                    <a:lnTo>
                      <a:pt x="154" y="2914"/>
                    </a:lnTo>
                    <a:lnTo>
                      <a:pt x="166" y="2913"/>
                    </a:lnTo>
                    <a:lnTo>
                      <a:pt x="173" y="2911"/>
                    </a:lnTo>
                    <a:lnTo>
                      <a:pt x="178" y="2910"/>
                    </a:lnTo>
                    <a:lnTo>
                      <a:pt x="182" y="2906"/>
                    </a:lnTo>
                    <a:lnTo>
                      <a:pt x="187" y="2900"/>
                    </a:lnTo>
                    <a:lnTo>
                      <a:pt x="194" y="2887"/>
                    </a:lnTo>
                    <a:lnTo>
                      <a:pt x="200" y="2871"/>
                    </a:lnTo>
                    <a:lnTo>
                      <a:pt x="205" y="2860"/>
                    </a:lnTo>
                    <a:lnTo>
                      <a:pt x="245" y="2857"/>
                    </a:lnTo>
                    <a:lnTo>
                      <a:pt x="266" y="2855"/>
                    </a:lnTo>
                    <a:lnTo>
                      <a:pt x="272" y="2857"/>
                    </a:lnTo>
                    <a:lnTo>
                      <a:pt x="274" y="2858"/>
                    </a:lnTo>
                    <a:lnTo>
                      <a:pt x="274" y="2860"/>
                    </a:lnTo>
                    <a:lnTo>
                      <a:pt x="275" y="2878"/>
                    </a:lnTo>
                    <a:lnTo>
                      <a:pt x="279" y="2879"/>
                    </a:lnTo>
                    <a:lnTo>
                      <a:pt x="282" y="2881"/>
                    </a:lnTo>
                    <a:lnTo>
                      <a:pt x="285" y="2881"/>
                    </a:lnTo>
                    <a:lnTo>
                      <a:pt x="291" y="2878"/>
                    </a:lnTo>
                    <a:lnTo>
                      <a:pt x="291" y="2863"/>
                    </a:lnTo>
                    <a:lnTo>
                      <a:pt x="293" y="2857"/>
                    </a:lnTo>
                    <a:lnTo>
                      <a:pt x="295" y="2852"/>
                    </a:lnTo>
                    <a:lnTo>
                      <a:pt x="307" y="2847"/>
                    </a:lnTo>
                    <a:lnTo>
                      <a:pt x="319" y="2844"/>
                    </a:lnTo>
                    <a:lnTo>
                      <a:pt x="331" y="2841"/>
                    </a:lnTo>
                    <a:lnTo>
                      <a:pt x="341" y="2836"/>
                    </a:lnTo>
                    <a:lnTo>
                      <a:pt x="354" y="2821"/>
                    </a:lnTo>
                    <a:lnTo>
                      <a:pt x="379" y="2812"/>
                    </a:lnTo>
                    <a:lnTo>
                      <a:pt x="381" y="2805"/>
                    </a:lnTo>
                    <a:lnTo>
                      <a:pt x="381" y="2794"/>
                    </a:lnTo>
                    <a:lnTo>
                      <a:pt x="376" y="2761"/>
                    </a:lnTo>
                    <a:lnTo>
                      <a:pt x="373" y="2727"/>
                    </a:lnTo>
                    <a:lnTo>
                      <a:pt x="371" y="2705"/>
                    </a:lnTo>
                    <a:lnTo>
                      <a:pt x="360" y="2532"/>
                    </a:lnTo>
                    <a:lnTo>
                      <a:pt x="363" y="2496"/>
                    </a:lnTo>
                    <a:lnTo>
                      <a:pt x="360" y="2407"/>
                    </a:lnTo>
                    <a:lnTo>
                      <a:pt x="362" y="2336"/>
                    </a:lnTo>
                    <a:lnTo>
                      <a:pt x="363" y="2267"/>
                    </a:lnTo>
                    <a:lnTo>
                      <a:pt x="367" y="2202"/>
                    </a:lnTo>
                    <a:lnTo>
                      <a:pt x="370" y="2171"/>
                    </a:lnTo>
                    <a:lnTo>
                      <a:pt x="375" y="2141"/>
                    </a:lnTo>
                    <a:lnTo>
                      <a:pt x="381" y="2072"/>
                    </a:lnTo>
                    <a:lnTo>
                      <a:pt x="384" y="2064"/>
                    </a:lnTo>
                    <a:lnTo>
                      <a:pt x="389" y="2054"/>
                    </a:lnTo>
                    <a:lnTo>
                      <a:pt x="394" y="2046"/>
                    </a:lnTo>
                    <a:lnTo>
                      <a:pt x="397" y="2037"/>
                    </a:lnTo>
                    <a:lnTo>
                      <a:pt x="403" y="1970"/>
                    </a:lnTo>
                    <a:lnTo>
                      <a:pt x="426" y="1824"/>
                    </a:lnTo>
                    <a:lnTo>
                      <a:pt x="431" y="1795"/>
                    </a:lnTo>
                    <a:lnTo>
                      <a:pt x="434" y="1768"/>
                    </a:lnTo>
                    <a:lnTo>
                      <a:pt x="437" y="1742"/>
                    </a:lnTo>
                    <a:lnTo>
                      <a:pt x="445" y="1717"/>
                    </a:lnTo>
                    <a:lnTo>
                      <a:pt x="453" y="1693"/>
                    </a:lnTo>
                    <a:lnTo>
                      <a:pt x="463" y="1670"/>
                    </a:lnTo>
                    <a:lnTo>
                      <a:pt x="472" y="1648"/>
                    </a:lnTo>
                    <a:lnTo>
                      <a:pt x="480" y="1625"/>
                    </a:lnTo>
                    <a:lnTo>
                      <a:pt x="487" y="1605"/>
                    </a:lnTo>
                    <a:lnTo>
                      <a:pt x="493" y="1584"/>
                    </a:lnTo>
                    <a:lnTo>
                      <a:pt x="498" y="1572"/>
                    </a:lnTo>
                    <a:lnTo>
                      <a:pt x="501" y="1563"/>
                    </a:lnTo>
                    <a:lnTo>
                      <a:pt x="506" y="1553"/>
                    </a:lnTo>
                    <a:lnTo>
                      <a:pt x="512" y="1547"/>
                    </a:lnTo>
                    <a:lnTo>
                      <a:pt x="514" y="1560"/>
                    </a:lnTo>
                    <a:lnTo>
                      <a:pt x="516" y="1571"/>
                    </a:lnTo>
                    <a:lnTo>
                      <a:pt x="520" y="1588"/>
                    </a:lnTo>
                    <a:lnTo>
                      <a:pt x="519" y="1646"/>
                    </a:lnTo>
                    <a:lnTo>
                      <a:pt x="524" y="1672"/>
                    </a:lnTo>
                    <a:lnTo>
                      <a:pt x="525" y="1686"/>
                    </a:lnTo>
                    <a:lnTo>
                      <a:pt x="525" y="1701"/>
                    </a:lnTo>
                    <a:lnTo>
                      <a:pt x="522" y="1725"/>
                    </a:lnTo>
                    <a:lnTo>
                      <a:pt x="524" y="1779"/>
                    </a:lnTo>
                    <a:lnTo>
                      <a:pt x="524" y="1808"/>
                    </a:lnTo>
                    <a:lnTo>
                      <a:pt x="522" y="1835"/>
                    </a:lnTo>
                    <a:lnTo>
                      <a:pt x="522" y="1888"/>
                    </a:lnTo>
                    <a:lnTo>
                      <a:pt x="520" y="1933"/>
                    </a:lnTo>
                    <a:lnTo>
                      <a:pt x="519" y="1955"/>
                    </a:lnTo>
                    <a:lnTo>
                      <a:pt x="516" y="1974"/>
                    </a:lnTo>
                    <a:lnTo>
                      <a:pt x="514" y="1987"/>
                    </a:lnTo>
                    <a:lnTo>
                      <a:pt x="514" y="1998"/>
                    </a:lnTo>
                    <a:lnTo>
                      <a:pt x="514" y="2021"/>
                    </a:lnTo>
                    <a:lnTo>
                      <a:pt x="516" y="2042"/>
                    </a:lnTo>
                    <a:lnTo>
                      <a:pt x="516" y="2053"/>
                    </a:lnTo>
                    <a:lnTo>
                      <a:pt x="514" y="2062"/>
                    </a:lnTo>
                    <a:lnTo>
                      <a:pt x="514" y="2114"/>
                    </a:lnTo>
                    <a:lnTo>
                      <a:pt x="516" y="2183"/>
                    </a:lnTo>
                    <a:lnTo>
                      <a:pt x="514" y="2218"/>
                    </a:lnTo>
                    <a:lnTo>
                      <a:pt x="511" y="2250"/>
                    </a:lnTo>
                    <a:lnTo>
                      <a:pt x="500" y="2509"/>
                    </a:lnTo>
                    <a:lnTo>
                      <a:pt x="498" y="2525"/>
                    </a:lnTo>
                    <a:lnTo>
                      <a:pt x="496" y="2543"/>
                    </a:lnTo>
                    <a:lnTo>
                      <a:pt x="496" y="2578"/>
                    </a:lnTo>
                    <a:lnTo>
                      <a:pt x="495" y="2615"/>
                    </a:lnTo>
                    <a:lnTo>
                      <a:pt x="493" y="2633"/>
                    </a:lnTo>
                    <a:lnTo>
                      <a:pt x="492" y="2649"/>
                    </a:lnTo>
                    <a:lnTo>
                      <a:pt x="492" y="2698"/>
                    </a:lnTo>
                    <a:lnTo>
                      <a:pt x="488" y="2713"/>
                    </a:lnTo>
                    <a:lnTo>
                      <a:pt x="484" y="2730"/>
                    </a:lnTo>
                    <a:lnTo>
                      <a:pt x="480" y="2749"/>
                    </a:lnTo>
                    <a:lnTo>
                      <a:pt x="480" y="2759"/>
                    </a:lnTo>
                    <a:lnTo>
                      <a:pt x="482" y="2769"/>
                    </a:lnTo>
                    <a:lnTo>
                      <a:pt x="485" y="2777"/>
                    </a:lnTo>
                    <a:lnTo>
                      <a:pt x="492" y="2786"/>
                    </a:lnTo>
                    <a:lnTo>
                      <a:pt x="496" y="2796"/>
                    </a:lnTo>
                    <a:lnTo>
                      <a:pt x="501" y="2805"/>
                    </a:lnTo>
                    <a:lnTo>
                      <a:pt x="503" y="2818"/>
                    </a:lnTo>
                    <a:lnTo>
                      <a:pt x="503" y="2834"/>
                    </a:lnTo>
                    <a:lnTo>
                      <a:pt x="498" y="2868"/>
                    </a:lnTo>
                    <a:lnTo>
                      <a:pt x="495" y="2898"/>
                    </a:lnTo>
                    <a:lnTo>
                      <a:pt x="493" y="2911"/>
                    </a:lnTo>
                    <a:lnTo>
                      <a:pt x="496" y="2921"/>
                    </a:lnTo>
                    <a:lnTo>
                      <a:pt x="498" y="2924"/>
                    </a:lnTo>
                    <a:lnTo>
                      <a:pt x="501" y="2927"/>
                    </a:lnTo>
                    <a:lnTo>
                      <a:pt x="509" y="2932"/>
                    </a:lnTo>
                    <a:lnTo>
                      <a:pt x="530" y="2938"/>
                    </a:lnTo>
                    <a:lnTo>
                      <a:pt x="549" y="2948"/>
                    </a:lnTo>
                    <a:lnTo>
                      <a:pt x="560" y="2953"/>
                    </a:lnTo>
                    <a:lnTo>
                      <a:pt x="570" y="2956"/>
                    </a:lnTo>
                    <a:lnTo>
                      <a:pt x="578" y="2956"/>
                    </a:lnTo>
                    <a:lnTo>
                      <a:pt x="588" y="2954"/>
                    </a:lnTo>
                    <a:lnTo>
                      <a:pt x="599" y="2948"/>
                    </a:lnTo>
                    <a:lnTo>
                      <a:pt x="608" y="2942"/>
                    </a:lnTo>
                    <a:lnTo>
                      <a:pt x="618" y="2934"/>
                    </a:lnTo>
                    <a:lnTo>
                      <a:pt x="626" y="2926"/>
                    </a:lnTo>
                    <a:lnTo>
                      <a:pt x="631" y="2919"/>
                    </a:lnTo>
                    <a:lnTo>
                      <a:pt x="634" y="2914"/>
                    </a:lnTo>
                    <a:lnTo>
                      <a:pt x="636" y="2897"/>
                    </a:lnTo>
                    <a:lnTo>
                      <a:pt x="634" y="2887"/>
                    </a:lnTo>
                    <a:lnTo>
                      <a:pt x="634" y="2881"/>
                    </a:lnTo>
                    <a:lnTo>
                      <a:pt x="625" y="2874"/>
                    </a:lnTo>
                    <a:lnTo>
                      <a:pt x="623" y="2865"/>
                    </a:lnTo>
                    <a:lnTo>
                      <a:pt x="621" y="2847"/>
                    </a:lnTo>
                    <a:lnTo>
                      <a:pt x="620" y="2820"/>
                    </a:lnTo>
                    <a:lnTo>
                      <a:pt x="652" y="2812"/>
                    </a:lnTo>
                    <a:lnTo>
                      <a:pt x="668" y="2807"/>
                    </a:lnTo>
                    <a:lnTo>
                      <a:pt x="674" y="2804"/>
                    </a:lnTo>
                    <a:lnTo>
                      <a:pt x="681" y="2801"/>
                    </a:lnTo>
                    <a:lnTo>
                      <a:pt x="685" y="2727"/>
                    </a:lnTo>
                    <a:lnTo>
                      <a:pt x="681" y="2709"/>
                    </a:lnTo>
                    <a:lnTo>
                      <a:pt x="679" y="2700"/>
                    </a:lnTo>
                    <a:lnTo>
                      <a:pt x="681" y="2689"/>
                    </a:lnTo>
                    <a:lnTo>
                      <a:pt x="689" y="2604"/>
                    </a:lnTo>
                    <a:lnTo>
                      <a:pt x="689" y="2567"/>
                    </a:lnTo>
                    <a:lnTo>
                      <a:pt x="695" y="2532"/>
                    </a:lnTo>
                    <a:lnTo>
                      <a:pt x="698" y="2495"/>
                    </a:lnTo>
                    <a:lnTo>
                      <a:pt x="705" y="2424"/>
                    </a:lnTo>
                    <a:lnTo>
                      <a:pt x="711" y="2354"/>
                    </a:lnTo>
                    <a:lnTo>
                      <a:pt x="716" y="2317"/>
                    </a:lnTo>
                    <a:lnTo>
                      <a:pt x="721" y="2282"/>
                    </a:lnTo>
                    <a:lnTo>
                      <a:pt x="722" y="2258"/>
                    </a:lnTo>
                    <a:lnTo>
                      <a:pt x="724" y="2235"/>
                    </a:lnTo>
                    <a:lnTo>
                      <a:pt x="724" y="2213"/>
                    </a:lnTo>
                    <a:lnTo>
                      <a:pt x="727" y="2192"/>
                    </a:lnTo>
                    <a:lnTo>
                      <a:pt x="732" y="2107"/>
                    </a:lnTo>
                    <a:lnTo>
                      <a:pt x="738" y="2053"/>
                    </a:lnTo>
                    <a:lnTo>
                      <a:pt x="743" y="1998"/>
                    </a:lnTo>
                    <a:lnTo>
                      <a:pt x="748" y="1946"/>
                    </a:lnTo>
                    <a:lnTo>
                      <a:pt x="753" y="1920"/>
                    </a:lnTo>
                    <a:lnTo>
                      <a:pt x="757" y="1894"/>
                    </a:lnTo>
                    <a:lnTo>
                      <a:pt x="762" y="1838"/>
                    </a:lnTo>
                    <a:lnTo>
                      <a:pt x="769" y="1813"/>
                    </a:lnTo>
                    <a:lnTo>
                      <a:pt x="772" y="1785"/>
                    </a:lnTo>
                    <a:lnTo>
                      <a:pt x="778" y="1731"/>
                    </a:lnTo>
                    <a:lnTo>
                      <a:pt x="783" y="1675"/>
                    </a:lnTo>
                    <a:lnTo>
                      <a:pt x="786" y="1648"/>
                    </a:lnTo>
                    <a:lnTo>
                      <a:pt x="791" y="1619"/>
                    </a:lnTo>
                    <a:lnTo>
                      <a:pt x="809" y="1508"/>
                    </a:lnTo>
                    <a:lnTo>
                      <a:pt x="813" y="1489"/>
                    </a:lnTo>
                    <a:lnTo>
                      <a:pt x="817" y="1467"/>
                    </a:lnTo>
                    <a:lnTo>
                      <a:pt x="818" y="1444"/>
                    </a:lnTo>
                    <a:lnTo>
                      <a:pt x="818" y="1433"/>
                    </a:lnTo>
                    <a:lnTo>
                      <a:pt x="817" y="1422"/>
                    </a:lnTo>
                    <a:lnTo>
                      <a:pt x="807" y="1368"/>
                    </a:lnTo>
                    <a:lnTo>
                      <a:pt x="796" y="1318"/>
                    </a:lnTo>
                    <a:lnTo>
                      <a:pt x="794" y="1308"/>
                    </a:lnTo>
                    <a:lnTo>
                      <a:pt x="794" y="1300"/>
                    </a:lnTo>
                    <a:lnTo>
                      <a:pt x="794" y="1281"/>
                    </a:lnTo>
                    <a:lnTo>
                      <a:pt x="794" y="1262"/>
                    </a:lnTo>
                    <a:lnTo>
                      <a:pt x="793" y="1254"/>
                    </a:lnTo>
                    <a:lnTo>
                      <a:pt x="791" y="1246"/>
                    </a:lnTo>
                    <a:lnTo>
                      <a:pt x="793" y="1244"/>
                    </a:lnTo>
                    <a:lnTo>
                      <a:pt x="805" y="1254"/>
                    </a:lnTo>
                    <a:lnTo>
                      <a:pt x="823" y="1251"/>
                    </a:lnTo>
                    <a:lnTo>
                      <a:pt x="841" y="1246"/>
                    </a:lnTo>
                    <a:lnTo>
                      <a:pt x="855" y="1239"/>
                    </a:lnTo>
                    <a:lnTo>
                      <a:pt x="862" y="1235"/>
                    </a:lnTo>
                    <a:lnTo>
                      <a:pt x="865" y="1230"/>
                    </a:lnTo>
                    <a:lnTo>
                      <a:pt x="874" y="1204"/>
                    </a:lnTo>
                    <a:lnTo>
                      <a:pt x="879" y="1198"/>
                    </a:lnTo>
                    <a:lnTo>
                      <a:pt x="884" y="1191"/>
                    </a:lnTo>
                    <a:lnTo>
                      <a:pt x="894" y="1180"/>
                    </a:lnTo>
                    <a:lnTo>
                      <a:pt x="921" y="1139"/>
                    </a:lnTo>
                    <a:lnTo>
                      <a:pt x="934" y="1123"/>
                    </a:lnTo>
                    <a:lnTo>
                      <a:pt x="946" y="1107"/>
                    </a:lnTo>
                    <a:lnTo>
                      <a:pt x="961" y="1087"/>
                    </a:lnTo>
                    <a:lnTo>
                      <a:pt x="974" y="1065"/>
                    </a:lnTo>
                    <a:lnTo>
                      <a:pt x="986" y="1044"/>
                    </a:lnTo>
                    <a:lnTo>
                      <a:pt x="998" y="1020"/>
                    </a:lnTo>
                    <a:lnTo>
                      <a:pt x="1006" y="998"/>
                    </a:lnTo>
                    <a:lnTo>
                      <a:pt x="1010" y="975"/>
                    </a:lnTo>
                    <a:lnTo>
                      <a:pt x="1010" y="966"/>
                    </a:lnTo>
                    <a:lnTo>
                      <a:pt x="1010" y="958"/>
                    </a:lnTo>
                    <a:lnTo>
                      <a:pt x="1007" y="938"/>
                    </a:lnTo>
                    <a:lnTo>
                      <a:pt x="1001" y="918"/>
                    </a:lnTo>
                    <a:lnTo>
                      <a:pt x="993" y="897"/>
                    </a:lnTo>
                    <a:lnTo>
                      <a:pt x="975" y="857"/>
                    </a:lnTo>
                    <a:lnTo>
                      <a:pt x="962" y="826"/>
                    </a:lnTo>
                    <a:close/>
                    <a:moveTo>
                      <a:pt x="194" y="1678"/>
                    </a:moveTo>
                    <a:lnTo>
                      <a:pt x="194" y="1678"/>
                    </a:lnTo>
                    <a:lnTo>
                      <a:pt x="192" y="1680"/>
                    </a:lnTo>
                    <a:lnTo>
                      <a:pt x="189" y="1678"/>
                    </a:lnTo>
                    <a:lnTo>
                      <a:pt x="182" y="1654"/>
                    </a:lnTo>
                    <a:lnTo>
                      <a:pt x="179" y="1640"/>
                    </a:lnTo>
                    <a:lnTo>
                      <a:pt x="178" y="1627"/>
                    </a:lnTo>
                    <a:lnTo>
                      <a:pt x="178" y="1614"/>
                    </a:lnTo>
                    <a:lnTo>
                      <a:pt x="179" y="1601"/>
                    </a:lnTo>
                    <a:lnTo>
                      <a:pt x="184" y="1590"/>
                    </a:lnTo>
                    <a:lnTo>
                      <a:pt x="187" y="1585"/>
                    </a:lnTo>
                    <a:lnTo>
                      <a:pt x="192" y="1580"/>
                    </a:lnTo>
                    <a:lnTo>
                      <a:pt x="198" y="1580"/>
                    </a:lnTo>
                    <a:lnTo>
                      <a:pt x="202" y="1584"/>
                    </a:lnTo>
                    <a:lnTo>
                      <a:pt x="200" y="1630"/>
                    </a:lnTo>
                    <a:lnTo>
                      <a:pt x="198" y="1656"/>
                    </a:lnTo>
                    <a:lnTo>
                      <a:pt x="194" y="1678"/>
                    </a:lnTo>
                    <a:close/>
                    <a:moveTo>
                      <a:pt x="253" y="1355"/>
                    </a:moveTo>
                    <a:lnTo>
                      <a:pt x="253" y="1355"/>
                    </a:lnTo>
                    <a:lnTo>
                      <a:pt x="247" y="1356"/>
                    </a:lnTo>
                    <a:lnTo>
                      <a:pt x="242" y="1358"/>
                    </a:lnTo>
                    <a:lnTo>
                      <a:pt x="234" y="1366"/>
                    </a:lnTo>
                    <a:lnTo>
                      <a:pt x="235" y="1372"/>
                    </a:lnTo>
                    <a:lnTo>
                      <a:pt x="237" y="1376"/>
                    </a:lnTo>
                    <a:lnTo>
                      <a:pt x="243" y="1384"/>
                    </a:lnTo>
                    <a:lnTo>
                      <a:pt x="242" y="1395"/>
                    </a:lnTo>
                    <a:lnTo>
                      <a:pt x="237" y="1406"/>
                    </a:lnTo>
                    <a:lnTo>
                      <a:pt x="232" y="1416"/>
                    </a:lnTo>
                    <a:lnTo>
                      <a:pt x="229" y="1425"/>
                    </a:lnTo>
                    <a:lnTo>
                      <a:pt x="215" y="1484"/>
                    </a:lnTo>
                    <a:lnTo>
                      <a:pt x="213" y="1484"/>
                    </a:lnTo>
                    <a:lnTo>
                      <a:pt x="211" y="1467"/>
                    </a:lnTo>
                    <a:lnTo>
                      <a:pt x="210" y="1449"/>
                    </a:lnTo>
                    <a:lnTo>
                      <a:pt x="211" y="1416"/>
                    </a:lnTo>
                    <a:lnTo>
                      <a:pt x="218" y="1382"/>
                    </a:lnTo>
                    <a:lnTo>
                      <a:pt x="224" y="1348"/>
                    </a:lnTo>
                    <a:lnTo>
                      <a:pt x="240" y="1283"/>
                    </a:lnTo>
                    <a:lnTo>
                      <a:pt x="248" y="1251"/>
                    </a:lnTo>
                    <a:lnTo>
                      <a:pt x="255" y="1217"/>
                    </a:lnTo>
                    <a:lnTo>
                      <a:pt x="256" y="1220"/>
                    </a:lnTo>
                    <a:lnTo>
                      <a:pt x="256" y="1225"/>
                    </a:lnTo>
                    <a:lnTo>
                      <a:pt x="253" y="1233"/>
                    </a:lnTo>
                    <a:lnTo>
                      <a:pt x="250" y="1243"/>
                    </a:lnTo>
                    <a:lnTo>
                      <a:pt x="250" y="1247"/>
                    </a:lnTo>
                    <a:lnTo>
                      <a:pt x="251" y="1252"/>
                    </a:lnTo>
                    <a:lnTo>
                      <a:pt x="256" y="1257"/>
                    </a:lnTo>
                    <a:lnTo>
                      <a:pt x="255" y="1305"/>
                    </a:lnTo>
                    <a:lnTo>
                      <a:pt x="253" y="1355"/>
                    </a:lnTo>
                    <a:close/>
                    <a:moveTo>
                      <a:pt x="303" y="1033"/>
                    </a:moveTo>
                    <a:lnTo>
                      <a:pt x="303" y="1033"/>
                    </a:lnTo>
                    <a:lnTo>
                      <a:pt x="295" y="1063"/>
                    </a:lnTo>
                    <a:lnTo>
                      <a:pt x="287" y="1092"/>
                    </a:lnTo>
                    <a:lnTo>
                      <a:pt x="279" y="1119"/>
                    </a:lnTo>
                    <a:lnTo>
                      <a:pt x="271" y="1147"/>
                    </a:lnTo>
                    <a:lnTo>
                      <a:pt x="271" y="1179"/>
                    </a:lnTo>
                    <a:lnTo>
                      <a:pt x="261" y="1201"/>
                    </a:lnTo>
                    <a:lnTo>
                      <a:pt x="258" y="1201"/>
                    </a:lnTo>
                    <a:lnTo>
                      <a:pt x="258" y="1195"/>
                    </a:lnTo>
                    <a:lnTo>
                      <a:pt x="261" y="1183"/>
                    </a:lnTo>
                    <a:lnTo>
                      <a:pt x="263" y="1172"/>
                    </a:lnTo>
                    <a:lnTo>
                      <a:pt x="263" y="1159"/>
                    </a:lnTo>
                    <a:lnTo>
                      <a:pt x="266" y="1148"/>
                    </a:lnTo>
                    <a:lnTo>
                      <a:pt x="272" y="1119"/>
                    </a:lnTo>
                    <a:lnTo>
                      <a:pt x="275" y="1089"/>
                    </a:lnTo>
                    <a:lnTo>
                      <a:pt x="277" y="1073"/>
                    </a:lnTo>
                    <a:lnTo>
                      <a:pt x="277" y="1057"/>
                    </a:lnTo>
                    <a:lnTo>
                      <a:pt x="277" y="1041"/>
                    </a:lnTo>
                    <a:lnTo>
                      <a:pt x="274" y="1025"/>
                    </a:lnTo>
                    <a:lnTo>
                      <a:pt x="272" y="962"/>
                    </a:lnTo>
                    <a:lnTo>
                      <a:pt x="269" y="938"/>
                    </a:lnTo>
                    <a:lnTo>
                      <a:pt x="269" y="914"/>
                    </a:lnTo>
                    <a:lnTo>
                      <a:pt x="269" y="865"/>
                    </a:lnTo>
                    <a:lnTo>
                      <a:pt x="269" y="834"/>
                    </a:lnTo>
                    <a:lnTo>
                      <a:pt x="272" y="842"/>
                    </a:lnTo>
                    <a:lnTo>
                      <a:pt x="275" y="852"/>
                    </a:lnTo>
                    <a:lnTo>
                      <a:pt x="280" y="873"/>
                    </a:lnTo>
                    <a:lnTo>
                      <a:pt x="282" y="897"/>
                    </a:lnTo>
                    <a:lnTo>
                      <a:pt x="285" y="919"/>
                    </a:lnTo>
                    <a:lnTo>
                      <a:pt x="291" y="945"/>
                    </a:lnTo>
                    <a:lnTo>
                      <a:pt x="299" y="974"/>
                    </a:lnTo>
                    <a:lnTo>
                      <a:pt x="301" y="988"/>
                    </a:lnTo>
                    <a:lnTo>
                      <a:pt x="303" y="1002"/>
                    </a:lnTo>
                    <a:lnTo>
                      <a:pt x="304" y="1018"/>
                    </a:lnTo>
                    <a:lnTo>
                      <a:pt x="303" y="1033"/>
                    </a:lnTo>
                    <a:close/>
                    <a:moveTo>
                      <a:pt x="898" y="980"/>
                    </a:moveTo>
                    <a:lnTo>
                      <a:pt x="898" y="980"/>
                    </a:lnTo>
                    <a:lnTo>
                      <a:pt x="895" y="986"/>
                    </a:lnTo>
                    <a:lnTo>
                      <a:pt x="892" y="993"/>
                    </a:lnTo>
                    <a:lnTo>
                      <a:pt x="886" y="1004"/>
                    </a:lnTo>
                    <a:lnTo>
                      <a:pt x="876" y="1015"/>
                    </a:lnTo>
                    <a:lnTo>
                      <a:pt x="870" y="1028"/>
                    </a:lnTo>
                    <a:lnTo>
                      <a:pt x="857" y="1063"/>
                    </a:lnTo>
                    <a:lnTo>
                      <a:pt x="847" y="1086"/>
                    </a:lnTo>
                    <a:lnTo>
                      <a:pt x="836" y="1110"/>
                    </a:lnTo>
                    <a:lnTo>
                      <a:pt x="829" y="1123"/>
                    </a:lnTo>
                    <a:lnTo>
                      <a:pt x="823" y="1134"/>
                    </a:lnTo>
                    <a:lnTo>
                      <a:pt x="815" y="1142"/>
                    </a:lnTo>
                    <a:lnTo>
                      <a:pt x="809" y="1147"/>
                    </a:lnTo>
                    <a:lnTo>
                      <a:pt x="805" y="1139"/>
                    </a:lnTo>
                    <a:lnTo>
                      <a:pt x="802" y="1131"/>
                    </a:lnTo>
                    <a:lnTo>
                      <a:pt x="789" y="1113"/>
                    </a:lnTo>
                    <a:lnTo>
                      <a:pt x="764" y="1084"/>
                    </a:lnTo>
                    <a:lnTo>
                      <a:pt x="757" y="1070"/>
                    </a:lnTo>
                    <a:lnTo>
                      <a:pt x="754" y="1065"/>
                    </a:lnTo>
                    <a:lnTo>
                      <a:pt x="749" y="1063"/>
                    </a:lnTo>
                    <a:lnTo>
                      <a:pt x="745" y="1062"/>
                    </a:lnTo>
                    <a:lnTo>
                      <a:pt x="740" y="1058"/>
                    </a:lnTo>
                    <a:lnTo>
                      <a:pt x="730" y="1033"/>
                    </a:lnTo>
                    <a:lnTo>
                      <a:pt x="722" y="1006"/>
                    </a:lnTo>
                    <a:lnTo>
                      <a:pt x="717" y="978"/>
                    </a:lnTo>
                    <a:lnTo>
                      <a:pt x="714" y="950"/>
                    </a:lnTo>
                    <a:lnTo>
                      <a:pt x="714" y="919"/>
                    </a:lnTo>
                    <a:lnTo>
                      <a:pt x="716" y="889"/>
                    </a:lnTo>
                    <a:lnTo>
                      <a:pt x="721" y="860"/>
                    </a:lnTo>
                    <a:lnTo>
                      <a:pt x="727" y="829"/>
                    </a:lnTo>
                    <a:lnTo>
                      <a:pt x="732" y="796"/>
                    </a:lnTo>
                    <a:lnTo>
                      <a:pt x="738" y="775"/>
                    </a:lnTo>
                    <a:lnTo>
                      <a:pt x="741" y="764"/>
                    </a:lnTo>
                    <a:lnTo>
                      <a:pt x="745" y="754"/>
                    </a:lnTo>
                    <a:lnTo>
                      <a:pt x="753" y="745"/>
                    </a:lnTo>
                    <a:lnTo>
                      <a:pt x="756" y="740"/>
                    </a:lnTo>
                    <a:lnTo>
                      <a:pt x="759" y="732"/>
                    </a:lnTo>
                    <a:lnTo>
                      <a:pt x="764" y="737"/>
                    </a:lnTo>
                    <a:lnTo>
                      <a:pt x="769" y="743"/>
                    </a:lnTo>
                    <a:lnTo>
                      <a:pt x="780" y="764"/>
                    </a:lnTo>
                    <a:lnTo>
                      <a:pt x="801" y="801"/>
                    </a:lnTo>
                    <a:lnTo>
                      <a:pt x="810" y="815"/>
                    </a:lnTo>
                    <a:lnTo>
                      <a:pt x="821" y="826"/>
                    </a:lnTo>
                    <a:lnTo>
                      <a:pt x="833" y="839"/>
                    </a:lnTo>
                    <a:lnTo>
                      <a:pt x="842" y="852"/>
                    </a:lnTo>
                    <a:lnTo>
                      <a:pt x="852" y="871"/>
                    </a:lnTo>
                    <a:lnTo>
                      <a:pt x="860" y="889"/>
                    </a:lnTo>
                    <a:lnTo>
                      <a:pt x="868" y="908"/>
                    </a:lnTo>
                    <a:lnTo>
                      <a:pt x="878" y="926"/>
                    </a:lnTo>
                    <a:lnTo>
                      <a:pt x="884" y="937"/>
                    </a:lnTo>
                    <a:lnTo>
                      <a:pt x="892" y="950"/>
                    </a:lnTo>
                    <a:lnTo>
                      <a:pt x="895" y="956"/>
                    </a:lnTo>
                    <a:lnTo>
                      <a:pt x="898" y="964"/>
                    </a:lnTo>
                    <a:lnTo>
                      <a:pt x="898" y="972"/>
                    </a:lnTo>
                    <a:lnTo>
                      <a:pt x="898" y="980"/>
                    </a:lnTo>
                    <a:close/>
                  </a:path>
                </a:pathLst>
              </a:custGeom>
              <a:solidFill>
                <a:schemeClr val="accent5"/>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6" name="Gruppieren 33"/>
            <p:cNvGrpSpPr/>
            <p:nvPr/>
          </p:nvGrpSpPr>
          <p:grpSpPr>
            <a:xfrm>
              <a:off x="3128576" y="2594981"/>
              <a:ext cx="939368" cy="1409690"/>
              <a:chOff x="3506739" y="2431056"/>
              <a:chExt cx="939368" cy="1409690"/>
            </a:xfrm>
          </p:grpSpPr>
          <p:sp>
            <p:nvSpPr>
              <p:cNvPr id="16" name="Ellipse 4"/>
              <p:cNvSpPr/>
              <p:nvPr/>
            </p:nvSpPr>
            <p:spPr>
              <a:xfrm>
                <a:off x="3506739" y="3579680"/>
                <a:ext cx="939368" cy="261066"/>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17" name="Freeform 10"/>
              <p:cNvSpPr>
                <a:spLocks noEditPoints="1"/>
              </p:cNvSpPr>
              <p:nvPr/>
            </p:nvSpPr>
            <p:spPr bwMode="auto">
              <a:xfrm rot="21317180">
                <a:off x="3760248" y="2431056"/>
                <a:ext cx="427798" cy="1291552"/>
              </a:xfrm>
              <a:custGeom>
                <a:avLst/>
                <a:gdLst>
                  <a:gd name="T0" fmla="*/ 879 w 943"/>
                  <a:gd name="T1" fmla="*/ 962 h 2850"/>
                  <a:gd name="T2" fmla="*/ 897 w 943"/>
                  <a:gd name="T3" fmla="*/ 760 h 2850"/>
                  <a:gd name="T4" fmla="*/ 881 w 943"/>
                  <a:gd name="T5" fmla="*/ 603 h 2850"/>
                  <a:gd name="T6" fmla="*/ 796 w 943"/>
                  <a:gd name="T7" fmla="*/ 525 h 2850"/>
                  <a:gd name="T8" fmla="*/ 679 w 943"/>
                  <a:gd name="T9" fmla="*/ 443 h 2850"/>
                  <a:gd name="T10" fmla="*/ 696 w 943"/>
                  <a:gd name="T11" fmla="*/ 371 h 2850"/>
                  <a:gd name="T12" fmla="*/ 740 w 943"/>
                  <a:gd name="T13" fmla="*/ 282 h 2850"/>
                  <a:gd name="T14" fmla="*/ 720 w 943"/>
                  <a:gd name="T15" fmla="*/ 136 h 2850"/>
                  <a:gd name="T16" fmla="*/ 685 w 943"/>
                  <a:gd name="T17" fmla="*/ 65 h 2850"/>
                  <a:gd name="T18" fmla="*/ 652 w 943"/>
                  <a:gd name="T19" fmla="*/ 16 h 2850"/>
                  <a:gd name="T20" fmla="*/ 533 w 943"/>
                  <a:gd name="T21" fmla="*/ 6 h 2850"/>
                  <a:gd name="T22" fmla="*/ 431 w 943"/>
                  <a:gd name="T23" fmla="*/ 61 h 2850"/>
                  <a:gd name="T24" fmla="*/ 418 w 943"/>
                  <a:gd name="T25" fmla="*/ 205 h 2850"/>
                  <a:gd name="T26" fmla="*/ 493 w 943"/>
                  <a:gd name="T27" fmla="*/ 350 h 2850"/>
                  <a:gd name="T28" fmla="*/ 455 w 943"/>
                  <a:gd name="T29" fmla="*/ 419 h 2850"/>
                  <a:gd name="T30" fmla="*/ 416 w 943"/>
                  <a:gd name="T31" fmla="*/ 440 h 2850"/>
                  <a:gd name="T32" fmla="*/ 320 w 943"/>
                  <a:gd name="T33" fmla="*/ 483 h 2850"/>
                  <a:gd name="T34" fmla="*/ 218 w 943"/>
                  <a:gd name="T35" fmla="*/ 551 h 2850"/>
                  <a:gd name="T36" fmla="*/ 163 w 943"/>
                  <a:gd name="T37" fmla="*/ 722 h 2850"/>
                  <a:gd name="T38" fmla="*/ 150 w 943"/>
                  <a:gd name="T39" fmla="*/ 922 h 2850"/>
                  <a:gd name="T40" fmla="*/ 136 w 943"/>
                  <a:gd name="T41" fmla="*/ 1266 h 2850"/>
                  <a:gd name="T42" fmla="*/ 141 w 943"/>
                  <a:gd name="T43" fmla="*/ 1473 h 2850"/>
                  <a:gd name="T44" fmla="*/ 149 w 943"/>
                  <a:gd name="T45" fmla="*/ 1604 h 2850"/>
                  <a:gd name="T46" fmla="*/ 197 w 943"/>
                  <a:gd name="T47" fmla="*/ 1934 h 2850"/>
                  <a:gd name="T48" fmla="*/ 133 w 943"/>
                  <a:gd name="T49" fmla="*/ 2190 h 2850"/>
                  <a:gd name="T50" fmla="*/ 53 w 943"/>
                  <a:gd name="T51" fmla="*/ 2663 h 2850"/>
                  <a:gd name="T52" fmla="*/ 14 w 943"/>
                  <a:gd name="T53" fmla="*/ 2796 h 2850"/>
                  <a:gd name="T54" fmla="*/ 94 w 943"/>
                  <a:gd name="T55" fmla="*/ 2850 h 2850"/>
                  <a:gd name="T56" fmla="*/ 179 w 943"/>
                  <a:gd name="T57" fmla="*/ 2812 h 2850"/>
                  <a:gd name="T58" fmla="*/ 243 w 943"/>
                  <a:gd name="T59" fmla="*/ 2720 h 2850"/>
                  <a:gd name="T60" fmla="*/ 266 w 943"/>
                  <a:gd name="T61" fmla="*/ 2616 h 2850"/>
                  <a:gd name="T62" fmla="*/ 399 w 943"/>
                  <a:gd name="T63" fmla="*/ 2099 h 2850"/>
                  <a:gd name="T64" fmla="*/ 472 w 943"/>
                  <a:gd name="T65" fmla="*/ 1776 h 2850"/>
                  <a:gd name="T66" fmla="*/ 523 w 943"/>
                  <a:gd name="T67" fmla="*/ 1691 h 2850"/>
                  <a:gd name="T68" fmla="*/ 519 w 943"/>
                  <a:gd name="T69" fmla="*/ 1878 h 2850"/>
                  <a:gd name="T70" fmla="*/ 483 w 943"/>
                  <a:gd name="T71" fmla="*/ 2217 h 2850"/>
                  <a:gd name="T72" fmla="*/ 443 w 943"/>
                  <a:gd name="T73" fmla="*/ 2507 h 2850"/>
                  <a:gd name="T74" fmla="*/ 413 w 943"/>
                  <a:gd name="T75" fmla="*/ 2765 h 2850"/>
                  <a:gd name="T76" fmla="*/ 499 w 943"/>
                  <a:gd name="T77" fmla="*/ 2791 h 2850"/>
                  <a:gd name="T78" fmla="*/ 576 w 943"/>
                  <a:gd name="T79" fmla="*/ 2837 h 2850"/>
                  <a:gd name="T80" fmla="*/ 671 w 943"/>
                  <a:gd name="T81" fmla="*/ 2799 h 2850"/>
                  <a:gd name="T82" fmla="*/ 615 w 943"/>
                  <a:gd name="T83" fmla="*/ 2696 h 2850"/>
                  <a:gd name="T84" fmla="*/ 666 w 943"/>
                  <a:gd name="T85" fmla="*/ 2445 h 2850"/>
                  <a:gd name="T86" fmla="*/ 696 w 943"/>
                  <a:gd name="T87" fmla="*/ 2192 h 2850"/>
                  <a:gd name="T88" fmla="*/ 829 w 943"/>
                  <a:gd name="T89" fmla="*/ 1580 h 2850"/>
                  <a:gd name="T90" fmla="*/ 841 w 943"/>
                  <a:gd name="T91" fmla="*/ 1345 h 2850"/>
                  <a:gd name="T92" fmla="*/ 858 w 943"/>
                  <a:gd name="T93" fmla="*/ 1436 h 2850"/>
                  <a:gd name="T94" fmla="*/ 857 w 943"/>
                  <a:gd name="T95" fmla="*/ 1507 h 2850"/>
                  <a:gd name="T96" fmla="*/ 876 w 943"/>
                  <a:gd name="T97" fmla="*/ 1585 h 2850"/>
                  <a:gd name="T98" fmla="*/ 841 w 943"/>
                  <a:gd name="T99" fmla="*/ 1659 h 2850"/>
                  <a:gd name="T100" fmla="*/ 927 w 943"/>
                  <a:gd name="T101" fmla="*/ 1599 h 2850"/>
                  <a:gd name="T102" fmla="*/ 937 w 943"/>
                  <a:gd name="T103" fmla="*/ 1442 h 2850"/>
                  <a:gd name="T104" fmla="*/ 259 w 943"/>
                  <a:gd name="T105" fmla="*/ 1295 h 2850"/>
                  <a:gd name="T106" fmla="*/ 245 w 943"/>
                  <a:gd name="T107" fmla="*/ 1402 h 2850"/>
                  <a:gd name="T108" fmla="*/ 240 w 943"/>
                  <a:gd name="T109" fmla="*/ 1390 h 2850"/>
                  <a:gd name="T110" fmla="*/ 290 w 943"/>
                  <a:gd name="T111" fmla="*/ 888 h 2850"/>
                  <a:gd name="T112" fmla="*/ 315 w 943"/>
                  <a:gd name="T113" fmla="*/ 1015 h 2850"/>
                  <a:gd name="T114" fmla="*/ 310 w 943"/>
                  <a:gd name="T115" fmla="*/ 1119 h 28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43"/>
                  <a:gd name="T175" fmla="*/ 0 h 2850"/>
                  <a:gd name="T176" fmla="*/ 943 w 943"/>
                  <a:gd name="T177" fmla="*/ 2850 h 285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43" h="2850">
                    <a:moveTo>
                      <a:pt x="937" y="1442"/>
                    </a:moveTo>
                    <a:lnTo>
                      <a:pt x="937" y="1442"/>
                    </a:lnTo>
                    <a:lnTo>
                      <a:pt x="916" y="1241"/>
                    </a:lnTo>
                    <a:lnTo>
                      <a:pt x="911" y="1141"/>
                    </a:lnTo>
                    <a:lnTo>
                      <a:pt x="895" y="1055"/>
                    </a:lnTo>
                    <a:lnTo>
                      <a:pt x="887" y="1010"/>
                    </a:lnTo>
                    <a:lnTo>
                      <a:pt x="879" y="962"/>
                    </a:lnTo>
                    <a:lnTo>
                      <a:pt x="874" y="914"/>
                    </a:lnTo>
                    <a:lnTo>
                      <a:pt x="873" y="866"/>
                    </a:lnTo>
                    <a:lnTo>
                      <a:pt x="873" y="842"/>
                    </a:lnTo>
                    <a:lnTo>
                      <a:pt x="874" y="816"/>
                    </a:lnTo>
                    <a:lnTo>
                      <a:pt x="877" y="792"/>
                    </a:lnTo>
                    <a:lnTo>
                      <a:pt x="881" y="770"/>
                    </a:lnTo>
                    <a:lnTo>
                      <a:pt x="889" y="765"/>
                    </a:lnTo>
                    <a:lnTo>
                      <a:pt x="897" y="760"/>
                    </a:lnTo>
                    <a:lnTo>
                      <a:pt x="905" y="754"/>
                    </a:lnTo>
                    <a:lnTo>
                      <a:pt x="906" y="751"/>
                    </a:lnTo>
                    <a:lnTo>
                      <a:pt x="908" y="746"/>
                    </a:lnTo>
                    <a:lnTo>
                      <a:pt x="901" y="723"/>
                    </a:lnTo>
                    <a:lnTo>
                      <a:pt x="897" y="701"/>
                    </a:lnTo>
                    <a:lnTo>
                      <a:pt x="889" y="651"/>
                    </a:lnTo>
                    <a:lnTo>
                      <a:pt x="885" y="627"/>
                    </a:lnTo>
                    <a:lnTo>
                      <a:pt x="881" y="603"/>
                    </a:lnTo>
                    <a:lnTo>
                      <a:pt x="874" y="583"/>
                    </a:lnTo>
                    <a:lnTo>
                      <a:pt x="869" y="575"/>
                    </a:lnTo>
                    <a:lnTo>
                      <a:pt x="863" y="565"/>
                    </a:lnTo>
                    <a:lnTo>
                      <a:pt x="853" y="555"/>
                    </a:lnTo>
                    <a:lnTo>
                      <a:pt x="844" y="546"/>
                    </a:lnTo>
                    <a:lnTo>
                      <a:pt x="833" y="539"/>
                    </a:lnTo>
                    <a:lnTo>
                      <a:pt x="821" y="533"/>
                    </a:lnTo>
                    <a:lnTo>
                      <a:pt x="796" y="525"/>
                    </a:lnTo>
                    <a:lnTo>
                      <a:pt x="770" y="519"/>
                    </a:lnTo>
                    <a:lnTo>
                      <a:pt x="745" y="509"/>
                    </a:lnTo>
                    <a:lnTo>
                      <a:pt x="732" y="503"/>
                    </a:lnTo>
                    <a:lnTo>
                      <a:pt x="720" y="496"/>
                    </a:lnTo>
                    <a:lnTo>
                      <a:pt x="708" y="486"/>
                    </a:lnTo>
                    <a:lnTo>
                      <a:pt x="698" y="475"/>
                    </a:lnTo>
                    <a:lnTo>
                      <a:pt x="687" y="461"/>
                    </a:lnTo>
                    <a:lnTo>
                      <a:pt x="679" y="443"/>
                    </a:lnTo>
                    <a:lnTo>
                      <a:pt x="674" y="432"/>
                    </a:lnTo>
                    <a:lnTo>
                      <a:pt x="671" y="416"/>
                    </a:lnTo>
                    <a:lnTo>
                      <a:pt x="669" y="400"/>
                    </a:lnTo>
                    <a:lnTo>
                      <a:pt x="671" y="392"/>
                    </a:lnTo>
                    <a:lnTo>
                      <a:pt x="672" y="384"/>
                    </a:lnTo>
                    <a:lnTo>
                      <a:pt x="677" y="379"/>
                    </a:lnTo>
                    <a:lnTo>
                      <a:pt x="684" y="376"/>
                    </a:lnTo>
                    <a:lnTo>
                      <a:pt x="696" y="371"/>
                    </a:lnTo>
                    <a:lnTo>
                      <a:pt x="703" y="368"/>
                    </a:lnTo>
                    <a:lnTo>
                      <a:pt x="709" y="365"/>
                    </a:lnTo>
                    <a:lnTo>
                      <a:pt x="716" y="362"/>
                    </a:lnTo>
                    <a:lnTo>
                      <a:pt x="719" y="355"/>
                    </a:lnTo>
                    <a:lnTo>
                      <a:pt x="725" y="342"/>
                    </a:lnTo>
                    <a:lnTo>
                      <a:pt x="730" y="325"/>
                    </a:lnTo>
                    <a:lnTo>
                      <a:pt x="735" y="304"/>
                    </a:lnTo>
                    <a:lnTo>
                      <a:pt x="740" y="282"/>
                    </a:lnTo>
                    <a:lnTo>
                      <a:pt x="741" y="261"/>
                    </a:lnTo>
                    <a:lnTo>
                      <a:pt x="741" y="238"/>
                    </a:lnTo>
                    <a:lnTo>
                      <a:pt x="741" y="219"/>
                    </a:lnTo>
                    <a:lnTo>
                      <a:pt x="736" y="203"/>
                    </a:lnTo>
                    <a:lnTo>
                      <a:pt x="716" y="171"/>
                    </a:lnTo>
                    <a:lnTo>
                      <a:pt x="720" y="136"/>
                    </a:lnTo>
                    <a:lnTo>
                      <a:pt x="719" y="129"/>
                    </a:lnTo>
                    <a:lnTo>
                      <a:pt x="714" y="123"/>
                    </a:lnTo>
                    <a:lnTo>
                      <a:pt x="704" y="107"/>
                    </a:lnTo>
                    <a:lnTo>
                      <a:pt x="695" y="93"/>
                    </a:lnTo>
                    <a:lnTo>
                      <a:pt x="687" y="80"/>
                    </a:lnTo>
                    <a:lnTo>
                      <a:pt x="685" y="77"/>
                    </a:lnTo>
                    <a:lnTo>
                      <a:pt x="685" y="73"/>
                    </a:lnTo>
                    <a:lnTo>
                      <a:pt x="685" y="65"/>
                    </a:lnTo>
                    <a:lnTo>
                      <a:pt x="687" y="59"/>
                    </a:lnTo>
                    <a:lnTo>
                      <a:pt x="687" y="54"/>
                    </a:lnTo>
                    <a:lnTo>
                      <a:pt x="685" y="49"/>
                    </a:lnTo>
                    <a:lnTo>
                      <a:pt x="680" y="43"/>
                    </a:lnTo>
                    <a:lnTo>
                      <a:pt x="676" y="35"/>
                    </a:lnTo>
                    <a:lnTo>
                      <a:pt x="671" y="30"/>
                    </a:lnTo>
                    <a:lnTo>
                      <a:pt x="664" y="24"/>
                    </a:lnTo>
                    <a:lnTo>
                      <a:pt x="652" y="16"/>
                    </a:lnTo>
                    <a:lnTo>
                      <a:pt x="634" y="9"/>
                    </a:lnTo>
                    <a:lnTo>
                      <a:pt x="616" y="4"/>
                    </a:lnTo>
                    <a:lnTo>
                      <a:pt x="596" y="1"/>
                    </a:lnTo>
                    <a:lnTo>
                      <a:pt x="575" y="0"/>
                    </a:lnTo>
                    <a:lnTo>
                      <a:pt x="551" y="0"/>
                    </a:lnTo>
                    <a:lnTo>
                      <a:pt x="548" y="3"/>
                    </a:lnTo>
                    <a:lnTo>
                      <a:pt x="543" y="4"/>
                    </a:lnTo>
                    <a:lnTo>
                      <a:pt x="533" y="6"/>
                    </a:lnTo>
                    <a:lnTo>
                      <a:pt x="523" y="6"/>
                    </a:lnTo>
                    <a:lnTo>
                      <a:pt x="512" y="9"/>
                    </a:lnTo>
                    <a:lnTo>
                      <a:pt x="491" y="17"/>
                    </a:lnTo>
                    <a:lnTo>
                      <a:pt x="467" y="30"/>
                    </a:lnTo>
                    <a:lnTo>
                      <a:pt x="456" y="37"/>
                    </a:lnTo>
                    <a:lnTo>
                      <a:pt x="447" y="45"/>
                    </a:lnTo>
                    <a:lnTo>
                      <a:pt x="437" y="53"/>
                    </a:lnTo>
                    <a:lnTo>
                      <a:pt x="431" y="61"/>
                    </a:lnTo>
                    <a:lnTo>
                      <a:pt x="424" y="73"/>
                    </a:lnTo>
                    <a:lnTo>
                      <a:pt x="419" y="86"/>
                    </a:lnTo>
                    <a:lnTo>
                      <a:pt x="416" y="99"/>
                    </a:lnTo>
                    <a:lnTo>
                      <a:pt x="413" y="113"/>
                    </a:lnTo>
                    <a:lnTo>
                      <a:pt x="413" y="128"/>
                    </a:lnTo>
                    <a:lnTo>
                      <a:pt x="411" y="144"/>
                    </a:lnTo>
                    <a:lnTo>
                      <a:pt x="413" y="174"/>
                    </a:lnTo>
                    <a:lnTo>
                      <a:pt x="418" y="205"/>
                    </a:lnTo>
                    <a:lnTo>
                      <a:pt x="426" y="233"/>
                    </a:lnTo>
                    <a:lnTo>
                      <a:pt x="435" y="259"/>
                    </a:lnTo>
                    <a:lnTo>
                      <a:pt x="447" y="280"/>
                    </a:lnTo>
                    <a:lnTo>
                      <a:pt x="477" y="312"/>
                    </a:lnTo>
                    <a:lnTo>
                      <a:pt x="483" y="323"/>
                    </a:lnTo>
                    <a:lnTo>
                      <a:pt x="488" y="338"/>
                    </a:lnTo>
                    <a:lnTo>
                      <a:pt x="493" y="350"/>
                    </a:lnTo>
                    <a:lnTo>
                      <a:pt x="499" y="362"/>
                    </a:lnTo>
                    <a:lnTo>
                      <a:pt x="488" y="405"/>
                    </a:lnTo>
                    <a:lnTo>
                      <a:pt x="482" y="408"/>
                    </a:lnTo>
                    <a:lnTo>
                      <a:pt x="477" y="411"/>
                    </a:lnTo>
                    <a:lnTo>
                      <a:pt x="474" y="414"/>
                    </a:lnTo>
                    <a:lnTo>
                      <a:pt x="471" y="419"/>
                    </a:lnTo>
                    <a:lnTo>
                      <a:pt x="455" y="419"/>
                    </a:lnTo>
                    <a:lnTo>
                      <a:pt x="451" y="422"/>
                    </a:lnTo>
                    <a:lnTo>
                      <a:pt x="450" y="427"/>
                    </a:lnTo>
                    <a:lnTo>
                      <a:pt x="448" y="430"/>
                    </a:lnTo>
                    <a:lnTo>
                      <a:pt x="447" y="435"/>
                    </a:lnTo>
                    <a:lnTo>
                      <a:pt x="443" y="437"/>
                    </a:lnTo>
                    <a:lnTo>
                      <a:pt x="416" y="440"/>
                    </a:lnTo>
                    <a:lnTo>
                      <a:pt x="405" y="448"/>
                    </a:lnTo>
                    <a:lnTo>
                      <a:pt x="392" y="458"/>
                    </a:lnTo>
                    <a:lnTo>
                      <a:pt x="381" y="467"/>
                    </a:lnTo>
                    <a:lnTo>
                      <a:pt x="368" y="475"/>
                    </a:lnTo>
                    <a:lnTo>
                      <a:pt x="367" y="477"/>
                    </a:lnTo>
                    <a:lnTo>
                      <a:pt x="320" y="483"/>
                    </a:lnTo>
                    <a:lnTo>
                      <a:pt x="302" y="490"/>
                    </a:lnTo>
                    <a:lnTo>
                      <a:pt x="286" y="494"/>
                    </a:lnTo>
                    <a:lnTo>
                      <a:pt x="272" y="501"/>
                    </a:lnTo>
                    <a:lnTo>
                      <a:pt x="259" y="509"/>
                    </a:lnTo>
                    <a:lnTo>
                      <a:pt x="248" y="517"/>
                    </a:lnTo>
                    <a:lnTo>
                      <a:pt x="237" y="527"/>
                    </a:lnTo>
                    <a:lnTo>
                      <a:pt x="227" y="538"/>
                    </a:lnTo>
                    <a:lnTo>
                      <a:pt x="218" y="551"/>
                    </a:lnTo>
                    <a:lnTo>
                      <a:pt x="208" y="565"/>
                    </a:lnTo>
                    <a:lnTo>
                      <a:pt x="200" y="583"/>
                    </a:lnTo>
                    <a:lnTo>
                      <a:pt x="192" y="602"/>
                    </a:lnTo>
                    <a:lnTo>
                      <a:pt x="186" y="623"/>
                    </a:lnTo>
                    <a:lnTo>
                      <a:pt x="174" y="664"/>
                    </a:lnTo>
                    <a:lnTo>
                      <a:pt x="166" y="704"/>
                    </a:lnTo>
                    <a:lnTo>
                      <a:pt x="163" y="722"/>
                    </a:lnTo>
                    <a:lnTo>
                      <a:pt x="165" y="739"/>
                    </a:lnTo>
                    <a:lnTo>
                      <a:pt x="165" y="759"/>
                    </a:lnTo>
                    <a:lnTo>
                      <a:pt x="163" y="778"/>
                    </a:lnTo>
                    <a:lnTo>
                      <a:pt x="160" y="796"/>
                    </a:lnTo>
                    <a:lnTo>
                      <a:pt x="158" y="816"/>
                    </a:lnTo>
                    <a:lnTo>
                      <a:pt x="155" y="858"/>
                    </a:lnTo>
                    <a:lnTo>
                      <a:pt x="152" y="901"/>
                    </a:lnTo>
                    <a:lnTo>
                      <a:pt x="150" y="922"/>
                    </a:lnTo>
                    <a:lnTo>
                      <a:pt x="147" y="943"/>
                    </a:lnTo>
                    <a:lnTo>
                      <a:pt x="141" y="986"/>
                    </a:lnTo>
                    <a:lnTo>
                      <a:pt x="134" y="1031"/>
                    </a:lnTo>
                    <a:lnTo>
                      <a:pt x="131" y="1077"/>
                    </a:lnTo>
                    <a:lnTo>
                      <a:pt x="128" y="1125"/>
                    </a:lnTo>
                    <a:lnTo>
                      <a:pt x="128" y="1173"/>
                    </a:lnTo>
                    <a:lnTo>
                      <a:pt x="131" y="1221"/>
                    </a:lnTo>
                    <a:lnTo>
                      <a:pt x="136" y="1266"/>
                    </a:lnTo>
                    <a:lnTo>
                      <a:pt x="142" y="1310"/>
                    </a:lnTo>
                    <a:lnTo>
                      <a:pt x="146" y="1338"/>
                    </a:lnTo>
                    <a:lnTo>
                      <a:pt x="147" y="1382"/>
                    </a:lnTo>
                    <a:lnTo>
                      <a:pt x="149" y="1422"/>
                    </a:lnTo>
                    <a:lnTo>
                      <a:pt x="149" y="1438"/>
                    </a:lnTo>
                    <a:lnTo>
                      <a:pt x="147" y="1447"/>
                    </a:lnTo>
                    <a:lnTo>
                      <a:pt x="141" y="1473"/>
                    </a:lnTo>
                    <a:lnTo>
                      <a:pt x="133" y="1510"/>
                    </a:lnTo>
                    <a:lnTo>
                      <a:pt x="130" y="1529"/>
                    </a:lnTo>
                    <a:lnTo>
                      <a:pt x="128" y="1548"/>
                    </a:lnTo>
                    <a:lnTo>
                      <a:pt x="130" y="1566"/>
                    </a:lnTo>
                    <a:lnTo>
                      <a:pt x="131" y="1574"/>
                    </a:lnTo>
                    <a:lnTo>
                      <a:pt x="134" y="1582"/>
                    </a:lnTo>
                    <a:lnTo>
                      <a:pt x="141" y="1593"/>
                    </a:lnTo>
                    <a:lnTo>
                      <a:pt x="149" y="1604"/>
                    </a:lnTo>
                    <a:lnTo>
                      <a:pt x="158" y="1615"/>
                    </a:lnTo>
                    <a:lnTo>
                      <a:pt x="168" y="1625"/>
                    </a:lnTo>
                    <a:lnTo>
                      <a:pt x="190" y="1646"/>
                    </a:lnTo>
                    <a:lnTo>
                      <a:pt x="210" y="1663"/>
                    </a:lnTo>
                    <a:lnTo>
                      <a:pt x="194" y="1852"/>
                    </a:lnTo>
                    <a:lnTo>
                      <a:pt x="197" y="1934"/>
                    </a:lnTo>
                    <a:lnTo>
                      <a:pt x="178" y="1964"/>
                    </a:lnTo>
                    <a:lnTo>
                      <a:pt x="174" y="1990"/>
                    </a:lnTo>
                    <a:lnTo>
                      <a:pt x="152" y="2032"/>
                    </a:lnTo>
                    <a:lnTo>
                      <a:pt x="147" y="2123"/>
                    </a:lnTo>
                    <a:lnTo>
                      <a:pt x="133" y="2190"/>
                    </a:lnTo>
                    <a:lnTo>
                      <a:pt x="120" y="2261"/>
                    </a:lnTo>
                    <a:lnTo>
                      <a:pt x="94" y="2402"/>
                    </a:lnTo>
                    <a:lnTo>
                      <a:pt x="85" y="2451"/>
                    </a:lnTo>
                    <a:lnTo>
                      <a:pt x="78" y="2501"/>
                    </a:lnTo>
                    <a:lnTo>
                      <a:pt x="72" y="2551"/>
                    </a:lnTo>
                    <a:lnTo>
                      <a:pt x="64" y="2603"/>
                    </a:lnTo>
                    <a:lnTo>
                      <a:pt x="53" y="2663"/>
                    </a:lnTo>
                    <a:lnTo>
                      <a:pt x="75" y="2691"/>
                    </a:lnTo>
                    <a:lnTo>
                      <a:pt x="64" y="2725"/>
                    </a:lnTo>
                    <a:lnTo>
                      <a:pt x="56" y="2736"/>
                    </a:lnTo>
                    <a:lnTo>
                      <a:pt x="46" y="2749"/>
                    </a:lnTo>
                    <a:lnTo>
                      <a:pt x="24" y="2780"/>
                    </a:lnTo>
                    <a:lnTo>
                      <a:pt x="14" y="2796"/>
                    </a:lnTo>
                    <a:lnTo>
                      <a:pt x="5" y="2812"/>
                    </a:lnTo>
                    <a:lnTo>
                      <a:pt x="3" y="2820"/>
                    </a:lnTo>
                    <a:lnTo>
                      <a:pt x="1" y="2828"/>
                    </a:lnTo>
                    <a:lnTo>
                      <a:pt x="0" y="2836"/>
                    </a:lnTo>
                    <a:lnTo>
                      <a:pt x="1" y="2844"/>
                    </a:lnTo>
                    <a:lnTo>
                      <a:pt x="46" y="2848"/>
                    </a:lnTo>
                    <a:lnTo>
                      <a:pt x="70" y="2850"/>
                    </a:lnTo>
                    <a:lnTo>
                      <a:pt x="94" y="2850"/>
                    </a:lnTo>
                    <a:lnTo>
                      <a:pt x="118" y="2850"/>
                    </a:lnTo>
                    <a:lnTo>
                      <a:pt x="141" y="2848"/>
                    </a:lnTo>
                    <a:lnTo>
                      <a:pt x="162" y="2844"/>
                    </a:lnTo>
                    <a:lnTo>
                      <a:pt x="181" y="2839"/>
                    </a:lnTo>
                    <a:lnTo>
                      <a:pt x="179" y="2826"/>
                    </a:lnTo>
                    <a:lnTo>
                      <a:pt x="178" y="2813"/>
                    </a:lnTo>
                    <a:lnTo>
                      <a:pt x="179" y="2812"/>
                    </a:lnTo>
                    <a:lnTo>
                      <a:pt x="202" y="2810"/>
                    </a:lnTo>
                    <a:lnTo>
                      <a:pt x="222" y="2807"/>
                    </a:lnTo>
                    <a:lnTo>
                      <a:pt x="230" y="2804"/>
                    </a:lnTo>
                    <a:lnTo>
                      <a:pt x="238" y="2800"/>
                    </a:lnTo>
                    <a:lnTo>
                      <a:pt x="246" y="2796"/>
                    </a:lnTo>
                    <a:lnTo>
                      <a:pt x="254" y="2789"/>
                    </a:lnTo>
                    <a:lnTo>
                      <a:pt x="243" y="2720"/>
                    </a:lnTo>
                    <a:lnTo>
                      <a:pt x="259" y="2701"/>
                    </a:lnTo>
                    <a:lnTo>
                      <a:pt x="262" y="2690"/>
                    </a:lnTo>
                    <a:lnTo>
                      <a:pt x="264" y="2679"/>
                    </a:lnTo>
                    <a:lnTo>
                      <a:pt x="264" y="2658"/>
                    </a:lnTo>
                    <a:lnTo>
                      <a:pt x="264" y="2637"/>
                    </a:lnTo>
                    <a:lnTo>
                      <a:pt x="264" y="2626"/>
                    </a:lnTo>
                    <a:lnTo>
                      <a:pt x="266" y="2616"/>
                    </a:lnTo>
                    <a:lnTo>
                      <a:pt x="283" y="2536"/>
                    </a:lnTo>
                    <a:lnTo>
                      <a:pt x="301" y="2454"/>
                    </a:lnTo>
                    <a:lnTo>
                      <a:pt x="318" y="2374"/>
                    </a:lnTo>
                    <a:lnTo>
                      <a:pt x="336" y="2299"/>
                    </a:lnTo>
                    <a:lnTo>
                      <a:pt x="367" y="2166"/>
                    </a:lnTo>
                    <a:lnTo>
                      <a:pt x="399" y="2099"/>
                    </a:lnTo>
                    <a:lnTo>
                      <a:pt x="413" y="2064"/>
                    </a:lnTo>
                    <a:lnTo>
                      <a:pt x="419" y="2045"/>
                    </a:lnTo>
                    <a:lnTo>
                      <a:pt x="426" y="2025"/>
                    </a:lnTo>
                    <a:lnTo>
                      <a:pt x="440" y="1905"/>
                    </a:lnTo>
                    <a:lnTo>
                      <a:pt x="455" y="1843"/>
                    </a:lnTo>
                    <a:lnTo>
                      <a:pt x="463" y="1809"/>
                    </a:lnTo>
                    <a:lnTo>
                      <a:pt x="472" y="1776"/>
                    </a:lnTo>
                    <a:lnTo>
                      <a:pt x="482" y="1742"/>
                    </a:lnTo>
                    <a:lnTo>
                      <a:pt x="493" y="1711"/>
                    </a:lnTo>
                    <a:lnTo>
                      <a:pt x="506" y="1684"/>
                    </a:lnTo>
                    <a:lnTo>
                      <a:pt x="514" y="1671"/>
                    </a:lnTo>
                    <a:lnTo>
                      <a:pt x="520" y="1662"/>
                    </a:lnTo>
                    <a:lnTo>
                      <a:pt x="523" y="1663"/>
                    </a:lnTo>
                    <a:lnTo>
                      <a:pt x="523" y="1691"/>
                    </a:lnTo>
                    <a:lnTo>
                      <a:pt x="522" y="1721"/>
                    </a:lnTo>
                    <a:lnTo>
                      <a:pt x="517" y="1750"/>
                    </a:lnTo>
                    <a:lnTo>
                      <a:pt x="512" y="1777"/>
                    </a:lnTo>
                    <a:lnTo>
                      <a:pt x="511" y="1792"/>
                    </a:lnTo>
                    <a:lnTo>
                      <a:pt x="511" y="1806"/>
                    </a:lnTo>
                    <a:lnTo>
                      <a:pt x="515" y="1833"/>
                    </a:lnTo>
                    <a:lnTo>
                      <a:pt x="519" y="1862"/>
                    </a:lnTo>
                    <a:lnTo>
                      <a:pt x="519" y="1878"/>
                    </a:lnTo>
                    <a:lnTo>
                      <a:pt x="517" y="1892"/>
                    </a:lnTo>
                    <a:lnTo>
                      <a:pt x="506" y="2051"/>
                    </a:lnTo>
                    <a:lnTo>
                      <a:pt x="506" y="2099"/>
                    </a:lnTo>
                    <a:lnTo>
                      <a:pt x="491" y="2150"/>
                    </a:lnTo>
                    <a:lnTo>
                      <a:pt x="487" y="2184"/>
                    </a:lnTo>
                    <a:lnTo>
                      <a:pt x="483" y="2217"/>
                    </a:lnTo>
                    <a:lnTo>
                      <a:pt x="479" y="2285"/>
                    </a:lnTo>
                    <a:lnTo>
                      <a:pt x="475" y="2318"/>
                    </a:lnTo>
                    <a:lnTo>
                      <a:pt x="472" y="2350"/>
                    </a:lnTo>
                    <a:lnTo>
                      <a:pt x="467" y="2382"/>
                    </a:lnTo>
                    <a:lnTo>
                      <a:pt x="461" y="2411"/>
                    </a:lnTo>
                    <a:lnTo>
                      <a:pt x="453" y="2442"/>
                    </a:lnTo>
                    <a:lnTo>
                      <a:pt x="448" y="2474"/>
                    </a:lnTo>
                    <a:lnTo>
                      <a:pt x="443" y="2507"/>
                    </a:lnTo>
                    <a:lnTo>
                      <a:pt x="440" y="2541"/>
                    </a:lnTo>
                    <a:lnTo>
                      <a:pt x="437" y="2610"/>
                    </a:lnTo>
                    <a:lnTo>
                      <a:pt x="431" y="2672"/>
                    </a:lnTo>
                    <a:lnTo>
                      <a:pt x="426" y="2693"/>
                    </a:lnTo>
                    <a:lnTo>
                      <a:pt x="419" y="2720"/>
                    </a:lnTo>
                    <a:lnTo>
                      <a:pt x="413" y="2746"/>
                    </a:lnTo>
                    <a:lnTo>
                      <a:pt x="413" y="2757"/>
                    </a:lnTo>
                    <a:lnTo>
                      <a:pt x="413" y="2765"/>
                    </a:lnTo>
                    <a:lnTo>
                      <a:pt x="416" y="2768"/>
                    </a:lnTo>
                    <a:lnTo>
                      <a:pt x="419" y="2773"/>
                    </a:lnTo>
                    <a:lnTo>
                      <a:pt x="427" y="2778"/>
                    </a:lnTo>
                    <a:lnTo>
                      <a:pt x="439" y="2781"/>
                    </a:lnTo>
                    <a:lnTo>
                      <a:pt x="451" y="2784"/>
                    </a:lnTo>
                    <a:lnTo>
                      <a:pt x="475" y="2788"/>
                    </a:lnTo>
                    <a:lnTo>
                      <a:pt x="488" y="2789"/>
                    </a:lnTo>
                    <a:lnTo>
                      <a:pt x="499" y="2791"/>
                    </a:lnTo>
                    <a:lnTo>
                      <a:pt x="496" y="2802"/>
                    </a:lnTo>
                    <a:lnTo>
                      <a:pt x="496" y="2813"/>
                    </a:lnTo>
                    <a:lnTo>
                      <a:pt x="504" y="2818"/>
                    </a:lnTo>
                    <a:lnTo>
                      <a:pt x="512" y="2823"/>
                    </a:lnTo>
                    <a:lnTo>
                      <a:pt x="531" y="2829"/>
                    </a:lnTo>
                    <a:lnTo>
                      <a:pt x="552" y="2834"/>
                    </a:lnTo>
                    <a:lnTo>
                      <a:pt x="576" y="2837"/>
                    </a:lnTo>
                    <a:lnTo>
                      <a:pt x="600" y="2837"/>
                    </a:lnTo>
                    <a:lnTo>
                      <a:pt x="624" y="2836"/>
                    </a:lnTo>
                    <a:lnTo>
                      <a:pt x="648" y="2834"/>
                    </a:lnTo>
                    <a:lnTo>
                      <a:pt x="671" y="2829"/>
                    </a:lnTo>
                    <a:lnTo>
                      <a:pt x="676" y="2820"/>
                    </a:lnTo>
                    <a:lnTo>
                      <a:pt x="674" y="2808"/>
                    </a:lnTo>
                    <a:lnTo>
                      <a:pt x="671" y="2799"/>
                    </a:lnTo>
                    <a:lnTo>
                      <a:pt x="663" y="2781"/>
                    </a:lnTo>
                    <a:lnTo>
                      <a:pt x="653" y="2765"/>
                    </a:lnTo>
                    <a:lnTo>
                      <a:pt x="644" y="2751"/>
                    </a:lnTo>
                    <a:lnTo>
                      <a:pt x="632" y="2738"/>
                    </a:lnTo>
                    <a:lnTo>
                      <a:pt x="624" y="2725"/>
                    </a:lnTo>
                    <a:lnTo>
                      <a:pt x="618" y="2711"/>
                    </a:lnTo>
                    <a:lnTo>
                      <a:pt x="615" y="2703"/>
                    </a:lnTo>
                    <a:lnTo>
                      <a:pt x="615" y="2696"/>
                    </a:lnTo>
                    <a:lnTo>
                      <a:pt x="624" y="2691"/>
                    </a:lnTo>
                    <a:lnTo>
                      <a:pt x="634" y="2688"/>
                    </a:lnTo>
                    <a:lnTo>
                      <a:pt x="629" y="2615"/>
                    </a:lnTo>
                    <a:lnTo>
                      <a:pt x="637" y="2573"/>
                    </a:lnTo>
                    <a:lnTo>
                      <a:pt x="647" y="2530"/>
                    </a:lnTo>
                    <a:lnTo>
                      <a:pt x="656" y="2488"/>
                    </a:lnTo>
                    <a:lnTo>
                      <a:pt x="666" y="2445"/>
                    </a:lnTo>
                    <a:lnTo>
                      <a:pt x="671" y="2413"/>
                    </a:lnTo>
                    <a:lnTo>
                      <a:pt x="674" y="2381"/>
                    </a:lnTo>
                    <a:lnTo>
                      <a:pt x="679" y="2317"/>
                    </a:lnTo>
                    <a:lnTo>
                      <a:pt x="680" y="2285"/>
                    </a:lnTo>
                    <a:lnTo>
                      <a:pt x="684" y="2253"/>
                    </a:lnTo>
                    <a:lnTo>
                      <a:pt x="688" y="2222"/>
                    </a:lnTo>
                    <a:lnTo>
                      <a:pt x="696" y="2192"/>
                    </a:lnTo>
                    <a:lnTo>
                      <a:pt x="762" y="2054"/>
                    </a:lnTo>
                    <a:lnTo>
                      <a:pt x="765" y="1998"/>
                    </a:lnTo>
                    <a:lnTo>
                      <a:pt x="793" y="1758"/>
                    </a:lnTo>
                    <a:lnTo>
                      <a:pt x="805" y="1700"/>
                    </a:lnTo>
                    <a:lnTo>
                      <a:pt x="818" y="1641"/>
                    </a:lnTo>
                    <a:lnTo>
                      <a:pt x="829" y="1580"/>
                    </a:lnTo>
                    <a:lnTo>
                      <a:pt x="842" y="1521"/>
                    </a:lnTo>
                    <a:lnTo>
                      <a:pt x="844" y="1447"/>
                    </a:lnTo>
                    <a:lnTo>
                      <a:pt x="845" y="1422"/>
                    </a:lnTo>
                    <a:lnTo>
                      <a:pt x="845" y="1396"/>
                    </a:lnTo>
                    <a:lnTo>
                      <a:pt x="844" y="1370"/>
                    </a:lnTo>
                    <a:lnTo>
                      <a:pt x="839" y="1348"/>
                    </a:lnTo>
                    <a:lnTo>
                      <a:pt x="841" y="1345"/>
                    </a:lnTo>
                    <a:lnTo>
                      <a:pt x="844" y="1346"/>
                    </a:lnTo>
                    <a:lnTo>
                      <a:pt x="861" y="1394"/>
                    </a:lnTo>
                    <a:lnTo>
                      <a:pt x="863" y="1406"/>
                    </a:lnTo>
                    <a:lnTo>
                      <a:pt x="863" y="1417"/>
                    </a:lnTo>
                    <a:lnTo>
                      <a:pt x="861" y="1426"/>
                    </a:lnTo>
                    <a:lnTo>
                      <a:pt x="858" y="1436"/>
                    </a:lnTo>
                    <a:lnTo>
                      <a:pt x="852" y="1454"/>
                    </a:lnTo>
                    <a:lnTo>
                      <a:pt x="850" y="1462"/>
                    </a:lnTo>
                    <a:lnTo>
                      <a:pt x="847" y="1471"/>
                    </a:lnTo>
                    <a:lnTo>
                      <a:pt x="847" y="1478"/>
                    </a:lnTo>
                    <a:lnTo>
                      <a:pt x="849" y="1482"/>
                    </a:lnTo>
                    <a:lnTo>
                      <a:pt x="850" y="1490"/>
                    </a:lnTo>
                    <a:lnTo>
                      <a:pt x="855" y="1499"/>
                    </a:lnTo>
                    <a:lnTo>
                      <a:pt x="857" y="1507"/>
                    </a:lnTo>
                    <a:lnTo>
                      <a:pt x="850" y="1545"/>
                    </a:lnTo>
                    <a:lnTo>
                      <a:pt x="858" y="1580"/>
                    </a:lnTo>
                    <a:lnTo>
                      <a:pt x="866" y="1583"/>
                    </a:lnTo>
                    <a:lnTo>
                      <a:pt x="871" y="1585"/>
                    </a:lnTo>
                    <a:lnTo>
                      <a:pt x="876" y="1585"/>
                    </a:lnTo>
                    <a:lnTo>
                      <a:pt x="871" y="1593"/>
                    </a:lnTo>
                    <a:lnTo>
                      <a:pt x="865" y="1601"/>
                    </a:lnTo>
                    <a:lnTo>
                      <a:pt x="847" y="1619"/>
                    </a:lnTo>
                    <a:lnTo>
                      <a:pt x="841" y="1627"/>
                    </a:lnTo>
                    <a:lnTo>
                      <a:pt x="836" y="1636"/>
                    </a:lnTo>
                    <a:lnTo>
                      <a:pt x="834" y="1641"/>
                    </a:lnTo>
                    <a:lnTo>
                      <a:pt x="836" y="1647"/>
                    </a:lnTo>
                    <a:lnTo>
                      <a:pt x="837" y="1652"/>
                    </a:lnTo>
                    <a:lnTo>
                      <a:pt x="841" y="1659"/>
                    </a:lnTo>
                    <a:lnTo>
                      <a:pt x="842" y="1659"/>
                    </a:lnTo>
                    <a:lnTo>
                      <a:pt x="858" y="1655"/>
                    </a:lnTo>
                    <a:lnTo>
                      <a:pt x="874" y="1652"/>
                    </a:lnTo>
                    <a:lnTo>
                      <a:pt x="889" y="1644"/>
                    </a:lnTo>
                    <a:lnTo>
                      <a:pt x="900" y="1636"/>
                    </a:lnTo>
                    <a:lnTo>
                      <a:pt x="911" y="1627"/>
                    </a:lnTo>
                    <a:lnTo>
                      <a:pt x="919" y="1614"/>
                    </a:lnTo>
                    <a:lnTo>
                      <a:pt x="927" y="1599"/>
                    </a:lnTo>
                    <a:lnTo>
                      <a:pt x="933" y="1585"/>
                    </a:lnTo>
                    <a:lnTo>
                      <a:pt x="938" y="1569"/>
                    </a:lnTo>
                    <a:lnTo>
                      <a:pt x="941" y="1551"/>
                    </a:lnTo>
                    <a:lnTo>
                      <a:pt x="943" y="1534"/>
                    </a:lnTo>
                    <a:lnTo>
                      <a:pt x="943" y="1516"/>
                    </a:lnTo>
                    <a:lnTo>
                      <a:pt x="943" y="1497"/>
                    </a:lnTo>
                    <a:lnTo>
                      <a:pt x="943" y="1479"/>
                    </a:lnTo>
                    <a:lnTo>
                      <a:pt x="937" y="1442"/>
                    </a:lnTo>
                    <a:close/>
                    <a:moveTo>
                      <a:pt x="310" y="1119"/>
                    </a:moveTo>
                    <a:lnTo>
                      <a:pt x="310" y="1119"/>
                    </a:lnTo>
                    <a:lnTo>
                      <a:pt x="290" y="1220"/>
                    </a:lnTo>
                    <a:lnTo>
                      <a:pt x="283" y="1237"/>
                    </a:lnTo>
                    <a:lnTo>
                      <a:pt x="274" y="1257"/>
                    </a:lnTo>
                    <a:lnTo>
                      <a:pt x="266" y="1274"/>
                    </a:lnTo>
                    <a:lnTo>
                      <a:pt x="259" y="1295"/>
                    </a:lnTo>
                    <a:lnTo>
                      <a:pt x="258" y="1310"/>
                    </a:lnTo>
                    <a:lnTo>
                      <a:pt x="256" y="1324"/>
                    </a:lnTo>
                    <a:lnTo>
                      <a:pt x="256" y="1348"/>
                    </a:lnTo>
                    <a:lnTo>
                      <a:pt x="254" y="1361"/>
                    </a:lnTo>
                    <a:lnTo>
                      <a:pt x="253" y="1372"/>
                    </a:lnTo>
                    <a:lnTo>
                      <a:pt x="248" y="1383"/>
                    </a:lnTo>
                    <a:lnTo>
                      <a:pt x="242" y="1396"/>
                    </a:lnTo>
                    <a:lnTo>
                      <a:pt x="245" y="1402"/>
                    </a:lnTo>
                    <a:lnTo>
                      <a:pt x="248" y="1406"/>
                    </a:lnTo>
                    <a:lnTo>
                      <a:pt x="253" y="1409"/>
                    </a:lnTo>
                    <a:lnTo>
                      <a:pt x="254" y="1415"/>
                    </a:lnTo>
                    <a:lnTo>
                      <a:pt x="250" y="1426"/>
                    </a:lnTo>
                    <a:lnTo>
                      <a:pt x="245" y="1423"/>
                    </a:lnTo>
                    <a:lnTo>
                      <a:pt x="240" y="1390"/>
                    </a:lnTo>
                    <a:lnTo>
                      <a:pt x="237" y="1356"/>
                    </a:lnTo>
                    <a:lnTo>
                      <a:pt x="235" y="1321"/>
                    </a:lnTo>
                    <a:lnTo>
                      <a:pt x="234" y="1286"/>
                    </a:lnTo>
                    <a:lnTo>
                      <a:pt x="235" y="1252"/>
                    </a:lnTo>
                    <a:lnTo>
                      <a:pt x="237" y="1217"/>
                    </a:lnTo>
                    <a:lnTo>
                      <a:pt x="243" y="1146"/>
                    </a:lnTo>
                    <a:lnTo>
                      <a:pt x="253" y="1079"/>
                    </a:lnTo>
                    <a:lnTo>
                      <a:pt x="266" y="1012"/>
                    </a:lnTo>
                    <a:lnTo>
                      <a:pt x="290" y="888"/>
                    </a:lnTo>
                    <a:lnTo>
                      <a:pt x="293" y="893"/>
                    </a:lnTo>
                    <a:lnTo>
                      <a:pt x="298" y="903"/>
                    </a:lnTo>
                    <a:lnTo>
                      <a:pt x="307" y="930"/>
                    </a:lnTo>
                    <a:lnTo>
                      <a:pt x="315" y="959"/>
                    </a:lnTo>
                    <a:lnTo>
                      <a:pt x="320" y="978"/>
                    </a:lnTo>
                    <a:lnTo>
                      <a:pt x="315" y="1015"/>
                    </a:lnTo>
                    <a:lnTo>
                      <a:pt x="326" y="1041"/>
                    </a:lnTo>
                    <a:lnTo>
                      <a:pt x="328" y="1052"/>
                    </a:lnTo>
                    <a:lnTo>
                      <a:pt x="326" y="1063"/>
                    </a:lnTo>
                    <a:lnTo>
                      <a:pt x="325" y="1074"/>
                    </a:lnTo>
                    <a:lnTo>
                      <a:pt x="323" y="1084"/>
                    </a:lnTo>
                    <a:lnTo>
                      <a:pt x="317" y="1103"/>
                    </a:lnTo>
                    <a:lnTo>
                      <a:pt x="310" y="1119"/>
                    </a:lnTo>
                    <a:close/>
                  </a:path>
                </a:pathLst>
              </a:custGeom>
              <a:solidFill>
                <a:schemeClr val="accent5"/>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sp>
          <p:nvSpPr>
            <p:cNvPr id="14" name="Ellipse 4"/>
            <p:cNvSpPr/>
            <p:nvPr/>
          </p:nvSpPr>
          <p:spPr>
            <a:xfrm>
              <a:off x="3955139" y="4156053"/>
              <a:ext cx="1186156" cy="329653"/>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Freeform 25"/>
            <p:cNvSpPr>
              <a:spLocks noEditPoints="1"/>
            </p:cNvSpPr>
            <p:nvPr>
              <p:custDataLst>
                <p:tags r:id="rId5"/>
              </p:custDataLst>
            </p:nvPr>
          </p:nvSpPr>
          <p:spPr bwMode="auto">
            <a:xfrm>
              <a:off x="4267023" y="2571877"/>
              <a:ext cx="540104" cy="1759694"/>
            </a:xfrm>
            <a:custGeom>
              <a:avLst/>
              <a:gdLst/>
              <a:ahLst/>
              <a:cxnLst>
                <a:cxn ang="0">
                  <a:pos x="267" y="1065"/>
                </a:cxn>
                <a:cxn ang="0">
                  <a:pos x="262" y="1226"/>
                </a:cxn>
                <a:cxn ang="0">
                  <a:pos x="272" y="1322"/>
                </a:cxn>
                <a:cxn ang="0">
                  <a:pos x="287" y="1437"/>
                </a:cxn>
                <a:cxn ang="0">
                  <a:pos x="295" y="1219"/>
                </a:cxn>
                <a:cxn ang="0">
                  <a:pos x="292" y="5"/>
                </a:cxn>
                <a:cxn ang="0">
                  <a:pos x="353" y="91"/>
                </a:cxn>
                <a:cxn ang="0">
                  <a:pos x="352" y="154"/>
                </a:cxn>
                <a:cxn ang="0">
                  <a:pos x="330" y="188"/>
                </a:cxn>
                <a:cxn ang="0">
                  <a:pos x="327" y="247"/>
                </a:cxn>
                <a:cxn ang="0">
                  <a:pos x="368" y="289"/>
                </a:cxn>
                <a:cxn ang="0">
                  <a:pos x="468" y="321"/>
                </a:cxn>
                <a:cxn ang="0">
                  <a:pos x="482" y="366"/>
                </a:cxn>
                <a:cxn ang="0">
                  <a:pos x="499" y="495"/>
                </a:cxn>
                <a:cxn ang="0">
                  <a:pos x="514" y="635"/>
                </a:cxn>
                <a:cxn ang="0">
                  <a:pos x="525" y="807"/>
                </a:cxn>
                <a:cxn ang="0">
                  <a:pos x="513" y="916"/>
                </a:cxn>
                <a:cxn ang="0">
                  <a:pos x="490" y="965"/>
                </a:cxn>
                <a:cxn ang="0">
                  <a:pos x="444" y="962"/>
                </a:cxn>
                <a:cxn ang="0">
                  <a:pos x="454" y="870"/>
                </a:cxn>
                <a:cxn ang="0">
                  <a:pos x="428" y="606"/>
                </a:cxn>
                <a:cxn ang="0">
                  <a:pos x="418" y="572"/>
                </a:cxn>
                <a:cxn ang="0">
                  <a:pos x="407" y="636"/>
                </a:cxn>
                <a:cxn ang="0">
                  <a:pos x="430" y="775"/>
                </a:cxn>
                <a:cxn ang="0">
                  <a:pos x="428" y="922"/>
                </a:cxn>
                <a:cxn ang="0">
                  <a:pos x="418" y="1017"/>
                </a:cxn>
                <a:cxn ang="0">
                  <a:pos x="407" y="1440"/>
                </a:cxn>
                <a:cxn ang="0">
                  <a:pos x="391" y="1600"/>
                </a:cxn>
                <a:cxn ang="0">
                  <a:pos x="398" y="1667"/>
                </a:cxn>
                <a:cxn ang="0">
                  <a:pos x="410" y="1709"/>
                </a:cxn>
                <a:cxn ang="0">
                  <a:pos x="310" y="1703"/>
                </a:cxn>
                <a:cxn ang="0">
                  <a:pos x="301" y="1680"/>
                </a:cxn>
                <a:cxn ang="0">
                  <a:pos x="242" y="1652"/>
                </a:cxn>
                <a:cxn ang="0">
                  <a:pos x="127" y="1664"/>
                </a:cxn>
                <a:cxn ang="0">
                  <a:pos x="119" y="1652"/>
                </a:cxn>
                <a:cxn ang="0">
                  <a:pos x="139" y="1632"/>
                </a:cxn>
                <a:cxn ang="0">
                  <a:pos x="198" y="1584"/>
                </a:cxn>
                <a:cxn ang="0">
                  <a:pos x="176" y="1391"/>
                </a:cxn>
                <a:cxn ang="0">
                  <a:pos x="167" y="1311"/>
                </a:cxn>
                <a:cxn ang="0">
                  <a:pos x="152" y="1185"/>
                </a:cxn>
                <a:cxn ang="0">
                  <a:pos x="122" y="999"/>
                </a:cxn>
                <a:cxn ang="0">
                  <a:pos x="99" y="950"/>
                </a:cxn>
                <a:cxn ang="0">
                  <a:pos x="103" y="758"/>
                </a:cxn>
                <a:cxn ang="0">
                  <a:pos x="84" y="799"/>
                </a:cxn>
                <a:cxn ang="0">
                  <a:pos x="66" y="874"/>
                </a:cxn>
                <a:cxn ang="0">
                  <a:pos x="56" y="944"/>
                </a:cxn>
                <a:cxn ang="0">
                  <a:pos x="67" y="962"/>
                </a:cxn>
                <a:cxn ang="0">
                  <a:pos x="12" y="888"/>
                </a:cxn>
                <a:cxn ang="0">
                  <a:pos x="4" y="839"/>
                </a:cxn>
                <a:cxn ang="0">
                  <a:pos x="23" y="704"/>
                </a:cxn>
                <a:cxn ang="0">
                  <a:pos x="36" y="582"/>
                </a:cxn>
                <a:cxn ang="0">
                  <a:pos x="52" y="464"/>
                </a:cxn>
                <a:cxn ang="0">
                  <a:pos x="61" y="343"/>
                </a:cxn>
                <a:cxn ang="0">
                  <a:pos x="98" y="326"/>
                </a:cxn>
                <a:cxn ang="0">
                  <a:pos x="179" y="289"/>
                </a:cxn>
                <a:cxn ang="0">
                  <a:pos x="213" y="251"/>
                </a:cxn>
                <a:cxn ang="0">
                  <a:pos x="198" y="181"/>
                </a:cxn>
                <a:cxn ang="0">
                  <a:pos x="181" y="132"/>
                </a:cxn>
                <a:cxn ang="0">
                  <a:pos x="181" y="63"/>
                </a:cxn>
                <a:cxn ang="0">
                  <a:pos x="262" y="0"/>
                </a:cxn>
              </a:cxnLst>
              <a:rect l="0" t="0" r="r" b="b"/>
              <a:pathLst>
                <a:path w="527" h="1717">
                  <a:moveTo>
                    <a:pt x="272" y="1011"/>
                  </a:moveTo>
                  <a:lnTo>
                    <a:pt x="270" y="1014"/>
                  </a:lnTo>
                  <a:lnTo>
                    <a:pt x="267" y="1019"/>
                  </a:lnTo>
                  <a:lnTo>
                    <a:pt x="265" y="1028"/>
                  </a:lnTo>
                  <a:lnTo>
                    <a:pt x="265" y="1044"/>
                  </a:lnTo>
                  <a:lnTo>
                    <a:pt x="267" y="1065"/>
                  </a:lnTo>
                  <a:lnTo>
                    <a:pt x="270" y="1094"/>
                  </a:lnTo>
                  <a:lnTo>
                    <a:pt x="273" y="1133"/>
                  </a:lnTo>
                  <a:lnTo>
                    <a:pt x="273" y="1165"/>
                  </a:lnTo>
                  <a:lnTo>
                    <a:pt x="270" y="1193"/>
                  </a:lnTo>
                  <a:lnTo>
                    <a:pt x="265" y="1213"/>
                  </a:lnTo>
                  <a:lnTo>
                    <a:pt x="262" y="1226"/>
                  </a:lnTo>
                  <a:lnTo>
                    <a:pt x="259" y="1234"/>
                  </a:lnTo>
                  <a:lnTo>
                    <a:pt x="259" y="1239"/>
                  </a:lnTo>
                  <a:lnTo>
                    <a:pt x="262" y="1251"/>
                  </a:lnTo>
                  <a:lnTo>
                    <a:pt x="265" y="1269"/>
                  </a:lnTo>
                  <a:lnTo>
                    <a:pt x="269" y="1292"/>
                  </a:lnTo>
                  <a:lnTo>
                    <a:pt x="272" y="1322"/>
                  </a:lnTo>
                  <a:lnTo>
                    <a:pt x="272" y="1355"/>
                  </a:lnTo>
                  <a:lnTo>
                    <a:pt x="270" y="1394"/>
                  </a:lnTo>
                  <a:lnTo>
                    <a:pt x="275" y="1403"/>
                  </a:lnTo>
                  <a:lnTo>
                    <a:pt x="279" y="1414"/>
                  </a:lnTo>
                  <a:lnTo>
                    <a:pt x="284" y="1426"/>
                  </a:lnTo>
                  <a:lnTo>
                    <a:pt x="287" y="1437"/>
                  </a:lnTo>
                  <a:lnTo>
                    <a:pt x="288" y="1448"/>
                  </a:lnTo>
                  <a:lnTo>
                    <a:pt x="288" y="1431"/>
                  </a:lnTo>
                  <a:lnTo>
                    <a:pt x="290" y="1405"/>
                  </a:lnTo>
                  <a:lnTo>
                    <a:pt x="292" y="1372"/>
                  </a:lnTo>
                  <a:lnTo>
                    <a:pt x="295" y="1296"/>
                  </a:lnTo>
                  <a:lnTo>
                    <a:pt x="295" y="1219"/>
                  </a:lnTo>
                  <a:lnTo>
                    <a:pt x="293" y="1185"/>
                  </a:lnTo>
                  <a:lnTo>
                    <a:pt x="292" y="1160"/>
                  </a:lnTo>
                  <a:lnTo>
                    <a:pt x="272" y="1011"/>
                  </a:lnTo>
                  <a:close/>
                  <a:moveTo>
                    <a:pt x="262" y="0"/>
                  </a:moveTo>
                  <a:lnTo>
                    <a:pt x="281" y="0"/>
                  </a:lnTo>
                  <a:lnTo>
                    <a:pt x="292" y="5"/>
                  </a:lnTo>
                  <a:lnTo>
                    <a:pt x="305" y="12"/>
                  </a:lnTo>
                  <a:lnTo>
                    <a:pt x="321" y="23"/>
                  </a:lnTo>
                  <a:lnTo>
                    <a:pt x="335" y="37"/>
                  </a:lnTo>
                  <a:lnTo>
                    <a:pt x="345" y="54"/>
                  </a:lnTo>
                  <a:lnTo>
                    <a:pt x="352" y="72"/>
                  </a:lnTo>
                  <a:lnTo>
                    <a:pt x="353" y="91"/>
                  </a:lnTo>
                  <a:lnTo>
                    <a:pt x="353" y="106"/>
                  </a:lnTo>
                  <a:lnTo>
                    <a:pt x="350" y="118"/>
                  </a:lnTo>
                  <a:lnTo>
                    <a:pt x="348" y="128"/>
                  </a:lnTo>
                  <a:lnTo>
                    <a:pt x="347" y="131"/>
                  </a:lnTo>
                  <a:lnTo>
                    <a:pt x="352" y="137"/>
                  </a:lnTo>
                  <a:lnTo>
                    <a:pt x="352" y="154"/>
                  </a:lnTo>
                  <a:lnTo>
                    <a:pt x="348" y="166"/>
                  </a:lnTo>
                  <a:lnTo>
                    <a:pt x="344" y="174"/>
                  </a:lnTo>
                  <a:lnTo>
                    <a:pt x="339" y="178"/>
                  </a:lnTo>
                  <a:lnTo>
                    <a:pt x="336" y="180"/>
                  </a:lnTo>
                  <a:lnTo>
                    <a:pt x="332" y="180"/>
                  </a:lnTo>
                  <a:lnTo>
                    <a:pt x="330" y="188"/>
                  </a:lnTo>
                  <a:lnTo>
                    <a:pt x="327" y="197"/>
                  </a:lnTo>
                  <a:lnTo>
                    <a:pt x="322" y="204"/>
                  </a:lnTo>
                  <a:lnTo>
                    <a:pt x="321" y="207"/>
                  </a:lnTo>
                  <a:lnTo>
                    <a:pt x="321" y="238"/>
                  </a:lnTo>
                  <a:lnTo>
                    <a:pt x="322" y="241"/>
                  </a:lnTo>
                  <a:lnTo>
                    <a:pt x="327" y="247"/>
                  </a:lnTo>
                  <a:lnTo>
                    <a:pt x="335" y="255"/>
                  </a:lnTo>
                  <a:lnTo>
                    <a:pt x="342" y="266"/>
                  </a:lnTo>
                  <a:lnTo>
                    <a:pt x="350" y="275"/>
                  </a:lnTo>
                  <a:lnTo>
                    <a:pt x="358" y="281"/>
                  </a:lnTo>
                  <a:lnTo>
                    <a:pt x="362" y="286"/>
                  </a:lnTo>
                  <a:lnTo>
                    <a:pt x="368" y="289"/>
                  </a:lnTo>
                  <a:lnTo>
                    <a:pt x="382" y="292"/>
                  </a:lnTo>
                  <a:lnTo>
                    <a:pt x="399" y="298"/>
                  </a:lnTo>
                  <a:lnTo>
                    <a:pt x="436" y="310"/>
                  </a:lnTo>
                  <a:lnTo>
                    <a:pt x="453" y="317"/>
                  </a:lnTo>
                  <a:lnTo>
                    <a:pt x="464" y="320"/>
                  </a:lnTo>
                  <a:lnTo>
                    <a:pt x="468" y="321"/>
                  </a:lnTo>
                  <a:lnTo>
                    <a:pt x="476" y="324"/>
                  </a:lnTo>
                  <a:lnTo>
                    <a:pt x="481" y="330"/>
                  </a:lnTo>
                  <a:lnTo>
                    <a:pt x="482" y="341"/>
                  </a:lnTo>
                  <a:lnTo>
                    <a:pt x="484" y="350"/>
                  </a:lnTo>
                  <a:lnTo>
                    <a:pt x="482" y="358"/>
                  </a:lnTo>
                  <a:lnTo>
                    <a:pt x="482" y="366"/>
                  </a:lnTo>
                  <a:lnTo>
                    <a:pt x="484" y="377"/>
                  </a:lnTo>
                  <a:lnTo>
                    <a:pt x="485" y="392"/>
                  </a:lnTo>
                  <a:lnTo>
                    <a:pt x="490" y="452"/>
                  </a:lnTo>
                  <a:lnTo>
                    <a:pt x="493" y="467"/>
                  </a:lnTo>
                  <a:lnTo>
                    <a:pt x="496" y="480"/>
                  </a:lnTo>
                  <a:lnTo>
                    <a:pt x="499" y="495"/>
                  </a:lnTo>
                  <a:lnTo>
                    <a:pt x="499" y="516"/>
                  </a:lnTo>
                  <a:lnTo>
                    <a:pt x="501" y="539"/>
                  </a:lnTo>
                  <a:lnTo>
                    <a:pt x="502" y="566"/>
                  </a:lnTo>
                  <a:lnTo>
                    <a:pt x="505" y="593"/>
                  </a:lnTo>
                  <a:lnTo>
                    <a:pt x="511" y="618"/>
                  </a:lnTo>
                  <a:lnTo>
                    <a:pt x="514" y="635"/>
                  </a:lnTo>
                  <a:lnTo>
                    <a:pt x="517" y="658"/>
                  </a:lnTo>
                  <a:lnTo>
                    <a:pt x="521" y="685"/>
                  </a:lnTo>
                  <a:lnTo>
                    <a:pt x="522" y="715"/>
                  </a:lnTo>
                  <a:lnTo>
                    <a:pt x="524" y="747"/>
                  </a:lnTo>
                  <a:lnTo>
                    <a:pt x="525" y="778"/>
                  </a:lnTo>
                  <a:lnTo>
                    <a:pt x="525" y="807"/>
                  </a:lnTo>
                  <a:lnTo>
                    <a:pt x="527" y="833"/>
                  </a:lnTo>
                  <a:lnTo>
                    <a:pt x="527" y="871"/>
                  </a:lnTo>
                  <a:lnTo>
                    <a:pt x="519" y="871"/>
                  </a:lnTo>
                  <a:lnTo>
                    <a:pt x="517" y="884"/>
                  </a:lnTo>
                  <a:lnTo>
                    <a:pt x="514" y="882"/>
                  </a:lnTo>
                  <a:lnTo>
                    <a:pt x="513" y="916"/>
                  </a:lnTo>
                  <a:lnTo>
                    <a:pt x="507" y="922"/>
                  </a:lnTo>
                  <a:lnTo>
                    <a:pt x="502" y="931"/>
                  </a:lnTo>
                  <a:lnTo>
                    <a:pt x="498" y="944"/>
                  </a:lnTo>
                  <a:lnTo>
                    <a:pt x="493" y="954"/>
                  </a:lnTo>
                  <a:lnTo>
                    <a:pt x="491" y="962"/>
                  </a:lnTo>
                  <a:lnTo>
                    <a:pt x="490" y="965"/>
                  </a:lnTo>
                  <a:lnTo>
                    <a:pt x="482" y="968"/>
                  </a:lnTo>
                  <a:lnTo>
                    <a:pt x="470" y="970"/>
                  </a:lnTo>
                  <a:lnTo>
                    <a:pt x="458" y="970"/>
                  </a:lnTo>
                  <a:lnTo>
                    <a:pt x="448" y="967"/>
                  </a:lnTo>
                  <a:lnTo>
                    <a:pt x="445" y="965"/>
                  </a:lnTo>
                  <a:lnTo>
                    <a:pt x="444" y="962"/>
                  </a:lnTo>
                  <a:lnTo>
                    <a:pt x="444" y="961"/>
                  </a:lnTo>
                  <a:lnTo>
                    <a:pt x="445" y="957"/>
                  </a:lnTo>
                  <a:lnTo>
                    <a:pt x="445" y="956"/>
                  </a:lnTo>
                  <a:lnTo>
                    <a:pt x="447" y="954"/>
                  </a:lnTo>
                  <a:lnTo>
                    <a:pt x="448" y="887"/>
                  </a:lnTo>
                  <a:lnTo>
                    <a:pt x="454" y="870"/>
                  </a:lnTo>
                  <a:lnTo>
                    <a:pt x="451" y="865"/>
                  </a:lnTo>
                  <a:lnTo>
                    <a:pt x="442" y="861"/>
                  </a:lnTo>
                  <a:lnTo>
                    <a:pt x="444" y="719"/>
                  </a:lnTo>
                  <a:lnTo>
                    <a:pt x="441" y="699"/>
                  </a:lnTo>
                  <a:lnTo>
                    <a:pt x="431" y="626"/>
                  </a:lnTo>
                  <a:lnTo>
                    <a:pt x="428" y="606"/>
                  </a:lnTo>
                  <a:lnTo>
                    <a:pt x="427" y="592"/>
                  </a:lnTo>
                  <a:lnTo>
                    <a:pt x="427" y="581"/>
                  </a:lnTo>
                  <a:lnTo>
                    <a:pt x="424" y="575"/>
                  </a:lnTo>
                  <a:lnTo>
                    <a:pt x="422" y="573"/>
                  </a:lnTo>
                  <a:lnTo>
                    <a:pt x="419" y="572"/>
                  </a:lnTo>
                  <a:lnTo>
                    <a:pt x="418" y="572"/>
                  </a:lnTo>
                  <a:lnTo>
                    <a:pt x="416" y="573"/>
                  </a:lnTo>
                  <a:lnTo>
                    <a:pt x="415" y="573"/>
                  </a:lnTo>
                  <a:lnTo>
                    <a:pt x="411" y="584"/>
                  </a:lnTo>
                  <a:lnTo>
                    <a:pt x="408" y="601"/>
                  </a:lnTo>
                  <a:lnTo>
                    <a:pt x="408" y="618"/>
                  </a:lnTo>
                  <a:lnTo>
                    <a:pt x="407" y="636"/>
                  </a:lnTo>
                  <a:lnTo>
                    <a:pt x="407" y="667"/>
                  </a:lnTo>
                  <a:lnTo>
                    <a:pt x="408" y="682"/>
                  </a:lnTo>
                  <a:lnTo>
                    <a:pt x="422" y="742"/>
                  </a:lnTo>
                  <a:lnTo>
                    <a:pt x="425" y="759"/>
                  </a:lnTo>
                  <a:lnTo>
                    <a:pt x="428" y="770"/>
                  </a:lnTo>
                  <a:lnTo>
                    <a:pt x="430" y="775"/>
                  </a:lnTo>
                  <a:lnTo>
                    <a:pt x="419" y="778"/>
                  </a:lnTo>
                  <a:lnTo>
                    <a:pt x="421" y="784"/>
                  </a:lnTo>
                  <a:lnTo>
                    <a:pt x="421" y="799"/>
                  </a:lnTo>
                  <a:lnTo>
                    <a:pt x="422" y="819"/>
                  </a:lnTo>
                  <a:lnTo>
                    <a:pt x="427" y="898"/>
                  </a:lnTo>
                  <a:lnTo>
                    <a:pt x="428" y="922"/>
                  </a:lnTo>
                  <a:lnTo>
                    <a:pt x="428" y="942"/>
                  </a:lnTo>
                  <a:lnTo>
                    <a:pt x="430" y="956"/>
                  </a:lnTo>
                  <a:lnTo>
                    <a:pt x="430" y="961"/>
                  </a:lnTo>
                  <a:lnTo>
                    <a:pt x="424" y="967"/>
                  </a:lnTo>
                  <a:lnTo>
                    <a:pt x="418" y="971"/>
                  </a:lnTo>
                  <a:lnTo>
                    <a:pt x="418" y="1017"/>
                  </a:lnTo>
                  <a:lnTo>
                    <a:pt x="416" y="1048"/>
                  </a:lnTo>
                  <a:lnTo>
                    <a:pt x="416" y="1309"/>
                  </a:lnTo>
                  <a:lnTo>
                    <a:pt x="415" y="1337"/>
                  </a:lnTo>
                  <a:lnTo>
                    <a:pt x="413" y="1369"/>
                  </a:lnTo>
                  <a:lnTo>
                    <a:pt x="410" y="1403"/>
                  </a:lnTo>
                  <a:lnTo>
                    <a:pt x="407" y="1440"/>
                  </a:lnTo>
                  <a:lnTo>
                    <a:pt x="404" y="1475"/>
                  </a:lnTo>
                  <a:lnTo>
                    <a:pt x="401" y="1509"/>
                  </a:lnTo>
                  <a:lnTo>
                    <a:pt x="398" y="1540"/>
                  </a:lnTo>
                  <a:lnTo>
                    <a:pt x="396" y="1566"/>
                  </a:lnTo>
                  <a:lnTo>
                    <a:pt x="393" y="1586"/>
                  </a:lnTo>
                  <a:lnTo>
                    <a:pt x="391" y="1600"/>
                  </a:lnTo>
                  <a:lnTo>
                    <a:pt x="391" y="1604"/>
                  </a:lnTo>
                  <a:lnTo>
                    <a:pt x="370" y="1608"/>
                  </a:lnTo>
                  <a:lnTo>
                    <a:pt x="373" y="1624"/>
                  </a:lnTo>
                  <a:lnTo>
                    <a:pt x="381" y="1640"/>
                  </a:lnTo>
                  <a:lnTo>
                    <a:pt x="390" y="1655"/>
                  </a:lnTo>
                  <a:lnTo>
                    <a:pt x="398" y="1667"/>
                  </a:lnTo>
                  <a:lnTo>
                    <a:pt x="404" y="1675"/>
                  </a:lnTo>
                  <a:lnTo>
                    <a:pt x="405" y="1678"/>
                  </a:lnTo>
                  <a:lnTo>
                    <a:pt x="411" y="1692"/>
                  </a:lnTo>
                  <a:lnTo>
                    <a:pt x="413" y="1701"/>
                  </a:lnTo>
                  <a:lnTo>
                    <a:pt x="411" y="1707"/>
                  </a:lnTo>
                  <a:lnTo>
                    <a:pt x="410" y="1709"/>
                  </a:lnTo>
                  <a:lnTo>
                    <a:pt x="391" y="1715"/>
                  </a:lnTo>
                  <a:lnTo>
                    <a:pt x="371" y="1717"/>
                  </a:lnTo>
                  <a:lnTo>
                    <a:pt x="353" y="1715"/>
                  </a:lnTo>
                  <a:lnTo>
                    <a:pt x="336" y="1712"/>
                  </a:lnTo>
                  <a:lnTo>
                    <a:pt x="313" y="1704"/>
                  </a:lnTo>
                  <a:lnTo>
                    <a:pt x="310" y="1703"/>
                  </a:lnTo>
                  <a:lnTo>
                    <a:pt x="307" y="1700"/>
                  </a:lnTo>
                  <a:lnTo>
                    <a:pt x="307" y="1694"/>
                  </a:lnTo>
                  <a:lnTo>
                    <a:pt x="308" y="1686"/>
                  </a:lnTo>
                  <a:lnTo>
                    <a:pt x="312" y="1680"/>
                  </a:lnTo>
                  <a:lnTo>
                    <a:pt x="313" y="1678"/>
                  </a:lnTo>
                  <a:lnTo>
                    <a:pt x="301" y="1680"/>
                  </a:lnTo>
                  <a:lnTo>
                    <a:pt x="292" y="1669"/>
                  </a:lnTo>
                  <a:lnTo>
                    <a:pt x="292" y="1646"/>
                  </a:lnTo>
                  <a:lnTo>
                    <a:pt x="264" y="1649"/>
                  </a:lnTo>
                  <a:lnTo>
                    <a:pt x="265" y="1638"/>
                  </a:lnTo>
                  <a:lnTo>
                    <a:pt x="261" y="1640"/>
                  </a:lnTo>
                  <a:lnTo>
                    <a:pt x="242" y="1652"/>
                  </a:lnTo>
                  <a:lnTo>
                    <a:pt x="235" y="1658"/>
                  </a:lnTo>
                  <a:lnTo>
                    <a:pt x="232" y="1660"/>
                  </a:lnTo>
                  <a:lnTo>
                    <a:pt x="218" y="1663"/>
                  </a:lnTo>
                  <a:lnTo>
                    <a:pt x="198" y="1666"/>
                  </a:lnTo>
                  <a:lnTo>
                    <a:pt x="139" y="1666"/>
                  </a:lnTo>
                  <a:lnTo>
                    <a:pt x="127" y="1664"/>
                  </a:lnTo>
                  <a:lnTo>
                    <a:pt x="122" y="1664"/>
                  </a:lnTo>
                  <a:lnTo>
                    <a:pt x="118" y="1661"/>
                  </a:lnTo>
                  <a:lnTo>
                    <a:pt x="115" y="1660"/>
                  </a:lnTo>
                  <a:lnTo>
                    <a:pt x="115" y="1655"/>
                  </a:lnTo>
                  <a:lnTo>
                    <a:pt x="118" y="1652"/>
                  </a:lnTo>
                  <a:lnTo>
                    <a:pt x="119" y="1652"/>
                  </a:lnTo>
                  <a:lnTo>
                    <a:pt x="121" y="1651"/>
                  </a:lnTo>
                  <a:lnTo>
                    <a:pt x="121" y="1641"/>
                  </a:lnTo>
                  <a:lnTo>
                    <a:pt x="122" y="1638"/>
                  </a:lnTo>
                  <a:lnTo>
                    <a:pt x="126" y="1635"/>
                  </a:lnTo>
                  <a:lnTo>
                    <a:pt x="132" y="1632"/>
                  </a:lnTo>
                  <a:lnTo>
                    <a:pt x="139" y="1632"/>
                  </a:lnTo>
                  <a:lnTo>
                    <a:pt x="155" y="1626"/>
                  </a:lnTo>
                  <a:lnTo>
                    <a:pt x="170" y="1618"/>
                  </a:lnTo>
                  <a:lnTo>
                    <a:pt x="182" y="1609"/>
                  </a:lnTo>
                  <a:lnTo>
                    <a:pt x="192" y="1601"/>
                  </a:lnTo>
                  <a:lnTo>
                    <a:pt x="201" y="1592"/>
                  </a:lnTo>
                  <a:lnTo>
                    <a:pt x="198" y="1584"/>
                  </a:lnTo>
                  <a:lnTo>
                    <a:pt x="195" y="1568"/>
                  </a:lnTo>
                  <a:lnTo>
                    <a:pt x="192" y="1545"/>
                  </a:lnTo>
                  <a:lnTo>
                    <a:pt x="189" y="1517"/>
                  </a:lnTo>
                  <a:lnTo>
                    <a:pt x="186" y="1486"/>
                  </a:lnTo>
                  <a:lnTo>
                    <a:pt x="179" y="1422"/>
                  </a:lnTo>
                  <a:lnTo>
                    <a:pt x="176" y="1391"/>
                  </a:lnTo>
                  <a:lnTo>
                    <a:pt x="175" y="1365"/>
                  </a:lnTo>
                  <a:lnTo>
                    <a:pt x="173" y="1343"/>
                  </a:lnTo>
                  <a:lnTo>
                    <a:pt x="172" y="1329"/>
                  </a:lnTo>
                  <a:lnTo>
                    <a:pt x="172" y="1325"/>
                  </a:lnTo>
                  <a:lnTo>
                    <a:pt x="170" y="1322"/>
                  </a:lnTo>
                  <a:lnTo>
                    <a:pt x="167" y="1311"/>
                  </a:lnTo>
                  <a:lnTo>
                    <a:pt x="162" y="1269"/>
                  </a:lnTo>
                  <a:lnTo>
                    <a:pt x="161" y="1259"/>
                  </a:lnTo>
                  <a:lnTo>
                    <a:pt x="161" y="1256"/>
                  </a:lnTo>
                  <a:lnTo>
                    <a:pt x="156" y="1203"/>
                  </a:lnTo>
                  <a:lnTo>
                    <a:pt x="155" y="1199"/>
                  </a:lnTo>
                  <a:lnTo>
                    <a:pt x="152" y="1185"/>
                  </a:lnTo>
                  <a:lnTo>
                    <a:pt x="147" y="1165"/>
                  </a:lnTo>
                  <a:lnTo>
                    <a:pt x="144" y="1140"/>
                  </a:lnTo>
                  <a:lnTo>
                    <a:pt x="135" y="1082"/>
                  </a:lnTo>
                  <a:lnTo>
                    <a:pt x="130" y="1051"/>
                  </a:lnTo>
                  <a:lnTo>
                    <a:pt x="127" y="1024"/>
                  </a:lnTo>
                  <a:lnTo>
                    <a:pt x="122" y="999"/>
                  </a:lnTo>
                  <a:lnTo>
                    <a:pt x="121" y="979"/>
                  </a:lnTo>
                  <a:lnTo>
                    <a:pt x="118" y="965"/>
                  </a:lnTo>
                  <a:lnTo>
                    <a:pt x="118" y="961"/>
                  </a:lnTo>
                  <a:lnTo>
                    <a:pt x="115" y="959"/>
                  </a:lnTo>
                  <a:lnTo>
                    <a:pt x="101" y="959"/>
                  </a:lnTo>
                  <a:lnTo>
                    <a:pt x="99" y="950"/>
                  </a:lnTo>
                  <a:lnTo>
                    <a:pt x="98" y="933"/>
                  </a:lnTo>
                  <a:lnTo>
                    <a:pt x="98" y="881"/>
                  </a:lnTo>
                  <a:lnTo>
                    <a:pt x="99" y="848"/>
                  </a:lnTo>
                  <a:lnTo>
                    <a:pt x="99" y="816"/>
                  </a:lnTo>
                  <a:lnTo>
                    <a:pt x="101" y="785"/>
                  </a:lnTo>
                  <a:lnTo>
                    <a:pt x="103" y="758"/>
                  </a:lnTo>
                  <a:lnTo>
                    <a:pt x="103" y="735"/>
                  </a:lnTo>
                  <a:lnTo>
                    <a:pt x="104" y="721"/>
                  </a:lnTo>
                  <a:lnTo>
                    <a:pt x="104" y="715"/>
                  </a:lnTo>
                  <a:lnTo>
                    <a:pt x="96" y="742"/>
                  </a:lnTo>
                  <a:lnTo>
                    <a:pt x="89" y="772"/>
                  </a:lnTo>
                  <a:lnTo>
                    <a:pt x="84" y="799"/>
                  </a:lnTo>
                  <a:lnTo>
                    <a:pt x="79" y="824"/>
                  </a:lnTo>
                  <a:lnTo>
                    <a:pt x="76" y="844"/>
                  </a:lnTo>
                  <a:lnTo>
                    <a:pt x="75" y="858"/>
                  </a:lnTo>
                  <a:lnTo>
                    <a:pt x="75" y="862"/>
                  </a:lnTo>
                  <a:lnTo>
                    <a:pt x="67" y="864"/>
                  </a:lnTo>
                  <a:lnTo>
                    <a:pt x="66" y="874"/>
                  </a:lnTo>
                  <a:lnTo>
                    <a:pt x="56" y="871"/>
                  </a:lnTo>
                  <a:lnTo>
                    <a:pt x="56" y="876"/>
                  </a:lnTo>
                  <a:lnTo>
                    <a:pt x="58" y="893"/>
                  </a:lnTo>
                  <a:lnTo>
                    <a:pt x="58" y="913"/>
                  </a:lnTo>
                  <a:lnTo>
                    <a:pt x="56" y="917"/>
                  </a:lnTo>
                  <a:lnTo>
                    <a:pt x="56" y="944"/>
                  </a:lnTo>
                  <a:lnTo>
                    <a:pt x="55" y="954"/>
                  </a:lnTo>
                  <a:lnTo>
                    <a:pt x="55" y="959"/>
                  </a:lnTo>
                  <a:lnTo>
                    <a:pt x="61" y="954"/>
                  </a:lnTo>
                  <a:lnTo>
                    <a:pt x="66" y="954"/>
                  </a:lnTo>
                  <a:lnTo>
                    <a:pt x="67" y="956"/>
                  </a:lnTo>
                  <a:lnTo>
                    <a:pt x="67" y="962"/>
                  </a:lnTo>
                  <a:lnTo>
                    <a:pt x="55" y="976"/>
                  </a:lnTo>
                  <a:lnTo>
                    <a:pt x="24" y="974"/>
                  </a:lnTo>
                  <a:lnTo>
                    <a:pt x="0" y="937"/>
                  </a:lnTo>
                  <a:lnTo>
                    <a:pt x="7" y="919"/>
                  </a:lnTo>
                  <a:lnTo>
                    <a:pt x="10" y="904"/>
                  </a:lnTo>
                  <a:lnTo>
                    <a:pt x="12" y="888"/>
                  </a:lnTo>
                  <a:lnTo>
                    <a:pt x="12" y="871"/>
                  </a:lnTo>
                  <a:lnTo>
                    <a:pt x="7" y="873"/>
                  </a:lnTo>
                  <a:lnTo>
                    <a:pt x="7" y="858"/>
                  </a:lnTo>
                  <a:lnTo>
                    <a:pt x="3" y="854"/>
                  </a:lnTo>
                  <a:lnTo>
                    <a:pt x="3" y="850"/>
                  </a:lnTo>
                  <a:lnTo>
                    <a:pt x="4" y="839"/>
                  </a:lnTo>
                  <a:lnTo>
                    <a:pt x="7" y="822"/>
                  </a:lnTo>
                  <a:lnTo>
                    <a:pt x="9" y="802"/>
                  </a:lnTo>
                  <a:lnTo>
                    <a:pt x="15" y="756"/>
                  </a:lnTo>
                  <a:lnTo>
                    <a:pt x="18" y="736"/>
                  </a:lnTo>
                  <a:lnTo>
                    <a:pt x="21" y="718"/>
                  </a:lnTo>
                  <a:lnTo>
                    <a:pt x="23" y="704"/>
                  </a:lnTo>
                  <a:lnTo>
                    <a:pt x="24" y="698"/>
                  </a:lnTo>
                  <a:lnTo>
                    <a:pt x="26" y="687"/>
                  </a:lnTo>
                  <a:lnTo>
                    <a:pt x="27" y="669"/>
                  </a:lnTo>
                  <a:lnTo>
                    <a:pt x="30" y="642"/>
                  </a:lnTo>
                  <a:lnTo>
                    <a:pt x="33" y="613"/>
                  </a:lnTo>
                  <a:lnTo>
                    <a:pt x="36" y="582"/>
                  </a:lnTo>
                  <a:lnTo>
                    <a:pt x="43" y="530"/>
                  </a:lnTo>
                  <a:lnTo>
                    <a:pt x="46" y="506"/>
                  </a:lnTo>
                  <a:lnTo>
                    <a:pt x="49" y="487"/>
                  </a:lnTo>
                  <a:lnTo>
                    <a:pt x="50" y="473"/>
                  </a:lnTo>
                  <a:lnTo>
                    <a:pt x="52" y="469"/>
                  </a:lnTo>
                  <a:lnTo>
                    <a:pt x="52" y="464"/>
                  </a:lnTo>
                  <a:lnTo>
                    <a:pt x="53" y="452"/>
                  </a:lnTo>
                  <a:lnTo>
                    <a:pt x="53" y="435"/>
                  </a:lnTo>
                  <a:lnTo>
                    <a:pt x="56" y="392"/>
                  </a:lnTo>
                  <a:lnTo>
                    <a:pt x="58" y="372"/>
                  </a:lnTo>
                  <a:lnTo>
                    <a:pt x="59" y="355"/>
                  </a:lnTo>
                  <a:lnTo>
                    <a:pt x="61" y="343"/>
                  </a:lnTo>
                  <a:lnTo>
                    <a:pt x="66" y="334"/>
                  </a:lnTo>
                  <a:lnTo>
                    <a:pt x="72" y="329"/>
                  </a:lnTo>
                  <a:lnTo>
                    <a:pt x="84" y="329"/>
                  </a:lnTo>
                  <a:lnTo>
                    <a:pt x="86" y="330"/>
                  </a:lnTo>
                  <a:lnTo>
                    <a:pt x="89" y="329"/>
                  </a:lnTo>
                  <a:lnTo>
                    <a:pt x="98" y="326"/>
                  </a:lnTo>
                  <a:lnTo>
                    <a:pt x="110" y="320"/>
                  </a:lnTo>
                  <a:lnTo>
                    <a:pt x="124" y="314"/>
                  </a:lnTo>
                  <a:lnTo>
                    <a:pt x="141" y="306"/>
                  </a:lnTo>
                  <a:lnTo>
                    <a:pt x="156" y="300"/>
                  </a:lnTo>
                  <a:lnTo>
                    <a:pt x="169" y="294"/>
                  </a:lnTo>
                  <a:lnTo>
                    <a:pt x="179" y="289"/>
                  </a:lnTo>
                  <a:lnTo>
                    <a:pt x="184" y="286"/>
                  </a:lnTo>
                  <a:lnTo>
                    <a:pt x="189" y="281"/>
                  </a:lnTo>
                  <a:lnTo>
                    <a:pt x="195" y="274"/>
                  </a:lnTo>
                  <a:lnTo>
                    <a:pt x="202" y="264"/>
                  </a:lnTo>
                  <a:lnTo>
                    <a:pt x="209" y="257"/>
                  </a:lnTo>
                  <a:lnTo>
                    <a:pt x="213" y="251"/>
                  </a:lnTo>
                  <a:lnTo>
                    <a:pt x="215" y="247"/>
                  </a:lnTo>
                  <a:lnTo>
                    <a:pt x="215" y="209"/>
                  </a:lnTo>
                  <a:lnTo>
                    <a:pt x="209" y="206"/>
                  </a:lnTo>
                  <a:lnTo>
                    <a:pt x="204" y="198"/>
                  </a:lnTo>
                  <a:lnTo>
                    <a:pt x="199" y="189"/>
                  </a:lnTo>
                  <a:lnTo>
                    <a:pt x="198" y="181"/>
                  </a:lnTo>
                  <a:lnTo>
                    <a:pt x="196" y="178"/>
                  </a:lnTo>
                  <a:lnTo>
                    <a:pt x="187" y="171"/>
                  </a:lnTo>
                  <a:lnTo>
                    <a:pt x="182" y="161"/>
                  </a:lnTo>
                  <a:lnTo>
                    <a:pt x="181" y="149"/>
                  </a:lnTo>
                  <a:lnTo>
                    <a:pt x="179" y="140"/>
                  </a:lnTo>
                  <a:lnTo>
                    <a:pt x="181" y="132"/>
                  </a:lnTo>
                  <a:lnTo>
                    <a:pt x="181" y="129"/>
                  </a:lnTo>
                  <a:lnTo>
                    <a:pt x="179" y="126"/>
                  </a:lnTo>
                  <a:lnTo>
                    <a:pt x="178" y="117"/>
                  </a:lnTo>
                  <a:lnTo>
                    <a:pt x="176" y="101"/>
                  </a:lnTo>
                  <a:lnTo>
                    <a:pt x="176" y="85"/>
                  </a:lnTo>
                  <a:lnTo>
                    <a:pt x="181" y="63"/>
                  </a:lnTo>
                  <a:lnTo>
                    <a:pt x="190" y="42"/>
                  </a:lnTo>
                  <a:lnTo>
                    <a:pt x="202" y="25"/>
                  </a:lnTo>
                  <a:lnTo>
                    <a:pt x="218" y="14"/>
                  </a:lnTo>
                  <a:lnTo>
                    <a:pt x="235" y="6"/>
                  </a:lnTo>
                  <a:lnTo>
                    <a:pt x="250" y="2"/>
                  </a:lnTo>
                  <a:lnTo>
                    <a:pt x="262" y="0"/>
                  </a:lnTo>
                  <a:close/>
                </a:path>
              </a:pathLst>
            </a:custGeom>
            <a:solidFill>
              <a:schemeClr val="accent1"/>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a:p>
          </p:txBody>
        </p:sp>
      </p:grpSp>
      <p:grpSp>
        <p:nvGrpSpPr>
          <p:cNvPr id="7" name="Gruppieren 34"/>
          <p:cNvGrpSpPr/>
          <p:nvPr>
            <p:custDataLst>
              <p:tags r:id="rId3"/>
            </p:custDataLst>
          </p:nvPr>
        </p:nvGrpSpPr>
        <p:grpSpPr>
          <a:xfrm>
            <a:off x="2555776" y="3861048"/>
            <a:ext cx="1656184" cy="1440160"/>
            <a:chOff x="3128576" y="2564899"/>
            <a:chExt cx="2307520" cy="1920807"/>
          </a:xfrm>
        </p:grpSpPr>
        <p:grpSp>
          <p:nvGrpSpPr>
            <p:cNvPr id="9" name="Gruppieren 19"/>
            <p:cNvGrpSpPr/>
            <p:nvPr/>
          </p:nvGrpSpPr>
          <p:grpSpPr>
            <a:xfrm>
              <a:off x="3851921" y="2564899"/>
              <a:ext cx="446793" cy="731248"/>
              <a:chOff x="1037032" y="2818028"/>
              <a:chExt cx="719938" cy="1178299"/>
            </a:xfrm>
          </p:grpSpPr>
          <p:sp>
            <p:nvSpPr>
              <p:cNvPr id="36" name="Ellipse 4"/>
              <p:cNvSpPr/>
              <p:nvPr/>
            </p:nvSpPr>
            <p:spPr>
              <a:xfrm>
                <a:off x="1037032" y="3837847"/>
                <a:ext cx="719938" cy="158480"/>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9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Freeform 11"/>
              <p:cNvSpPr>
                <a:spLocks noEditPoints="1"/>
              </p:cNvSpPr>
              <p:nvPr/>
            </p:nvSpPr>
            <p:spPr bwMode="auto">
              <a:xfrm>
                <a:off x="1226786" y="2818028"/>
                <a:ext cx="318435" cy="1103859"/>
              </a:xfrm>
              <a:custGeom>
                <a:avLst/>
                <a:gdLst>
                  <a:gd name="T0" fmla="*/ 762 w 834"/>
                  <a:gd name="T1" fmla="*/ 549 h 2898"/>
                  <a:gd name="T2" fmla="*/ 651 w 834"/>
                  <a:gd name="T3" fmla="*/ 486 h 2898"/>
                  <a:gd name="T4" fmla="*/ 515 w 834"/>
                  <a:gd name="T5" fmla="*/ 358 h 2898"/>
                  <a:gd name="T6" fmla="*/ 539 w 834"/>
                  <a:gd name="T7" fmla="*/ 272 h 2898"/>
                  <a:gd name="T8" fmla="*/ 575 w 834"/>
                  <a:gd name="T9" fmla="*/ 211 h 2898"/>
                  <a:gd name="T10" fmla="*/ 555 w 834"/>
                  <a:gd name="T11" fmla="*/ 133 h 2898"/>
                  <a:gd name="T12" fmla="*/ 525 w 834"/>
                  <a:gd name="T13" fmla="*/ 38 h 2898"/>
                  <a:gd name="T14" fmla="*/ 405 w 834"/>
                  <a:gd name="T15" fmla="*/ 4 h 2898"/>
                  <a:gd name="T16" fmla="*/ 304 w 834"/>
                  <a:gd name="T17" fmla="*/ 77 h 2898"/>
                  <a:gd name="T18" fmla="*/ 302 w 834"/>
                  <a:gd name="T19" fmla="*/ 161 h 2898"/>
                  <a:gd name="T20" fmla="*/ 283 w 834"/>
                  <a:gd name="T21" fmla="*/ 182 h 2898"/>
                  <a:gd name="T22" fmla="*/ 317 w 834"/>
                  <a:gd name="T23" fmla="*/ 256 h 2898"/>
                  <a:gd name="T24" fmla="*/ 326 w 834"/>
                  <a:gd name="T25" fmla="*/ 315 h 2898"/>
                  <a:gd name="T26" fmla="*/ 336 w 834"/>
                  <a:gd name="T27" fmla="*/ 379 h 2898"/>
                  <a:gd name="T28" fmla="*/ 97 w 834"/>
                  <a:gd name="T29" fmla="*/ 544 h 2898"/>
                  <a:gd name="T30" fmla="*/ 49 w 834"/>
                  <a:gd name="T31" fmla="*/ 723 h 2898"/>
                  <a:gd name="T32" fmla="*/ 9 w 834"/>
                  <a:gd name="T33" fmla="*/ 1141 h 2898"/>
                  <a:gd name="T34" fmla="*/ 0 w 834"/>
                  <a:gd name="T35" fmla="*/ 1287 h 2898"/>
                  <a:gd name="T36" fmla="*/ 6 w 834"/>
                  <a:gd name="T37" fmla="*/ 1385 h 2898"/>
                  <a:gd name="T38" fmla="*/ 3 w 834"/>
                  <a:gd name="T39" fmla="*/ 1466 h 2898"/>
                  <a:gd name="T40" fmla="*/ 20 w 834"/>
                  <a:gd name="T41" fmla="*/ 1481 h 2898"/>
                  <a:gd name="T42" fmla="*/ 48 w 834"/>
                  <a:gd name="T43" fmla="*/ 1655 h 2898"/>
                  <a:gd name="T44" fmla="*/ 113 w 834"/>
                  <a:gd name="T45" fmla="*/ 1691 h 2898"/>
                  <a:gd name="T46" fmla="*/ 174 w 834"/>
                  <a:gd name="T47" fmla="*/ 1936 h 2898"/>
                  <a:gd name="T48" fmla="*/ 192 w 834"/>
                  <a:gd name="T49" fmla="*/ 2448 h 2898"/>
                  <a:gd name="T50" fmla="*/ 216 w 834"/>
                  <a:gd name="T51" fmla="*/ 2672 h 2898"/>
                  <a:gd name="T52" fmla="*/ 233 w 834"/>
                  <a:gd name="T53" fmla="*/ 2757 h 2898"/>
                  <a:gd name="T54" fmla="*/ 206 w 834"/>
                  <a:gd name="T55" fmla="*/ 2804 h 2898"/>
                  <a:gd name="T56" fmla="*/ 147 w 834"/>
                  <a:gd name="T57" fmla="*/ 2844 h 2898"/>
                  <a:gd name="T58" fmla="*/ 243 w 834"/>
                  <a:gd name="T59" fmla="*/ 2885 h 2898"/>
                  <a:gd name="T60" fmla="*/ 344 w 834"/>
                  <a:gd name="T61" fmla="*/ 2866 h 2898"/>
                  <a:gd name="T62" fmla="*/ 379 w 834"/>
                  <a:gd name="T63" fmla="*/ 2858 h 2898"/>
                  <a:gd name="T64" fmla="*/ 424 w 834"/>
                  <a:gd name="T65" fmla="*/ 2808 h 2898"/>
                  <a:gd name="T66" fmla="*/ 400 w 834"/>
                  <a:gd name="T67" fmla="*/ 2349 h 2898"/>
                  <a:gd name="T68" fmla="*/ 366 w 834"/>
                  <a:gd name="T69" fmla="*/ 2182 h 2898"/>
                  <a:gd name="T70" fmla="*/ 370 w 834"/>
                  <a:gd name="T71" fmla="*/ 1944 h 2898"/>
                  <a:gd name="T72" fmla="*/ 408 w 834"/>
                  <a:gd name="T73" fmla="*/ 1630 h 2898"/>
                  <a:gd name="T74" fmla="*/ 440 w 834"/>
                  <a:gd name="T75" fmla="*/ 1670 h 2898"/>
                  <a:gd name="T76" fmla="*/ 501 w 834"/>
                  <a:gd name="T77" fmla="*/ 2025 h 2898"/>
                  <a:gd name="T78" fmla="*/ 539 w 834"/>
                  <a:gd name="T79" fmla="*/ 2293 h 2898"/>
                  <a:gd name="T80" fmla="*/ 594 w 834"/>
                  <a:gd name="T81" fmla="*/ 2768 h 2898"/>
                  <a:gd name="T82" fmla="*/ 579 w 834"/>
                  <a:gd name="T83" fmla="*/ 2847 h 2898"/>
                  <a:gd name="T84" fmla="*/ 621 w 834"/>
                  <a:gd name="T85" fmla="*/ 2882 h 2898"/>
                  <a:gd name="T86" fmla="*/ 794 w 834"/>
                  <a:gd name="T87" fmla="*/ 2880 h 2898"/>
                  <a:gd name="T88" fmla="*/ 740 w 834"/>
                  <a:gd name="T89" fmla="*/ 2783 h 2898"/>
                  <a:gd name="T90" fmla="*/ 749 w 834"/>
                  <a:gd name="T91" fmla="*/ 2744 h 2898"/>
                  <a:gd name="T92" fmla="*/ 743 w 834"/>
                  <a:gd name="T93" fmla="*/ 2510 h 2898"/>
                  <a:gd name="T94" fmla="*/ 728 w 834"/>
                  <a:gd name="T95" fmla="*/ 2128 h 2898"/>
                  <a:gd name="T96" fmla="*/ 812 w 834"/>
                  <a:gd name="T97" fmla="*/ 1615 h 2898"/>
                  <a:gd name="T98" fmla="*/ 834 w 834"/>
                  <a:gd name="T99" fmla="*/ 1226 h 2898"/>
                  <a:gd name="T100" fmla="*/ 799 w 834"/>
                  <a:gd name="T101" fmla="*/ 712 h 2898"/>
                  <a:gd name="T102" fmla="*/ 123 w 834"/>
                  <a:gd name="T103" fmla="*/ 1615 h 2898"/>
                  <a:gd name="T104" fmla="*/ 169 w 834"/>
                  <a:gd name="T105" fmla="*/ 1207 h 2898"/>
                  <a:gd name="T106" fmla="*/ 128 w 834"/>
                  <a:gd name="T107" fmla="*/ 1418 h 2898"/>
                  <a:gd name="T108" fmla="*/ 125 w 834"/>
                  <a:gd name="T109" fmla="*/ 1327 h 2898"/>
                  <a:gd name="T110" fmla="*/ 168 w 834"/>
                  <a:gd name="T111" fmla="*/ 1015 h 2898"/>
                  <a:gd name="T112" fmla="*/ 181 w 834"/>
                  <a:gd name="T113" fmla="*/ 991 h 2898"/>
                  <a:gd name="T114" fmla="*/ 668 w 834"/>
                  <a:gd name="T115" fmla="*/ 1159 h 2898"/>
                  <a:gd name="T116" fmla="*/ 682 w 834"/>
                  <a:gd name="T117" fmla="*/ 920 h 2898"/>
                  <a:gd name="T118" fmla="*/ 719 w 834"/>
                  <a:gd name="T119" fmla="*/ 1402 h 2898"/>
                  <a:gd name="T120" fmla="*/ 679 w 834"/>
                  <a:gd name="T121" fmla="*/ 1260 h 2898"/>
                  <a:gd name="T122" fmla="*/ 712 w 834"/>
                  <a:gd name="T123" fmla="*/ 1551 h 28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34"/>
                  <a:gd name="T187" fmla="*/ 0 h 2898"/>
                  <a:gd name="T188" fmla="*/ 834 w 834"/>
                  <a:gd name="T189" fmla="*/ 2898 h 28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34" h="2898">
                    <a:moveTo>
                      <a:pt x="799" y="712"/>
                    </a:moveTo>
                    <a:lnTo>
                      <a:pt x="799" y="712"/>
                    </a:lnTo>
                    <a:lnTo>
                      <a:pt x="784" y="621"/>
                    </a:lnTo>
                    <a:lnTo>
                      <a:pt x="780" y="600"/>
                    </a:lnTo>
                    <a:lnTo>
                      <a:pt x="775" y="581"/>
                    </a:lnTo>
                    <a:lnTo>
                      <a:pt x="770" y="565"/>
                    </a:lnTo>
                    <a:lnTo>
                      <a:pt x="762" y="549"/>
                    </a:lnTo>
                    <a:lnTo>
                      <a:pt x="757" y="542"/>
                    </a:lnTo>
                    <a:lnTo>
                      <a:pt x="749" y="534"/>
                    </a:lnTo>
                    <a:lnTo>
                      <a:pt x="738" y="526"/>
                    </a:lnTo>
                    <a:lnTo>
                      <a:pt x="724" y="517"/>
                    </a:lnTo>
                    <a:lnTo>
                      <a:pt x="708" y="509"/>
                    </a:lnTo>
                    <a:lnTo>
                      <a:pt x="690" y="501"/>
                    </a:lnTo>
                    <a:lnTo>
                      <a:pt x="671" y="493"/>
                    </a:lnTo>
                    <a:lnTo>
                      <a:pt x="651" y="486"/>
                    </a:lnTo>
                    <a:lnTo>
                      <a:pt x="611" y="464"/>
                    </a:lnTo>
                    <a:lnTo>
                      <a:pt x="573" y="442"/>
                    </a:lnTo>
                    <a:lnTo>
                      <a:pt x="541" y="422"/>
                    </a:lnTo>
                    <a:lnTo>
                      <a:pt x="520" y="411"/>
                    </a:lnTo>
                    <a:lnTo>
                      <a:pt x="515" y="373"/>
                    </a:lnTo>
                    <a:lnTo>
                      <a:pt x="515" y="358"/>
                    </a:lnTo>
                    <a:lnTo>
                      <a:pt x="517" y="352"/>
                    </a:lnTo>
                    <a:lnTo>
                      <a:pt x="520" y="346"/>
                    </a:lnTo>
                    <a:lnTo>
                      <a:pt x="528" y="331"/>
                    </a:lnTo>
                    <a:lnTo>
                      <a:pt x="535" y="314"/>
                    </a:lnTo>
                    <a:lnTo>
                      <a:pt x="538" y="294"/>
                    </a:lnTo>
                    <a:lnTo>
                      <a:pt x="539" y="272"/>
                    </a:lnTo>
                    <a:lnTo>
                      <a:pt x="555" y="269"/>
                    </a:lnTo>
                    <a:lnTo>
                      <a:pt x="559" y="267"/>
                    </a:lnTo>
                    <a:lnTo>
                      <a:pt x="563" y="262"/>
                    </a:lnTo>
                    <a:lnTo>
                      <a:pt x="568" y="253"/>
                    </a:lnTo>
                    <a:lnTo>
                      <a:pt x="571" y="240"/>
                    </a:lnTo>
                    <a:lnTo>
                      <a:pt x="575" y="225"/>
                    </a:lnTo>
                    <a:lnTo>
                      <a:pt x="575" y="211"/>
                    </a:lnTo>
                    <a:lnTo>
                      <a:pt x="573" y="197"/>
                    </a:lnTo>
                    <a:lnTo>
                      <a:pt x="571" y="184"/>
                    </a:lnTo>
                    <a:lnTo>
                      <a:pt x="568" y="179"/>
                    </a:lnTo>
                    <a:lnTo>
                      <a:pt x="567" y="176"/>
                    </a:lnTo>
                    <a:lnTo>
                      <a:pt x="563" y="174"/>
                    </a:lnTo>
                    <a:lnTo>
                      <a:pt x="560" y="174"/>
                    </a:lnTo>
                    <a:lnTo>
                      <a:pt x="555" y="133"/>
                    </a:lnTo>
                    <a:lnTo>
                      <a:pt x="554" y="112"/>
                    </a:lnTo>
                    <a:lnTo>
                      <a:pt x="551" y="91"/>
                    </a:lnTo>
                    <a:lnTo>
                      <a:pt x="546" y="73"/>
                    </a:lnTo>
                    <a:lnTo>
                      <a:pt x="541" y="57"/>
                    </a:lnTo>
                    <a:lnTo>
                      <a:pt x="533" y="46"/>
                    </a:lnTo>
                    <a:lnTo>
                      <a:pt x="530" y="41"/>
                    </a:lnTo>
                    <a:lnTo>
                      <a:pt x="525" y="38"/>
                    </a:lnTo>
                    <a:lnTo>
                      <a:pt x="514" y="25"/>
                    </a:lnTo>
                    <a:lnTo>
                      <a:pt x="499" y="16"/>
                    </a:lnTo>
                    <a:lnTo>
                      <a:pt x="487" y="8"/>
                    </a:lnTo>
                    <a:lnTo>
                      <a:pt x="471" y="3"/>
                    </a:lnTo>
                    <a:lnTo>
                      <a:pt x="454" y="1"/>
                    </a:lnTo>
                    <a:lnTo>
                      <a:pt x="438" y="0"/>
                    </a:lnTo>
                    <a:lnTo>
                      <a:pt x="421" y="1"/>
                    </a:lnTo>
                    <a:lnTo>
                      <a:pt x="405" y="4"/>
                    </a:lnTo>
                    <a:lnTo>
                      <a:pt x="389" y="9"/>
                    </a:lnTo>
                    <a:lnTo>
                      <a:pt x="373" y="16"/>
                    </a:lnTo>
                    <a:lnTo>
                      <a:pt x="357" y="24"/>
                    </a:lnTo>
                    <a:lnTo>
                      <a:pt x="344" y="33"/>
                    </a:lnTo>
                    <a:lnTo>
                      <a:pt x="331" y="43"/>
                    </a:lnTo>
                    <a:lnTo>
                      <a:pt x="320" y="54"/>
                    </a:lnTo>
                    <a:lnTo>
                      <a:pt x="312" y="65"/>
                    </a:lnTo>
                    <a:lnTo>
                      <a:pt x="304" y="77"/>
                    </a:lnTo>
                    <a:lnTo>
                      <a:pt x="301" y="88"/>
                    </a:lnTo>
                    <a:lnTo>
                      <a:pt x="299" y="97"/>
                    </a:lnTo>
                    <a:lnTo>
                      <a:pt x="299" y="109"/>
                    </a:lnTo>
                    <a:lnTo>
                      <a:pt x="301" y="121"/>
                    </a:lnTo>
                    <a:lnTo>
                      <a:pt x="302" y="142"/>
                    </a:lnTo>
                    <a:lnTo>
                      <a:pt x="302" y="152"/>
                    </a:lnTo>
                    <a:lnTo>
                      <a:pt x="302" y="161"/>
                    </a:lnTo>
                    <a:lnTo>
                      <a:pt x="298" y="163"/>
                    </a:lnTo>
                    <a:lnTo>
                      <a:pt x="293" y="165"/>
                    </a:lnTo>
                    <a:lnTo>
                      <a:pt x="290" y="168"/>
                    </a:lnTo>
                    <a:lnTo>
                      <a:pt x="286" y="169"/>
                    </a:lnTo>
                    <a:lnTo>
                      <a:pt x="285" y="174"/>
                    </a:lnTo>
                    <a:lnTo>
                      <a:pt x="283" y="182"/>
                    </a:lnTo>
                    <a:lnTo>
                      <a:pt x="286" y="216"/>
                    </a:lnTo>
                    <a:lnTo>
                      <a:pt x="288" y="233"/>
                    </a:lnTo>
                    <a:lnTo>
                      <a:pt x="294" y="253"/>
                    </a:lnTo>
                    <a:lnTo>
                      <a:pt x="296" y="256"/>
                    </a:lnTo>
                    <a:lnTo>
                      <a:pt x="299" y="257"/>
                    </a:lnTo>
                    <a:lnTo>
                      <a:pt x="309" y="257"/>
                    </a:lnTo>
                    <a:lnTo>
                      <a:pt x="317" y="256"/>
                    </a:lnTo>
                    <a:lnTo>
                      <a:pt x="320" y="257"/>
                    </a:lnTo>
                    <a:lnTo>
                      <a:pt x="322" y="262"/>
                    </a:lnTo>
                    <a:lnTo>
                      <a:pt x="323" y="273"/>
                    </a:lnTo>
                    <a:lnTo>
                      <a:pt x="322" y="286"/>
                    </a:lnTo>
                    <a:lnTo>
                      <a:pt x="323" y="301"/>
                    </a:lnTo>
                    <a:lnTo>
                      <a:pt x="323" y="307"/>
                    </a:lnTo>
                    <a:lnTo>
                      <a:pt x="326" y="315"/>
                    </a:lnTo>
                    <a:lnTo>
                      <a:pt x="330" y="320"/>
                    </a:lnTo>
                    <a:lnTo>
                      <a:pt x="331" y="323"/>
                    </a:lnTo>
                    <a:lnTo>
                      <a:pt x="334" y="326"/>
                    </a:lnTo>
                    <a:lnTo>
                      <a:pt x="334" y="331"/>
                    </a:lnTo>
                    <a:lnTo>
                      <a:pt x="336" y="355"/>
                    </a:lnTo>
                    <a:lnTo>
                      <a:pt x="336" y="379"/>
                    </a:lnTo>
                    <a:lnTo>
                      <a:pt x="334" y="400"/>
                    </a:lnTo>
                    <a:lnTo>
                      <a:pt x="334" y="419"/>
                    </a:lnTo>
                    <a:lnTo>
                      <a:pt x="277" y="451"/>
                    </a:lnTo>
                    <a:lnTo>
                      <a:pt x="217" y="483"/>
                    </a:lnTo>
                    <a:lnTo>
                      <a:pt x="158" y="515"/>
                    </a:lnTo>
                    <a:lnTo>
                      <a:pt x="129" y="530"/>
                    </a:lnTo>
                    <a:lnTo>
                      <a:pt x="97" y="544"/>
                    </a:lnTo>
                    <a:lnTo>
                      <a:pt x="93" y="552"/>
                    </a:lnTo>
                    <a:lnTo>
                      <a:pt x="88" y="562"/>
                    </a:lnTo>
                    <a:lnTo>
                      <a:pt x="78" y="586"/>
                    </a:lnTo>
                    <a:lnTo>
                      <a:pt x="70" y="613"/>
                    </a:lnTo>
                    <a:lnTo>
                      <a:pt x="62" y="647"/>
                    </a:lnTo>
                    <a:lnTo>
                      <a:pt x="56" y="683"/>
                    </a:lnTo>
                    <a:lnTo>
                      <a:pt x="49" y="723"/>
                    </a:lnTo>
                    <a:lnTo>
                      <a:pt x="40" y="812"/>
                    </a:lnTo>
                    <a:lnTo>
                      <a:pt x="27" y="936"/>
                    </a:lnTo>
                    <a:lnTo>
                      <a:pt x="20" y="997"/>
                    </a:lnTo>
                    <a:lnTo>
                      <a:pt x="17" y="1057"/>
                    </a:lnTo>
                    <a:lnTo>
                      <a:pt x="14" y="1101"/>
                    </a:lnTo>
                    <a:lnTo>
                      <a:pt x="9" y="1141"/>
                    </a:lnTo>
                    <a:lnTo>
                      <a:pt x="4" y="1178"/>
                    </a:lnTo>
                    <a:lnTo>
                      <a:pt x="3" y="1209"/>
                    </a:lnTo>
                    <a:lnTo>
                      <a:pt x="3" y="1225"/>
                    </a:lnTo>
                    <a:lnTo>
                      <a:pt x="1" y="1244"/>
                    </a:lnTo>
                    <a:lnTo>
                      <a:pt x="0" y="1265"/>
                    </a:lnTo>
                    <a:lnTo>
                      <a:pt x="0" y="1287"/>
                    </a:lnTo>
                    <a:lnTo>
                      <a:pt x="3" y="1306"/>
                    </a:lnTo>
                    <a:lnTo>
                      <a:pt x="8" y="1324"/>
                    </a:lnTo>
                    <a:lnTo>
                      <a:pt x="12" y="1342"/>
                    </a:lnTo>
                    <a:lnTo>
                      <a:pt x="14" y="1361"/>
                    </a:lnTo>
                    <a:lnTo>
                      <a:pt x="12" y="1369"/>
                    </a:lnTo>
                    <a:lnTo>
                      <a:pt x="9" y="1377"/>
                    </a:lnTo>
                    <a:lnTo>
                      <a:pt x="6" y="1385"/>
                    </a:lnTo>
                    <a:lnTo>
                      <a:pt x="4" y="1391"/>
                    </a:lnTo>
                    <a:lnTo>
                      <a:pt x="4" y="1414"/>
                    </a:lnTo>
                    <a:lnTo>
                      <a:pt x="3" y="1433"/>
                    </a:lnTo>
                    <a:lnTo>
                      <a:pt x="1" y="1449"/>
                    </a:lnTo>
                    <a:lnTo>
                      <a:pt x="1" y="1463"/>
                    </a:lnTo>
                    <a:lnTo>
                      <a:pt x="3" y="1466"/>
                    </a:lnTo>
                    <a:lnTo>
                      <a:pt x="6" y="1470"/>
                    </a:lnTo>
                    <a:lnTo>
                      <a:pt x="12" y="1471"/>
                    </a:lnTo>
                    <a:lnTo>
                      <a:pt x="19" y="1473"/>
                    </a:lnTo>
                    <a:lnTo>
                      <a:pt x="22" y="1474"/>
                    </a:lnTo>
                    <a:lnTo>
                      <a:pt x="22" y="1476"/>
                    </a:lnTo>
                    <a:lnTo>
                      <a:pt x="22" y="1479"/>
                    </a:lnTo>
                    <a:lnTo>
                      <a:pt x="20" y="1481"/>
                    </a:lnTo>
                    <a:lnTo>
                      <a:pt x="19" y="1482"/>
                    </a:lnTo>
                    <a:lnTo>
                      <a:pt x="22" y="1535"/>
                    </a:lnTo>
                    <a:lnTo>
                      <a:pt x="25" y="1580"/>
                    </a:lnTo>
                    <a:lnTo>
                      <a:pt x="27" y="1601"/>
                    </a:lnTo>
                    <a:lnTo>
                      <a:pt x="32" y="1620"/>
                    </a:lnTo>
                    <a:lnTo>
                      <a:pt x="38" y="1638"/>
                    </a:lnTo>
                    <a:lnTo>
                      <a:pt x="48" y="1655"/>
                    </a:lnTo>
                    <a:lnTo>
                      <a:pt x="54" y="1665"/>
                    </a:lnTo>
                    <a:lnTo>
                      <a:pt x="61" y="1671"/>
                    </a:lnTo>
                    <a:lnTo>
                      <a:pt x="70" y="1678"/>
                    </a:lnTo>
                    <a:lnTo>
                      <a:pt x="78" y="1683"/>
                    </a:lnTo>
                    <a:lnTo>
                      <a:pt x="89" y="1686"/>
                    </a:lnTo>
                    <a:lnTo>
                      <a:pt x="101" y="1689"/>
                    </a:lnTo>
                    <a:lnTo>
                      <a:pt x="113" y="1691"/>
                    </a:lnTo>
                    <a:lnTo>
                      <a:pt x="128" y="1691"/>
                    </a:lnTo>
                    <a:lnTo>
                      <a:pt x="141" y="1737"/>
                    </a:lnTo>
                    <a:lnTo>
                      <a:pt x="152" y="1785"/>
                    </a:lnTo>
                    <a:lnTo>
                      <a:pt x="161" y="1835"/>
                    </a:lnTo>
                    <a:lnTo>
                      <a:pt x="169" y="1886"/>
                    </a:lnTo>
                    <a:lnTo>
                      <a:pt x="174" y="1936"/>
                    </a:lnTo>
                    <a:lnTo>
                      <a:pt x="177" y="1987"/>
                    </a:lnTo>
                    <a:lnTo>
                      <a:pt x="181" y="2091"/>
                    </a:lnTo>
                    <a:lnTo>
                      <a:pt x="184" y="2197"/>
                    </a:lnTo>
                    <a:lnTo>
                      <a:pt x="187" y="2302"/>
                    </a:lnTo>
                    <a:lnTo>
                      <a:pt x="189" y="2352"/>
                    </a:lnTo>
                    <a:lnTo>
                      <a:pt x="190" y="2400"/>
                    </a:lnTo>
                    <a:lnTo>
                      <a:pt x="192" y="2448"/>
                    </a:lnTo>
                    <a:lnTo>
                      <a:pt x="193" y="2470"/>
                    </a:lnTo>
                    <a:lnTo>
                      <a:pt x="197" y="2494"/>
                    </a:lnTo>
                    <a:lnTo>
                      <a:pt x="201" y="2533"/>
                    </a:lnTo>
                    <a:lnTo>
                      <a:pt x="206" y="2578"/>
                    </a:lnTo>
                    <a:lnTo>
                      <a:pt x="209" y="2626"/>
                    </a:lnTo>
                    <a:lnTo>
                      <a:pt x="216" y="2672"/>
                    </a:lnTo>
                    <a:lnTo>
                      <a:pt x="217" y="2696"/>
                    </a:lnTo>
                    <a:lnTo>
                      <a:pt x="217" y="2719"/>
                    </a:lnTo>
                    <a:lnTo>
                      <a:pt x="221" y="2739"/>
                    </a:lnTo>
                    <a:lnTo>
                      <a:pt x="224" y="2747"/>
                    </a:lnTo>
                    <a:lnTo>
                      <a:pt x="227" y="2754"/>
                    </a:lnTo>
                    <a:lnTo>
                      <a:pt x="230" y="2757"/>
                    </a:lnTo>
                    <a:lnTo>
                      <a:pt x="233" y="2757"/>
                    </a:lnTo>
                    <a:lnTo>
                      <a:pt x="238" y="2757"/>
                    </a:lnTo>
                    <a:lnTo>
                      <a:pt x="241" y="2757"/>
                    </a:lnTo>
                    <a:lnTo>
                      <a:pt x="235" y="2771"/>
                    </a:lnTo>
                    <a:lnTo>
                      <a:pt x="227" y="2784"/>
                    </a:lnTo>
                    <a:lnTo>
                      <a:pt x="217" y="2796"/>
                    </a:lnTo>
                    <a:lnTo>
                      <a:pt x="206" y="2804"/>
                    </a:lnTo>
                    <a:lnTo>
                      <a:pt x="195" y="2810"/>
                    </a:lnTo>
                    <a:lnTo>
                      <a:pt x="182" y="2815"/>
                    </a:lnTo>
                    <a:lnTo>
                      <a:pt x="169" y="2821"/>
                    </a:lnTo>
                    <a:lnTo>
                      <a:pt x="163" y="2824"/>
                    </a:lnTo>
                    <a:lnTo>
                      <a:pt x="158" y="2829"/>
                    </a:lnTo>
                    <a:lnTo>
                      <a:pt x="152" y="2836"/>
                    </a:lnTo>
                    <a:lnTo>
                      <a:pt x="147" y="2844"/>
                    </a:lnTo>
                    <a:lnTo>
                      <a:pt x="139" y="2861"/>
                    </a:lnTo>
                    <a:lnTo>
                      <a:pt x="137" y="2864"/>
                    </a:lnTo>
                    <a:lnTo>
                      <a:pt x="137" y="2869"/>
                    </a:lnTo>
                    <a:lnTo>
                      <a:pt x="137" y="2876"/>
                    </a:lnTo>
                    <a:lnTo>
                      <a:pt x="192" y="2882"/>
                    </a:lnTo>
                    <a:lnTo>
                      <a:pt x="243" y="2885"/>
                    </a:lnTo>
                    <a:lnTo>
                      <a:pt x="267" y="2885"/>
                    </a:lnTo>
                    <a:lnTo>
                      <a:pt x="291" y="2885"/>
                    </a:lnTo>
                    <a:lnTo>
                      <a:pt x="314" y="2882"/>
                    </a:lnTo>
                    <a:lnTo>
                      <a:pt x="336" y="2877"/>
                    </a:lnTo>
                    <a:lnTo>
                      <a:pt x="339" y="2876"/>
                    </a:lnTo>
                    <a:lnTo>
                      <a:pt x="341" y="2872"/>
                    </a:lnTo>
                    <a:lnTo>
                      <a:pt x="344" y="2866"/>
                    </a:lnTo>
                    <a:lnTo>
                      <a:pt x="349" y="2858"/>
                    </a:lnTo>
                    <a:lnTo>
                      <a:pt x="350" y="2855"/>
                    </a:lnTo>
                    <a:lnTo>
                      <a:pt x="352" y="2855"/>
                    </a:lnTo>
                    <a:lnTo>
                      <a:pt x="358" y="2855"/>
                    </a:lnTo>
                    <a:lnTo>
                      <a:pt x="366" y="2856"/>
                    </a:lnTo>
                    <a:lnTo>
                      <a:pt x="374" y="2858"/>
                    </a:lnTo>
                    <a:lnTo>
                      <a:pt x="379" y="2858"/>
                    </a:lnTo>
                    <a:lnTo>
                      <a:pt x="402" y="2853"/>
                    </a:lnTo>
                    <a:lnTo>
                      <a:pt x="411" y="2850"/>
                    </a:lnTo>
                    <a:lnTo>
                      <a:pt x="421" y="2847"/>
                    </a:lnTo>
                    <a:lnTo>
                      <a:pt x="422" y="2840"/>
                    </a:lnTo>
                    <a:lnTo>
                      <a:pt x="424" y="2832"/>
                    </a:lnTo>
                    <a:lnTo>
                      <a:pt x="424" y="2808"/>
                    </a:lnTo>
                    <a:lnTo>
                      <a:pt x="418" y="2735"/>
                    </a:lnTo>
                    <a:lnTo>
                      <a:pt x="410" y="2591"/>
                    </a:lnTo>
                    <a:lnTo>
                      <a:pt x="406" y="2523"/>
                    </a:lnTo>
                    <a:lnTo>
                      <a:pt x="405" y="2474"/>
                    </a:lnTo>
                    <a:lnTo>
                      <a:pt x="405" y="2410"/>
                    </a:lnTo>
                    <a:lnTo>
                      <a:pt x="400" y="2349"/>
                    </a:lnTo>
                    <a:lnTo>
                      <a:pt x="394" y="2291"/>
                    </a:lnTo>
                    <a:lnTo>
                      <a:pt x="390" y="2264"/>
                    </a:lnTo>
                    <a:lnTo>
                      <a:pt x="386" y="2238"/>
                    </a:lnTo>
                    <a:lnTo>
                      <a:pt x="381" y="2224"/>
                    </a:lnTo>
                    <a:lnTo>
                      <a:pt x="376" y="2209"/>
                    </a:lnTo>
                    <a:lnTo>
                      <a:pt x="370" y="2195"/>
                    </a:lnTo>
                    <a:lnTo>
                      <a:pt x="366" y="2182"/>
                    </a:lnTo>
                    <a:lnTo>
                      <a:pt x="363" y="2168"/>
                    </a:lnTo>
                    <a:lnTo>
                      <a:pt x="360" y="2153"/>
                    </a:lnTo>
                    <a:lnTo>
                      <a:pt x="358" y="2118"/>
                    </a:lnTo>
                    <a:lnTo>
                      <a:pt x="358" y="2080"/>
                    </a:lnTo>
                    <a:lnTo>
                      <a:pt x="362" y="2037"/>
                    </a:lnTo>
                    <a:lnTo>
                      <a:pt x="365" y="1992"/>
                    </a:lnTo>
                    <a:lnTo>
                      <a:pt x="370" y="1944"/>
                    </a:lnTo>
                    <a:lnTo>
                      <a:pt x="381" y="1846"/>
                    </a:lnTo>
                    <a:lnTo>
                      <a:pt x="387" y="1788"/>
                    </a:lnTo>
                    <a:lnTo>
                      <a:pt x="394" y="1731"/>
                    </a:lnTo>
                    <a:lnTo>
                      <a:pt x="398" y="1681"/>
                    </a:lnTo>
                    <a:lnTo>
                      <a:pt x="405" y="1638"/>
                    </a:lnTo>
                    <a:lnTo>
                      <a:pt x="408" y="1630"/>
                    </a:lnTo>
                    <a:lnTo>
                      <a:pt x="410" y="1623"/>
                    </a:lnTo>
                    <a:lnTo>
                      <a:pt x="413" y="1617"/>
                    </a:lnTo>
                    <a:lnTo>
                      <a:pt x="416" y="1611"/>
                    </a:lnTo>
                    <a:lnTo>
                      <a:pt x="426" y="1611"/>
                    </a:lnTo>
                    <a:lnTo>
                      <a:pt x="429" y="1631"/>
                    </a:lnTo>
                    <a:lnTo>
                      <a:pt x="435" y="1651"/>
                    </a:lnTo>
                    <a:lnTo>
                      <a:pt x="440" y="1670"/>
                    </a:lnTo>
                    <a:lnTo>
                      <a:pt x="443" y="1691"/>
                    </a:lnTo>
                    <a:lnTo>
                      <a:pt x="454" y="1761"/>
                    </a:lnTo>
                    <a:lnTo>
                      <a:pt x="464" y="1835"/>
                    </a:lnTo>
                    <a:lnTo>
                      <a:pt x="475" y="1912"/>
                    </a:lnTo>
                    <a:lnTo>
                      <a:pt x="487" y="1992"/>
                    </a:lnTo>
                    <a:lnTo>
                      <a:pt x="501" y="2025"/>
                    </a:lnTo>
                    <a:lnTo>
                      <a:pt x="512" y="2056"/>
                    </a:lnTo>
                    <a:lnTo>
                      <a:pt x="519" y="2086"/>
                    </a:lnTo>
                    <a:lnTo>
                      <a:pt x="525" y="2120"/>
                    </a:lnTo>
                    <a:lnTo>
                      <a:pt x="530" y="2163"/>
                    </a:lnTo>
                    <a:lnTo>
                      <a:pt x="533" y="2206"/>
                    </a:lnTo>
                    <a:lnTo>
                      <a:pt x="536" y="2251"/>
                    </a:lnTo>
                    <a:lnTo>
                      <a:pt x="539" y="2293"/>
                    </a:lnTo>
                    <a:lnTo>
                      <a:pt x="555" y="2411"/>
                    </a:lnTo>
                    <a:lnTo>
                      <a:pt x="567" y="2525"/>
                    </a:lnTo>
                    <a:lnTo>
                      <a:pt x="586" y="2741"/>
                    </a:lnTo>
                    <a:lnTo>
                      <a:pt x="587" y="2751"/>
                    </a:lnTo>
                    <a:lnTo>
                      <a:pt x="591" y="2759"/>
                    </a:lnTo>
                    <a:lnTo>
                      <a:pt x="594" y="2768"/>
                    </a:lnTo>
                    <a:lnTo>
                      <a:pt x="594" y="2776"/>
                    </a:lnTo>
                    <a:lnTo>
                      <a:pt x="594" y="2786"/>
                    </a:lnTo>
                    <a:lnTo>
                      <a:pt x="592" y="2794"/>
                    </a:lnTo>
                    <a:lnTo>
                      <a:pt x="587" y="2812"/>
                    </a:lnTo>
                    <a:lnTo>
                      <a:pt x="583" y="2829"/>
                    </a:lnTo>
                    <a:lnTo>
                      <a:pt x="579" y="2837"/>
                    </a:lnTo>
                    <a:lnTo>
                      <a:pt x="579" y="2847"/>
                    </a:lnTo>
                    <a:lnTo>
                      <a:pt x="586" y="2852"/>
                    </a:lnTo>
                    <a:lnTo>
                      <a:pt x="594" y="2855"/>
                    </a:lnTo>
                    <a:lnTo>
                      <a:pt x="603" y="2860"/>
                    </a:lnTo>
                    <a:lnTo>
                      <a:pt x="611" y="2866"/>
                    </a:lnTo>
                    <a:lnTo>
                      <a:pt x="618" y="2874"/>
                    </a:lnTo>
                    <a:lnTo>
                      <a:pt x="621" y="2882"/>
                    </a:lnTo>
                    <a:lnTo>
                      <a:pt x="624" y="2892"/>
                    </a:lnTo>
                    <a:lnTo>
                      <a:pt x="664" y="2896"/>
                    </a:lnTo>
                    <a:lnTo>
                      <a:pt x="709" y="2898"/>
                    </a:lnTo>
                    <a:lnTo>
                      <a:pt x="754" y="2898"/>
                    </a:lnTo>
                    <a:lnTo>
                      <a:pt x="797" y="2896"/>
                    </a:lnTo>
                    <a:lnTo>
                      <a:pt x="794" y="2880"/>
                    </a:lnTo>
                    <a:lnTo>
                      <a:pt x="789" y="2861"/>
                    </a:lnTo>
                    <a:lnTo>
                      <a:pt x="781" y="2844"/>
                    </a:lnTo>
                    <a:lnTo>
                      <a:pt x="770" y="2826"/>
                    </a:lnTo>
                    <a:lnTo>
                      <a:pt x="760" y="2813"/>
                    </a:lnTo>
                    <a:lnTo>
                      <a:pt x="749" y="2800"/>
                    </a:lnTo>
                    <a:lnTo>
                      <a:pt x="741" y="2789"/>
                    </a:lnTo>
                    <a:lnTo>
                      <a:pt x="740" y="2783"/>
                    </a:lnTo>
                    <a:lnTo>
                      <a:pt x="738" y="2776"/>
                    </a:lnTo>
                    <a:lnTo>
                      <a:pt x="738" y="2773"/>
                    </a:lnTo>
                    <a:lnTo>
                      <a:pt x="740" y="2768"/>
                    </a:lnTo>
                    <a:lnTo>
                      <a:pt x="743" y="2762"/>
                    </a:lnTo>
                    <a:lnTo>
                      <a:pt x="748" y="2754"/>
                    </a:lnTo>
                    <a:lnTo>
                      <a:pt x="749" y="2749"/>
                    </a:lnTo>
                    <a:lnTo>
                      <a:pt x="749" y="2744"/>
                    </a:lnTo>
                    <a:lnTo>
                      <a:pt x="746" y="2717"/>
                    </a:lnTo>
                    <a:lnTo>
                      <a:pt x="743" y="2687"/>
                    </a:lnTo>
                    <a:lnTo>
                      <a:pt x="740" y="2655"/>
                    </a:lnTo>
                    <a:lnTo>
                      <a:pt x="736" y="2623"/>
                    </a:lnTo>
                    <a:lnTo>
                      <a:pt x="738" y="2567"/>
                    </a:lnTo>
                    <a:lnTo>
                      <a:pt x="743" y="2510"/>
                    </a:lnTo>
                    <a:lnTo>
                      <a:pt x="746" y="2453"/>
                    </a:lnTo>
                    <a:lnTo>
                      <a:pt x="748" y="2395"/>
                    </a:lnTo>
                    <a:lnTo>
                      <a:pt x="748" y="2355"/>
                    </a:lnTo>
                    <a:lnTo>
                      <a:pt x="744" y="2317"/>
                    </a:lnTo>
                    <a:lnTo>
                      <a:pt x="738" y="2241"/>
                    </a:lnTo>
                    <a:lnTo>
                      <a:pt x="730" y="2166"/>
                    </a:lnTo>
                    <a:lnTo>
                      <a:pt x="728" y="2128"/>
                    </a:lnTo>
                    <a:lnTo>
                      <a:pt x="728" y="2089"/>
                    </a:lnTo>
                    <a:lnTo>
                      <a:pt x="730" y="1878"/>
                    </a:lnTo>
                    <a:lnTo>
                      <a:pt x="733" y="1665"/>
                    </a:lnTo>
                    <a:lnTo>
                      <a:pt x="756" y="1654"/>
                    </a:lnTo>
                    <a:lnTo>
                      <a:pt x="775" y="1643"/>
                    </a:lnTo>
                    <a:lnTo>
                      <a:pt x="812" y="1615"/>
                    </a:lnTo>
                    <a:lnTo>
                      <a:pt x="816" y="1595"/>
                    </a:lnTo>
                    <a:lnTo>
                      <a:pt x="818" y="1567"/>
                    </a:lnTo>
                    <a:lnTo>
                      <a:pt x="823" y="1508"/>
                    </a:lnTo>
                    <a:lnTo>
                      <a:pt x="829" y="1425"/>
                    </a:lnTo>
                    <a:lnTo>
                      <a:pt x="832" y="1329"/>
                    </a:lnTo>
                    <a:lnTo>
                      <a:pt x="834" y="1226"/>
                    </a:lnTo>
                    <a:lnTo>
                      <a:pt x="834" y="1119"/>
                    </a:lnTo>
                    <a:lnTo>
                      <a:pt x="829" y="1012"/>
                    </a:lnTo>
                    <a:lnTo>
                      <a:pt x="823" y="904"/>
                    </a:lnTo>
                    <a:lnTo>
                      <a:pt x="818" y="853"/>
                    </a:lnTo>
                    <a:lnTo>
                      <a:pt x="813" y="804"/>
                    </a:lnTo>
                    <a:lnTo>
                      <a:pt x="807" y="757"/>
                    </a:lnTo>
                    <a:lnTo>
                      <a:pt x="799" y="712"/>
                    </a:lnTo>
                    <a:close/>
                    <a:moveTo>
                      <a:pt x="123" y="1636"/>
                    </a:moveTo>
                    <a:lnTo>
                      <a:pt x="113" y="1636"/>
                    </a:lnTo>
                    <a:lnTo>
                      <a:pt x="107" y="1577"/>
                    </a:lnTo>
                    <a:lnTo>
                      <a:pt x="113" y="1585"/>
                    </a:lnTo>
                    <a:lnTo>
                      <a:pt x="117" y="1595"/>
                    </a:lnTo>
                    <a:lnTo>
                      <a:pt x="123" y="1615"/>
                    </a:lnTo>
                    <a:lnTo>
                      <a:pt x="123" y="1636"/>
                    </a:lnTo>
                    <a:close/>
                    <a:moveTo>
                      <a:pt x="181" y="1065"/>
                    </a:moveTo>
                    <a:lnTo>
                      <a:pt x="181" y="1065"/>
                    </a:lnTo>
                    <a:lnTo>
                      <a:pt x="179" y="1100"/>
                    </a:lnTo>
                    <a:lnTo>
                      <a:pt x="176" y="1135"/>
                    </a:lnTo>
                    <a:lnTo>
                      <a:pt x="174" y="1170"/>
                    </a:lnTo>
                    <a:lnTo>
                      <a:pt x="169" y="1207"/>
                    </a:lnTo>
                    <a:lnTo>
                      <a:pt x="161" y="1236"/>
                    </a:lnTo>
                    <a:lnTo>
                      <a:pt x="153" y="1265"/>
                    </a:lnTo>
                    <a:lnTo>
                      <a:pt x="145" y="1292"/>
                    </a:lnTo>
                    <a:lnTo>
                      <a:pt x="137" y="1319"/>
                    </a:lnTo>
                    <a:lnTo>
                      <a:pt x="133" y="1346"/>
                    </a:lnTo>
                    <a:lnTo>
                      <a:pt x="131" y="1372"/>
                    </a:lnTo>
                    <a:lnTo>
                      <a:pt x="128" y="1418"/>
                    </a:lnTo>
                    <a:lnTo>
                      <a:pt x="125" y="1412"/>
                    </a:lnTo>
                    <a:lnTo>
                      <a:pt x="121" y="1401"/>
                    </a:lnTo>
                    <a:lnTo>
                      <a:pt x="118" y="1385"/>
                    </a:lnTo>
                    <a:lnTo>
                      <a:pt x="118" y="1362"/>
                    </a:lnTo>
                    <a:lnTo>
                      <a:pt x="120" y="1345"/>
                    </a:lnTo>
                    <a:lnTo>
                      <a:pt x="125" y="1327"/>
                    </a:lnTo>
                    <a:lnTo>
                      <a:pt x="136" y="1285"/>
                    </a:lnTo>
                    <a:lnTo>
                      <a:pt x="141" y="1261"/>
                    </a:lnTo>
                    <a:lnTo>
                      <a:pt x="147" y="1237"/>
                    </a:lnTo>
                    <a:lnTo>
                      <a:pt x="150" y="1210"/>
                    </a:lnTo>
                    <a:lnTo>
                      <a:pt x="153" y="1180"/>
                    </a:lnTo>
                    <a:lnTo>
                      <a:pt x="160" y="1095"/>
                    </a:lnTo>
                    <a:lnTo>
                      <a:pt x="168" y="1015"/>
                    </a:lnTo>
                    <a:lnTo>
                      <a:pt x="176" y="951"/>
                    </a:lnTo>
                    <a:lnTo>
                      <a:pt x="182" y="911"/>
                    </a:lnTo>
                    <a:lnTo>
                      <a:pt x="185" y="920"/>
                    </a:lnTo>
                    <a:lnTo>
                      <a:pt x="185" y="930"/>
                    </a:lnTo>
                    <a:lnTo>
                      <a:pt x="185" y="949"/>
                    </a:lnTo>
                    <a:lnTo>
                      <a:pt x="181" y="991"/>
                    </a:lnTo>
                    <a:lnTo>
                      <a:pt x="181" y="1008"/>
                    </a:lnTo>
                    <a:lnTo>
                      <a:pt x="182" y="1026"/>
                    </a:lnTo>
                    <a:lnTo>
                      <a:pt x="182" y="1045"/>
                    </a:lnTo>
                    <a:lnTo>
                      <a:pt x="181" y="1065"/>
                    </a:lnTo>
                    <a:close/>
                    <a:moveTo>
                      <a:pt x="669" y="1193"/>
                    </a:moveTo>
                    <a:lnTo>
                      <a:pt x="669" y="1193"/>
                    </a:lnTo>
                    <a:lnTo>
                      <a:pt x="668" y="1159"/>
                    </a:lnTo>
                    <a:lnTo>
                      <a:pt x="666" y="1124"/>
                    </a:lnTo>
                    <a:lnTo>
                      <a:pt x="664" y="1047"/>
                    </a:lnTo>
                    <a:lnTo>
                      <a:pt x="668" y="887"/>
                    </a:lnTo>
                    <a:lnTo>
                      <a:pt x="671" y="892"/>
                    </a:lnTo>
                    <a:lnTo>
                      <a:pt x="674" y="900"/>
                    </a:lnTo>
                    <a:lnTo>
                      <a:pt x="679" y="909"/>
                    </a:lnTo>
                    <a:lnTo>
                      <a:pt x="682" y="920"/>
                    </a:lnTo>
                    <a:lnTo>
                      <a:pt x="685" y="941"/>
                    </a:lnTo>
                    <a:lnTo>
                      <a:pt x="690" y="968"/>
                    </a:lnTo>
                    <a:lnTo>
                      <a:pt x="696" y="1036"/>
                    </a:lnTo>
                    <a:lnTo>
                      <a:pt x="701" y="1113"/>
                    </a:lnTo>
                    <a:lnTo>
                      <a:pt x="706" y="1194"/>
                    </a:lnTo>
                    <a:lnTo>
                      <a:pt x="714" y="1345"/>
                    </a:lnTo>
                    <a:lnTo>
                      <a:pt x="719" y="1402"/>
                    </a:lnTo>
                    <a:lnTo>
                      <a:pt x="724" y="1438"/>
                    </a:lnTo>
                    <a:lnTo>
                      <a:pt x="708" y="1447"/>
                    </a:lnTo>
                    <a:lnTo>
                      <a:pt x="706" y="1417"/>
                    </a:lnTo>
                    <a:lnTo>
                      <a:pt x="701" y="1386"/>
                    </a:lnTo>
                    <a:lnTo>
                      <a:pt x="690" y="1324"/>
                    </a:lnTo>
                    <a:lnTo>
                      <a:pt x="679" y="1260"/>
                    </a:lnTo>
                    <a:lnTo>
                      <a:pt x="674" y="1226"/>
                    </a:lnTo>
                    <a:lnTo>
                      <a:pt x="669" y="1193"/>
                    </a:lnTo>
                    <a:close/>
                    <a:moveTo>
                      <a:pt x="724" y="1591"/>
                    </a:moveTo>
                    <a:lnTo>
                      <a:pt x="719" y="1591"/>
                    </a:lnTo>
                    <a:lnTo>
                      <a:pt x="712" y="1551"/>
                    </a:lnTo>
                    <a:lnTo>
                      <a:pt x="719" y="1559"/>
                    </a:lnTo>
                    <a:lnTo>
                      <a:pt x="722" y="1567"/>
                    </a:lnTo>
                    <a:lnTo>
                      <a:pt x="724" y="1577"/>
                    </a:lnTo>
                    <a:lnTo>
                      <a:pt x="724" y="1591"/>
                    </a:lnTo>
                    <a:close/>
                  </a:path>
                </a:pathLst>
              </a:custGeom>
              <a:solidFill>
                <a:schemeClr val="accent1">
                  <a:lumMod val="75000"/>
                </a:schemeClr>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10" name="Gruppieren 26"/>
            <p:cNvGrpSpPr/>
            <p:nvPr/>
          </p:nvGrpSpPr>
          <p:grpSpPr>
            <a:xfrm>
              <a:off x="4762134" y="2581487"/>
              <a:ext cx="673962" cy="1063529"/>
              <a:chOff x="1593782" y="3418618"/>
              <a:chExt cx="817978" cy="1290794"/>
            </a:xfrm>
          </p:grpSpPr>
          <p:sp>
            <p:nvSpPr>
              <p:cNvPr id="34" name="Ellipse 4"/>
              <p:cNvSpPr/>
              <p:nvPr/>
            </p:nvSpPr>
            <p:spPr>
              <a:xfrm>
                <a:off x="1593782" y="4482081"/>
                <a:ext cx="817978" cy="227331"/>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Freeform 13"/>
              <p:cNvSpPr>
                <a:spLocks noEditPoints="1"/>
              </p:cNvSpPr>
              <p:nvPr/>
            </p:nvSpPr>
            <p:spPr bwMode="auto">
              <a:xfrm>
                <a:off x="1854828" y="3418618"/>
                <a:ext cx="412915" cy="1206109"/>
              </a:xfrm>
              <a:custGeom>
                <a:avLst/>
                <a:gdLst>
                  <a:gd name="T0" fmla="*/ 887 w 1010"/>
                  <a:gd name="T1" fmla="*/ 661 h 2956"/>
                  <a:gd name="T2" fmla="*/ 812 w 1010"/>
                  <a:gd name="T3" fmla="*/ 535 h 2956"/>
                  <a:gd name="T4" fmla="*/ 685 w 1010"/>
                  <a:gd name="T5" fmla="*/ 421 h 2956"/>
                  <a:gd name="T6" fmla="*/ 676 w 1010"/>
                  <a:gd name="T7" fmla="*/ 149 h 2956"/>
                  <a:gd name="T8" fmla="*/ 583 w 1010"/>
                  <a:gd name="T9" fmla="*/ 13 h 2956"/>
                  <a:gd name="T10" fmla="*/ 431 w 1010"/>
                  <a:gd name="T11" fmla="*/ 56 h 2956"/>
                  <a:gd name="T12" fmla="*/ 371 w 1010"/>
                  <a:gd name="T13" fmla="*/ 259 h 2956"/>
                  <a:gd name="T14" fmla="*/ 355 w 1010"/>
                  <a:gd name="T15" fmla="*/ 440 h 2956"/>
                  <a:gd name="T16" fmla="*/ 206 w 1010"/>
                  <a:gd name="T17" fmla="*/ 514 h 2956"/>
                  <a:gd name="T18" fmla="*/ 134 w 1010"/>
                  <a:gd name="T19" fmla="*/ 639 h 2956"/>
                  <a:gd name="T20" fmla="*/ 146 w 1010"/>
                  <a:gd name="T21" fmla="*/ 769 h 2956"/>
                  <a:gd name="T22" fmla="*/ 158 w 1010"/>
                  <a:gd name="T23" fmla="*/ 991 h 2956"/>
                  <a:gd name="T24" fmla="*/ 141 w 1010"/>
                  <a:gd name="T25" fmla="*/ 1220 h 2956"/>
                  <a:gd name="T26" fmla="*/ 141 w 1010"/>
                  <a:gd name="T27" fmla="*/ 1422 h 2956"/>
                  <a:gd name="T28" fmla="*/ 125 w 1010"/>
                  <a:gd name="T29" fmla="*/ 1561 h 2956"/>
                  <a:gd name="T30" fmla="*/ 146 w 1010"/>
                  <a:gd name="T31" fmla="*/ 1686 h 2956"/>
                  <a:gd name="T32" fmla="*/ 184 w 1010"/>
                  <a:gd name="T33" fmla="*/ 1882 h 2956"/>
                  <a:gd name="T34" fmla="*/ 178 w 1010"/>
                  <a:gd name="T35" fmla="*/ 2034 h 2956"/>
                  <a:gd name="T36" fmla="*/ 158 w 1010"/>
                  <a:gd name="T37" fmla="*/ 2199 h 2956"/>
                  <a:gd name="T38" fmla="*/ 114 w 1010"/>
                  <a:gd name="T39" fmla="*/ 2765 h 2956"/>
                  <a:gd name="T40" fmla="*/ 85 w 1010"/>
                  <a:gd name="T41" fmla="*/ 2846 h 2956"/>
                  <a:gd name="T42" fmla="*/ 3 w 1010"/>
                  <a:gd name="T43" fmla="*/ 2922 h 2956"/>
                  <a:gd name="T44" fmla="*/ 178 w 1010"/>
                  <a:gd name="T45" fmla="*/ 2910 h 2956"/>
                  <a:gd name="T46" fmla="*/ 274 w 1010"/>
                  <a:gd name="T47" fmla="*/ 2858 h 2956"/>
                  <a:gd name="T48" fmla="*/ 291 w 1010"/>
                  <a:gd name="T49" fmla="*/ 2863 h 2956"/>
                  <a:gd name="T50" fmla="*/ 379 w 1010"/>
                  <a:gd name="T51" fmla="*/ 2812 h 2956"/>
                  <a:gd name="T52" fmla="*/ 363 w 1010"/>
                  <a:gd name="T53" fmla="*/ 2496 h 2956"/>
                  <a:gd name="T54" fmla="*/ 384 w 1010"/>
                  <a:gd name="T55" fmla="*/ 2064 h 2956"/>
                  <a:gd name="T56" fmla="*/ 437 w 1010"/>
                  <a:gd name="T57" fmla="*/ 1742 h 2956"/>
                  <a:gd name="T58" fmla="*/ 501 w 1010"/>
                  <a:gd name="T59" fmla="*/ 1563 h 2956"/>
                  <a:gd name="T60" fmla="*/ 525 w 1010"/>
                  <a:gd name="T61" fmla="*/ 1686 h 2956"/>
                  <a:gd name="T62" fmla="*/ 519 w 1010"/>
                  <a:gd name="T63" fmla="*/ 1955 h 2956"/>
                  <a:gd name="T64" fmla="*/ 516 w 1010"/>
                  <a:gd name="T65" fmla="*/ 2183 h 2956"/>
                  <a:gd name="T66" fmla="*/ 492 w 1010"/>
                  <a:gd name="T67" fmla="*/ 2649 h 2956"/>
                  <a:gd name="T68" fmla="*/ 496 w 1010"/>
                  <a:gd name="T69" fmla="*/ 2796 h 2956"/>
                  <a:gd name="T70" fmla="*/ 501 w 1010"/>
                  <a:gd name="T71" fmla="*/ 2927 h 2956"/>
                  <a:gd name="T72" fmla="*/ 608 w 1010"/>
                  <a:gd name="T73" fmla="*/ 2942 h 2956"/>
                  <a:gd name="T74" fmla="*/ 625 w 1010"/>
                  <a:gd name="T75" fmla="*/ 2874 h 2956"/>
                  <a:gd name="T76" fmla="*/ 685 w 1010"/>
                  <a:gd name="T77" fmla="*/ 2727 h 2956"/>
                  <a:gd name="T78" fmla="*/ 711 w 1010"/>
                  <a:gd name="T79" fmla="*/ 2354 h 2956"/>
                  <a:gd name="T80" fmla="*/ 738 w 1010"/>
                  <a:gd name="T81" fmla="*/ 2053 h 2956"/>
                  <a:gd name="T82" fmla="*/ 783 w 1010"/>
                  <a:gd name="T83" fmla="*/ 1675 h 2956"/>
                  <a:gd name="T84" fmla="*/ 817 w 1010"/>
                  <a:gd name="T85" fmla="*/ 1422 h 2956"/>
                  <a:gd name="T86" fmla="*/ 793 w 1010"/>
                  <a:gd name="T87" fmla="*/ 1244 h 2956"/>
                  <a:gd name="T88" fmla="*/ 874 w 1010"/>
                  <a:gd name="T89" fmla="*/ 1204 h 2956"/>
                  <a:gd name="T90" fmla="*/ 986 w 1010"/>
                  <a:gd name="T91" fmla="*/ 1044 h 2956"/>
                  <a:gd name="T92" fmla="*/ 962 w 1010"/>
                  <a:gd name="T93" fmla="*/ 826 h 2956"/>
                  <a:gd name="T94" fmla="*/ 178 w 1010"/>
                  <a:gd name="T95" fmla="*/ 1614 h 2956"/>
                  <a:gd name="T96" fmla="*/ 194 w 1010"/>
                  <a:gd name="T97" fmla="*/ 1678 h 2956"/>
                  <a:gd name="T98" fmla="*/ 243 w 1010"/>
                  <a:gd name="T99" fmla="*/ 1384 h 2956"/>
                  <a:gd name="T100" fmla="*/ 211 w 1010"/>
                  <a:gd name="T101" fmla="*/ 1416 h 2956"/>
                  <a:gd name="T102" fmla="*/ 250 w 1010"/>
                  <a:gd name="T103" fmla="*/ 1247 h 2956"/>
                  <a:gd name="T104" fmla="*/ 287 w 1010"/>
                  <a:gd name="T105" fmla="*/ 1092 h 2956"/>
                  <a:gd name="T106" fmla="*/ 263 w 1010"/>
                  <a:gd name="T107" fmla="*/ 1159 h 2956"/>
                  <a:gd name="T108" fmla="*/ 272 w 1010"/>
                  <a:gd name="T109" fmla="*/ 962 h 2956"/>
                  <a:gd name="T110" fmla="*/ 285 w 1010"/>
                  <a:gd name="T111" fmla="*/ 919 h 2956"/>
                  <a:gd name="T112" fmla="*/ 892 w 1010"/>
                  <a:gd name="T113" fmla="*/ 993 h 2956"/>
                  <a:gd name="T114" fmla="*/ 815 w 1010"/>
                  <a:gd name="T115" fmla="*/ 1142 h 2956"/>
                  <a:gd name="T116" fmla="*/ 749 w 1010"/>
                  <a:gd name="T117" fmla="*/ 1063 h 2956"/>
                  <a:gd name="T118" fmla="*/ 727 w 1010"/>
                  <a:gd name="T119" fmla="*/ 829 h 2956"/>
                  <a:gd name="T120" fmla="*/ 759 w 1010"/>
                  <a:gd name="T121" fmla="*/ 732 h 2956"/>
                  <a:gd name="T122" fmla="*/ 852 w 1010"/>
                  <a:gd name="T123" fmla="*/ 871 h 2956"/>
                  <a:gd name="T124" fmla="*/ 898 w 1010"/>
                  <a:gd name="T125" fmla="*/ 980 h 29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10"/>
                  <a:gd name="T190" fmla="*/ 0 h 2956"/>
                  <a:gd name="T191" fmla="*/ 1010 w 1010"/>
                  <a:gd name="T192" fmla="*/ 2956 h 29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10" h="2956">
                    <a:moveTo>
                      <a:pt x="962" y="826"/>
                    </a:moveTo>
                    <a:lnTo>
                      <a:pt x="962" y="826"/>
                    </a:lnTo>
                    <a:lnTo>
                      <a:pt x="950" y="796"/>
                    </a:lnTo>
                    <a:lnTo>
                      <a:pt x="945" y="781"/>
                    </a:lnTo>
                    <a:lnTo>
                      <a:pt x="937" y="767"/>
                    </a:lnTo>
                    <a:lnTo>
                      <a:pt x="921" y="738"/>
                    </a:lnTo>
                    <a:lnTo>
                      <a:pt x="913" y="724"/>
                    </a:lnTo>
                    <a:lnTo>
                      <a:pt x="906" y="708"/>
                    </a:lnTo>
                    <a:lnTo>
                      <a:pt x="887" y="661"/>
                    </a:lnTo>
                    <a:lnTo>
                      <a:pt x="870" y="618"/>
                    </a:lnTo>
                    <a:lnTo>
                      <a:pt x="868" y="604"/>
                    </a:lnTo>
                    <a:lnTo>
                      <a:pt x="858" y="592"/>
                    </a:lnTo>
                    <a:lnTo>
                      <a:pt x="850" y="581"/>
                    </a:lnTo>
                    <a:lnTo>
                      <a:pt x="841" y="570"/>
                    </a:lnTo>
                    <a:lnTo>
                      <a:pt x="831" y="560"/>
                    </a:lnTo>
                    <a:lnTo>
                      <a:pt x="820" y="543"/>
                    </a:lnTo>
                    <a:lnTo>
                      <a:pt x="812" y="535"/>
                    </a:lnTo>
                    <a:lnTo>
                      <a:pt x="804" y="527"/>
                    </a:lnTo>
                    <a:lnTo>
                      <a:pt x="793" y="520"/>
                    </a:lnTo>
                    <a:lnTo>
                      <a:pt x="781" y="514"/>
                    </a:lnTo>
                    <a:lnTo>
                      <a:pt x="757" y="504"/>
                    </a:lnTo>
                    <a:lnTo>
                      <a:pt x="730" y="495"/>
                    </a:lnTo>
                    <a:lnTo>
                      <a:pt x="701" y="487"/>
                    </a:lnTo>
                    <a:lnTo>
                      <a:pt x="695" y="469"/>
                    </a:lnTo>
                    <a:lnTo>
                      <a:pt x="690" y="445"/>
                    </a:lnTo>
                    <a:lnTo>
                      <a:pt x="685" y="421"/>
                    </a:lnTo>
                    <a:lnTo>
                      <a:pt x="685" y="410"/>
                    </a:lnTo>
                    <a:lnTo>
                      <a:pt x="685" y="399"/>
                    </a:lnTo>
                    <a:lnTo>
                      <a:pt x="690" y="349"/>
                    </a:lnTo>
                    <a:lnTo>
                      <a:pt x="692" y="323"/>
                    </a:lnTo>
                    <a:lnTo>
                      <a:pt x="690" y="309"/>
                    </a:lnTo>
                    <a:lnTo>
                      <a:pt x="689" y="296"/>
                    </a:lnTo>
                    <a:lnTo>
                      <a:pt x="684" y="202"/>
                    </a:lnTo>
                    <a:lnTo>
                      <a:pt x="676" y="149"/>
                    </a:lnTo>
                    <a:lnTo>
                      <a:pt x="669" y="122"/>
                    </a:lnTo>
                    <a:lnTo>
                      <a:pt x="666" y="110"/>
                    </a:lnTo>
                    <a:lnTo>
                      <a:pt x="663" y="102"/>
                    </a:lnTo>
                    <a:lnTo>
                      <a:pt x="653" y="83"/>
                    </a:lnTo>
                    <a:lnTo>
                      <a:pt x="641" y="66"/>
                    </a:lnTo>
                    <a:lnTo>
                      <a:pt x="626" y="48"/>
                    </a:lnTo>
                    <a:lnTo>
                      <a:pt x="610" y="32"/>
                    </a:lnTo>
                    <a:lnTo>
                      <a:pt x="602" y="26"/>
                    </a:lnTo>
                    <a:lnTo>
                      <a:pt x="592" y="19"/>
                    </a:lnTo>
                    <a:lnTo>
                      <a:pt x="583" y="13"/>
                    </a:lnTo>
                    <a:lnTo>
                      <a:pt x="572" y="8"/>
                    </a:lnTo>
                    <a:lnTo>
                      <a:pt x="559" y="5"/>
                    </a:lnTo>
                    <a:lnTo>
                      <a:pt x="548" y="2"/>
                    </a:lnTo>
                    <a:lnTo>
                      <a:pt x="533" y="0"/>
                    </a:lnTo>
                    <a:lnTo>
                      <a:pt x="519" y="0"/>
                    </a:lnTo>
                    <a:lnTo>
                      <a:pt x="479" y="13"/>
                    </a:lnTo>
                    <a:lnTo>
                      <a:pt x="463" y="26"/>
                    </a:lnTo>
                    <a:lnTo>
                      <a:pt x="447" y="40"/>
                    </a:lnTo>
                    <a:lnTo>
                      <a:pt x="431" y="56"/>
                    </a:lnTo>
                    <a:lnTo>
                      <a:pt x="418" y="72"/>
                    </a:lnTo>
                    <a:lnTo>
                      <a:pt x="405" y="90"/>
                    </a:lnTo>
                    <a:lnTo>
                      <a:pt x="394" y="109"/>
                    </a:lnTo>
                    <a:lnTo>
                      <a:pt x="384" y="130"/>
                    </a:lnTo>
                    <a:lnTo>
                      <a:pt x="376" y="151"/>
                    </a:lnTo>
                    <a:lnTo>
                      <a:pt x="373" y="168"/>
                    </a:lnTo>
                    <a:lnTo>
                      <a:pt x="370" y="184"/>
                    </a:lnTo>
                    <a:lnTo>
                      <a:pt x="370" y="203"/>
                    </a:lnTo>
                    <a:lnTo>
                      <a:pt x="368" y="223"/>
                    </a:lnTo>
                    <a:lnTo>
                      <a:pt x="371" y="259"/>
                    </a:lnTo>
                    <a:lnTo>
                      <a:pt x="376" y="295"/>
                    </a:lnTo>
                    <a:lnTo>
                      <a:pt x="371" y="331"/>
                    </a:lnTo>
                    <a:lnTo>
                      <a:pt x="368" y="360"/>
                    </a:lnTo>
                    <a:lnTo>
                      <a:pt x="367" y="386"/>
                    </a:lnTo>
                    <a:lnTo>
                      <a:pt x="365" y="412"/>
                    </a:lnTo>
                    <a:lnTo>
                      <a:pt x="362" y="424"/>
                    </a:lnTo>
                    <a:lnTo>
                      <a:pt x="359" y="436"/>
                    </a:lnTo>
                    <a:lnTo>
                      <a:pt x="355" y="440"/>
                    </a:lnTo>
                    <a:lnTo>
                      <a:pt x="352" y="445"/>
                    </a:lnTo>
                    <a:lnTo>
                      <a:pt x="347" y="447"/>
                    </a:lnTo>
                    <a:lnTo>
                      <a:pt x="343" y="450"/>
                    </a:lnTo>
                    <a:lnTo>
                      <a:pt x="331" y="452"/>
                    </a:lnTo>
                    <a:lnTo>
                      <a:pt x="320" y="456"/>
                    </a:lnTo>
                    <a:lnTo>
                      <a:pt x="283" y="487"/>
                    </a:lnTo>
                    <a:lnTo>
                      <a:pt x="227" y="498"/>
                    </a:lnTo>
                    <a:lnTo>
                      <a:pt x="206" y="514"/>
                    </a:lnTo>
                    <a:lnTo>
                      <a:pt x="186" y="532"/>
                    </a:lnTo>
                    <a:lnTo>
                      <a:pt x="176" y="541"/>
                    </a:lnTo>
                    <a:lnTo>
                      <a:pt x="168" y="552"/>
                    </a:lnTo>
                    <a:lnTo>
                      <a:pt x="162" y="564"/>
                    </a:lnTo>
                    <a:lnTo>
                      <a:pt x="155" y="575"/>
                    </a:lnTo>
                    <a:lnTo>
                      <a:pt x="150" y="617"/>
                    </a:lnTo>
                    <a:lnTo>
                      <a:pt x="136" y="634"/>
                    </a:lnTo>
                    <a:lnTo>
                      <a:pt x="134" y="639"/>
                    </a:lnTo>
                    <a:lnTo>
                      <a:pt x="136" y="642"/>
                    </a:lnTo>
                    <a:lnTo>
                      <a:pt x="141" y="650"/>
                    </a:lnTo>
                    <a:lnTo>
                      <a:pt x="144" y="658"/>
                    </a:lnTo>
                    <a:lnTo>
                      <a:pt x="146" y="663"/>
                    </a:lnTo>
                    <a:lnTo>
                      <a:pt x="146" y="669"/>
                    </a:lnTo>
                    <a:lnTo>
                      <a:pt x="142" y="693"/>
                    </a:lnTo>
                    <a:lnTo>
                      <a:pt x="142" y="719"/>
                    </a:lnTo>
                    <a:lnTo>
                      <a:pt x="144" y="745"/>
                    </a:lnTo>
                    <a:lnTo>
                      <a:pt x="146" y="769"/>
                    </a:lnTo>
                    <a:lnTo>
                      <a:pt x="149" y="786"/>
                    </a:lnTo>
                    <a:lnTo>
                      <a:pt x="149" y="804"/>
                    </a:lnTo>
                    <a:lnTo>
                      <a:pt x="147" y="839"/>
                    </a:lnTo>
                    <a:lnTo>
                      <a:pt x="147" y="873"/>
                    </a:lnTo>
                    <a:lnTo>
                      <a:pt x="147" y="890"/>
                    </a:lnTo>
                    <a:lnTo>
                      <a:pt x="149" y="906"/>
                    </a:lnTo>
                    <a:lnTo>
                      <a:pt x="154" y="929"/>
                    </a:lnTo>
                    <a:lnTo>
                      <a:pt x="157" y="954"/>
                    </a:lnTo>
                    <a:lnTo>
                      <a:pt x="158" y="980"/>
                    </a:lnTo>
                    <a:lnTo>
                      <a:pt x="158" y="991"/>
                    </a:lnTo>
                    <a:lnTo>
                      <a:pt x="157" y="1004"/>
                    </a:lnTo>
                    <a:lnTo>
                      <a:pt x="146" y="1082"/>
                    </a:lnTo>
                    <a:lnTo>
                      <a:pt x="144" y="1145"/>
                    </a:lnTo>
                    <a:lnTo>
                      <a:pt x="142" y="1163"/>
                    </a:lnTo>
                    <a:lnTo>
                      <a:pt x="139" y="1182"/>
                    </a:lnTo>
                    <a:lnTo>
                      <a:pt x="139" y="1201"/>
                    </a:lnTo>
                    <a:lnTo>
                      <a:pt x="141" y="1220"/>
                    </a:lnTo>
                    <a:lnTo>
                      <a:pt x="142" y="1241"/>
                    </a:lnTo>
                    <a:lnTo>
                      <a:pt x="142" y="1262"/>
                    </a:lnTo>
                    <a:lnTo>
                      <a:pt x="144" y="1284"/>
                    </a:lnTo>
                    <a:lnTo>
                      <a:pt x="146" y="1307"/>
                    </a:lnTo>
                    <a:lnTo>
                      <a:pt x="147" y="1327"/>
                    </a:lnTo>
                    <a:lnTo>
                      <a:pt x="149" y="1352"/>
                    </a:lnTo>
                    <a:lnTo>
                      <a:pt x="149" y="1377"/>
                    </a:lnTo>
                    <a:lnTo>
                      <a:pt x="146" y="1400"/>
                    </a:lnTo>
                    <a:lnTo>
                      <a:pt x="141" y="1422"/>
                    </a:lnTo>
                    <a:lnTo>
                      <a:pt x="136" y="1443"/>
                    </a:lnTo>
                    <a:lnTo>
                      <a:pt x="136" y="1451"/>
                    </a:lnTo>
                    <a:lnTo>
                      <a:pt x="136" y="1459"/>
                    </a:lnTo>
                    <a:lnTo>
                      <a:pt x="139" y="1473"/>
                    </a:lnTo>
                    <a:lnTo>
                      <a:pt x="141" y="1488"/>
                    </a:lnTo>
                    <a:lnTo>
                      <a:pt x="141" y="1494"/>
                    </a:lnTo>
                    <a:lnTo>
                      <a:pt x="139" y="1502"/>
                    </a:lnTo>
                    <a:lnTo>
                      <a:pt x="131" y="1532"/>
                    </a:lnTo>
                    <a:lnTo>
                      <a:pt x="125" y="1561"/>
                    </a:lnTo>
                    <a:lnTo>
                      <a:pt x="125" y="1577"/>
                    </a:lnTo>
                    <a:lnTo>
                      <a:pt x="123" y="1592"/>
                    </a:lnTo>
                    <a:lnTo>
                      <a:pt x="125" y="1608"/>
                    </a:lnTo>
                    <a:lnTo>
                      <a:pt x="126" y="1624"/>
                    </a:lnTo>
                    <a:lnTo>
                      <a:pt x="128" y="1665"/>
                    </a:lnTo>
                    <a:lnTo>
                      <a:pt x="131" y="1672"/>
                    </a:lnTo>
                    <a:lnTo>
                      <a:pt x="136" y="1677"/>
                    </a:lnTo>
                    <a:lnTo>
                      <a:pt x="141" y="1681"/>
                    </a:lnTo>
                    <a:lnTo>
                      <a:pt x="146" y="1686"/>
                    </a:lnTo>
                    <a:lnTo>
                      <a:pt x="154" y="1697"/>
                    </a:lnTo>
                    <a:lnTo>
                      <a:pt x="160" y="1710"/>
                    </a:lnTo>
                    <a:lnTo>
                      <a:pt x="166" y="1721"/>
                    </a:lnTo>
                    <a:lnTo>
                      <a:pt x="174" y="1734"/>
                    </a:lnTo>
                    <a:lnTo>
                      <a:pt x="187" y="1744"/>
                    </a:lnTo>
                    <a:lnTo>
                      <a:pt x="184" y="1872"/>
                    </a:lnTo>
                    <a:lnTo>
                      <a:pt x="184" y="1882"/>
                    </a:lnTo>
                    <a:lnTo>
                      <a:pt x="184" y="1891"/>
                    </a:lnTo>
                    <a:lnTo>
                      <a:pt x="179" y="1910"/>
                    </a:lnTo>
                    <a:lnTo>
                      <a:pt x="179" y="1918"/>
                    </a:lnTo>
                    <a:lnTo>
                      <a:pt x="179" y="1925"/>
                    </a:lnTo>
                    <a:lnTo>
                      <a:pt x="181" y="1942"/>
                    </a:lnTo>
                    <a:lnTo>
                      <a:pt x="182" y="1958"/>
                    </a:lnTo>
                    <a:lnTo>
                      <a:pt x="184" y="1968"/>
                    </a:lnTo>
                    <a:lnTo>
                      <a:pt x="182" y="1976"/>
                    </a:lnTo>
                    <a:lnTo>
                      <a:pt x="178" y="2034"/>
                    </a:lnTo>
                    <a:lnTo>
                      <a:pt x="171" y="2053"/>
                    </a:lnTo>
                    <a:lnTo>
                      <a:pt x="165" y="2072"/>
                    </a:lnTo>
                    <a:lnTo>
                      <a:pt x="162" y="2088"/>
                    </a:lnTo>
                    <a:lnTo>
                      <a:pt x="160" y="2104"/>
                    </a:lnTo>
                    <a:lnTo>
                      <a:pt x="160" y="2136"/>
                    </a:lnTo>
                    <a:lnTo>
                      <a:pt x="162" y="2168"/>
                    </a:lnTo>
                    <a:lnTo>
                      <a:pt x="160" y="2184"/>
                    </a:lnTo>
                    <a:lnTo>
                      <a:pt x="158" y="2199"/>
                    </a:lnTo>
                    <a:lnTo>
                      <a:pt x="154" y="2647"/>
                    </a:lnTo>
                    <a:lnTo>
                      <a:pt x="149" y="2673"/>
                    </a:lnTo>
                    <a:lnTo>
                      <a:pt x="142" y="2697"/>
                    </a:lnTo>
                    <a:lnTo>
                      <a:pt x="126" y="2743"/>
                    </a:lnTo>
                    <a:lnTo>
                      <a:pt x="123" y="2749"/>
                    </a:lnTo>
                    <a:lnTo>
                      <a:pt x="120" y="2754"/>
                    </a:lnTo>
                    <a:lnTo>
                      <a:pt x="117" y="2761"/>
                    </a:lnTo>
                    <a:lnTo>
                      <a:pt x="114" y="2765"/>
                    </a:lnTo>
                    <a:lnTo>
                      <a:pt x="117" y="2781"/>
                    </a:lnTo>
                    <a:lnTo>
                      <a:pt x="118" y="2794"/>
                    </a:lnTo>
                    <a:lnTo>
                      <a:pt x="115" y="2810"/>
                    </a:lnTo>
                    <a:lnTo>
                      <a:pt x="112" y="2825"/>
                    </a:lnTo>
                    <a:lnTo>
                      <a:pt x="107" y="2834"/>
                    </a:lnTo>
                    <a:lnTo>
                      <a:pt x="96" y="2838"/>
                    </a:lnTo>
                    <a:lnTo>
                      <a:pt x="85" y="2841"/>
                    </a:lnTo>
                    <a:lnTo>
                      <a:pt x="85" y="2846"/>
                    </a:lnTo>
                    <a:lnTo>
                      <a:pt x="82" y="2850"/>
                    </a:lnTo>
                    <a:lnTo>
                      <a:pt x="74" y="2860"/>
                    </a:lnTo>
                    <a:lnTo>
                      <a:pt x="62" y="2868"/>
                    </a:lnTo>
                    <a:lnTo>
                      <a:pt x="50" y="2878"/>
                    </a:lnTo>
                    <a:lnTo>
                      <a:pt x="21" y="2892"/>
                    </a:lnTo>
                    <a:lnTo>
                      <a:pt x="8" y="2898"/>
                    </a:lnTo>
                    <a:lnTo>
                      <a:pt x="0" y="2906"/>
                    </a:lnTo>
                    <a:lnTo>
                      <a:pt x="0" y="2916"/>
                    </a:lnTo>
                    <a:lnTo>
                      <a:pt x="1" y="2919"/>
                    </a:lnTo>
                    <a:lnTo>
                      <a:pt x="3" y="2922"/>
                    </a:lnTo>
                    <a:lnTo>
                      <a:pt x="6" y="2924"/>
                    </a:lnTo>
                    <a:lnTo>
                      <a:pt x="10" y="2926"/>
                    </a:lnTo>
                    <a:lnTo>
                      <a:pt x="21" y="2926"/>
                    </a:lnTo>
                    <a:lnTo>
                      <a:pt x="126" y="2916"/>
                    </a:lnTo>
                    <a:lnTo>
                      <a:pt x="139" y="2914"/>
                    </a:lnTo>
                    <a:lnTo>
                      <a:pt x="154" y="2914"/>
                    </a:lnTo>
                    <a:lnTo>
                      <a:pt x="166" y="2913"/>
                    </a:lnTo>
                    <a:lnTo>
                      <a:pt x="173" y="2911"/>
                    </a:lnTo>
                    <a:lnTo>
                      <a:pt x="178" y="2910"/>
                    </a:lnTo>
                    <a:lnTo>
                      <a:pt x="182" y="2906"/>
                    </a:lnTo>
                    <a:lnTo>
                      <a:pt x="187" y="2900"/>
                    </a:lnTo>
                    <a:lnTo>
                      <a:pt x="194" y="2887"/>
                    </a:lnTo>
                    <a:lnTo>
                      <a:pt x="200" y="2871"/>
                    </a:lnTo>
                    <a:lnTo>
                      <a:pt x="205" y="2860"/>
                    </a:lnTo>
                    <a:lnTo>
                      <a:pt x="245" y="2857"/>
                    </a:lnTo>
                    <a:lnTo>
                      <a:pt x="266" y="2855"/>
                    </a:lnTo>
                    <a:lnTo>
                      <a:pt x="272" y="2857"/>
                    </a:lnTo>
                    <a:lnTo>
                      <a:pt x="274" y="2858"/>
                    </a:lnTo>
                    <a:lnTo>
                      <a:pt x="274" y="2860"/>
                    </a:lnTo>
                    <a:lnTo>
                      <a:pt x="275" y="2878"/>
                    </a:lnTo>
                    <a:lnTo>
                      <a:pt x="279" y="2879"/>
                    </a:lnTo>
                    <a:lnTo>
                      <a:pt x="282" y="2881"/>
                    </a:lnTo>
                    <a:lnTo>
                      <a:pt x="285" y="2881"/>
                    </a:lnTo>
                    <a:lnTo>
                      <a:pt x="291" y="2878"/>
                    </a:lnTo>
                    <a:lnTo>
                      <a:pt x="291" y="2863"/>
                    </a:lnTo>
                    <a:lnTo>
                      <a:pt x="293" y="2857"/>
                    </a:lnTo>
                    <a:lnTo>
                      <a:pt x="295" y="2852"/>
                    </a:lnTo>
                    <a:lnTo>
                      <a:pt x="307" y="2847"/>
                    </a:lnTo>
                    <a:lnTo>
                      <a:pt x="319" y="2844"/>
                    </a:lnTo>
                    <a:lnTo>
                      <a:pt x="331" y="2841"/>
                    </a:lnTo>
                    <a:lnTo>
                      <a:pt x="341" y="2836"/>
                    </a:lnTo>
                    <a:lnTo>
                      <a:pt x="354" y="2821"/>
                    </a:lnTo>
                    <a:lnTo>
                      <a:pt x="379" y="2812"/>
                    </a:lnTo>
                    <a:lnTo>
                      <a:pt x="381" y="2805"/>
                    </a:lnTo>
                    <a:lnTo>
                      <a:pt x="381" y="2794"/>
                    </a:lnTo>
                    <a:lnTo>
                      <a:pt x="376" y="2761"/>
                    </a:lnTo>
                    <a:lnTo>
                      <a:pt x="373" y="2727"/>
                    </a:lnTo>
                    <a:lnTo>
                      <a:pt x="371" y="2705"/>
                    </a:lnTo>
                    <a:lnTo>
                      <a:pt x="360" y="2532"/>
                    </a:lnTo>
                    <a:lnTo>
                      <a:pt x="363" y="2496"/>
                    </a:lnTo>
                    <a:lnTo>
                      <a:pt x="360" y="2407"/>
                    </a:lnTo>
                    <a:lnTo>
                      <a:pt x="362" y="2336"/>
                    </a:lnTo>
                    <a:lnTo>
                      <a:pt x="363" y="2267"/>
                    </a:lnTo>
                    <a:lnTo>
                      <a:pt x="367" y="2202"/>
                    </a:lnTo>
                    <a:lnTo>
                      <a:pt x="370" y="2171"/>
                    </a:lnTo>
                    <a:lnTo>
                      <a:pt x="375" y="2141"/>
                    </a:lnTo>
                    <a:lnTo>
                      <a:pt x="381" y="2072"/>
                    </a:lnTo>
                    <a:lnTo>
                      <a:pt x="384" y="2064"/>
                    </a:lnTo>
                    <a:lnTo>
                      <a:pt x="389" y="2054"/>
                    </a:lnTo>
                    <a:lnTo>
                      <a:pt x="394" y="2046"/>
                    </a:lnTo>
                    <a:lnTo>
                      <a:pt x="397" y="2037"/>
                    </a:lnTo>
                    <a:lnTo>
                      <a:pt x="403" y="1970"/>
                    </a:lnTo>
                    <a:lnTo>
                      <a:pt x="426" y="1824"/>
                    </a:lnTo>
                    <a:lnTo>
                      <a:pt x="431" y="1795"/>
                    </a:lnTo>
                    <a:lnTo>
                      <a:pt x="434" y="1768"/>
                    </a:lnTo>
                    <a:lnTo>
                      <a:pt x="437" y="1742"/>
                    </a:lnTo>
                    <a:lnTo>
                      <a:pt x="445" y="1717"/>
                    </a:lnTo>
                    <a:lnTo>
                      <a:pt x="453" y="1693"/>
                    </a:lnTo>
                    <a:lnTo>
                      <a:pt x="463" y="1670"/>
                    </a:lnTo>
                    <a:lnTo>
                      <a:pt x="472" y="1648"/>
                    </a:lnTo>
                    <a:lnTo>
                      <a:pt x="480" y="1625"/>
                    </a:lnTo>
                    <a:lnTo>
                      <a:pt x="487" y="1605"/>
                    </a:lnTo>
                    <a:lnTo>
                      <a:pt x="493" y="1584"/>
                    </a:lnTo>
                    <a:lnTo>
                      <a:pt x="498" y="1572"/>
                    </a:lnTo>
                    <a:lnTo>
                      <a:pt x="501" y="1563"/>
                    </a:lnTo>
                    <a:lnTo>
                      <a:pt x="506" y="1553"/>
                    </a:lnTo>
                    <a:lnTo>
                      <a:pt x="512" y="1547"/>
                    </a:lnTo>
                    <a:lnTo>
                      <a:pt x="514" y="1560"/>
                    </a:lnTo>
                    <a:lnTo>
                      <a:pt x="516" y="1571"/>
                    </a:lnTo>
                    <a:lnTo>
                      <a:pt x="520" y="1588"/>
                    </a:lnTo>
                    <a:lnTo>
                      <a:pt x="519" y="1646"/>
                    </a:lnTo>
                    <a:lnTo>
                      <a:pt x="524" y="1672"/>
                    </a:lnTo>
                    <a:lnTo>
                      <a:pt x="525" y="1686"/>
                    </a:lnTo>
                    <a:lnTo>
                      <a:pt x="525" y="1701"/>
                    </a:lnTo>
                    <a:lnTo>
                      <a:pt x="522" y="1725"/>
                    </a:lnTo>
                    <a:lnTo>
                      <a:pt x="524" y="1779"/>
                    </a:lnTo>
                    <a:lnTo>
                      <a:pt x="524" y="1808"/>
                    </a:lnTo>
                    <a:lnTo>
                      <a:pt x="522" y="1835"/>
                    </a:lnTo>
                    <a:lnTo>
                      <a:pt x="522" y="1888"/>
                    </a:lnTo>
                    <a:lnTo>
                      <a:pt x="520" y="1933"/>
                    </a:lnTo>
                    <a:lnTo>
                      <a:pt x="519" y="1955"/>
                    </a:lnTo>
                    <a:lnTo>
                      <a:pt x="516" y="1974"/>
                    </a:lnTo>
                    <a:lnTo>
                      <a:pt x="514" y="1987"/>
                    </a:lnTo>
                    <a:lnTo>
                      <a:pt x="514" y="1998"/>
                    </a:lnTo>
                    <a:lnTo>
                      <a:pt x="514" y="2021"/>
                    </a:lnTo>
                    <a:lnTo>
                      <a:pt x="516" y="2042"/>
                    </a:lnTo>
                    <a:lnTo>
                      <a:pt x="516" y="2053"/>
                    </a:lnTo>
                    <a:lnTo>
                      <a:pt x="514" y="2062"/>
                    </a:lnTo>
                    <a:lnTo>
                      <a:pt x="514" y="2114"/>
                    </a:lnTo>
                    <a:lnTo>
                      <a:pt x="516" y="2183"/>
                    </a:lnTo>
                    <a:lnTo>
                      <a:pt x="514" y="2218"/>
                    </a:lnTo>
                    <a:lnTo>
                      <a:pt x="511" y="2250"/>
                    </a:lnTo>
                    <a:lnTo>
                      <a:pt x="500" y="2509"/>
                    </a:lnTo>
                    <a:lnTo>
                      <a:pt x="498" y="2525"/>
                    </a:lnTo>
                    <a:lnTo>
                      <a:pt x="496" y="2543"/>
                    </a:lnTo>
                    <a:lnTo>
                      <a:pt x="496" y="2578"/>
                    </a:lnTo>
                    <a:lnTo>
                      <a:pt x="495" y="2615"/>
                    </a:lnTo>
                    <a:lnTo>
                      <a:pt x="493" y="2633"/>
                    </a:lnTo>
                    <a:lnTo>
                      <a:pt x="492" y="2649"/>
                    </a:lnTo>
                    <a:lnTo>
                      <a:pt x="492" y="2698"/>
                    </a:lnTo>
                    <a:lnTo>
                      <a:pt x="488" y="2713"/>
                    </a:lnTo>
                    <a:lnTo>
                      <a:pt x="484" y="2730"/>
                    </a:lnTo>
                    <a:lnTo>
                      <a:pt x="480" y="2749"/>
                    </a:lnTo>
                    <a:lnTo>
                      <a:pt x="480" y="2759"/>
                    </a:lnTo>
                    <a:lnTo>
                      <a:pt x="482" y="2769"/>
                    </a:lnTo>
                    <a:lnTo>
                      <a:pt x="485" y="2777"/>
                    </a:lnTo>
                    <a:lnTo>
                      <a:pt x="492" y="2786"/>
                    </a:lnTo>
                    <a:lnTo>
                      <a:pt x="496" y="2796"/>
                    </a:lnTo>
                    <a:lnTo>
                      <a:pt x="501" y="2805"/>
                    </a:lnTo>
                    <a:lnTo>
                      <a:pt x="503" y="2818"/>
                    </a:lnTo>
                    <a:lnTo>
                      <a:pt x="503" y="2834"/>
                    </a:lnTo>
                    <a:lnTo>
                      <a:pt x="498" y="2868"/>
                    </a:lnTo>
                    <a:lnTo>
                      <a:pt x="495" y="2898"/>
                    </a:lnTo>
                    <a:lnTo>
                      <a:pt x="493" y="2911"/>
                    </a:lnTo>
                    <a:lnTo>
                      <a:pt x="496" y="2921"/>
                    </a:lnTo>
                    <a:lnTo>
                      <a:pt x="498" y="2924"/>
                    </a:lnTo>
                    <a:lnTo>
                      <a:pt x="501" y="2927"/>
                    </a:lnTo>
                    <a:lnTo>
                      <a:pt x="509" y="2932"/>
                    </a:lnTo>
                    <a:lnTo>
                      <a:pt x="530" y="2938"/>
                    </a:lnTo>
                    <a:lnTo>
                      <a:pt x="549" y="2948"/>
                    </a:lnTo>
                    <a:lnTo>
                      <a:pt x="560" y="2953"/>
                    </a:lnTo>
                    <a:lnTo>
                      <a:pt x="570" y="2956"/>
                    </a:lnTo>
                    <a:lnTo>
                      <a:pt x="578" y="2956"/>
                    </a:lnTo>
                    <a:lnTo>
                      <a:pt x="588" y="2954"/>
                    </a:lnTo>
                    <a:lnTo>
                      <a:pt x="599" y="2948"/>
                    </a:lnTo>
                    <a:lnTo>
                      <a:pt x="608" y="2942"/>
                    </a:lnTo>
                    <a:lnTo>
                      <a:pt x="618" y="2934"/>
                    </a:lnTo>
                    <a:lnTo>
                      <a:pt x="626" y="2926"/>
                    </a:lnTo>
                    <a:lnTo>
                      <a:pt x="631" y="2919"/>
                    </a:lnTo>
                    <a:lnTo>
                      <a:pt x="634" y="2914"/>
                    </a:lnTo>
                    <a:lnTo>
                      <a:pt x="636" y="2897"/>
                    </a:lnTo>
                    <a:lnTo>
                      <a:pt x="634" y="2887"/>
                    </a:lnTo>
                    <a:lnTo>
                      <a:pt x="634" y="2881"/>
                    </a:lnTo>
                    <a:lnTo>
                      <a:pt x="625" y="2874"/>
                    </a:lnTo>
                    <a:lnTo>
                      <a:pt x="623" y="2865"/>
                    </a:lnTo>
                    <a:lnTo>
                      <a:pt x="621" y="2847"/>
                    </a:lnTo>
                    <a:lnTo>
                      <a:pt x="620" y="2820"/>
                    </a:lnTo>
                    <a:lnTo>
                      <a:pt x="652" y="2812"/>
                    </a:lnTo>
                    <a:lnTo>
                      <a:pt x="668" y="2807"/>
                    </a:lnTo>
                    <a:lnTo>
                      <a:pt x="674" y="2804"/>
                    </a:lnTo>
                    <a:lnTo>
                      <a:pt x="681" y="2801"/>
                    </a:lnTo>
                    <a:lnTo>
                      <a:pt x="685" y="2727"/>
                    </a:lnTo>
                    <a:lnTo>
                      <a:pt x="681" y="2709"/>
                    </a:lnTo>
                    <a:lnTo>
                      <a:pt x="679" y="2700"/>
                    </a:lnTo>
                    <a:lnTo>
                      <a:pt x="681" y="2689"/>
                    </a:lnTo>
                    <a:lnTo>
                      <a:pt x="689" y="2604"/>
                    </a:lnTo>
                    <a:lnTo>
                      <a:pt x="689" y="2567"/>
                    </a:lnTo>
                    <a:lnTo>
                      <a:pt x="695" y="2532"/>
                    </a:lnTo>
                    <a:lnTo>
                      <a:pt x="698" y="2495"/>
                    </a:lnTo>
                    <a:lnTo>
                      <a:pt x="705" y="2424"/>
                    </a:lnTo>
                    <a:lnTo>
                      <a:pt x="711" y="2354"/>
                    </a:lnTo>
                    <a:lnTo>
                      <a:pt x="716" y="2317"/>
                    </a:lnTo>
                    <a:lnTo>
                      <a:pt x="721" y="2282"/>
                    </a:lnTo>
                    <a:lnTo>
                      <a:pt x="722" y="2258"/>
                    </a:lnTo>
                    <a:lnTo>
                      <a:pt x="724" y="2235"/>
                    </a:lnTo>
                    <a:lnTo>
                      <a:pt x="724" y="2213"/>
                    </a:lnTo>
                    <a:lnTo>
                      <a:pt x="727" y="2192"/>
                    </a:lnTo>
                    <a:lnTo>
                      <a:pt x="732" y="2107"/>
                    </a:lnTo>
                    <a:lnTo>
                      <a:pt x="738" y="2053"/>
                    </a:lnTo>
                    <a:lnTo>
                      <a:pt x="743" y="1998"/>
                    </a:lnTo>
                    <a:lnTo>
                      <a:pt x="748" y="1946"/>
                    </a:lnTo>
                    <a:lnTo>
                      <a:pt x="753" y="1920"/>
                    </a:lnTo>
                    <a:lnTo>
                      <a:pt x="757" y="1894"/>
                    </a:lnTo>
                    <a:lnTo>
                      <a:pt x="762" y="1838"/>
                    </a:lnTo>
                    <a:lnTo>
                      <a:pt x="769" y="1813"/>
                    </a:lnTo>
                    <a:lnTo>
                      <a:pt x="772" y="1785"/>
                    </a:lnTo>
                    <a:lnTo>
                      <a:pt x="778" y="1731"/>
                    </a:lnTo>
                    <a:lnTo>
                      <a:pt x="783" y="1675"/>
                    </a:lnTo>
                    <a:lnTo>
                      <a:pt x="786" y="1648"/>
                    </a:lnTo>
                    <a:lnTo>
                      <a:pt x="791" y="1619"/>
                    </a:lnTo>
                    <a:lnTo>
                      <a:pt x="809" y="1508"/>
                    </a:lnTo>
                    <a:lnTo>
                      <a:pt x="813" y="1489"/>
                    </a:lnTo>
                    <a:lnTo>
                      <a:pt x="817" y="1467"/>
                    </a:lnTo>
                    <a:lnTo>
                      <a:pt x="818" y="1444"/>
                    </a:lnTo>
                    <a:lnTo>
                      <a:pt x="818" y="1433"/>
                    </a:lnTo>
                    <a:lnTo>
                      <a:pt x="817" y="1422"/>
                    </a:lnTo>
                    <a:lnTo>
                      <a:pt x="807" y="1368"/>
                    </a:lnTo>
                    <a:lnTo>
                      <a:pt x="796" y="1318"/>
                    </a:lnTo>
                    <a:lnTo>
                      <a:pt x="794" y="1308"/>
                    </a:lnTo>
                    <a:lnTo>
                      <a:pt x="794" y="1300"/>
                    </a:lnTo>
                    <a:lnTo>
                      <a:pt x="794" y="1281"/>
                    </a:lnTo>
                    <a:lnTo>
                      <a:pt x="794" y="1262"/>
                    </a:lnTo>
                    <a:lnTo>
                      <a:pt x="793" y="1254"/>
                    </a:lnTo>
                    <a:lnTo>
                      <a:pt x="791" y="1246"/>
                    </a:lnTo>
                    <a:lnTo>
                      <a:pt x="793" y="1244"/>
                    </a:lnTo>
                    <a:lnTo>
                      <a:pt x="805" y="1254"/>
                    </a:lnTo>
                    <a:lnTo>
                      <a:pt x="823" y="1251"/>
                    </a:lnTo>
                    <a:lnTo>
                      <a:pt x="841" y="1246"/>
                    </a:lnTo>
                    <a:lnTo>
                      <a:pt x="855" y="1239"/>
                    </a:lnTo>
                    <a:lnTo>
                      <a:pt x="862" y="1235"/>
                    </a:lnTo>
                    <a:lnTo>
                      <a:pt x="865" y="1230"/>
                    </a:lnTo>
                    <a:lnTo>
                      <a:pt x="874" y="1204"/>
                    </a:lnTo>
                    <a:lnTo>
                      <a:pt x="879" y="1198"/>
                    </a:lnTo>
                    <a:lnTo>
                      <a:pt x="884" y="1191"/>
                    </a:lnTo>
                    <a:lnTo>
                      <a:pt x="894" y="1180"/>
                    </a:lnTo>
                    <a:lnTo>
                      <a:pt x="921" y="1139"/>
                    </a:lnTo>
                    <a:lnTo>
                      <a:pt x="934" y="1123"/>
                    </a:lnTo>
                    <a:lnTo>
                      <a:pt x="946" y="1107"/>
                    </a:lnTo>
                    <a:lnTo>
                      <a:pt x="961" y="1087"/>
                    </a:lnTo>
                    <a:lnTo>
                      <a:pt x="974" y="1065"/>
                    </a:lnTo>
                    <a:lnTo>
                      <a:pt x="986" y="1044"/>
                    </a:lnTo>
                    <a:lnTo>
                      <a:pt x="998" y="1020"/>
                    </a:lnTo>
                    <a:lnTo>
                      <a:pt x="1006" y="998"/>
                    </a:lnTo>
                    <a:lnTo>
                      <a:pt x="1010" y="975"/>
                    </a:lnTo>
                    <a:lnTo>
                      <a:pt x="1010" y="966"/>
                    </a:lnTo>
                    <a:lnTo>
                      <a:pt x="1010" y="958"/>
                    </a:lnTo>
                    <a:lnTo>
                      <a:pt x="1007" y="938"/>
                    </a:lnTo>
                    <a:lnTo>
                      <a:pt x="1001" y="918"/>
                    </a:lnTo>
                    <a:lnTo>
                      <a:pt x="993" y="897"/>
                    </a:lnTo>
                    <a:lnTo>
                      <a:pt x="975" y="857"/>
                    </a:lnTo>
                    <a:lnTo>
                      <a:pt x="962" y="826"/>
                    </a:lnTo>
                    <a:close/>
                    <a:moveTo>
                      <a:pt x="194" y="1678"/>
                    </a:moveTo>
                    <a:lnTo>
                      <a:pt x="194" y="1678"/>
                    </a:lnTo>
                    <a:lnTo>
                      <a:pt x="192" y="1680"/>
                    </a:lnTo>
                    <a:lnTo>
                      <a:pt x="189" y="1678"/>
                    </a:lnTo>
                    <a:lnTo>
                      <a:pt x="182" y="1654"/>
                    </a:lnTo>
                    <a:lnTo>
                      <a:pt x="179" y="1640"/>
                    </a:lnTo>
                    <a:lnTo>
                      <a:pt x="178" y="1627"/>
                    </a:lnTo>
                    <a:lnTo>
                      <a:pt x="178" y="1614"/>
                    </a:lnTo>
                    <a:lnTo>
                      <a:pt x="179" y="1601"/>
                    </a:lnTo>
                    <a:lnTo>
                      <a:pt x="184" y="1590"/>
                    </a:lnTo>
                    <a:lnTo>
                      <a:pt x="187" y="1585"/>
                    </a:lnTo>
                    <a:lnTo>
                      <a:pt x="192" y="1580"/>
                    </a:lnTo>
                    <a:lnTo>
                      <a:pt x="198" y="1580"/>
                    </a:lnTo>
                    <a:lnTo>
                      <a:pt x="202" y="1584"/>
                    </a:lnTo>
                    <a:lnTo>
                      <a:pt x="200" y="1630"/>
                    </a:lnTo>
                    <a:lnTo>
                      <a:pt x="198" y="1656"/>
                    </a:lnTo>
                    <a:lnTo>
                      <a:pt x="194" y="1678"/>
                    </a:lnTo>
                    <a:close/>
                    <a:moveTo>
                      <a:pt x="253" y="1355"/>
                    </a:moveTo>
                    <a:lnTo>
                      <a:pt x="253" y="1355"/>
                    </a:lnTo>
                    <a:lnTo>
                      <a:pt x="247" y="1356"/>
                    </a:lnTo>
                    <a:lnTo>
                      <a:pt x="242" y="1358"/>
                    </a:lnTo>
                    <a:lnTo>
                      <a:pt x="234" y="1366"/>
                    </a:lnTo>
                    <a:lnTo>
                      <a:pt x="235" y="1372"/>
                    </a:lnTo>
                    <a:lnTo>
                      <a:pt x="237" y="1376"/>
                    </a:lnTo>
                    <a:lnTo>
                      <a:pt x="243" y="1384"/>
                    </a:lnTo>
                    <a:lnTo>
                      <a:pt x="242" y="1395"/>
                    </a:lnTo>
                    <a:lnTo>
                      <a:pt x="237" y="1406"/>
                    </a:lnTo>
                    <a:lnTo>
                      <a:pt x="232" y="1416"/>
                    </a:lnTo>
                    <a:lnTo>
                      <a:pt x="229" y="1425"/>
                    </a:lnTo>
                    <a:lnTo>
                      <a:pt x="215" y="1484"/>
                    </a:lnTo>
                    <a:lnTo>
                      <a:pt x="213" y="1484"/>
                    </a:lnTo>
                    <a:lnTo>
                      <a:pt x="211" y="1467"/>
                    </a:lnTo>
                    <a:lnTo>
                      <a:pt x="210" y="1449"/>
                    </a:lnTo>
                    <a:lnTo>
                      <a:pt x="211" y="1416"/>
                    </a:lnTo>
                    <a:lnTo>
                      <a:pt x="218" y="1382"/>
                    </a:lnTo>
                    <a:lnTo>
                      <a:pt x="224" y="1348"/>
                    </a:lnTo>
                    <a:lnTo>
                      <a:pt x="240" y="1283"/>
                    </a:lnTo>
                    <a:lnTo>
                      <a:pt x="248" y="1251"/>
                    </a:lnTo>
                    <a:lnTo>
                      <a:pt x="255" y="1217"/>
                    </a:lnTo>
                    <a:lnTo>
                      <a:pt x="256" y="1220"/>
                    </a:lnTo>
                    <a:lnTo>
                      <a:pt x="256" y="1225"/>
                    </a:lnTo>
                    <a:lnTo>
                      <a:pt x="253" y="1233"/>
                    </a:lnTo>
                    <a:lnTo>
                      <a:pt x="250" y="1243"/>
                    </a:lnTo>
                    <a:lnTo>
                      <a:pt x="250" y="1247"/>
                    </a:lnTo>
                    <a:lnTo>
                      <a:pt x="251" y="1252"/>
                    </a:lnTo>
                    <a:lnTo>
                      <a:pt x="256" y="1257"/>
                    </a:lnTo>
                    <a:lnTo>
                      <a:pt x="255" y="1305"/>
                    </a:lnTo>
                    <a:lnTo>
                      <a:pt x="253" y="1355"/>
                    </a:lnTo>
                    <a:close/>
                    <a:moveTo>
                      <a:pt x="303" y="1033"/>
                    </a:moveTo>
                    <a:lnTo>
                      <a:pt x="303" y="1033"/>
                    </a:lnTo>
                    <a:lnTo>
                      <a:pt x="295" y="1063"/>
                    </a:lnTo>
                    <a:lnTo>
                      <a:pt x="287" y="1092"/>
                    </a:lnTo>
                    <a:lnTo>
                      <a:pt x="279" y="1119"/>
                    </a:lnTo>
                    <a:lnTo>
                      <a:pt x="271" y="1147"/>
                    </a:lnTo>
                    <a:lnTo>
                      <a:pt x="271" y="1179"/>
                    </a:lnTo>
                    <a:lnTo>
                      <a:pt x="261" y="1201"/>
                    </a:lnTo>
                    <a:lnTo>
                      <a:pt x="258" y="1201"/>
                    </a:lnTo>
                    <a:lnTo>
                      <a:pt x="258" y="1195"/>
                    </a:lnTo>
                    <a:lnTo>
                      <a:pt x="261" y="1183"/>
                    </a:lnTo>
                    <a:lnTo>
                      <a:pt x="263" y="1172"/>
                    </a:lnTo>
                    <a:lnTo>
                      <a:pt x="263" y="1159"/>
                    </a:lnTo>
                    <a:lnTo>
                      <a:pt x="266" y="1148"/>
                    </a:lnTo>
                    <a:lnTo>
                      <a:pt x="272" y="1119"/>
                    </a:lnTo>
                    <a:lnTo>
                      <a:pt x="275" y="1089"/>
                    </a:lnTo>
                    <a:lnTo>
                      <a:pt x="277" y="1073"/>
                    </a:lnTo>
                    <a:lnTo>
                      <a:pt x="277" y="1057"/>
                    </a:lnTo>
                    <a:lnTo>
                      <a:pt x="277" y="1041"/>
                    </a:lnTo>
                    <a:lnTo>
                      <a:pt x="274" y="1025"/>
                    </a:lnTo>
                    <a:lnTo>
                      <a:pt x="272" y="962"/>
                    </a:lnTo>
                    <a:lnTo>
                      <a:pt x="269" y="938"/>
                    </a:lnTo>
                    <a:lnTo>
                      <a:pt x="269" y="914"/>
                    </a:lnTo>
                    <a:lnTo>
                      <a:pt x="269" y="865"/>
                    </a:lnTo>
                    <a:lnTo>
                      <a:pt x="269" y="834"/>
                    </a:lnTo>
                    <a:lnTo>
                      <a:pt x="272" y="842"/>
                    </a:lnTo>
                    <a:lnTo>
                      <a:pt x="275" y="852"/>
                    </a:lnTo>
                    <a:lnTo>
                      <a:pt x="280" y="873"/>
                    </a:lnTo>
                    <a:lnTo>
                      <a:pt x="282" y="897"/>
                    </a:lnTo>
                    <a:lnTo>
                      <a:pt x="285" y="919"/>
                    </a:lnTo>
                    <a:lnTo>
                      <a:pt x="291" y="945"/>
                    </a:lnTo>
                    <a:lnTo>
                      <a:pt x="299" y="974"/>
                    </a:lnTo>
                    <a:lnTo>
                      <a:pt x="301" y="988"/>
                    </a:lnTo>
                    <a:lnTo>
                      <a:pt x="303" y="1002"/>
                    </a:lnTo>
                    <a:lnTo>
                      <a:pt x="304" y="1018"/>
                    </a:lnTo>
                    <a:lnTo>
                      <a:pt x="303" y="1033"/>
                    </a:lnTo>
                    <a:close/>
                    <a:moveTo>
                      <a:pt x="898" y="980"/>
                    </a:moveTo>
                    <a:lnTo>
                      <a:pt x="898" y="980"/>
                    </a:lnTo>
                    <a:lnTo>
                      <a:pt x="895" y="986"/>
                    </a:lnTo>
                    <a:lnTo>
                      <a:pt x="892" y="993"/>
                    </a:lnTo>
                    <a:lnTo>
                      <a:pt x="886" y="1004"/>
                    </a:lnTo>
                    <a:lnTo>
                      <a:pt x="876" y="1015"/>
                    </a:lnTo>
                    <a:lnTo>
                      <a:pt x="870" y="1028"/>
                    </a:lnTo>
                    <a:lnTo>
                      <a:pt x="857" y="1063"/>
                    </a:lnTo>
                    <a:lnTo>
                      <a:pt x="847" y="1086"/>
                    </a:lnTo>
                    <a:lnTo>
                      <a:pt x="836" y="1110"/>
                    </a:lnTo>
                    <a:lnTo>
                      <a:pt x="829" y="1123"/>
                    </a:lnTo>
                    <a:lnTo>
                      <a:pt x="823" y="1134"/>
                    </a:lnTo>
                    <a:lnTo>
                      <a:pt x="815" y="1142"/>
                    </a:lnTo>
                    <a:lnTo>
                      <a:pt x="809" y="1147"/>
                    </a:lnTo>
                    <a:lnTo>
                      <a:pt x="805" y="1139"/>
                    </a:lnTo>
                    <a:lnTo>
                      <a:pt x="802" y="1131"/>
                    </a:lnTo>
                    <a:lnTo>
                      <a:pt x="789" y="1113"/>
                    </a:lnTo>
                    <a:lnTo>
                      <a:pt x="764" y="1084"/>
                    </a:lnTo>
                    <a:lnTo>
                      <a:pt x="757" y="1070"/>
                    </a:lnTo>
                    <a:lnTo>
                      <a:pt x="754" y="1065"/>
                    </a:lnTo>
                    <a:lnTo>
                      <a:pt x="749" y="1063"/>
                    </a:lnTo>
                    <a:lnTo>
                      <a:pt x="745" y="1062"/>
                    </a:lnTo>
                    <a:lnTo>
                      <a:pt x="740" y="1058"/>
                    </a:lnTo>
                    <a:lnTo>
                      <a:pt x="730" y="1033"/>
                    </a:lnTo>
                    <a:lnTo>
                      <a:pt x="722" y="1006"/>
                    </a:lnTo>
                    <a:lnTo>
                      <a:pt x="717" y="978"/>
                    </a:lnTo>
                    <a:lnTo>
                      <a:pt x="714" y="950"/>
                    </a:lnTo>
                    <a:lnTo>
                      <a:pt x="714" y="919"/>
                    </a:lnTo>
                    <a:lnTo>
                      <a:pt x="716" y="889"/>
                    </a:lnTo>
                    <a:lnTo>
                      <a:pt x="721" y="860"/>
                    </a:lnTo>
                    <a:lnTo>
                      <a:pt x="727" y="829"/>
                    </a:lnTo>
                    <a:lnTo>
                      <a:pt x="732" y="796"/>
                    </a:lnTo>
                    <a:lnTo>
                      <a:pt x="738" y="775"/>
                    </a:lnTo>
                    <a:lnTo>
                      <a:pt x="741" y="764"/>
                    </a:lnTo>
                    <a:lnTo>
                      <a:pt x="745" y="754"/>
                    </a:lnTo>
                    <a:lnTo>
                      <a:pt x="753" y="745"/>
                    </a:lnTo>
                    <a:lnTo>
                      <a:pt x="756" y="740"/>
                    </a:lnTo>
                    <a:lnTo>
                      <a:pt x="759" y="732"/>
                    </a:lnTo>
                    <a:lnTo>
                      <a:pt x="764" y="737"/>
                    </a:lnTo>
                    <a:lnTo>
                      <a:pt x="769" y="743"/>
                    </a:lnTo>
                    <a:lnTo>
                      <a:pt x="780" y="764"/>
                    </a:lnTo>
                    <a:lnTo>
                      <a:pt x="801" y="801"/>
                    </a:lnTo>
                    <a:lnTo>
                      <a:pt x="810" y="815"/>
                    </a:lnTo>
                    <a:lnTo>
                      <a:pt x="821" y="826"/>
                    </a:lnTo>
                    <a:lnTo>
                      <a:pt x="833" y="839"/>
                    </a:lnTo>
                    <a:lnTo>
                      <a:pt x="842" y="852"/>
                    </a:lnTo>
                    <a:lnTo>
                      <a:pt x="852" y="871"/>
                    </a:lnTo>
                    <a:lnTo>
                      <a:pt x="860" y="889"/>
                    </a:lnTo>
                    <a:lnTo>
                      <a:pt x="868" y="908"/>
                    </a:lnTo>
                    <a:lnTo>
                      <a:pt x="878" y="926"/>
                    </a:lnTo>
                    <a:lnTo>
                      <a:pt x="884" y="937"/>
                    </a:lnTo>
                    <a:lnTo>
                      <a:pt x="892" y="950"/>
                    </a:lnTo>
                    <a:lnTo>
                      <a:pt x="895" y="956"/>
                    </a:lnTo>
                    <a:lnTo>
                      <a:pt x="898" y="964"/>
                    </a:lnTo>
                    <a:lnTo>
                      <a:pt x="898" y="972"/>
                    </a:lnTo>
                    <a:lnTo>
                      <a:pt x="898" y="980"/>
                    </a:lnTo>
                    <a:close/>
                  </a:path>
                </a:pathLst>
              </a:custGeom>
              <a:solidFill>
                <a:schemeClr val="accent1"/>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11" name="Gruppieren 33"/>
            <p:cNvGrpSpPr/>
            <p:nvPr/>
          </p:nvGrpSpPr>
          <p:grpSpPr>
            <a:xfrm>
              <a:off x="3128576" y="2594981"/>
              <a:ext cx="939368" cy="1409690"/>
              <a:chOff x="3506739" y="2431056"/>
              <a:chExt cx="939368" cy="1409690"/>
            </a:xfrm>
          </p:grpSpPr>
          <p:sp>
            <p:nvSpPr>
              <p:cNvPr id="32" name="Ellipse 4"/>
              <p:cNvSpPr/>
              <p:nvPr/>
            </p:nvSpPr>
            <p:spPr>
              <a:xfrm>
                <a:off x="3506739" y="3579680"/>
                <a:ext cx="939368" cy="261066"/>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Freeform 10"/>
              <p:cNvSpPr>
                <a:spLocks noEditPoints="1"/>
              </p:cNvSpPr>
              <p:nvPr/>
            </p:nvSpPr>
            <p:spPr bwMode="auto">
              <a:xfrm rot="21317180">
                <a:off x="3760248" y="2431056"/>
                <a:ext cx="427798" cy="1291552"/>
              </a:xfrm>
              <a:custGeom>
                <a:avLst/>
                <a:gdLst>
                  <a:gd name="T0" fmla="*/ 879 w 943"/>
                  <a:gd name="T1" fmla="*/ 962 h 2850"/>
                  <a:gd name="T2" fmla="*/ 897 w 943"/>
                  <a:gd name="T3" fmla="*/ 760 h 2850"/>
                  <a:gd name="T4" fmla="*/ 881 w 943"/>
                  <a:gd name="T5" fmla="*/ 603 h 2850"/>
                  <a:gd name="T6" fmla="*/ 796 w 943"/>
                  <a:gd name="T7" fmla="*/ 525 h 2850"/>
                  <a:gd name="T8" fmla="*/ 679 w 943"/>
                  <a:gd name="T9" fmla="*/ 443 h 2850"/>
                  <a:gd name="T10" fmla="*/ 696 w 943"/>
                  <a:gd name="T11" fmla="*/ 371 h 2850"/>
                  <a:gd name="T12" fmla="*/ 740 w 943"/>
                  <a:gd name="T13" fmla="*/ 282 h 2850"/>
                  <a:gd name="T14" fmla="*/ 720 w 943"/>
                  <a:gd name="T15" fmla="*/ 136 h 2850"/>
                  <a:gd name="T16" fmla="*/ 685 w 943"/>
                  <a:gd name="T17" fmla="*/ 65 h 2850"/>
                  <a:gd name="T18" fmla="*/ 652 w 943"/>
                  <a:gd name="T19" fmla="*/ 16 h 2850"/>
                  <a:gd name="T20" fmla="*/ 533 w 943"/>
                  <a:gd name="T21" fmla="*/ 6 h 2850"/>
                  <a:gd name="T22" fmla="*/ 431 w 943"/>
                  <a:gd name="T23" fmla="*/ 61 h 2850"/>
                  <a:gd name="T24" fmla="*/ 418 w 943"/>
                  <a:gd name="T25" fmla="*/ 205 h 2850"/>
                  <a:gd name="T26" fmla="*/ 493 w 943"/>
                  <a:gd name="T27" fmla="*/ 350 h 2850"/>
                  <a:gd name="T28" fmla="*/ 455 w 943"/>
                  <a:gd name="T29" fmla="*/ 419 h 2850"/>
                  <a:gd name="T30" fmla="*/ 416 w 943"/>
                  <a:gd name="T31" fmla="*/ 440 h 2850"/>
                  <a:gd name="T32" fmla="*/ 320 w 943"/>
                  <a:gd name="T33" fmla="*/ 483 h 2850"/>
                  <a:gd name="T34" fmla="*/ 218 w 943"/>
                  <a:gd name="T35" fmla="*/ 551 h 2850"/>
                  <a:gd name="T36" fmla="*/ 163 w 943"/>
                  <a:gd name="T37" fmla="*/ 722 h 2850"/>
                  <a:gd name="T38" fmla="*/ 150 w 943"/>
                  <a:gd name="T39" fmla="*/ 922 h 2850"/>
                  <a:gd name="T40" fmla="*/ 136 w 943"/>
                  <a:gd name="T41" fmla="*/ 1266 h 2850"/>
                  <a:gd name="T42" fmla="*/ 141 w 943"/>
                  <a:gd name="T43" fmla="*/ 1473 h 2850"/>
                  <a:gd name="T44" fmla="*/ 149 w 943"/>
                  <a:gd name="T45" fmla="*/ 1604 h 2850"/>
                  <a:gd name="T46" fmla="*/ 197 w 943"/>
                  <a:gd name="T47" fmla="*/ 1934 h 2850"/>
                  <a:gd name="T48" fmla="*/ 133 w 943"/>
                  <a:gd name="T49" fmla="*/ 2190 h 2850"/>
                  <a:gd name="T50" fmla="*/ 53 w 943"/>
                  <a:gd name="T51" fmla="*/ 2663 h 2850"/>
                  <a:gd name="T52" fmla="*/ 14 w 943"/>
                  <a:gd name="T53" fmla="*/ 2796 h 2850"/>
                  <a:gd name="T54" fmla="*/ 94 w 943"/>
                  <a:gd name="T55" fmla="*/ 2850 h 2850"/>
                  <a:gd name="T56" fmla="*/ 179 w 943"/>
                  <a:gd name="T57" fmla="*/ 2812 h 2850"/>
                  <a:gd name="T58" fmla="*/ 243 w 943"/>
                  <a:gd name="T59" fmla="*/ 2720 h 2850"/>
                  <a:gd name="T60" fmla="*/ 266 w 943"/>
                  <a:gd name="T61" fmla="*/ 2616 h 2850"/>
                  <a:gd name="T62" fmla="*/ 399 w 943"/>
                  <a:gd name="T63" fmla="*/ 2099 h 2850"/>
                  <a:gd name="T64" fmla="*/ 472 w 943"/>
                  <a:gd name="T65" fmla="*/ 1776 h 2850"/>
                  <a:gd name="T66" fmla="*/ 523 w 943"/>
                  <a:gd name="T67" fmla="*/ 1691 h 2850"/>
                  <a:gd name="T68" fmla="*/ 519 w 943"/>
                  <a:gd name="T69" fmla="*/ 1878 h 2850"/>
                  <a:gd name="T70" fmla="*/ 483 w 943"/>
                  <a:gd name="T71" fmla="*/ 2217 h 2850"/>
                  <a:gd name="T72" fmla="*/ 443 w 943"/>
                  <a:gd name="T73" fmla="*/ 2507 h 2850"/>
                  <a:gd name="T74" fmla="*/ 413 w 943"/>
                  <a:gd name="T75" fmla="*/ 2765 h 2850"/>
                  <a:gd name="T76" fmla="*/ 499 w 943"/>
                  <a:gd name="T77" fmla="*/ 2791 h 2850"/>
                  <a:gd name="T78" fmla="*/ 576 w 943"/>
                  <a:gd name="T79" fmla="*/ 2837 h 2850"/>
                  <a:gd name="T80" fmla="*/ 671 w 943"/>
                  <a:gd name="T81" fmla="*/ 2799 h 2850"/>
                  <a:gd name="T82" fmla="*/ 615 w 943"/>
                  <a:gd name="T83" fmla="*/ 2696 h 2850"/>
                  <a:gd name="T84" fmla="*/ 666 w 943"/>
                  <a:gd name="T85" fmla="*/ 2445 h 2850"/>
                  <a:gd name="T86" fmla="*/ 696 w 943"/>
                  <a:gd name="T87" fmla="*/ 2192 h 2850"/>
                  <a:gd name="T88" fmla="*/ 829 w 943"/>
                  <a:gd name="T89" fmla="*/ 1580 h 2850"/>
                  <a:gd name="T90" fmla="*/ 841 w 943"/>
                  <a:gd name="T91" fmla="*/ 1345 h 2850"/>
                  <a:gd name="T92" fmla="*/ 858 w 943"/>
                  <a:gd name="T93" fmla="*/ 1436 h 2850"/>
                  <a:gd name="T94" fmla="*/ 857 w 943"/>
                  <a:gd name="T95" fmla="*/ 1507 h 2850"/>
                  <a:gd name="T96" fmla="*/ 876 w 943"/>
                  <a:gd name="T97" fmla="*/ 1585 h 2850"/>
                  <a:gd name="T98" fmla="*/ 841 w 943"/>
                  <a:gd name="T99" fmla="*/ 1659 h 2850"/>
                  <a:gd name="T100" fmla="*/ 927 w 943"/>
                  <a:gd name="T101" fmla="*/ 1599 h 2850"/>
                  <a:gd name="T102" fmla="*/ 937 w 943"/>
                  <a:gd name="T103" fmla="*/ 1442 h 2850"/>
                  <a:gd name="T104" fmla="*/ 259 w 943"/>
                  <a:gd name="T105" fmla="*/ 1295 h 2850"/>
                  <a:gd name="T106" fmla="*/ 245 w 943"/>
                  <a:gd name="T107" fmla="*/ 1402 h 2850"/>
                  <a:gd name="T108" fmla="*/ 240 w 943"/>
                  <a:gd name="T109" fmla="*/ 1390 h 2850"/>
                  <a:gd name="T110" fmla="*/ 290 w 943"/>
                  <a:gd name="T111" fmla="*/ 888 h 2850"/>
                  <a:gd name="T112" fmla="*/ 315 w 943"/>
                  <a:gd name="T113" fmla="*/ 1015 h 2850"/>
                  <a:gd name="T114" fmla="*/ 310 w 943"/>
                  <a:gd name="T115" fmla="*/ 1119 h 28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43"/>
                  <a:gd name="T175" fmla="*/ 0 h 2850"/>
                  <a:gd name="T176" fmla="*/ 943 w 943"/>
                  <a:gd name="T177" fmla="*/ 2850 h 285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43" h="2850">
                    <a:moveTo>
                      <a:pt x="937" y="1442"/>
                    </a:moveTo>
                    <a:lnTo>
                      <a:pt x="937" y="1442"/>
                    </a:lnTo>
                    <a:lnTo>
                      <a:pt x="916" y="1241"/>
                    </a:lnTo>
                    <a:lnTo>
                      <a:pt x="911" y="1141"/>
                    </a:lnTo>
                    <a:lnTo>
                      <a:pt x="895" y="1055"/>
                    </a:lnTo>
                    <a:lnTo>
                      <a:pt x="887" y="1010"/>
                    </a:lnTo>
                    <a:lnTo>
                      <a:pt x="879" y="962"/>
                    </a:lnTo>
                    <a:lnTo>
                      <a:pt x="874" y="914"/>
                    </a:lnTo>
                    <a:lnTo>
                      <a:pt x="873" y="866"/>
                    </a:lnTo>
                    <a:lnTo>
                      <a:pt x="873" y="842"/>
                    </a:lnTo>
                    <a:lnTo>
                      <a:pt x="874" y="816"/>
                    </a:lnTo>
                    <a:lnTo>
                      <a:pt x="877" y="792"/>
                    </a:lnTo>
                    <a:lnTo>
                      <a:pt x="881" y="770"/>
                    </a:lnTo>
                    <a:lnTo>
                      <a:pt x="889" y="765"/>
                    </a:lnTo>
                    <a:lnTo>
                      <a:pt x="897" y="760"/>
                    </a:lnTo>
                    <a:lnTo>
                      <a:pt x="905" y="754"/>
                    </a:lnTo>
                    <a:lnTo>
                      <a:pt x="906" y="751"/>
                    </a:lnTo>
                    <a:lnTo>
                      <a:pt x="908" y="746"/>
                    </a:lnTo>
                    <a:lnTo>
                      <a:pt x="901" y="723"/>
                    </a:lnTo>
                    <a:lnTo>
                      <a:pt x="897" y="701"/>
                    </a:lnTo>
                    <a:lnTo>
                      <a:pt x="889" y="651"/>
                    </a:lnTo>
                    <a:lnTo>
                      <a:pt x="885" y="627"/>
                    </a:lnTo>
                    <a:lnTo>
                      <a:pt x="881" y="603"/>
                    </a:lnTo>
                    <a:lnTo>
                      <a:pt x="874" y="583"/>
                    </a:lnTo>
                    <a:lnTo>
                      <a:pt x="869" y="575"/>
                    </a:lnTo>
                    <a:lnTo>
                      <a:pt x="863" y="565"/>
                    </a:lnTo>
                    <a:lnTo>
                      <a:pt x="853" y="555"/>
                    </a:lnTo>
                    <a:lnTo>
                      <a:pt x="844" y="546"/>
                    </a:lnTo>
                    <a:lnTo>
                      <a:pt x="833" y="539"/>
                    </a:lnTo>
                    <a:lnTo>
                      <a:pt x="821" y="533"/>
                    </a:lnTo>
                    <a:lnTo>
                      <a:pt x="796" y="525"/>
                    </a:lnTo>
                    <a:lnTo>
                      <a:pt x="770" y="519"/>
                    </a:lnTo>
                    <a:lnTo>
                      <a:pt x="745" y="509"/>
                    </a:lnTo>
                    <a:lnTo>
                      <a:pt x="732" y="503"/>
                    </a:lnTo>
                    <a:lnTo>
                      <a:pt x="720" y="496"/>
                    </a:lnTo>
                    <a:lnTo>
                      <a:pt x="708" y="486"/>
                    </a:lnTo>
                    <a:lnTo>
                      <a:pt x="698" y="475"/>
                    </a:lnTo>
                    <a:lnTo>
                      <a:pt x="687" y="461"/>
                    </a:lnTo>
                    <a:lnTo>
                      <a:pt x="679" y="443"/>
                    </a:lnTo>
                    <a:lnTo>
                      <a:pt x="674" y="432"/>
                    </a:lnTo>
                    <a:lnTo>
                      <a:pt x="671" y="416"/>
                    </a:lnTo>
                    <a:lnTo>
                      <a:pt x="669" y="400"/>
                    </a:lnTo>
                    <a:lnTo>
                      <a:pt x="671" y="392"/>
                    </a:lnTo>
                    <a:lnTo>
                      <a:pt x="672" y="384"/>
                    </a:lnTo>
                    <a:lnTo>
                      <a:pt x="677" y="379"/>
                    </a:lnTo>
                    <a:lnTo>
                      <a:pt x="684" y="376"/>
                    </a:lnTo>
                    <a:lnTo>
                      <a:pt x="696" y="371"/>
                    </a:lnTo>
                    <a:lnTo>
                      <a:pt x="703" y="368"/>
                    </a:lnTo>
                    <a:lnTo>
                      <a:pt x="709" y="365"/>
                    </a:lnTo>
                    <a:lnTo>
                      <a:pt x="716" y="362"/>
                    </a:lnTo>
                    <a:lnTo>
                      <a:pt x="719" y="355"/>
                    </a:lnTo>
                    <a:lnTo>
                      <a:pt x="725" y="342"/>
                    </a:lnTo>
                    <a:lnTo>
                      <a:pt x="730" y="325"/>
                    </a:lnTo>
                    <a:lnTo>
                      <a:pt x="735" y="304"/>
                    </a:lnTo>
                    <a:lnTo>
                      <a:pt x="740" y="282"/>
                    </a:lnTo>
                    <a:lnTo>
                      <a:pt x="741" y="261"/>
                    </a:lnTo>
                    <a:lnTo>
                      <a:pt x="741" y="238"/>
                    </a:lnTo>
                    <a:lnTo>
                      <a:pt x="741" y="219"/>
                    </a:lnTo>
                    <a:lnTo>
                      <a:pt x="736" y="203"/>
                    </a:lnTo>
                    <a:lnTo>
                      <a:pt x="716" y="171"/>
                    </a:lnTo>
                    <a:lnTo>
                      <a:pt x="720" y="136"/>
                    </a:lnTo>
                    <a:lnTo>
                      <a:pt x="719" y="129"/>
                    </a:lnTo>
                    <a:lnTo>
                      <a:pt x="714" y="123"/>
                    </a:lnTo>
                    <a:lnTo>
                      <a:pt x="704" y="107"/>
                    </a:lnTo>
                    <a:lnTo>
                      <a:pt x="695" y="93"/>
                    </a:lnTo>
                    <a:lnTo>
                      <a:pt x="687" y="80"/>
                    </a:lnTo>
                    <a:lnTo>
                      <a:pt x="685" y="77"/>
                    </a:lnTo>
                    <a:lnTo>
                      <a:pt x="685" y="73"/>
                    </a:lnTo>
                    <a:lnTo>
                      <a:pt x="685" y="65"/>
                    </a:lnTo>
                    <a:lnTo>
                      <a:pt x="687" y="59"/>
                    </a:lnTo>
                    <a:lnTo>
                      <a:pt x="687" y="54"/>
                    </a:lnTo>
                    <a:lnTo>
                      <a:pt x="685" y="49"/>
                    </a:lnTo>
                    <a:lnTo>
                      <a:pt x="680" y="43"/>
                    </a:lnTo>
                    <a:lnTo>
                      <a:pt x="676" y="35"/>
                    </a:lnTo>
                    <a:lnTo>
                      <a:pt x="671" y="30"/>
                    </a:lnTo>
                    <a:lnTo>
                      <a:pt x="664" y="24"/>
                    </a:lnTo>
                    <a:lnTo>
                      <a:pt x="652" y="16"/>
                    </a:lnTo>
                    <a:lnTo>
                      <a:pt x="634" y="9"/>
                    </a:lnTo>
                    <a:lnTo>
                      <a:pt x="616" y="4"/>
                    </a:lnTo>
                    <a:lnTo>
                      <a:pt x="596" y="1"/>
                    </a:lnTo>
                    <a:lnTo>
                      <a:pt x="575" y="0"/>
                    </a:lnTo>
                    <a:lnTo>
                      <a:pt x="551" y="0"/>
                    </a:lnTo>
                    <a:lnTo>
                      <a:pt x="548" y="3"/>
                    </a:lnTo>
                    <a:lnTo>
                      <a:pt x="543" y="4"/>
                    </a:lnTo>
                    <a:lnTo>
                      <a:pt x="533" y="6"/>
                    </a:lnTo>
                    <a:lnTo>
                      <a:pt x="523" y="6"/>
                    </a:lnTo>
                    <a:lnTo>
                      <a:pt x="512" y="9"/>
                    </a:lnTo>
                    <a:lnTo>
                      <a:pt x="491" y="17"/>
                    </a:lnTo>
                    <a:lnTo>
                      <a:pt x="467" y="30"/>
                    </a:lnTo>
                    <a:lnTo>
                      <a:pt x="456" y="37"/>
                    </a:lnTo>
                    <a:lnTo>
                      <a:pt x="447" y="45"/>
                    </a:lnTo>
                    <a:lnTo>
                      <a:pt x="437" y="53"/>
                    </a:lnTo>
                    <a:lnTo>
                      <a:pt x="431" y="61"/>
                    </a:lnTo>
                    <a:lnTo>
                      <a:pt x="424" y="73"/>
                    </a:lnTo>
                    <a:lnTo>
                      <a:pt x="419" y="86"/>
                    </a:lnTo>
                    <a:lnTo>
                      <a:pt x="416" y="99"/>
                    </a:lnTo>
                    <a:lnTo>
                      <a:pt x="413" y="113"/>
                    </a:lnTo>
                    <a:lnTo>
                      <a:pt x="413" y="128"/>
                    </a:lnTo>
                    <a:lnTo>
                      <a:pt x="411" y="144"/>
                    </a:lnTo>
                    <a:lnTo>
                      <a:pt x="413" y="174"/>
                    </a:lnTo>
                    <a:lnTo>
                      <a:pt x="418" y="205"/>
                    </a:lnTo>
                    <a:lnTo>
                      <a:pt x="426" y="233"/>
                    </a:lnTo>
                    <a:lnTo>
                      <a:pt x="435" y="259"/>
                    </a:lnTo>
                    <a:lnTo>
                      <a:pt x="447" y="280"/>
                    </a:lnTo>
                    <a:lnTo>
                      <a:pt x="477" y="312"/>
                    </a:lnTo>
                    <a:lnTo>
                      <a:pt x="483" y="323"/>
                    </a:lnTo>
                    <a:lnTo>
                      <a:pt x="488" y="338"/>
                    </a:lnTo>
                    <a:lnTo>
                      <a:pt x="493" y="350"/>
                    </a:lnTo>
                    <a:lnTo>
                      <a:pt x="499" y="362"/>
                    </a:lnTo>
                    <a:lnTo>
                      <a:pt x="488" y="405"/>
                    </a:lnTo>
                    <a:lnTo>
                      <a:pt x="482" y="408"/>
                    </a:lnTo>
                    <a:lnTo>
                      <a:pt x="477" y="411"/>
                    </a:lnTo>
                    <a:lnTo>
                      <a:pt x="474" y="414"/>
                    </a:lnTo>
                    <a:lnTo>
                      <a:pt x="471" y="419"/>
                    </a:lnTo>
                    <a:lnTo>
                      <a:pt x="455" y="419"/>
                    </a:lnTo>
                    <a:lnTo>
                      <a:pt x="451" y="422"/>
                    </a:lnTo>
                    <a:lnTo>
                      <a:pt x="450" y="427"/>
                    </a:lnTo>
                    <a:lnTo>
                      <a:pt x="448" y="430"/>
                    </a:lnTo>
                    <a:lnTo>
                      <a:pt x="447" y="435"/>
                    </a:lnTo>
                    <a:lnTo>
                      <a:pt x="443" y="437"/>
                    </a:lnTo>
                    <a:lnTo>
                      <a:pt x="416" y="440"/>
                    </a:lnTo>
                    <a:lnTo>
                      <a:pt x="405" y="448"/>
                    </a:lnTo>
                    <a:lnTo>
                      <a:pt x="392" y="458"/>
                    </a:lnTo>
                    <a:lnTo>
                      <a:pt x="381" y="467"/>
                    </a:lnTo>
                    <a:lnTo>
                      <a:pt x="368" y="475"/>
                    </a:lnTo>
                    <a:lnTo>
                      <a:pt x="367" y="477"/>
                    </a:lnTo>
                    <a:lnTo>
                      <a:pt x="320" y="483"/>
                    </a:lnTo>
                    <a:lnTo>
                      <a:pt x="302" y="490"/>
                    </a:lnTo>
                    <a:lnTo>
                      <a:pt x="286" y="494"/>
                    </a:lnTo>
                    <a:lnTo>
                      <a:pt x="272" y="501"/>
                    </a:lnTo>
                    <a:lnTo>
                      <a:pt x="259" y="509"/>
                    </a:lnTo>
                    <a:lnTo>
                      <a:pt x="248" y="517"/>
                    </a:lnTo>
                    <a:lnTo>
                      <a:pt x="237" y="527"/>
                    </a:lnTo>
                    <a:lnTo>
                      <a:pt x="227" y="538"/>
                    </a:lnTo>
                    <a:lnTo>
                      <a:pt x="218" y="551"/>
                    </a:lnTo>
                    <a:lnTo>
                      <a:pt x="208" y="565"/>
                    </a:lnTo>
                    <a:lnTo>
                      <a:pt x="200" y="583"/>
                    </a:lnTo>
                    <a:lnTo>
                      <a:pt x="192" y="602"/>
                    </a:lnTo>
                    <a:lnTo>
                      <a:pt x="186" y="623"/>
                    </a:lnTo>
                    <a:lnTo>
                      <a:pt x="174" y="664"/>
                    </a:lnTo>
                    <a:lnTo>
                      <a:pt x="166" y="704"/>
                    </a:lnTo>
                    <a:lnTo>
                      <a:pt x="163" y="722"/>
                    </a:lnTo>
                    <a:lnTo>
                      <a:pt x="165" y="739"/>
                    </a:lnTo>
                    <a:lnTo>
                      <a:pt x="165" y="759"/>
                    </a:lnTo>
                    <a:lnTo>
                      <a:pt x="163" y="778"/>
                    </a:lnTo>
                    <a:lnTo>
                      <a:pt x="160" y="796"/>
                    </a:lnTo>
                    <a:lnTo>
                      <a:pt x="158" y="816"/>
                    </a:lnTo>
                    <a:lnTo>
                      <a:pt x="155" y="858"/>
                    </a:lnTo>
                    <a:lnTo>
                      <a:pt x="152" y="901"/>
                    </a:lnTo>
                    <a:lnTo>
                      <a:pt x="150" y="922"/>
                    </a:lnTo>
                    <a:lnTo>
                      <a:pt x="147" y="943"/>
                    </a:lnTo>
                    <a:lnTo>
                      <a:pt x="141" y="986"/>
                    </a:lnTo>
                    <a:lnTo>
                      <a:pt x="134" y="1031"/>
                    </a:lnTo>
                    <a:lnTo>
                      <a:pt x="131" y="1077"/>
                    </a:lnTo>
                    <a:lnTo>
                      <a:pt x="128" y="1125"/>
                    </a:lnTo>
                    <a:lnTo>
                      <a:pt x="128" y="1173"/>
                    </a:lnTo>
                    <a:lnTo>
                      <a:pt x="131" y="1221"/>
                    </a:lnTo>
                    <a:lnTo>
                      <a:pt x="136" y="1266"/>
                    </a:lnTo>
                    <a:lnTo>
                      <a:pt x="142" y="1310"/>
                    </a:lnTo>
                    <a:lnTo>
                      <a:pt x="146" y="1338"/>
                    </a:lnTo>
                    <a:lnTo>
                      <a:pt x="147" y="1382"/>
                    </a:lnTo>
                    <a:lnTo>
                      <a:pt x="149" y="1422"/>
                    </a:lnTo>
                    <a:lnTo>
                      <a:pt x="149" y="1438"/>
                    </a:lnTo>
                    <a:lnTo>
                      <a:pt x="147" y="1447"/>
                    </a:lnTo>
                    <a:lnTo>
                      <a:pt x="141" y="1473"/>
                    </a:lnTo>
                    <a:lnTo>
                      <a:pt x="133" y="1510"/>
                    </a:lnTo>
                    <a:lnTo>
                      <a:pt x="130" y="1529"/>
                    </a:lnTo>
                    <a:lnTo>
                      <a:pt x="128" y="1548"/>
                    </a:lnTo>
                    <a:lnTo>
                      <a:pt x="130" y="1566"/>
                    </a:lnTo>
                    <a:lnTo>
                      <a:pt x="131" y="1574"/>
                    </a:lnTo>
                    <a:lnTo>
                      <a:pt x="134" y="1582"/>
                    </a:lnTo>
                    <a:lnTo>
                      <a:pt x="141" y="1593"/>
                    </a:lnTo>
                    <a:lnTo>
                      <a:pt x="149" y="1604"/>
                    </a:lnTo>
                    <a:lnTo>
                      <a:pt x="158" y="1615"/>
                    </a:lnTo>
                    <a:lnTo>
                      <a:pt x="168" y="1625"/>
                    </a:lnTo>
                    <a:lnTo>
                      <a:pt x="190" y="1646"/>
                    </a:lnTo>
                    <a:lnTo>
                      <a:pt x="210" y="1663"/>
                    </a:lnTo>
                    <a:lnTo>
                      <a:pt x="194" y="1852"/>
                    </a:lnTo>
                    <a:lnTo>
                      <a:pt x="197" y="1934"/>
                    </a:lnTo>
                    <a:lnTo>
                      <a:pt x="178" y="1964"/>
                    </a:lnTo>
                    <a:lnTo>
                      <a:pt x="174" y="1990"/>
                    </a:lnTo>
                    <a:lnTo>
                      <a:pt x="152" y="2032"/>
                    </a:lnTo>
                    <a:lnTo>
                      <a:pt x="147" y="2123"/>
                    </a:lnTo>
                    <a:lnTo>
                      <a:pt x="133" y="2190"/>
                    </a:lnTo>
                    <a:lnTo>
                      <a:pt x="120" y="2261"/>
                    </a:lnTo>
                    <a:lnTo>
                      <a:pt x="94" y="2402"/>
                    </a:lnTo>
                    <a:lnTo>
                      <a:pt x="85" y="2451"/>
                    </a:lnTo>
                    <a:lnTo>
                      <a:pt x="78" y="2501"/>
                    </a:lnTo>
                    <a:lnTo>
                      <a:pt x="72" y="2551"/>
                    </a:lnTo>
                    <a:lnTo>
                      <a:pt x="64" y="2603"/>
                    </a:lnTo>
                    <a:lnTo>
                      <a:pt x="53" y="2663"/>
                    </a:lnTo>
                    <a:lnTo>
                      <a:pt x="75" y="2691"/>
                    </a:lnTo>
                    <a:lnTo>
                      <a:pt x="64" y="2725"/>
                    </a:lnTo>
                    <a:lnTo>
                      <a:pt x="56" y="2736"/>
                    </a:lnTo>
                    <a:lnTo>
                      <a:pt x="46" y="2749"/>
                    </a:lnTo>
                    <a:lnTo>
                      <a:pt x="24" y="2780"/>
                    </a:lnTo>
                    <a:lnTo>
                      <a:pt x="14" y="2796"/>
                    </a:lnTo>
                    <a:lnTo>
                      <a:pt x="5" y="2812"/>
                    </a:lnTo>
                    <a:lnTo>
                      <a:pt x="3" y="2820"/>
                    </a:lnTo>
                    <a:lnTo>
                      <a:pt x="1" y="2828"/>
                    </a:lnTo>
                    <a:lnTo>
                      <a:pt x="0" y="2836"/>
                    </a:lnTo>
                    <a:lnTo>
                      <a:pt x="1" y="2844"/>
                    </a:lnTo>
                    <a:lnTo>
                      <a:pt x="46" y="2848"/>
                    </a:lnTo>
                    <a:lnTo>
                      <a:pt x="70" y="2850"/>
                    </a:lnTo>
                    <a:lnTo>
                      <a:pt x="94" y="2850"/>
                    </a:lnTo>
                    <a:lnTo>
                      <a:pt x="118" y="2850"/>
                    </a:lnTo>
                    <a:lnTo>
                      <a:pt x="141" y="2848"/>
                    </a:lnTo>
                    <a:lnTo>
                      <a:pt x="162" y="2844"/>
                    </a:lnTo>
                    <a:lnTo>
                      <a:pt x="181" y="2839"/>
                    </a:lnTo>
                    <a:lnTo>
                      <a:pt x="179" y="2826"/>
                    </a:lnTo>
                    <a:lnTo>
                      <a:pt x="178" y="2813"/>
                    </a:lnTo>
                    <a:lnTo>
                      <a:pt x="179" y="2812"/>
                    </a:lnTo>
                    <a:lnTo>
                      <a:pt x="202" y="2810"/>
                    </a:lnTo>
                    <a:lnTo>
                      <a:pt x="222" y="2807"/>
                    </a:lnTo>
                    <a:lnTo>
                      <a:pt x="230" y="2804"/>
                    </a:lnTo>
                    <a:lnTo>
                      <a:pt x="238" y="2800"/>
                    </a:lnTo>
                    <a:lnTo>
                      <a:pt x="246" y="2796"/>
                    </a:lnTo>
                    <a:lnTo>
                      <a:pt x="254" y="2789"/>
                    </a:lnTo>
                    <a:lnTo>
                      <a:pt x="243" y="2720"/>
                    </a:lnTo>
                    <a:lnTo>
                      <a:pt x="259" y="2701"/>
                    </a:lnTo>
                    <a:lnTo>
                      <a:pt x="262" y="2690"/>
                    </a:lnTo>
                    <a:lnTo>
                      <a:pt x="264" y="2679"/>
                    </a:lnTo>
                    <a:lnTo>
                      <a:pt x="264" y="2658"/>
                    </a:lnTo>
                    <a:lnTo>
                      <a:pt x="264" y="2637"/>
                    </a:lnTo>
                    <a:lnTo>
                      <a:pt x="264" y="2626"/>
                    </a:lnTo>
                    <a:lnTo>
                      <a:pt x="266" y="2616"/>
                    </a:lnTo>
                    <a:lnTo>
                      <a:pt x="283" y="2536"/>
                    </a:lnTo>
                    <a:lnTo>
                      <a:pt x="301" y="2454"/>
                    </a:lnTo>
                    <a:lnTo>
                      <a:pt x="318" y="2374"/>
                    </a:lnTo>
                    <a:lnTo>
                      <a:pt x="336" y="2299"/>
                    </a:lnTo>
                    <a:lnTo>
                      <a:pt x="367" y="2166"/>
                    </a:lnTo>
                    <a:lnTo>
                      <a:pt x="399" y="2099"/>
                    </a:lnTo>
                    <a:lnTo>
                      <a:pt x="413" y="2064"/>
                    </a:lnTo>
                    <a:lnTo>
                      <a:pt x="419" y="2045"/>
                    </a:lnTo>
                    <a:lnTo>
                      <a:pt x="426" y="2025"/>
                    </a:lnTo>
                    <a:lnTo>
                      <a:pt x="440" y="1905"/>
                    </a:lnTo>
                    <a:lnTo>
                      <a:pt x="455" y="1843"/>
                    </a:lnTo>
                    <a:lnTo>
                      <a:pt x="463" y="1809"/>
                    </a:lnTo>
                    <a:lnTo>
                      <a:pt x="472" y="1776"/>
                    </a:lnTo>
                    <a:lnTo>
                      <a:pt x="482" y="1742"/>
                    </a:lnTo>
                    <a:lnTo>
                      <a:pt x="493" y="1711"/>
                    </a:lnTo>
                    <a:lnTo>
                      <a:pt x="506" y="1684"/>
                    </a:lnTo>
                    <a:lnTo>
                      <a:pt x="514" y="1671"/>
                    </a:lnTo>
                    <a:lnTo>
                      <a:pt x="520" y="1662"/>
                    </a:lnTo>
                    <a:lnTo>
                      <a:pt x="523" y="1663"/>
                    </a:lnTo>
                    <a:lnTo>
                      <a:pt x="523" y="1691"/>
                    </a:lnTo>
                    <a:lnTo>
                      <a:pt x="522" y="1721"/>
                    </a:lnTo>
                    <a:lnTo>
                      <a:pt x="517" y="1750"/>
                    </a:lnTo>
                    <a:lnTo>
                      <a:pt x="512" y="1777"/>
                    </a:lnTo>
                    <a:lnTo>
                      <a:pt x="511" y="1792"/>
                    </a:lnTo>
                    <a:lnTo>
                      <a:pt x="511" y="1806"/>
                    </a:lnTo>
                    <a:lnTo>
                      <a:pt x="515" y="1833"/>
                    </a:lnTo>
                    <a:lnTo>
                      <a:pt x="519" y="1862"/>
                    </a:lnTo>
                    <a:lnTo>
                      <a:pt x="519" y="1878"/>
                    </a:lnTo>
                    <a:lnTo>
                      <a:pt x="517" y="1892"/>
                    </a:lnTo>
                    <a:lnTo>
                      <a:pt x="506" y="2051"/>
                    </a:lnTo>
                    <a:lnTo>
                      <a:pt x="506" y="2099"/>
                    </a:lnTo>
                    <a:lnTo>
                      <a:pt x="491" y="2150"/>
                    </a:lnTo>
                    <a:lnTo>
                      <a:pt x="487" y="2184"/>
                    </a:lnTo>
                    <a:lnTo>
                      <a:pt x="483" y="2217"/>
                    </a:lnTo>
                    <a:lnTo>
                      <a:pt x="479" y="2285"/>
                    </a:lnTo>
                    <a:lnTo>
                      <a:pt x="475" y="2318"/>
                    </a:lnTo>
                    <a:lnTo>
                      <a:pt x="472" y="2350"/>
                    </a:lnTo>
                    <a:lnTo>
                      <a:pt x="467" y="2382"/>
                    </a:lnTo>
                    <a:lnTo>
                      <a:pt x="461" y="2411"/>
                    </a:lnTo>
                    <a:lnTo>
                      <a:pt x="453" y="2442"/>
                    </a:lnTo>
                    <a:lnTo>
                      <a:pt x="448" y="2474"/>
                    </a:lnTo>
                    <a:lnTo>
                      <a:pt x="443" y="2507"/>
                    </a:lnTo>
                    <a:lnTo>
                      <a:pt x="440" y="2541"/>
                    </a:lnTo>
                    <a:lnTo>
                      <a:pt x="437" y="2610"/>
                    </a:lnTo>
                    <a:lnTo>
                      <a:pt x="431" y="2672"/>
                    </a:lnTo>
                    <a:lnTo>
                      <a:pt x="426" y="2693"/>
                    </a:lnTo>
                    <a:lnTo>
                      <a:pt x="419" y="2720"/>
                    </a:lnTo>
                    <a:lnTo>
                      <a:pt x="413" y="2746"/>
                    </a:lnTo>
                    <a:lnTo>
                      <a:pt x="413" y="2757"/>
                    </a:lnTo>
                    <a:lnTo>
                      <a:pt x="413" y="2765"/>
                    </a:lnTo>
                    <a:lnTo>
                      <a:pt x="416" y="2768"/>
                    </a:lnTo>
                    <a:lnTo>
                      <a:pt x="419" y="2773"/>
                    </a:lnTo>
                    <a:lnTo>
                      <a:pt x="427" y="2778"/>
                    </a:lnTo>
                    <a:lnTo>
                      <a:pt x="439" y="2781"/>
                    </a:lnTo>
                    <a:lnTo>
                      <a:pt x="451" y="2784"/>
                    </a:lnTo>
                    <a:lnTo>
                      <a:pt x="475" y="2788"/>
                    </a:lnTo>
                    <a:lnTo>
                      <a:pt x="488" y="2789"/>
                    </a:lnTo>
                    <a:lnTo>
                      <a:pt x="499" y="2791"/>
                    </a:lnTo>
                    <a:lnTo>
                      <a:pt x="496" y="2802"/>
                    </a:lnTo>
                    <a:lnTo>
                      <a:pt x="496" y="2813"/>
                    </a:lnTo>
                    <a:lnTo>
                      <a:pt x="504" y="2818"/>
                    </a:lnTo>
                    <a:lnTo>
                      <a:pt x="512" y="2823"/>
                    </a:lnTo>
                    <a:lnTo>
                      <a:pt x="531" y="2829"/>
                    </a:lnTo>
                    <a:lnTo>
                      <a:pt x="552" y="2834"/>
                    </a:lnTo>
                    <a:lnTo>
                      <a:pt x="576" y="2837"/>
                    </a:lnTo>
                    <a:lnTo>
                      <a:pt x="600" y="2837"/>
                    </a:lnTo>
                    <a:lnTo>
                      <a:pt x="624" y="2836"/>
                    </a:lnTo>
                    <a:lnTo>
                      <a:pt x="648" y="2834"/>
                    </a:lnTo>
                    <a:lnTo>
                      <a:pt x="671" y="2829"/>
                    </a:lnTo>
                    <a:lnTo>
                      <a:pt x="676" y="2820"/>
                    </a:lnTo>
                    <a:lnTo>
                      <a:pt x="674" y="2808"/>
                    </a:lnTo>
                    <a:lnTo>
                      <a:pt x="671" y="2799"/>
                    </a:lnTo>
                    <a:lnTo>
                      <a:pt x="663" y="2781"/>
                    </a:lnTo>
                    <a:lnTo>
                      <a:pt x="653" y="2765"/>
                    </a:lnTo>
                    <a:lnTo>
                      <a:pt x="644" y="2751"/>
                    </a:lnTo>
                    <a:lnTo>
                      <a:pt x="632" y="2738"/>
                    </a:lnTo>
                    <a:lnTo>
                      <a:pt x="624" y="2725"/>
                    </a:lnTo>
                    <a:lnTo>
                      <a:pt x="618" y="2711"/>
                    </a:lnTo>
                    <a:lnTo>
                      <a:pt x="615" y="2703"/>
                    </a:lnTo>
                    <a:lnTo>
                      <a:pt x="615" y="2696"/>
                    </a:lnTo>
                    <a:lnTo>
                      <a:pt x="624" y="2691"/>
                    </a:lnTo>
                    <a:lnTo>
                      <a:pt x="634" y="2688"/>
                    </a:lnTo>
                    <a:lnTo>
                      <a:pt x="629" y="2615"/>
                    </a:lnTo>
                    <a:lnTo>
                      <a:pt x="637" y="2573"/>
                    </a:lnTo>
                    <a:lnTo>
                      <a:pt x="647" y="2530"/>
                    </a:lnTo>
                    <a:lnTo>
                      <a:pt x="656" y="2488"/>
                    </a:lnTo>
                    <a:lnTo>
                      <a:pt x="666" y="2445"/>
                    </a:lnTo>
                    <a:lnTo>
                      <a:pt x="671" y="2413"/>
                    </a:lnTo>
                    <a:lnTo>
                      <a:pt x="674" y="2381"/>
                    </a:lnTo>
                    <a:lnTo>
                      <a:pt x="679" y="2317"/>
                    </a:lnTo>
                    <a:lnTo>
                      <a:pt x="680" y="2285"/>
                    </a:lnTo>
                    <a:lnTo>
                      <a:pt x="684" y="2253"/>
                    </a:lnTo>
                    <a:lnTo>
                      <a:pt x="688" y="2222"/>
                    </a:lnTo>
                    <a:lnTo>
                      <a:pt x="696" y="2192"/>
                    </a:lnTo>
                    <a:lnTo>
                      <a:pt x="762" y="2054"/>
                    </a:lnTo>
                    <a:lnTo>
                      <a:pt x="765" y="1998"/>
                    </a:lnTo>
                    <a:lnTo>
                      <a:pt x="793" y="1758"/>
                    </a:lnTo>
                    <a:lnTo>
                      <a:pt x="805" y="1700"/>
                    </a:lnTo>
                    <a:lnTo>
                      <a:pt x="818" y="1641"/>
                    </a:lnTo>
                    <a:lnTo>
                      <a:pt x="829" y="1580"/>
                    </a:lnTo>
                    <a:lnTo>
                      <a:pt x="842" y="1521"/>
                    </a:lnTo>
                    <a:lnTo>
                      <a:pt x="844" y="1447"/>
                    </a:lnTo>
                    <a:lnTo>
                      <a:pt x="845" y="1422"/>
                    </a:lnTo>
                    <a:lnTo>
                      <a:pt x="845" y="1396"/>
                    </a:lnTo>
                    <a:lnTo>
                      <a:pt x="844" y="1370"/>
                    </a:lnTo>
                    <a:lnTo>
                      <a:pt x="839" y="1348"/>
                    </a:lnTo>
                    <a:lnTo>
                      <a:pt x="841" y="1345"/>
                    </a:lnTo>
                    <a:lnTo>
                      <a:pt x="844" y="1346"/>
                    </a:lnTo>
                    <a:lnTo>
                      <a:pt x="861" y="1394"/>
                    </a:lnTo>
                    <a:lnTo>
                      <a:pt x="863" y="1406"/>
                    </a:lnTo>
                    <a:lnTo>
                      <a:pt x="863" y="1417"/>
                    </a:lnTo>
                    <a:lnTo>
                      <a:pt x="861" y="1426"/>
                    </a:lnTo>
                    <a:lnTo>
                      <a:pt x="858" y="1436"/>
                    </a:lnTo>
                    <a:lnTo>
                      <a:pt x="852" y="1454"/>
                    </a:lnTo>
                    <a:lnTo>
                      <a:pt x="850" y="1462"/>
                    </a:lnTo>
                    <a:lnTo>
                      <a:pt x="847" y="1471"/>
                    </a:lnTo>
                    <a:lnTo>
                      <a:pt x="847" y="1478"/>
                    </a:lnTo>
                    <a:lnTo>
                      <a:pt x="849" y="1482"/>
                    </a:lnTo>
                    <a:lnTo>
                      <a:pt x="850" y="1490"/>
                    </a:lnTo>
                    <a:lnTo>
                      <a:pt x="855" y="1499"/>
                    </a:lnTo>
                    <a:lnTo>
                      <a:pt x="857" y="1507"/>
                    </a:lnTo>
                    <a:lnTo>
                      <a:pt x="850" y="1545"/>
                    </a:lnTo>
                    <a:lnTo>
                      <a:pt x="858" y="1580"/>
                    </a:lnTo>
                    <a:lnTo>
                      <a:pt x="866" y="1583"/>
                    </a:lnTo>
                    <a:lnTo>
                      <a:pt x="871" y="1585"/>
                    </a:lnTo>
                    <a:lnTo>
                      <a:pt x="876" y="1585"/>
                    </a:lnTo>
                    <a:lnTo>
                      <a:pt x="871" y="1593"/>
                    </a:lnTo>
                    <a:lnTo>
                      <a:pt x="865" y="1601"/>
                    </a:lnTo>
                    <a:lnTo>
                      <a:pt x="847" y="1619"/>
                    </a:lnTo>
                    <a:lnTo>
                      <a:pt x="841" y="1627"/>
                    </a:lnTo>
                    <a:lnTo>
                      <a:pt x="836" y="1636"/>
                    </a:lnTo>
                    <a:lnTo>
                      <a:pt x="834" y="1641"/>
                    </a:lnTo>
                    <a:lnTo>
                      <a:pt x="836" y="1647"/>
                    </a:lnTo>
                    <a:lnTo>
                      <a:pt x="837" y="1652"/>
                    </a:lnTo>
                    <a:lnTo>
                      <a:pt x="841" y="1659"/>
                    </a:lnTo>
                    <a:lnTo>
                      <a:pt x="842" y="1659"/>
                    </a:lnTo>
                    <a:lnTo>
                      <a:pt x="858" y="1655"/>
                    </a:lnTo>
                    <a:lnTo>
                      <a:pt x="874" y="1652"/>
                    </a:lnTo>
                    <a:lnTo>
                      <a:pt x="889" y="1644"/>
                    </a:lnTo>
                    <a:lnTo>
                      <a:pt x="900" y="1636"/>
                    </a:lnTo>
                    <a:lnTo>
                      <a:pt x="911" y="1627"/>
                    </a:lnTo>
                    <a:lnTo>
                      <a:pt x="919" y="1614"/>
                    </a:lnTo>
                    <a:lnTo>
                      <a:pt x="927" y="1599"/>
                    </a:lnTo>
                    <a:lnTo>
                      <a:pt x="933" y="1585"/>
                    </a:lnTo>
                    <a:lnTo>
                      <a:pt x="938" y="1569"/>
                    </a:lnTo>
                    <a:lnTo>
                      <a:pt x="941" y="1551"/>
                    </a:lnTo>
                    <a:lnTo>
                      <a:pt x="943" y="1534"/>
                    </a:lnTo>
                    <a:lnTo>
                      <a:pt x="943" y="1516"/>
                    </a:lnTo>
                    <a:lnTo>
                      <a:pt x="943" y="1497"/>
                    </a:lnTo>
                    <a:lnTo>
                      <a:pt x="943" y="1479"/>
                    </a:lnTo>
                    <a:lnTo>
                      <a:pt x="937" y="1442"/>
                    </a:lnTo>
                    <a:close/>
                    <a:moveTo>
                      <a:pt x="310" y="1119"/>
                    </a:moveTo>
                    <a:lnTo>
                      <a:pt x="310" y="1119"/>
                    </a:lnTo>
                    <a:lnTo>
                      <a:pt x="290" y="1220"/>
                    </a:lnTo>
                    <a:lnTo>
                      <a:pt x="283" y="1237"/>
                    </a:lnTo>
                    <a:lnTo>
                      <a:pt x="274" y="1257"/>
                    </a:lnTo>
                    <a:lnTo>
                      <a:pt x="266" y="1274"/>
                    </a:lnTo>
                    <a:lnTo>
                      <a:pt x="259" y="1295"/>
                    </a:lnTo>
                    <a:lnTo>
                      <a:pt x="258" y="1310"/>
                    </a:lnTo>
                    <a:lnTo>
                      <a:pt x="256" y="1324"/>
                    </a:lnTo>
                    <a:lnTo>
                      <a:pt x="256" y="1348"/>
                    </a:lnTo>
                    <a:lnTo>
                      <a:pt x="254" y="1361"/>
                    </a:lnTo>
                    <a:lnTo>
                      <a:pt x="253" y="1372"/>
                    </a:lnTo>
                    <a:lnTo>
                      <a:pt x="248" y="1383"/>
                    </a:lnTo>
                    <a:lnTo>
                      <a:pt x="242" y="1396"/>
                    </a:lnTo>
                    <a:lnTo>
                      <a:pt x="245" y="1402"/>
                    </a:lnTo>
                    <a:lnTo>
                      <a:pt x="248" y="1406"/>
                    </a:lnTo>
                    <a:lnTo>
                      <a:pt x="253" y="1409"/>
                    </a:lnTo>
                    <a:lnTo>
                      <a:pt x="254" y="1415"/>
                    </a:lnTo>
                    <a:lnTo>
                      <a:pt x="250" y="1426"/>
                    </a:lnTo>
                    <a:lnTo>
                      <a:pt x="245" y="1423"/>
                    </a:lnTo>
                    <a:lnTo>
                      <a:pt x="240" y="1390"/>
                    </a:lnTo>
                    <a:lnTo>
                      <a:pt x="237" y="1356"/>
                    </a:lnTo>
                    <a:lnTo>
                      <a:pt x="235" y="1321"/>
                    </a:lnTo>
                    <a:lnTo>
                      <a:pt x="234" y="1286"/>
                    </a:lnTo>
                    <a:lnTo>
                      <a:pt x="235" y="1252"/>
                    </a:lnTo>
                    <a:lnTo>
                      <a:pt x="237" y="1217"/>
                    </a:lnTo>
                    <a:lnTo>
                      <a:pt x="243" y="1146"/>
                    </a:lnTo>
                    <a:lnTo>
                      <a:pt x="253" y="1079"/>
                    </a:lnTo>
                    <a:lnTo>
                      <a:pt x="266" y="1012"/>
                    </a:lnTo>
                    <a:lnTo>
                      <a:pt x="290" y="888"/>
                    </a:lnTo>
                    <a:lnTo>
                      <a:pt x="293" y="893"/>
                    </a:lnTo>
                    <a:lnTo>
                      <a:pt x="298" y="903"/>
                    </a:lnTo>
                    <a:lnTo>
                      <a:pt x="307" y="930"/>
                    </a:lnTo>
                    <a:lnTo>
                      <a:pt x="315" y="959"/>
                    </a:lnTo>
                    <a:lnTo>
                      <a:pt x="320" y="978"/>
                    </a:lnTo>
                    <a:lnTo>
                      <a:pt x="315" y="1015"/>
                    </a:lnTo>
                    <a:lnTo>
                      <a:pt x="326" y="1041"/>
                    </a:lnTo>
                    <a:lnTo>
                      <a:pt x="328" y="1052"/>
                    </a:lnTo>
                    <a:lnTo>
                      <a:pt x="326" y="1063"/>
                    </a:lnTo>
                    <a:lnTo>
                      <a:pt x="325" y="1074"/>
                    </a:lnTo>
                    <a:lnTo>
                      <a:pt x="323" y="1084"/>
                    </a:lnTo>
                    <a:lnTo>
                      <a:pt x="317" y="1103"/>
                    </a:lnTo>
                    <a:lnTo>
                      <a:pt x="310" y="1119"/>
                    </a:lnTo>
                    <a:close/>
                  </a:path>
                </a:pathLst>
              </a:custGeom>
              <a:solidFill>
                <a:schemeClr val="tx1">
                  <a:lumMod val="75000"/>
                  <a:lumOff val="25000"/>
                </a:schemeClr>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sp>
          <p:nvSpPr>
            <p:cNvPr id="30" name="Ellipse 4"/>
            <p:cNvSpPr/>
            <p:nvPr/>
          </p:nvSpPr>
          <p:spPr>
            <a:xfrm>
              <a:off x="3955139" y="4156053"/>
              <a:ext cx="1186156" cy="329653"/>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25"/>
            <p:cNvSpPr>
              <a:spLocks noEditPoints="1"/>
            </p:cNvSpPr>
            <p:nvPr>
              <p:custDataLst>
                <p:tags r:id="rId4"/>
              </p:custDataLst>
            </p:nvPr>
          </p:nvSpPr>
          <p:spPr bwMode="auto">
            <a:xfrm>
              <a:off x="4267023" y="2571877"/>
              <a:ext cx="540104" cy="1759694"/>
            </a:xfrm>
            <a:custGeom>
              <a:avLst/>
              <a:gdLst/>
              <a:ahLst/>
              <a:cxnLst>
                <a:cxn ang="0">
                  <a:pos x="267" y="1065"/>
                </a:cxn>
                <a:cxn ang="0">
                  <a:pos x="262" y="1226"/>
                </a:cxn>
                <a:cxn ang="0">
                  <a:pos x="272" y="1322"/>
                </a:cxn>
                <a:cxn ang="0">
                  <a:pos x="287" y="1437"/>
                </a:cxn>
                <a:cxn ang="0">
                  <a:pos x="295" y="1219"/>
                </a:cxn>
                <a:cxn ang="0">
                  <a:pos x="292" y="5"/>
                </a:cxn>
                <a:cxn ang="0">
                  <a:pos x="353" y="91"/>
                </a:cxn>
                <a:cxn ang="0">
                  <a:pos x="352" y="154"/>
                </a:cxn>
                <a:cxn ang="0">
                  <a:pos x="330" y="188"/>
                </a:cxn>
                <a:cxn ang="0">
                  <a:pos x="327" y="247"/>
                </a:cxn>
                <a:cxn ang="0">
                  <a:pos x="368" y="289"/>
                </a:cxn>
                <a:cxn ang="0">
                  <a:pos x="468" y="321"/>
                </a:cxn>
                <a:cxn ang="0">
                  <a:pos x="482" y="366"/>
                </a:cxn>
                <a:cxn ang="0">
                  <a:pos x="499" y="495"/>
                </a:cxn>
                <a:cxn ang="0">
                  <a:pos x="514" y="635"/>
                </a:cxn>
                <a:cxn ang="0">
                  <a:pos x="525" y="807"/>
                </a:cxn>
                <a:cxn ang="0">
                  <a:pos x="513" y="916"/>
                </a:cxn>
                <a:cxn ang="0">
                  <a:pos x="490" y="965"/>
                </a:cxn>
                <a:cxn ang="0">
                  <a:pos x="444" y="962"/>
                </a:cxn>
                <a:cxn ang="0">
                  <a:pos x="454" y="870"/>
                </a:cxn>
                <a:cxn ang="0">
                  <a:pos x="428" y="606"/>
                </a:cxn>
                <a:cxn ang="0">
                  <a:pos x="418" y="572"/>
                </a:cxn>
                <a:cxn ang="0">
                  <a:pos x="407" y="636"/>
                </a:cxn>
                <a:cxn ang="0">
                  <a:pos x="430" y="775"/>
                </a:cxn>
                <a:cxn ang="0">
                  <a:pos x="428" y="922"/>
                </a:cxn>
                <a:cxn ang="0">
                  <a:pos x="418" y="1017"/>
                </a:cxn>
                <a:cxn ang="0">
                  <a:pos x="407" y="1440"/>
                </a:cxn>
                <a:cxn ang="0">
                  <a:pos x="391" y="1600"/>
                </a:cxn>
                <a:cxn ang="0">
                  <a:pos x="398" y="1667"/>
                </a:cxn>
                <a:cxn ang="0">
                  <a:pos x="410" y="1709"/>
                </a:cxn>
                <a:cxn ang="0">
                  <a:pos x="310" y="1703"/>
                </a:cxn>
                <a:cxn ang="0">
                  <a:pos x="301" y="1680"/>
                </a:cxn>
                <a:cxn ang="0">
                  <a:pos x="242" y="1652"/>
                </a:cxn>
                <a:cxn ang="0">
                  <a:pos x="127" y="1664"/>
                </a:cxn>
                <a:cxn ang="0">
                  <a:pos x="119" y="1652"/>
                </a:cxn>
                <a:cxn ang="0">
                  <a:pos x="139" y="1632"/>
                </a:cxn>
                <a:cxn ang="0">
                  <a:pos x="198" y="1584"/>
                </a:cxn>
                <a:cxn ang="0">
                  <a:pos x="176" y="1391"/>
                </a:cxn>
                <a:cxn ang="0">
                  <a:pos x="167" y="1311"/>
                </a:cxn>
                <a:cxn ang="0">
                  <a:pos x="152" y="1185"/>
                </a:cxn>
                <a:cxn ang="0">
                  <a:pos x="122" y="999"/>
                </a:cxn>
                <a:cxn ang="0">
                  <a:pos x="99" y="950"/>
                </a:cxn>
                <a:cxn ang="0">
                  <a:pos x="103" y="758"/>
                </a:cxn>
                <a:cxn ang="0">
                  <a:pos x="84" y="799"/>
                </a:cxn>
                <a:cxn ang="0">
                  <a:pos x="66" y="874"/>
                </a:cxn>
                <a:cxn ang="0">
                  <a:pos x="56" y="944"/>
                </a:cxn>
                <a:cxn ang="0">
                  <a:pos x="67" y="962"/>
                </a:cxn>
                <a:cxn ang="0">
                  <a:pos x="12" y="888"/>
                </a:cxn>
                <a:cxn ang="0">
                  <a:pos x="4" y="839"/>
                </a:cxn>
                <a:cxn ang="0">
                  <a:pos x="23" y="704"/>
                </a:cxn>
                <a:cxn ang="0">
                  <a:pos x="36" y="582"/>
                </a:cxn>
                <a:cxn ang="0">
                  <a:pos x="52" y="464"/>
                </a:cxn>
                <a:cxn ang="0">
                  <a:pos x="61" y="343"/>
                </a:cxn>
                <a:cxn ang="0">
                  <a:pos x="98" y="326"/>
                </a:cxn>
                <a:cxn ang="0">
                  <a:pos x="179" y="289"/>
                </a:cxn>
                <a:cxn ang="0">
                  <a:pos x="213" y="251"/>
                </a:cxn>
                <a:cxn ang="0">
                  <a:pos x="198" y="181"/>
                </a:cxn>
                <a:cxn ang="0">
                  <a:pos x="181" y="132"/>
                </a:cxn>
                <a:cxn ang="0">
                  <a:pos x="181" y="63"/>
                </a:cxn>
                <a:cxn ang="0">
                  <a:pos x="262" y="0"/>
                </a:cxn>
              </a:cxnLst>
              <a:rect l="0" t="0" r="r" b="b"/>
              <a:pathLst>
                <a:path w="527" h="1717">
                  <a:moveTo>
                    <a:pt x="272" y="1011"/>
                  </a:moveTo>
                  <a:lnTo>
                    <a:pt x="270" y="1014"/>
                  </a:lnTo>
                  <a:lnTo>
                    <a:pt x="267" y="1019"/>
                  </a:lnTo>
                  <a:lnTo>
                    <a:pt x="265" y="1028"/>
                  </a:lnTo>
                  <a:lnTo>
                    <a:pt x="265" y="1044"/>
                  </a:lnTo>
                  <a:lnTo>
                    <a:pt x="267" y="1065"/>
                  </a:lnTo>
                  <a:lnTo>
                    <a:pt x="270" y="1094"/>
                  </a:lnTo>
                  <a:lnTo>
                    <a:pt x="273" y="1133"/>
                  </a:lnTo>
                  <a:lnTo>
                    <a:pt x="273" y="1165"/>
                  </a:lnTo>
                  <a:lnTo>
                    <a:pt x="270" y="1193"/>
                  </a:lnTo>
                  <a:lnTo>
                    <a:pt x="265" y="1213"/>
                  </a:lnTo>
                  <a:lnTo>
                    <a:pt x="262" y="1226"/>
                  </a:lnTo>
                  <a:lnTo>
                    <a:pt x="259" y="1234"/>
                  </a:lnTo>
                  <a:lnTo>
                    <a:pt x="259" y="1239"/>
                  </a:lnTo>
                  <a:lnTo>
                    <a:pt x="262" y="1251"/>
                  </a:lnTo>
                  <a:lnTo>
                    <a:pt x="265" y="1269"/>
                  </a:lnTo>
                  <a:lnTo>
                    <a:pt x="269" y="1292"/>
                  </a:lnTo>
                  <a:lnTo>
                    <a:pt x="272" y="1322"/>
                  </a:lnTo>
                  <a:lnTo>
                    <a:pt x="272" y="1355"/>
                  </a:lnTo>
                  <a:lnTo>
                    <a:pt x="270" y="1394"/>
                  </a:lnTo>
                  <a:lnTo>
                    <a:pt x="275" y="1403"/>
                  </a:lnTo>
                  <a:lnTo>
                    <a:pt x="279" y="1414"/>
                  </a:lnTo>
                  <a:lnTo>
                    <a:pt x="284" y="1426"/>
                  </a:lnTo>
                  <a:lnTo>
                    <a:pt x="287" y="1437"/>
                  </a:lnTo>
                  <a:lnTo>
                    <a:pt x="288" y="1448"/>
                  </a:lnTo>
                  <a:lnTo>
                    <a:pt x="288" y="1431"/>
                  </a:lnTo>
                  <a:lnTo>
                    <a:pt x="290" y="1405"/>
                  </a:lnTo>
                  <a:lnTo>
                    <a:pt x="292" y="1372"/>
                  </a:lnTo>
                  <a:lnTo>
                    <a:pt x="295" y="1296"/>
                  </a:lnTo>
                  <a:lnTo>
                    <a:pt x="295" y="1219"/>
                  </a:lnTo>
                  <a:lnTo>
                    <a:pt x="293" y="1185"/>
                  </a:lnTo>
                  <a:lnTo>
                    <a:pt x="292" y="1160"/>
                  </a:lnTo>
                  <a:lnTo>
                    <a:pt x="272" y="1011"/>
                  </a:lnTo>
                  <a:close/>
                  <a:moveTo>
                    <a:pt x="262" y="0"/>
                  </a:moveTo>
                  <a:lnTo>
                    <a:pt x="281" y="0"/>
                  </a:lnTo>
                  <a:lnTo>
                    <a:pt x="292" y="5"/>
                  </a:lnTo>
                  <a:lnTo>
                    <a:pt x="305" y="12"/>
                  </a:lnTo>
                  <a:lnTo>
                    <a:pt x="321" y="23"/>
                  </a:lnTo>
                  <a:lnTo>
                    <a:pt x="335" y="37"/>
                  </a:lnTo>
                  <a:lnTo>
                    <a:pt x="345" y="54"/>
                  </a:lnTo>
                  <a:lnTo>
                    <a:pt x="352" y="72"/>
                  </a:lnTo>
                  <a:lnTo>
                    <a:pt x="353" y="91"/>
                  </a:lnTo>
                  <a:lnTo>
                    <a:pt x="353" y="106"/>
                  </a:lnTo>
                  <a:lnTo>
                    <a:pt x="350" y="118"/>
                  </a:lnTo>
                  <a:lnTo>
                    <a:pt x="348" y="128"/>
                  </a:lnTo>
                  <a:lnTo>
                    <a:pt x="347" y="131"/>
                  </a:lnTo>
                  <a:lnTo>
                    <a:pt x="352" y="137"/>
                  </a:lnTo>
                  <a:lnTo>
                    <a:pt x="352" y="154"/>
                  </a:lnTo>
                  <a:lnTo>
                    <a:pt x="348" y="166"/>
                  </a:lnTo>
                  <a:lnTo>
                    <a:pt x="344" y="174"/>
                  </a:lnTo>
                  <a:lnTo>
                    <a:pt x="339" y="178"/>
                  </a:lnTo>
                  <a:lnTo>
                    <a:pt x="336" y="180"/>
                  </a:lnTo>
                  <a:lnTo>
                    <a:pt x="332" y="180"/>
                  </a:lnTo>
                  <a:lnTo>
                    <a:pt x="330" y="188"/>
                  </a:lnTo>
                  <a:lnTo>
                    <a:pt x="327" y="197"/>
                  </a:lnTo>
                  <a:lnTo>
                    <a:pt x="322" y="204"/>
                  </a:lnTo>
                  <a:lnTo>
                    <a:pt x="321" y="207"/>
                  </a:lnTo>
                  <a:lnTo>
                    <a:pt x="321" y="238"/>
                  </a:lnTo>
                  <a:lnTo>
                    <a:pt x="322" y="241"/>
                  </a:lnTo>
                  <a:lnTo>
                    <a:pt x="327" y="247"/>
                  </a:lnTo>
                  <a:lnTo>
                    <a:pt x="335" y="255"/>
                  </a:lnTo>
                  <a:lnTo>
                    <a:pt x="342" y="266"/>
                  </a:lnTo>
                  <a:lnTo>
                    <a:pt x="350" y="275"/>
                  </a:lnTo>
                  <a:lnTo>
                    <a:pt x="358" y="281"/>
                  </a:lnTo>
                  <a:lnTo>
                    <a:pt x="362" y="286"/>
                  </a:lnTo>
                  <a:lnTo>
                    <a:pt x="368" y="289"/>
                  </a:lnTo>
                  <a:lnTo>
                    <a:pt x="382" y="292"/>
                  </a:lnTo>
                  <a:lnTo>
                    <a:pt x="399" y="298"/>
                  </a:lnTo>
                  <a:lnTo>
                    <a:pt x="436" y="310"/>
                  </a:lnTo>
                  <a:lnTo>
                    <a:pt x="453" y="317"/>
                  </a:lnTo>
                  <a:lnTo>
                    <a:pt x="464" y="320"/>
                  </a:lnTo>
                  <a:lnTo>
                    <a:pt x="468" y="321"/>
                  </a:lnTo>
                  <a:lnTo>
                    <a:pt x="476" y="324"/>
                  </a:lnTo>
                  <a:lnTo>
                    <a:pt x="481" y="330"/>
                  </a:lnTo>
                  <a:lnTo>
                    <a:pt x="482" y="341"/>
                  </a:lnTo>
                  <a:lnTo>
                    <a:pt x="484" y="350"/>
                  </a:lnTo>
                  <a:lnTo>
                    <a:pt x="482" y="358"/>
                  </a:lnTo>
                  <a:lnTo>
                    <a:pt x="482" y="366"/>
                  </a:lnTo>
                  <a:lnTo>
                    <a:pt x="484" y="377"/>
                  </a:lnTo>
                  <a:lnTo>
                    <a:pt x="485" y="392"/>
                  </a:lnTo>
                  <a:lnTo>
                    <a:pt x="490" y="452"/>
                  </a:lnTo>
                  <a:lnTo>
                    <a:pt x="493" y="467"/>
                  </a:lnTo>
                  <a:lnTo>
                    <a:pt x="496" y="480"/>
                  </a:lnTo>
                  <a:lnTo>
                    <a:pt x="499" y="495"/>
                  </a:lnTo>
                  <a:lnTo>
                    <a:pt x="499" y="516"/>
                  </a:lnTo>
                  <a:lnTo>
                    <a:pt x="501" y="539"/>
                  </a:lnTo>
                  <a:lnTo>
                    <a:pt x="502" y="566"/>
                  </a:lnTo>
                  <a:lnTo>
                    <a:pt x="505" y="593"/>
                  </a:lnTo>
                  <a:lnTo>
                    <a:pt x="511" y="618"/>
                  </a:lnTo>
                  <a:lnTo>
                    <a:pt x="514" y="635"/>
                  </a:lnTo>
                  <a:lnTo>
                    <a:pt x="517" y="658"/>
                  </a:lnTo>
                  <a:lnTo>
                    <a:pt x="521" y="685"/>
                  </a:lnTo>
                  <a:lnTo>
                    <a:pt x="522" y="715"/>
                  </a:lnTo>
                  <a:lnTo>
                    <a:pt x="524" y="747"/>
                  </a:lnTo>
                  <a:lnTo>
                    <a:pt x="525" y="778"/>
                  </a:lnTo>
                  <a:lnTo>
                    <a:pt x="525" y="807"/>
                  </a:lnTo>
                  <a:lnTo>
                    <a:pt x="527" y="833"/>
                  </a:lnTo>
                  <a:lnTo>
                    <a:pt x="527" y="871"/>
                  </a:lnTo>
                  <a:lnTo>
                    <a:pt x="519" y="871"/>
                  </a:lnTo>
                  <a:lnTo>
                    <a:pt x="517" y="884"/>
                  </a:lnTo>
                  <a:lnTo>
                    <a:pt x="514" y="882"/>
                  </a:lnTo>
                  <a:lnTo>
                    <a:pt x="513" y="916"/>
                  </a:lnTo>
                  <a:lnTo>
                    <a:pt x="507" y="922"/>
                  </a:lnTo>
                  <a:lnTo>
                    <a:pt x="502" y="931"/>
                  </a:lnTo>
                  <a:lnTo>
                    <a:pt x="498" y="944"/>
                  </a:lnTo>
                  <a:lnTo>
                    <a:pt x="493" y="954"/>
                  </a:lnTo>
                  <a:lnTo>
                    <a:pt x="491" y="962"/>
                  </a:lnTo>
                  <a:lnTo>
                    <a:pt x="490" y="965"/>
                  </a:lnTo>
                  <a:lnTo>
                    <a:pt x="482" y="968"/>
                  </a:lnTo>
                  <a:lnTo>
                    <a:pt x="470" y="970"/>
                  </a:lnTo>
                  <a:lnTo>
                    <a:pt x="458" y="970"/>
                  </a:lnTo>
                  <a:lnTo>
                    <a:pt x="448" y="967"/>
                  </a:lnTo>
                  <a:lnTo>
                    <a:pt x="445" y="965"/>
                  </a:lnTo>
                  <a:lnTo>
                    <a:pt x="444" y="962"/>
                  </a:lnTo>
                  <a:lnTo>
                    <a:pt x="444" y="961"/>
                  </a:lnTo>
                  <a:lnTo>
                    <a:pt x="445" y="957"/>
                  </a:lnTo>
                  <a:lnTo>
                    <a:pt x="445" y="956"/>
                  </a:lnTo>
                  <a:lnTo>
                    <a:pt x="447" y="954"/>
                  </a:lnTo>
                  <a:lnTo>
                    <a:pt x="448" y="887"/>
                  </a:lnTo>
                  <a:lnTo>
                    <a:pt x="454" y="870"/>
                  </a:lnTo>
                  <a:lnTo>
                    <a:pt x="451" y="865"/>
                  </a:lnTo>
                  <a:lnTo>
                    <a:pt x="442" y="861"/>
                  </a:lnTo>
                  <a:lnTo>
                    <a:pt x="444" y="719"/>
                  </a:lnTo>
                  <a:lnTo>
                    <a:pt x="441" y="699"/>
                  </a:lnTo>
                  <a:lnTo>
                    <a:pt x="431" y="626"/>
                  </a:lnTo>
                  <a:lnTo>
                    <a:pt x="428" y="606"/>
                  </a:lnTo>
                  <a:lnTo>
                    <a:pt x="427" y="592"/>
                  </a:lnTo>
                  <a:lnTo>
                    <a:pt x="427" y="581"/>
                  </a:lnTo>
                  <a:lnTo>
                    <a:pt x="424" y="575"/>
                  </a:lnTo>
                  <a:lnTo>
                    <a:pt x="422" y="573"/>
                  </a:lnTo>
                  <a:lnTo>
                    <a:pt x="419" y="572"/>
                  </a:lnTo>
                  <a:lnTo>
                    <a:pt x="418" y="572"/>
                  </a:lnTo>
                  <a:lnTo>
                    <a:pt x="416" y="573"/>
                  </a:lnTo>
                  <a:lnTo>
                    <a:pt x="415" y="573"/>
                  </a:lnTo>
                  <a:lnTo>
                    <a:pt x="411" y="584"/>
                  </a:lnTo>
                  <a:lnTo>
                    <a:pt x="408" y="601"/>
                  </a:lnTo>
                  <a:lnTo>
                    <a:pt x="408" y="618"/>
                  </a:lnTo>
                  <a:lnTo>
                    <a:pt x="407" y="636"/>
                  </a:lnTo>
                  <a:lnTo>
                    <a:pt x="407" y="667"/>
                  </a:lnTo>
                  <a:lnTo>
                    <a:pt x="408" y="682"/>
                  </a:lnTo>
                  <a:lnTo>
                    <a:pt x="422" y="742"/>
                  </a:lnTo>
                  <a:lnTo>
                    <a:pt x="425" y="759"/>
                  </a:lnTo>
                  <a:lnTo>
                    <a:pt x="428" y="770"/>
                  </a:lnTo>
                  <a:lnTo>
                    <a:pt x="430" y="775"/>
                  </a:lnTo>
                  <a:lnTo>
                    <a:pt x="419" y="778"/>
                  </a:lnTo>
                  <a:lnTo>
                    <a:pt x="421" y="784"/>
                  </a:lnTo>
                  <a:lnTo>
                    <a:pt x="421" y="799"/>
                  </a:lnTo>
                  <a:lnTo>
                    <a:pt x="422" y="819"/>
                  </a:lnTo>
                  <a:lnTo>
                    <a:pt x="427" y="898"/>
                  </a:lnTo>
                  <a:lnTo>
                    <a:pt x="428" y="922"/>
                  </a:lnTo>
                  <a:lnTo>
                    <a:pt x="428" y="942"/>
                  </a:lnTo>
                  <a:lnTo>
                    <a:pt x="430" y="956"/>
                  </a:lnTo>
                  <a:lnTo>
                    <a:pt x="430" y="961"/>
                  </a:lnTo>
                  <a:lnTo>
                    <a:pt x="424" y="967"/>
                  </a:lnTo>
                  <a:lnTo>
                    <a:pt x="418" y="971"/>
                  </a:lnTo>
                  <a:lnTo>
                    <a:pt x="418" y="1017"/>
                  </a:lnTo>
                  <a:lnTo>
                    <a:pt x="416" y="1048"/>
                  </a:lnTo>
                  <a:lnTo>
                    <a:pt x="416" y="1309"/>
                  </a:lnTo>
                  <a:lnTo>
                    <a:pt x="415" y="1337"/>
                  </a:lnTo>
                  <a:lnTo>
                    <a:pt x="413" y="1369"/>
                  </a:lnTo>
                  <a:lnTo>
                    <a:pt x="410" y="1403"/>
                  </a:lnTo>
                  <a:lnTo>
                    <a:pt x="407" y="1440"/>
                  </a:lnTo>
                  <a:lnTo>
                    <a:pt x="404" y="1475"/>
                  </a:lnTo>
                  <a:lnTo>
                    <a:pt x="401" y="1509"/>
                  </a:lnTo>
                  <a:lnTo>
                    <a:pt x="398" y="1540"/>
                  </a:lnTo>
                  <a:lnTo>
                    <a:pt x="396" y="1566"/>
                  </a:lnTo>
                  <a:lnTo>
                    <a:pt x="393" y="1586"/>
                  </a:lnTo>
                  <a:lnTo>
                    <a:pt x="391" y="1600"/>
                  </a:lnTo>
                  <a:lnTo>
                    <a:pt x="391" y="1604"/>
                  </a:lnTo>
                  <a:lnTo>
                    <a:pt x="370" y="1608"/>
                  </a:lnTo>
                  <a:lnTo>
                    <a:pt x="373" y="1624"/>
                  </a:lnTo>
                  <a:lnTo>
                    <a:pt x="381" y="1640"/>
                  </a:lnTo>
                  <a:lnTo>
                    <a:pt x="390" y="1655"/>
                  </a:lnTo>
                  <a:lnTo>
                    <a:pt x="398" y="1667"/>
                  </a:lnTo>
                  <a:lnTo>
                    <a:pt x="404" y="1675"/>
                  </a:lnTo>
                  <a:lnTo>
                    <a:pt x="405" y="1678"/>
                  </a:lnTo>
                  <a:lnTo>
                    <a:pt x="411" y="1692"/>
                  </a:lnTo>
                  <a:lnTo>
                    <a:pt x="413" y="1701"/>
                  </a:lnTo>
                  <a:lnTo>
                    <a:pt x="411" y="1707"/>
                  </a:lnTo>
                  <a:lnTo>
                    <a:pt x="410" y="1709"/>
                  </a:lnTo>
                  <a:lnTo>
                    <a:pt x="391" y="1715"/>
                  </a:lnTo>
                  <a:lnTo>
                    <a:pt x="371" y="1717"/>
                  </a:lnTo>
                  <a:lnTo>
                    <a:pt x="353" y="1715"/>
                  </a:lnTo>
                  <a:lnTo>
                    <a:pt x="336" y="1712"/>
                  </a:lnTo>
                  <a:lnTo>
                    <a:pt x="313" y="1704"/>
                  </a:lnTo>
                  <a:lnTo>
                    <a:pt x="310" y="1703"/>
                  </a:lnTo>
                  <a:lnTo>
                    <a:pt x="307" y="1700"/>
                  </a:lnTo>
                  <a:lnTo>
                    <a:pt x="307" y="1694"/>
                  </a:lnTo>
                  <a:lnTo>
                    <a:pt x="308" y="1686"/>
                  </a:lnTo>
                  <a:lnTo>
                    <a:pt x="312" y="1680"/>
                  </a:lnTo>
                  <a:lnTo>
                    <a:pt x="313" y="1678"/>
                  </a:lnTo>
                  <a:lnTo>
                    <a:pt x="301" y="1680"/>
                  </a:lnTo>
                  <a:lnTo>
                    <a:pt x="292" y="1669"/>
                  </a:lnTo>
                  <a:lnTo>
                    <a:pt x="292" y="1646"/>
                  </a:lnTo>
                  <a:lnTo>
                    <a:pt x="264" y="1649"/>
                  </a:lnTo>
                  <a:lnTo>
                    <a:pt x="265" y="1638"/>
                  </a:lnTo>
                  <a:lnTo>
                    <a:pt x="261" y="1640"/>
                  </a:lnTo>
                  <a:lnTo>
                    <a:pt x="242" y="1652"/>
                  </a:lnTo>
                  <a:lnTo>
                    <a:pt x="235" y="1658"/>
                  </a:lnTo>
                  <a:lnTo>
                    <a:pt x="232" y="1660"/>
                  </a:lnTo>
                  <a:lnTo>
                    <a:pt x="218" y="1663"/>
                  </a:lnTo>
                  <a:lnTo>
                    <a:pt x="198" y="1666"/>
                  </a:lnTo>
                  <a:lnTo>
                    <a:pt x="139" y="1666"/>
                  </a:lnTo>
                  <a:lnTo>
                    <a:pt x="127" y="1664"/>
                  </a:lnTo>
                  <a:lnTo>
                    <a:pt x="122" y="1664"/>
                  </a:lnTo>
                  <a:lnTo>
                    <a:pt x="118" y="1661"/>
                  </a:lnTo>
                  <a:lnTo>
                    <a:pt x="115" y="1660"/>
                  </a:lnTo>
                  <a:lnTo>
                    <a:pt x="115" y="1655"/>
                  </a:lnTo>
                  <a:lnTo>
                    <a:pt x="118" y="1652"/>
                  </a:lnTo>
                  <a:lnTo>
                    <a:pt x="119" y="1652"/>
                  </a:lnTo>
                  <a:lnTo>
                    <a:pt x="121" y="1651"/>
                  </a:lnTo>
                  <a:lnTo>
                    <a:pt x="121" y="1641"/>
                  </a:lnTo>
                  <a:lnTo>
                    <a:pt x="122" y="1638"/>
                  </a:lnTo>
                  <a:lnTo>
                    <a:pt x="126" y="1635"/>
                  </a:lnTo>
                  <a:lnTo>
                    <a:pt x="132" y="1632"/>
                  </a:lnTo>
                  <a:lnTo>
                    <a:pt x="139" y="1632"/>
                  </a:lnTo>
                  <a:lnTo>
                    <a:pt x="155" y="1626"/>
                  </a:lnTo>
                  <a:lnTo>
                    <a:pt x="170" y="1618"/>
                  </a:lnTo>
                  <a:lnTo>
                    <a:pt x="182" y="1609"/>
                  </a:lnTo>
                  <a:lnTo>
                    <a:pt x="192" y="1601"/>
                  </a:lnTo>
                  <a:lnTo>
                    <a:pt x="201" y="1592"/>
                  </a:lnTo>
                  <a:lnTo>
                    <a:pt x="198" y="1584"/>
                  </a:lnTo>
                  <a:lnTo>
                    <a:pt x="195" y="1568"/>
                  </a:lnTo>
                  <a:lnTo>
                    <a:pt x="192" y="1545"/>
                  </a:lnTo>
                  <a:lnTo>
                    <a:pt x="189" y="1517"/>
                  </a:lnTo>
                  <a:lnTo>
                    <a:pt x="186" y="1486"/>
                  </a:lnTo>
                  <a:lnTo>
                    <a:pt x="179" y="1422"/>
                  </a:lnTo>
                  <a:lnTo>
                    <a:pt x="176" y="1391"/>
                  </a:lnTo>
                  <a:lnTo>
                    <a:pt x="175" y="1365"/>
                  </a:lnTo>
                  <a:lnTo>
                    <a:pt x="173" y="1343"/>
                  </a:lnTo>
                  <a:lnTo>
                    <a:pt x="172" y="1329"/>
                  </a:lnTo>
                  <a:lnTo>
                    <a:pt x="172" y="1325"/>
                  </a:lnTo>
                  <a:lnTo>
                    <a:pt x="170" y="1322"/>
                  </a:lnTo>
                  <a:lnTo>
                    <a:pt x="167" y="1311"/>
                  </a:lnTo>
                  <a:lnTo>
                    <a:pt x="162" y="1269"/>
                  </a:lnTo>
                  <a:lnTo>
                    <a:pt x="161" y="1259"/>
                  </a:lnTo>
                  <a:lnTo>
                    <a:pt x="161" y="1256"/>
                  </a:lnTo>
                  <a:lnTo>
                    <a:pt x="156" y="1203"/>
                  </a:lnTo>
                  <a:lnTo>
                    <a:pt x="155" y="1199"/>
                  </a:lnTo>
                  <a:lnTo>
                    <a:pt x="152" y="1185"/>
                  </a:lnTo>
                  <a:lnTo>
                    <a:pt x="147" y="1165"/>
                  </a:lnTo>
                  <a:lnTo>
                    <a:pt x="144" y="1140"/>
                  </a:lnTo>
                  <a:lnTo>
                    <a:pt x="135" y="1082"/>
                  </a:lnTo>
                  <a:lnTo>
                    <a:pt x="130" y="1051"/>
                  </a:lnTo>
                  <a:lnTo>
                    <a:pt x="127" y="1024"/>
                  </a:lnTo>
                  <a:lnTo>
                    <a:pt x="122" y="999"/>
                  </a:lnTo>
                  <a:lnTo>
                    <a:pt x="121" y="979"/>
                  </a:lnTo>
                  <a:lnTo>
                    <a:pt x="118" y="965"/>
                  </a:lnTo>
                  <a:lnTo>
                    <a:pt x="118" y="961"/>
                  </a:lnTo>
                  <a:lnTo>
                    <a:pt x="115" y="959"/>
                  </a:lnTo>
                  <a:lnTo>
                    <a:pt x="101" y="959"/>
                  </a:lnTo>
                  <a:lnTo>
                    <a:pt x="99" y="950"/>
                  </a:lnTo>
                  <a:lnTo>
                    <a:pt x="98" y="933"/>
                  </a:lnTo>
                  <a:lnTo>
                    <a:pt x="98" y="881"/>
                  </a:lnTo>
                  <a:lnTo>
                    <a:pt x="99" y="848"/>
                  </a:lnTo>
                  <a:lnTo>
                    <a:pt x="99" y="816"/>
                  </a:lnTo>
                  <a:lnTo>
                    <a:pt x="101" y="785"/>
                  </a:lnTo>
                  <a:lnTo>
                    <a:pt x="103" y="758"/>
                  </a:lnTo>
                  <a:lnTo>
                    <a:pt x="103" y="735"/>
                  </a:lnTo>
                  <a:lnTo>
                    <a:pt x="104" y="721"/>
                  </a:lnTo>
                  <a:lnTo>
                    <a:pt x="104" y="715"/>
                  </a:lnTo>
                  <a:lnTo>
                    <a:pt x="96" y="742"/>
                  </a:lnTo>
                  <a:lnTo>
                    <a:pt x="89" y="772"/>
                  </a:lnTo>
                  <a:lnTo>
                    <a:pt x="84" y="799"/>
                  </a:lnTo>
                  <a:lnTo>
                    <a:pt x="79" y="824"/>
                  </a:lnTo>
                  <a:lnTo>
                    <a:pt x="76" y="844"/>
                  </a:lnTo>
                  <a:lnTo>
                    <a:pt x="75" y="858"/>
                  </a:lnTo>
                  <a:lnTo>
                    <a:pt x="75" y="862"/>
                  </a:lnTo>
                  <a:lnTo>
                    <a:pt x="67" y="864"/>
                  </a:lnTo>
                  <a:lnTo>
                    <a:pt x="66" y="874"/>
                  </a:lnTo>
                  <a:lnTo>
                    <a:pt x="56" y="871"/>
                  </a:lnTo>
                  <a:lnTo>
                    <a:pt x="56" y="876"/>
                  </a:lnTo>
                  <a:lnTo>
                    <a:pt x="58" y="893"/>
                  </a:lnTo>
                  <a:lnTo>
                    <a:pt x="58" y="913"/>
                  </a:lnTo>
                  <a:lnTo>
                    <a:pt x="56" y="917"/>
                  </a:lnTo>
                  <a:lnTo>
                    <a:pt x="56" y="944"/>
                  </a:lnTo>
                  <a:lnTo>
                    <a:pt x="55" y="954"/>
                  </a:lnTo>
                  <a:lnTo>
                    <a:pt x="55" y="959"/>
                  </a:lnTo>
                  <a:lnTo>
                    <a:pt x="61" y="954"/>
                  </a:lnTo>
                  <a:lnTo>
                    <a:pt x="66" y="954"/>
                  </a:lnTo>
                  <a:lnTo>
                    <a:pt x="67" y="956"/>
                  </a:lnTo>
                  <a:lnTo>
                    <a:pt x="67" y="962"/>
                  </a:lnTo>
                  <a:lnTo>
                    <a:pt x="55" y="976"/>
                  </a:lnTo>
                  <a:lnTo>
                    <a:pt x="24" y="974"/>
                  </a:lnTo>
                  <a:lnTo>
                    <a:pt x="0" y="937"/>
                  </a:lnTo>
                  <a:lnTo>
                    <a:pt x="7" y="919"/>
                  </a:lnTo>
                  <a:lnTo>
                    <a:pt x="10" y="904"/>
                  </a:lnTo>
                  <a:lnTo>
                    <a:pt x="12" y="888"/>
                  </a:lnTo>
                  <a:lnTo>
                    <a:pt x="12" y="871"/>
                  </a:lnTo>
                  <a:lnTo>
                    <a:pt x="7" y="873"/>
                  </a:lnTo>
                  <a:lnTo>
                    <a:pt x="7" y="858"/>
                  </a:lnTo>
                  <a:lnTo>
                    <a:pt x="3" y="854"/>
                  </a:lnTo>
                  <a:lnTo>
                    <a:pt x="3" y="850"/>
                  </a:lnTo>
                  <a:lnTo>
                    <a:pt x="4" y="839"/>
                  </a:lnTo>
                  <a:lnTo>
                    <a:pt x="7" y="822"/>
                  </a:lnTo>
                  <a:lnTo>
                    <a:pt x="9" y="802"/>
                  </a:lnTo>
                  <a:lnTo>
                    <a:pt x="15" y="756"/>
                  </a:lnTo>
                  <a:lnTo>
                    <a:pt x="18" y="736"/>
                  </a:lnTo>
                  <a:lnTo>
                    <a:pt x="21" y="718"/>
                  </a:lnTo>
                  <a:lnTo>
                    <a:pt x="23" y="704"/>
                  </a:lnTo>
                  <a:lnTo>
                    <a:pt x="24" y="698"/>
                  </a:lnTo>
                  <a:lnTo>
                    <a:pt x="26" y="687"/>
                  </a:lnTo>
                  <a:lnTo>
                    <a:pt x="27" y="669"/>
                  </a:lnTo>
                  <a:lnTo>
                    <a:pt x="30" y="642"/>
                  </a:lnTo>
                  <a:lnTo>
                    <a:pt x="33" y="613"/>
                  </a:lnTo>
                  <a:lnTo>
                    <a:pt x="36" y="582"/>
                  </a:lnTo>
                  <a:lnTo>
                    <a:pt x="43" y="530"/>
                  </a:lnTo>
                  <a:lnTo>
                    <a:pt x="46" y="506"/>
                  </a:lnTo>
                  <a:lnTo>
                    <a:pt x="49" y="487"/>
                  </a:lnTo>
                  <a:lnTo>
                    <a:pt x="50" y="473"/>
                  </a:lnTo>
                  <a:lnTo>
                    <a:pt x="52" y="469"/>
                  </a:lnTo>
                  <a:lnTo>
                    <a:pt x="52" y="464"/>
                  </a:lnTo>
                  <a:lnTo>
                    <a:pt x="53" y="452"/>
                  </a:lnTo>
                  <a:lnTo>
                    <a:pt x="53" y="435"/>
                  </a:lnTo>
                  <a:lnTo>
                    <a:pt x="56" y="392"/>
                  </a:lnTo>
                  <a:lnTo>
                    <a:pt x="58" y="372"/>
                  </a:lnTo>
                  <a:lnTo>
                    <a:pt x="59" y="355"/>
                  </a:lnTo>
                  <a:lnTo>
                    <a:pt x="61" y="343"/>
                  </a:lnTo>
                  <a:lnTo>
                    <a:pt x="66" y="334"/>
                  </a:lnTo>
                  <a:lnTo>
                    <a:pt x="72" y="329"/>
                  </a:lnTo>
                  <a:lnTo>
                    <a:pt x="84" y="329"/>
                  </a:lnTo>
                  <a:lnTo>
                    <a:pt x="86" y="330"/>
                  </a:lnTo>
                  <a:lnTo>
                    <a:pt x="89" y="329"/>
                  </a:lnTo>
                  <a:lnTo>
                    <a:pt x="98" y="326"/>
                  </a:lnTo>
                  <a:lnTo>
                    <a:pt x="110" y="320"/>
                  </a:lnTo>
                  <a:lnTo>
                    <a:pt x="124" y="314"/>
                  </a:lnTo>
                  <a:lnTo>
                    <a:pt x="141" y="306"/>
                  </a:lnTo>
                  <a:lnTo>
                    <a:pt x="156" y="300"/>
                  </a:lnTo>
                  <a:lnTo>
                    <a:pt x="169" y="294"/>
                  </a:lnTo>
                  <a:lnTo>
                    <a:pt x="179" y="289"/>
                  </a:lnTo>
                  <a:lnTo>
                    <a:pt x="184" y="286"/>
                  </a:lnTo>
                  <a:lnTo>
                    <a:pt x="189" y="281"/>
                  </a:lnTo>
                  <a:lnTo>
                    <a:pt x="195" y="274"/>
                  </a:lnTo>
                  <a:lnTo>
                    <a:pt x="202" y="264"/>
                  </a:lnTo>
                  <a:lnTo>
                    <a:pt x="209" y="257"/>
                  </a:lnTo>
                  <a:lnTo>
                    <a:pt x="213" y="251"/>
                  </a:lnTo>
                  <a:lnTo>
                    <a:pt x="215" y="247"/>
                  </a:lnTo>
                  <a:lnTo>
                    <a:pt x="215" y="209"/>
                  </a:lnTo>
                  <a:lnTo>
                    <a:pt x="209" y="206"/>
                  </a:lnTo>
                  <a:lnTo>
                    <a:pt x="204" y="198"/>
                  </a:lnTo>
                  <a:lnTo>
                    <a:pt x="199" y="189"/>
                  </a:lnTo>
                  <a:lnTo>
                    <a:pt x="198" y="181"/>
                  </a:lnTo>
                  <a:lnTo>
                    <a:pt x="196" y="178"/>
                  </a:lnTo>
                  <a:lnTo>
                    <a:pt x="187" y="171"/>
                  </a:lnTo>
                  <a:lnTo>
                    <a:pt x="182" y="161"/>
                  </a:lnTo>
                  <a:lnTo>
                    <a:pt x="181" y="149"/>
                  </a:lnTo>
                  <a:lnTo>
                    <a:pt x="179" y="140"/>
                  </a:lnTo>
                  <a:lnTo>
                    <a:pt x="181" y="132"/>
                  </a:lnTo>
                  <a:lnTo>
                    <a:pt x="181" y="129"/>
                  </a:lnTo>
                  <a:lnTo>
                    <a:pt x="179" y="126"/>
                  </a:lnTo>
                  <a:lnTo>
                    <a:pt x="178" y="117"/>
                  </a:lnTo>
                  <a:lnTo>
                    <a:pt x="176" y="101"/>
                  </a:lnTo>
                  <a:lnTo>
                    <a:pt x="176" y="85"/>
                  </a:lnTo>
                  <a:lnTo>
                    <a:pt x="181" y="63"/>
                  </a:lnTo>
                  <a:lnTo>
                    <a:pt x="190" y="42"/>
                  </a:lnTo>
                  <a:lnTo>
                    <a:pt x="202" y="25"/>
                  </a:lnTo>
                  <a:lnTo>
                    <a:pt x="218" y="14"/>
                  </a:lnTo>
                  <a:lnTo>
                    <a:pt x="235" y="6"/>
                  </a:lnTo>
                  <a:lnTo>
                    <a:pt x="250" y="2"/>
                  </a:lnTo>
                  <a:lnTo>
                    <a:pt x="262" y="0"/>
                  </a:lnTo>
                  <a:close/>
                </a:path>
              </a:pathLst>
            </a:custGeom>
            <a:solidFill>
              <a:schemeClr val="tx2">
                <a:lumMod val="65000"/>
              </a:schemeClr>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a:p>
          </p:txBody>
        </p:sp>
      </p:grpSp>
      <p:sp>
        <p:nvSpPr>
          <p:cNvPr id="41" name="Nach unten gekrümmter Pfeil 40"/>
          <p:cNvSpPr/>
          <p:nvPr/>
        </p:nvSpPr>
        <p:spPr>
          <a:xfrm>
            <a:off x="1979712" y="2348880"/>
            <a:ext cx="3240360" cy="936104"/>
          </a:xfrm>
          <a:prstGeom prst="curvedDownArrow">
            <a:avLst>
              <a:gd name="adj1" fmla="val 25000"/>
              <a:gd name="adj2" fmla="val 48530"/>
              <a:gd name="adj3" fmla="val 25000"/>
            </a:avLst>
          </a:prstGeom>
          <a:solidFill>
            <a:schemeClr val="accent1"/>
          </a:solidFill>
          <a:ln w="9525">
            <a:noFill/>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sz="1600" dirty="0" smtClean="0">
              <a:solidFill>
                <a:schemeClr val="tx1"/>
              </a:solidFill>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Frühe Einbindung von Netzwerken für hochwertigen Wissensaufbau</a:t>
            </a:r>
            <a:endParaRPr lang="de-DE" dirty="0"/>
          </a:p>
        </p:txBody>
      </p:sp>
      <p:grpSp>
        <p:nvGrpSpPr>
          <p:cNvPr id="17" name="Gruppieren 27"/>
          <p:cNvGrpSpPr/>
          <p:nvPr>
            <p:custDataLst>
              <p:tags r:id="rId1"/>
            </p:custDataLst>
          </p:nvPr>
        </p:nvGrpSpPr>
        <p:grpSpPr>
          <a:xfrm>
            <a:off x="2123728" y="1124744"/>
            <a:ext cx="4536504" cy="4261564"/>
            <a:chOff x="395536" y="981076"/>
            <a:chExt cx="3240088" cy="3240088"/>
          </a:xfrm>
        </p:grpSpPr>
        <p:sp>
          <p:nvSpPr>
            <p:cNvPr id="18" name="Freeform 4"/>
            <p:cNvSpPr>
              <a:spLocks/>
            </p:cNvSpPr>
            <p:nvPr/>
          </p:nvSpPr>
          <p:spPr bwMode="auto">
            <a:xfrm>
              <a:off x="827913" y="1369668"/>
              <a:ext cx="2365757" cy="2464273"/>
            </a:xfrm>
            <a:custGeom>
              <a:avLst/>
              <a:gdLst>
                <a:gd name="T0" fmla="*/ 864 w 1729"/>
                <a:gd name="T1" fmla="*/ 0 h 1801"/>
                <a:gd name="T2" fmla="*/ 864 w 1729"/>
                <a:gd name="T3" fmla="*/ 1800 h 1801"/>
                <a:gd name="T4" fmla="*/ 1728 w 1729"/>
                <a:gd name="T5" fmla="*/ 1368 h 1801"/>
                <a:gd name="T6" fmla="*/ 1728 w 1729"/>
                <a:gd name="T7" fmla="*/ 432 h 1801"/>
                <a:gd name="T8" fmla="*/ 0 w 1729"/>
                <a:gd name="T9" fmla="*/ 432 h 1801"/>
                <a:gd name="T10" fmla="*/ 0 w 1729"/>
                <a:gd name="T11" fmla="*/ 1368 h 1801"/>
                <a:gd name="T12" fmla="*/ 1728 w 1729"/>
                <a:gd name="T13" fmla="*/ 432 h 1801"/>
                <a:gd name="T14" fmla="*/ 864 w 1729"/>
                <a:gd name="T15" fmla="*/ 1800 h 1801"/>
                <a:gd name="T16" fmla="*/ 0 w 1729"/>
                <a:gd name="T17" fmla="*/ 1368 h 1801"/>
                <a:gd name="T18" fmla="*/ 864 w 1729"/>
                <a:gd name="T19" fmla="*/ 0 h 1801"/>
                <a:gd name="T20" fmla="*/ 1728 w 1729"/>
                <a:gd name="T21" fmla="*/ 1368 h 1801"/>
                <a:gd name="T22" fmla="*/ 0 w 1729"/>
                <a:gd name="T23" fmla="*/ 432 h 1801"/>
                <a:gd name="T24" fmla="*/ 0 w 1729"/>
                <a:gd name="T25" fmla="*/ 1368 h 1801"/>
                <a:gd name="T26" fmla="*/ 1728 w 1729"/>
                <a:gd name="T27" fmla="*/ 1368 h 1801"/>
                <a:gd name="T28" fmla="*/ 0 w 1729"/>
                <a:gd name="T29" fmla="*/ 1368 h 1801"/>
                <a:gd name="T30" fmla="*/ 0 w 1729"/>
                <a:gd name="T31" fmla="*/ 432 h 1801"/>
                <a:gd name="T32" fmla="*/ 864 w 1729"/>
                <a:gd name="T33" fmla="*/ 0 h 1801"/>
                <a:gd name="T34" fmla="*/ 1728 w 1729"/>
                <a:gd name="T35" fmla="*/ 432 h 1801"/>
                <a:gd name="T36" fmla="*/ 864 w 1729"/>
                <a:gd name="T37" fmla="*/ 1800 h 1801"/>
                <a:gd name="T38" fmla="*/ 0 w 1729"/>
                <a:gd name="T39" fmla="*/ 432 h 1801"/>
                <a:gd name="T40" fmla="*/ 864 w 1729"/>
                <a:gd name="T41" fmla="*/ 1800 h 1801"/>
                <a:gd name="T42" fmla="*/ 1728 w 1729"/>
                <a:gd name="T43" fmla="*/ 432 h 1801"/>
                <a:gd name="T44" fmla="*/ 864 w 1729"/>
                <a:gd name="T45" fmla="*/ 1800 h 1801"/>
                <a:gd name="T46" fmla="*/ 0 w 1729"/>
                <a:gd name="T47" fmla="*/ 432 h 180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29"/>
                <a:gd name="T73" fmla="*/ 0 h 1801"/>
                <a:gd name="T74" fmla="*/ 1729 w 1729"/>
                <a:gd name="T75" fmla="*/ 1801 h 180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29" h="1801">
                  <a:moveTo>
                    <a:pt x="864" y="0"/>
                  </a:moveTo>
                  <a:lnTo>
                    <a:pt x="864" y="1800"/>
                  </a:lnTo>
                  <a:lnTo>
                    <a:pt x="1728" y="1368"/>
                  </a:lnTo>
                  <a:lnTo>
                    <a:pt x="1728" y="432"/>
                  </a:lnTo>
                  <a:lnTo>
                    <a:pt x="0" y="432"/>
                  </a:lnTo>
                  <a:lnTo>
                    <a:pt x="0" y="1368"/>
                  </a:lnTo>
                  <a:lnTo>
                    <a:pt x="1728" y="432"/>
                  </a:lnTo>
                  <a:lnTo>
                    <a:pt x="864" y="1800"/>
                  </a:lnTo>
                  <a:lnTo>
                    <a:pt x="0" y="1368"/>
                  </a:lnTo>
                  <a:lnTo>
                    <a:pt x="864" y="0"/>
                  </a:lnTo>
                  <a:lnTo>
                    <a:pt x="1728" y="1368"/>
                  </a:lnTo>
                  <a:lnTo>
                    <a:pt x="0" y="432"/>
                  </a:lnTo>
                  <a:lnTo>
                    <a:pt x="0" y="1368"/>
                  </a:lnTo>
                  <a:lnTo>
                    <a:pt x="1728" y="1368"/>
                  </a:lnTo>
                  <a:lnTo>
                    <a:pt x="0" y="1368"/>
                  </a:lnTo>
                  <a:lnTo>
                    <a:pt x="0" y="432"/>
                  </a:lnTo>
                  <a:lnTo>
                    <a:pt x="864" y="0"/>
                  </a:lnTo>
                  <a:lnTo>
                    <a:pt x="1728" y="432"/>
                  </a:lnTo>
                  <a:lnTo>
                    <a:pt x="864" y="1800"/>
                  </a:lnTo>
                  <a:lnTo>
                    <a:pt x="0" y="432"/>
                  </a:lnTo>
                  <a:lnTo>
                    <a:pt x="864" y="1800"/>
                  </a:lnTo>
                  <a:lnTo>
                    <a:pt x="1728" y="432"/>
                  </a:lnTo>
                  <a:lnTo>
                    <a:pt x="864" y="1800"/>
                  </a:lnTo>
                  <a:lnTo>
                    <a:pt x="0" y="432"/>
                  </a:lnTo>
                </a:path>
              </a:pathLst>
            </a:custGeom>
            <a:noFill/>
            <a:ln w="12700" cap="rnd">
              <a:solidFill>
                <a:schemeClr val="tx1"/>
              </a:solidFill>
              <a:round/>
              <a:headEnd type="none" w="sm" len="sm"/>
              <a:tailEnd type="none" w="sm" len="sm"/>
            </a:ln>
          </p:spPr>
          <p:txBody>
            <a:bodyPr/>
            <a:lstStyle/>
            <a:p>
              <a:pPr algn="ctr"/>
              <a:endParaRPr lang="de-DE" sz="1600"/>
            </a:p>
          </p:txBody>
        </p:sp>
        <p:sp>
          <p:nvSpPr>
            <p:cNvPr id="19" name="Oval 5"/>
            <p:cNvSpPr>
              <a:spLocks noChangeArrowheads="1"/>
            </p:cNvSpPr>
            <p:nvPr/>
          </p:nvSpPr>
          <p:spPr bwMode="auto">
            <a:xfrm>
              <a:off x="1577730" y="981076"/>
              <a:ext cx="875699" cy="875699"/>
            </a:xfrm>
            <a:prstGeom prst="ellipse">
              <a:avLst/>
            </a:prstGeom>
            <a:gradFill flip="none" rotWithShape="0">
              <a:gsLst>
                <a:gs pos="0">
                  <a:schemeClr val="bg2">
                    <a:lumMod val="75000"/>
                  </a:schemeClr>
                </a:gs>
                <a:gs pos="100000">
                  <a:schemeClr val="bg2">
                    <a:shade val="100000"/>
                    <a:satMod val="115000"/>
                  </a:schemeClr>
                </a:gs>
              </a:gsLst>
              <a:path path="circle">
                <a:fillToRect l="100000" t="100000"/>
              </a:path>
              <a:tileRect r="-100000" b="-100000"/>
            </a:gradFill>
            <a:ln>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r>
                <a:rPr lang="de-DE" sz="1600" b="1" dirty="0" smtClean="0">
                  <a:solidFill>
                    <a:schemeClr val="bg2">
                      <a:lumMod val="10000"/>
                    </a:schemeClr>
                  </a:solidFill>
                  <a:latin typeface="Arial"/>
                </a:rPr>
                <a:t>IT</a:t>
              </a:r>
              <a:endParaRPr lang="de-DE" sz="1600" b="1" dirty="0">
                <a:solidFill>
                  <a:schemeClr val="bg2">
                    <a:lumMod val="10000"/>
                  </a:schemeClr>
                </a:solidFill>
                <a:latin typeface="Arial"/>
              </a:endParaRPr>
            </a:p>
          </p:txBody>
        </p:sp>
        <p:sp>
          <p:nvSpPr>
            <p:cNvPr id="20" name="Oval 6"/>
            <p:cNvSpPr>
              <a:spLocks noChangeArrowheads="1"/>
            </p:cNvSpPr>
            <p:nvPr/>
          </p:nvSpPr>
          <p:spPr bwMode="auto">
            <a:xfrm>
              <a:off x="2759925" y="1572173"/>
              <a:ext cx="875699" cy="875699"/>
            </a:xfrm>
            <a:prstGeom prst="ellipse">
              <a:avLst/>
            </a:prstGeom>
            <a:gradFill flip="none" rotWithShape="0">
              <a:gsLst>
                <a:gs pos="0">
                  <a:schemeClr val="bg2">
                    <a:lumMod val="75000"/>
                  </a:schemeClr>
                </a:gs>
                <a:gs pos="100000">
                  <a:schemeClr val="bg2">
                    <a:shade val="100000"/>
                    <a:satMod val="115000"/>
                  </a:schemeClr>
                </a:gs>
              </a:gsLst>
              <a:path path="circle">
                <a:fillToRect l="100000" t="100000"/>
              </a:path>
              <a:tileRect r="-100000" b="-100000"/>
            </a:gradFill>
            <a:ln>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r>
                <a:rPr lang="de-DE" sz="1600" b="1" dirty="0" smtClean="0">
                  <a:solidFill>
                    <a:schemeClr val="bg2">
                      <a:lumMod val="10000"/>
                    </a:schemeClr>
                  </a:solidFill>
                  <a:latin typeface="Arial"/>
                </a:rPr>
                <a:t>HR</a:t>
              </a:r>
              <a:endParaRPr lang="de-DE" sz="1600" b="1" dirty="0">
                <a:solidFill>
                  <a:schemeClr val="bg2">
                    <a:lumMod val="10000"/>
                  </a:schemeClr>
                </a:solidFill>
                <a:latin typeface="Arial"/>
              </a:endParaRPr>
            </a:p>
          </p:txBody>
        </p:sp>
        <p:sp>
          <p:nvSpPr>
            <p:cNvPr id="21" name="Oval 7"/>
            <p:cNvSpPr>
              <a:spLocks noChangeArrowheads="1"/>
            </p:cNvSpPr>
            <p:nvPr/>
          </p:nvSpPr>
          <p:spPr bwMode="auto">
            <a:xfrm>
              <a:off x="2759925" y="2754367"/>
              <a:ext cx="875699" cy="875699"/>
            </a:xfrm>
            <a:prstGeom prst="ellipse">
              <a:avLst/>
            </a:prstGeom>
            <a:gradFill flip="none" rotWithShape="0">
              <a:gsLst>
                <a:gs pos="0">
                  <a:schemeClr val="bg2">
                    <a:lumMod val="75000"/>
                  </a:schemeClr>
                </a:gs>
                <a:gs pos="100000">
                  <a:schemeClr val="bg2">
                    <a:shade val="100000"/>
                    <a:satMod val="115000"/>
                  </a:schemeClr>
                </a:gs>
              </a:gsLst>
              <a:path path="circle">
                <a:fillToRect l="100000" t="100000"/>
              </a:path>
              <a:tileRect r="-100000" b="-100000"/>
            </a:gradFill>
            <a:ln>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r>
                <a:rPr lang="de-DE" sz="1600" b="1" dirty="0" err="1" smtClean="0">
                  <a:solidFill>
                    <a:schemeClr val="bg2">
                      <a:lumMod val="10000"/>
                    </a:schemeClr>
                  </a:solidFill>
                  <a:latin typeface="Arial"/>
                </a:rPr>
                <a:t>Comm</a:t>
              </a:r>
              <a:endParaRPr lang="de-DE" sz="1600" b="1" dirty="0">
                <a:solidFill>
                  <a:schemeClr val="bg2">
                    <a:lumMod val="10000"/>
                  </a:schemeClr>
                </a:solidFill>
                <a:latin typeface="Arial"/>
              </a:endParaRPr>
            </a:p>
          </p:txBody>
        </p:sp>
        <p:sp>
          <p:nvSpPr>
            <p:cNvPr id="22" name="Oval 8"/>
            <p:cNvSpPr>
              <a:spLocks noChangeArrowheads="1"/>
            </p:cNvSpPr>
            <p:nvPr/>
          </p:nvSpPr>
          <p:spPr bwMode="auto">
            <a:xfrm>
              <a:off x="1577730" y="3345465"/>
              <a:ext cx="875699" cy="875699"/>
            </a:xfrm>
            <a:prstGeom prst="ellipse">
              <a:avLst/>
            </a:prstGeom>
            <a:gradFill flip="none" rotWithShape="0">
              <a:gsLst>
                <a:gs pos="0">
                  <a:schemeClr val="bg2">
                    <a:lumMod val="75000"/>
                  </a:schemeClr>
                </a:gs>
                <a:gs pos="100000">
                  <a:schemeClr val="bg2">
                    <a:shade val="100000"/>
                    <a:satMod val="115000"/>
                  </a:schemeClr>
                </a:gs>
              </a:gsLst>
              <a:path path="circle">
                <a:fillToRect l="100000" t="100000"/>
              </a:path>
              <a:tileRect r="-100000" b="-100000"/>
            </a:gradFill>
            <a:ln>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r>
                <a:rPr lang="de-DE" sz="1600" b="1" dirty="0" smtClean="0">
                  <a:solidFill>
                    <a:schemeClr val="bg2">
                      <a:lumMod val="10000"/>
                    </a:schemeClr>
                  </a:solidFill>
                  <a:latin typeface="Arial"/>
                </a:rPr>
                <a:t>KM</a:t>
              </a:r>
              <a:endParaRPr lang="de-DE" sz="1600" b="1" dirty="0">
                <a:solidFill>
                  <a:schemeClr val="bg2">
                    <a:lumMod val="10000"/>
                  </a:schemeClr>
                </a:solidFill>
                <a:latin typeface="Arial"/>
              </a:endParaRPr>
            </a:p>
          </p:txBody>
        </p:sp>
        <p:sp>
          <p:nvSpPr>
            <p:cNvPr id="23" name="Oval 9"/>
            <p:cNvSpPr>
              <a:spLocks noChangeArrowheads="1"/>
            </p:cNvSpPr>
            <p:nvPr/>
          </p:nvSpPr>
          <p:spPr bwMode="auto">
            <a:xfrm>
              <a:off x="395536" y="2754367"/>
              <a:ext cx="875699" cy="875699"/>
            </a:xfrm>
            <a:prstGeom prst="ellipse">
              <a:avLst/>
            </a:prstGeom>
            <a:gradFill flip="none" rotWithShape="0">
              <a:gsLst>
                <a:gs pos="0">
                  <a:schemeClr val="bg2">
                    <a:lumMod val="75000"/>
                  </a:schemeClr>
                </a:gs>
                <a:gs pos="100000">
                  <a:schemeClr val="bg2">
                    <a:shade val="100000"/>
                    <a:satMod val="115000"/>
                  </a:schemeClr>
                </a:gs>
              </a:gsLst>
              <a:path path="circle">
                <a:fillToRect l="100000" t="100000"/>
              </a:path>
              <a:tileRect r="-100000" b="-100000"/>
            </a:gradFill>
            <a:ln>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r>
                <a:rPr lang="de-DE" sz="1600" b="1" dirty="0" smtClean="0">
                  <a:solidFill>
                    <a:schemeClr val="bg2">
                      <a:lumMod val="10000"/>
                    </a:schemeClr>
                  </a:solidFill>
                  <a:latin typeface="Arial"/>
                </a:rPr>
                <a:t>GUIDES</a:t>
              </a:r>
              <a:endParaRPr lang="de-DE" sz="1600" b="1" dirty="0">
                <a:solidFill>
                  <a:schemeClr val="bg2">
                    <a:lumMod val="10000"/>
                  </a:schemeClr>
                </a:solidFill>
                <a:latin typeface="Arial"/>
              </a:endParaRPr>
            </a:p>
          </p:txBody>
        </p:sp>
        <p:sp>
          <p:nvSpPr>
            <p:cNvPr id="24" name="Oval 10"/>
            <p:cNvSpPr>
              <a:spLocks noChangeArrowheads="1"/>
            </p:cNvSpPr>
            <p:nvPr/>
          </p:nvSpPr>
          <p:spPr bwMode="auto">
            <a:xfrm>
              <a:off x="395536" y="1572173"/>
              <a:ext cx="875699" cy="875699"/>
            </a:xfrm>
            <a:prstGeom prst="ellipse">
              <a:avLst/>
            </a:prstGeom>
            <a:gradFill flip="none" rotWithShape="0">
              <a:gsLst>
                <a:gs pos="0">
                  <a:schemeClr val="bg2">
                    <a:lumMod val="75000"/>
                  </a:schemeClr>
                </a:gs>
                <a:gs pos="100000">
                  <a:schemeClr val="bg2">
                    <a:shade val="100000"/>
                    <a:satMod val="115000"/>
                  </a:schemeClr>
                </a:gs>
              </a:gsLst>
              <a:path path="circle">
                <a:fillToRect l="100000" t="100000"/>
              </a:path>
              <a:tileRect r="-100000" b="-100000"/>
            </a:gradFill>
            <a:ln>
              <a:solidFill>
                <a:schemeClr val="bg1"/>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0" tIns="0" rIns="0" bIns="0" numCol="1" spcCol="1270" anchor="ctr" anchorCtr="0">
              <a:noAutofit/>
            </a:bodyPr>
            <a:lstStyle/>
            <a:p>
              <a:pPr algn="ctr" defTabSz="711200">
                <a:lnSpc>
                  <a:spcPct val="90000"/>
                </a:lnSpc>
                <a:spcBef>
                  <a:spcPct val="0"/>
                </a:spcBef>
                <a:spcAft>
                  <a:spcPct val="35000"/>
                </a:spcAft>
              </a:pPr>
              <a:r>
                <a:rPr lang="de-DE" sz="1600" b="1" dirty="0" smtClean="0">
                  <a:solidFill>
                    <a:schemeClr val="bg2">
                      <a:lumMod val="10000"/>
                    </a:schemeClr>
                  </a:solidFill>
                  <a:latin typeface="Arial"/>
                </a:rPr>
                <a:t>UFG</a:t>
              </a:r>
              <a:endParaRPr lang="de-DE" sz="1600" b="1" dirty="0">
                <a:solidFill>
                  <a:schemeClr val="bg2">
                    <a:lumMod val="10000"/>
                  </a:schemeClr>
                </a:solidFill>
                <a:latin typeface="Arial"/>
              </a:endParaRPr>
            </a:p>
          </p:txBody>
        </p:sp>
        <p:sp>
          <p:nvSpPr>
            <p:cNvPr id="25" name="Oval 11"/>
            <p:cNvSpPr>
              <a:spLocks noChangeArrowheads="1"/>
            </p:cNvSpPr>
            <p:nvPr/>
          </p:nvSpPr>
          <p:spPr bwMode="auto">
            <a:xfrm>
              <a:off x="1410236" y="1995777"/>
              <a:ext cx="1210688" cy="1210686"/>
            </a:xfrm>
            <a:prstGeom prst="ellipse">
              <a:avLst/>
            </a:prstGeom>
            <a:gradFill flip="none" rotWithShape="1">
              <a:gsLst>
                <a:gs pos="0">
                  <a:schemeClr val="accent4">
                    <a:lumMod val="75000"/>
                  </a:schemeClr>
                </a:gs>
                <a:gs pos="100000">
                  <a:srgbClr val="FFC000"/>
                </a:gs>
              </a:gsLst>
              <a:lin ang="13500000" scaled="1"/>
              <a:tileRect/>
            </a:gradFill>
            <a:ln>
              <a:noFill/>
              <a:headEnd/>
              <a:tailEnd/>
            </a:ln>
          </p:spPr>
          <p:style>
            <a:lnRef idx="2">
              <a:schemeClr val="accent4"/>
            </a:lnRef>
            <a:fillRef idx="1">
              <a:schemeClr val="lt1"/>
            </a:fillRef>
            <a:effectRef idx="0">
              <a:schemeClr val="accent4"/>
            </a:effectRef>
            <a:fontRef idx="minor">
              <a:schemeClr val="dk1"/>
            </a:fontRef>
          </p:style>
          <p:txBody>
            <a:bodyPr wrap="none" anchor="ctr"/>
            <a:lstStyle/>
            <a:p>
              <a:pPr algn="ctr"/>
              <a:r>
                <a:rPr lang="de-DE" sz="1600" b="1" dirty="0" smtClean="0">
                  <a:solidFill>
                    <a:schemeClr val="bg1"/>
                  </a:solidFill>
                  <a:latin typeface="Arial"/>
                </a:rPr>
                <a:t>ConNext</a:t>
              </a:r>
            </a:p>
            <a:p>
              <a:pPr algn="ctr"/>
              <a:r>
                <a:rPr lang="de-DE" sz="1600" b="1" dirty="0" smtClean="0">
                  <a:solidFill>
                    <a:schemeClr val="bg1"/>
                  </a:solidFill>
                  <a:latin typeface="Arial"/>
                </a:rPr>
                <a:t>Nutzer</a:t>
              </a:r>
              <a:endParaRPr lang="de-DE" sz="1600" b="1" dirty="0">
                <a:solidFill>
                  <a:schemeClr val="bg1"/>
                </a:solidFill>
                <a:latin typeface="Arial"/>
              </a:endParaRPr>
            </a:p>
          </p:txBody>
        </p:sp>
      </p:grpSp>
      <p:grpSp>
        <p:nvGrpSpPr>
          <p:cNvPr id="26" name="Gruppieren 34"/>
          <p:cNvGrpSpPr/>
          <p:nvPr>
            <p:custDataLst>
              <p:tags r:id="rId2"/>
            </p:custDataLst>
          </p:nvPr>
        </p:nvGrpSpPr>
        <p:grpSpPr>
          <a:xfrm>
            <a:off x="5004048" y="4149080"/>
            <a:ext cx="2160240" cy="1728192"/>
            <a:chOff x="3128576" y="2564899"/>
            <a:chExt cx="2307520" cy="1920807"/>
          </a:xfrm>
        </p:grpSpPr>
        <p:grpSp>
          <p:nvGrpSpPr>
            <p:cNvPr id="27" name="Gruppieren 19"/>
            <p:cNvGrpSpPr/>
            <p:nvPr/>
          </p:nvGrpSpPr>
          <p:grpSpPr>
            <a:xfrm>
              <a:off x="3851921" y="2564899"/>
              <a:ext cx="446793" cy="731248"/>
              <a:chOff x="1037032" y="2818028"/>
              <a:chExt cx="719938" cy="1178299"/>
            </a:xfrm>
          </p:grpSpPr>
          <p:sp>
            <p:nvSpPr>
              <p:cNvPr id="36" name="Ellipse 4"/>
              <p:cNvSpPr/>
              <p:nvPr/>
            </p:nvSpPr>
            <p:spPr>
              <a:xfrm>
                <a:off x="1037032" y="3837847"/>
                <a:ext cx="719938" cy="158480"/>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9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Freeform 11"/>
              <p:cNvSpPr>
                <a:spLocks noEditPoints="1"/>
              </p:cNvSpPr>
              <p:nvPr/>
            </p:nvSpPr>
            <p:spPr bwMode="auto">
              <a:xfrm>
                <a:off x="1226786" y="2818028"/>
                <a:ext cx="318435" cy="1103859"/>
              </a:xfrm>
              <a:custGeom>
                <a:avLst/>
                <a:gdLst>
                  <a:gd name="T0" fmla="*/ 762 w 834"/>
                  <a:gd name="T1" fmla="*/ 549 h 2898"/>
                  <a:gd name="T2" fmla="*/ 651 w 834"/>
                  <a:gd name="T3" fmla="*/ 486 h 2898"/>
                  <a:gd name="T4" fmla="*/ 515 w 834"/>
                  <a:gd name="T5" fmla="*/ 358 h 2898"/>
                  <a:gd name="T6" fmla="*/ 539 w 834"/>
                  <a:gd name="T7" fmla="*/ 272 h 2898"/>
                  <a:gd name="T8" fmla="*/ 575 w 834"/>
                  <a:gd name="T9" fmla="*/ 211 h 2898"/>
                  <a:gd name="T10" fmla="*/ 555 w 834"/>
                  <a:gd name="T11" fmla="*/ 133 h 2898"/>
                  <a:gd name="T12" fmla="*/ 525 w 834"/>
                  <a:gd name="T13" fmla="*/ 38 h 2898"/>
                  <a:gd name="T14" fmla="*/ 405 w 834"/>
                  <a:gd name="T15" fmla="*/ 4 h 2898"/>
                  <a:gd name="T16" fmla="*/ 304 w 834"/>
                  <a:gd name="T17" fmla="*/ 77 h 2898"/>
                  <a:gd name="T18" fmla="*/ 302 w 834"/>
                  <a:gd name="T19" fmla="*/ 161 h 2898"/>
                  <a:gd name="T20" fmla="*/ 283 w 834"/>
                  <a:gd name="T21" fmla="*/ 182 h 2898"/>
                  <a:gd name="T22" fmla="*/ 317 w 834"/>
                  <a:gd name="T23" fmla="*/ 256 h 2898"/>
                  <a:gd name="T24" fmla="*/ 326 w 834"/>
                  <a:gd name="T25" fmla="*/ 315 h 2898"/>
                  <a:gd name="T26" fmla="*/ 336 w 834"/>
                  <a:gd name="T27" fmla="*/ 379 h 2898"/>
                  <a:gd name="T28" fmla="*/ 97 w 834"/>
                  <a:gd name="T29" fmla="*/ 544 h 2898"/>
                  <a:gd name="T30" fmla="*/ 49 w 834"/>
                  <a:gd name="T31" fmla="*/ 723 h 2898"/>
                  <a:gd name="T32" fmla="*/ 9 w 834"/>
                  <a:gd name="T33" fmla="*/ 1141 h 2898"/>
                  <a:gd name="T34" fmla="*/ 0 w 834"/>
                  <a:gd name="T35" fmla="*/ 1287 h 2898"/>
                  <a:gd name="T36" fmla="*/ 6 w 834"/>
                  <a:gd name="T37" fmla="*/ 1385 h 2898"/>
                  <a:gd name="T38" fmla="*/ 3 w 834"/>
                  <a:gd name="T39" fmla="*/ 1466 h 2898"/>
                  <a:gd name="T40" fmla="*/ 20 w 834"/>
                  <a:gd name="T41" fmla="*/ 1481 h 2898"/>
                  <a:gd name="T42" fmla="*/ 48 w 834"/>
                  <a:gd name="T43" fmla="*/ 1655 h 2898"/>
                  <a:gd name="T44" fmla="*/ 113 w 834"/>
                  <a:gd name="T45" fmla="*/ 1691 h 2898"/>
                  <a:gd name="T46" fmla="*/ 174 w 834"/>
                  <a:gd name="T47" fmla="*/ 1936 h 2898"/>
                  <a:gd name="T48" fmla="*/ 192 w 834"/>
                  <a:gd name="T49" fmla="*/ 2448 h 2898"/>
                  <a:gd name="T50" fmla="*/ 216 w 834"/>
                  <a:gd name="T51" fmla="*/ 2672 h 2898"/>
                  <a:gd name="T52" fmla="*/ 233 w 834"/>
                  <a:gd name="T53" fmla="*/ 2757 h 2898"/>
                  <a:gd name="T54" fmla="*/ 206 w 834"/>
                  <a:gd name="T55" fmla="*/ 2804 h 2898"/>
                  <a:gd name="T56" fmla="*/ 147 w 834"/>
                  <a:gd name="T57" fmla="*/ 2844 h 2898"/>
                  <a:gd name="T58" fmla="*/ 243 w 834"/>
                  <a:gd name="T59" fmla="*/ 2885 h 2898"/>
                  <a:gd name="T60" fmla="*/ 344 w 834"/>
                  <a:gd name="T61" fmla="*/ 2866 h 2898"/>
                  <a:gd name="T62" fmla="*/ 379 w 834"/>
                  <a:gd name="T63" fmla="*/ 2858 h 2898"/>
                  <a:gd name="T64" fmla="*/ 424 w 834"/>
                  <a:gd name="T65" fmla="*/ 2808 h 2898"/>
                  <a:gd name="T66" fmla="*/ 400 w 834"/>
                  <a:gd name="T67" fmla="*/ 2349 h 2898"/>
                  <a:gd name="T68" fmla="*/ 366 w 834"/>
                  <a:gd name="T69" fmla="*/ 2182 h 2898"/>
                  <a:gd name="T70" fmla="*/ 370 w 834"/>
                  <a:gd name="T71" fmla="*/ 1944 h 2898"/>
                  <a:gd name="T72" fmla="*/ 408 w 834"/>
                  <a:gd name="T73" fmla="*/ 1630 h 2898"/>
                  <a:gd name="T74" fmla="*/ 440 w 834"/>
                  <a:gd name="T75" fmla="*/ 1670 h 2898"/>
                  <a:gd name="T76" fmla="*/ 501 w 834"/>
                  <a:gd name="T77" fmla="*/ 2025 h 2898"/>
                  <a:gd name="T78" fmla="*/ 539 w 834"/>
                  <a:gd name="T79" fmla="*/ 2293 h 2898"/>
                  <a:gd name="T80" fmla="*/ 594 w 834"/>
                  <a:gd name="T81" fmla="*/ 2768 h 2898"/>
                  <a:gd name="T82" fmla="*/ 579 w 834"/>
                  <a:gd name="T83" fmla="*/ 2847 h 2898"/>
                  <a:gd name="T84" fmla="*/ 621 w 834"/>
                  <a:gd name="T85" fmla="*/ 2882 h 2898"/>
                  <a:gd name="T86" fmla="*/ 794 w 834"/>
                  <a:gd name="T87" fmla="*/ 2880 h 2898"/>
                  <a:gd name="T88" fmla="*/ 740 w 834"/>
                  <a:gd name="T89" fmla="*/ 2783 h 2898"/>
                  <a:gd name="T90" fmla="*/ 749 w 834"/>
                  <a:gd name="T91" fmla="*/ 2744 h 2898"/>
                  <a:gd name="T92" fmla="*/ 743 w 834"/>
                  <a:gd name="T93" fmla="*/ 2510 h 2898"/>
                  <a:gd name="T94" fmla="*/ 728 w 834"/>
                  <a:gd name="T95" fmla="*/ 2128 h 2898"/>
                  <a:gd name="T96" fmla="*/ 812 w 834"/>
                  <a:gd name="T97" fmla="*/ 1615 h 2898"/>
                  <a:gd name="T98" fmla="*/ 834 w 834"/>
                  <a:gd name="T99" fmla="*/ 1226 h 2898"/>
                  <a:gd name="T100" fmla="*/ 799 w 834"/>
                  <a:gd name="T101" fmla="*/ 712 h 2898"/>
                  <a:gd name="T102" fmla="*/ 123 w 834"/>
                  <a:gd name="T103" fmla="*/ 1615 h 2898"/>
                  <a:gd name="T104" fmla="*/ 169 w 834"/>
                  <a:gd name="T105" fmla="*/ 1207 h 2898"/>
                  <a:gd name="T106" fmla="*/ 128 w 834"/>
                  <a:gd name="T107" fmla="*/ 1418 h 2898"/>
                  <a:gd name="T108" fmla="*/ 125 w 834"/>
                  <a:gd name="T109" fmla="*/ 1327 h 2898"/>
                  <a:gd name="T110" fmla="*/ 168 w 834"/>
                  <a:gd name="T111" fmla="*/ 1015 h 2898"/>
                  <a:gd name="T112" fmla="*/ 181 w 834"/>
                  <a:gd name="T113" fmla="*/ 991 h 2898"/>
                  <a:gd name="T114" fmla="*/ 668 w 834"/>
                  <a:gd name="T115" fmla="*/ 1159 h 2898"/>
                  <a:gd name="T116" fmla="*/ 682 w 834"/>
                  <a:gd name="T117" fmla="*/ 920 h 2898"/>
                  <a:gd name="T118" fmla="*/ 719 w 834"/>
                  <a:gd name="T119" fmla="*/ 1402 h 2898"/>
                  <a:gd name="T120" fmla="*/ 679 w 834"/>
                  <a:gd name="T121" fmla="*/ 1260 h 2898"/>
                  <a:gd name="T122" fmla="*/ 712 w 834"/>
                  <a:gd name="T123" fmla="*/ 1551 h 28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34"/>
                  <a:gd name="T187" fmla="*/ 0 h 2898"/>
                  <a:gd name="T188" fmla="*/ 834 w 834"/>
                  <a:gd name="T189" fmla="*/ 2898 h 28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34" h="2898">
                    <a:moveTo>
                      <a:pt x="799" y="712"/>
                    </a:moveTo>
                    <a:lnTo>
                      <a:pt x="799" y="712"/>
                    </a:lnTo>
                    <a:lnTo>
                      <a:pt x="784" y="621"/>
                    </a:lnTo>
                    <a:lnTo>
                      <a:pt x="780" y="600"/>
                    </a:lnTo>
                    <a:lnTo>
                      <a:pt x="775" y="581"/>
                    </a:lnTo>
                    <a:lnTo>
                      <a:pt x="770" y="565"/>
                    </a:lnTo>
                    <a:lnTo>
                      <a:pt x="762" y="549"/>
                    </a:lnTo>
                    <a:lnTo>
                      <a:pt x="757" y="542"/>
                    </a:lnTo>
                    <a:lnTo>
                      <a:pt x="749" y="534"/>
                    </a:lnTo>
                    <a:lnTo>
                      <a:pt x="738" y="526"/>
                    </a:lnTo>
                    <a:lnTo>
                      <a:pt x="724" y="517"/>
                    </a:lnTo>
                    <a:lnTo>
                      <a:pt x="708" y="509"/>
                    </a:lnTo>
                    <a:lnTo>
                      <a:pt x="690" y="501"/>
                    </a:lnTo>
                    <a:lnTo>
                      <a:pt x="671" y="493"/>
                    </a:lnTo>
                    <a:lnTo>
                      <a:pt x="651" y="486"/>
                    </a:lnTo>
                    <a:lnTo>
                      <a:pt x="611" y="464"/>
                    </a:lnTo>
                    <a:lnTo>
                      <a:pt x="573" y="442"/>
                    </a:lnTo>
                    <a:lnTo>
                      <a:pt x="541" y="422"/>
                    </a:lnTo>
                    <a:lnTo>
                      <a:pt x="520" y="411"/>
                    </a:lnTo>
                    <a:lnTo>
                      <a:pt x="515" y="373"/>
                    </a:lnTo>
                    <a:lnTo>
                      <a:pt x="515" y="358"/>
                    </a:lnTo>
                    <a:lnTo>
                      <a:pt x="517" y="352"/>
                    </a:lnTo>
                    <a:lnTo>
                      <a:pt x="520" y="346"/>
                    </a:lnTo>
                    <a:lnTo>
                      <a:pt x="528" y="331"/>
                    </a:lnTo>
                    <a:lnTo>
                      <a:pt x="535" y="314"/>
                    </a:lnTo>
                    <a:lnTo>
                      <a:pt x="538" y="294"/>
                    </a:lnTo>
                    <a:lnTo>
                      <a:pt x="539" y="272"/>
                    </a:lnTo>
                    <a:lnTo>
                      <a:pt x="555" y="269"/>
                    </a:lnTo>
                    <a:lnTo>
                      <a:pt x="559" y="267"/>
                    </a:lnTo>
                    <a:lnTo>
                      <a:pt x="563" y="262"/>
                    </a:lnTo>
                    <a:lnTo>
                      <a:pt x="568" y="253"/>
                    </a:lnTo>
                    <a:lnTo>
                      <a:pt x="571" y="240"/>
                    </a:lnTo>
                    <a:lnTo>
                      <a:pt x="575" y="225"/>
                    </a:lnTo>
                    <a:lnTo>
                      <a:pt x="575" y="211"/>
                    </a:lnTo>
                    <a:lnTo>
                      <a:pt x="573" y="197"/>
                    </a:lnTo>
                    <a:lnTo>
                      <a:pt x="571" y="184"/>
                    </a:lnTo>
                    <a:lnTo>
                      <a:pt x="568" y="179"/>
                    </a:lnTo>
                    <a:lnTo>
                      <a:pt x="567" y="176"/>
                    </a:lnTo>
                    <a:lnTo>
                      <a:pt x="563" y="174"/>
                    </a:lnTo>
                    <a:lnTo>
                      <a:pt x="560" y="174"/>
                    </a:lnTo>
                    <a:lnTo>
                      <a:pt x="555" y="133"/>
                    </a:lnTo>
                    <a:lnTo>
                      <a:pt x="554" y="112"/>
                    </a:lnTo>
                    <a:lnTo>
                      <a:pt x="551" y="91"/>
                    </a:lnTo>
                    <a:lnTo>
                      <a:pt x="546" y="73"/>
                    </a:lnTo>
                    <a:lnTo>
                      <a:pt x="541" y="57"/>
                    </a:lnTo>
                    <a:lnTo>
                      <a:pt x="533" y="46"/>
                    </a:lnTo>
                    <a:lnTo>
                      <a:pt x="530" y="41"/>
                    </a:lnTo>
                    <a:lnTo>
                      <a:pt x="525" y="38"/>
                    </a:lnTo>
                    <a:lnTo>
                      <a:pt x="514" y="25"/>
                    </a:lnTo>
                    <a:lnTo>
                      <a:pt x="499" y="16"/>
                    </a:lnTo>
                    <a:lnTo>
                      <a:pt x="487" y="8"/>
                    </a:lnTo>
                    <a:lnTo>
                      <a:pt x="471" y="3"/>
                    </a:lnTo>
                    <a:lnTo>
                      <a:pt x="454" y="1"/>
                    </a:lnTo>
                    <a:lnTo>
                      <a:pt x="438" y="0"/>
                    </a:lnTo>
                    <a:lnTo>
                      <a:pt x="421" y="1"/>
                    </a:lnTo>
                    <a:lnTo>
                      <a:pt x="405" y="4"/>
                    </a:lnTo>
                    <a:lnTo>
                      <a:pt x="389" y="9"/>
                    </a:lnTo>
                    <a:lnTo>
                      <a:pt x="373" y="16"/>
                    </a:lnTo>
                    <a:lnTo>
                      <a:pt x="357" y="24"/>
                    </a:lnTo>
                    <a:lnTo>
                      <a:pt x="344" y="33"/>
                    </a:lnTo>
                    <a:lnTo>
                      <a:pt x="331" y="43"/>
                    </a:lnTo>
                    <a:lnTo>
                      <a:pt x="320" y="54"/>
                    </a:lnTo>
                    <a:lnTo>
                      <a:pt x="312" y="65"/>
                    </a:lnTo>
                    <a:lnTo>
                      <a:pt x="304" y="77"/>
                    </a:lnTo>
                    <a:lnTo>
                      <a:pt x="301" y="88"/>
                    </a:lnTo>
                    <a:lnTo>
                      <a:pt x="299" y="97"/>
                    </a:lnTo>
                    <a:lnTo>
                      <a:pt x="299" y="109"/>
                    </a:lnTo>
                    <a:lnTo>
                      <a:pt x="301" y="121"/>
                    </a:lnTo>
                    <a:lnTo>
                      <a:pt x="302" y="142"/>
                    </a:lnTo>
                    <a:lnTo>
                      <a:pt x="302" y="152"/>
                    </a:lnTo>
                    <a:lnTo>
                      <a:pt x="302" y="161"/>
                    </a:lnTo>
                    <a:lnTo>
                      <a:pt x="298" y="163"/>
                    </a:lnTo>
                    <a:lnTo>
                      <a:pt x="293" y="165"/>
                    </a:lnTo>
                    <a:lnTo>
                      <a:pt x="290" y="168"/>
                    </a:lnTo>
                    <a:lnTo>
                      <a:pt x="286" y="169"/>
                    </a:lnTo>
                    <a:lnTo>
                      <a:pt x="285" y="174"/>
                    </a:lnTo>
                    <a:lnTo>
                      <a:pt x="283" y="182"/>
                    </a:lnTo>
                    <a:lnTo>
                      <a:pt x="286" y="216"/>
                    </a:lnTo>
                    <a:lnTo>
                      <a:pt x="288" y="233"/>
                    </a:lnTo>
                    <a:lnTo>
                      <a:pt x="294" y="253"/>
                    </a:lnTo>
                    <a:lnTo>
                      <a:pt x="296" y="256"/>
                    </a:lnTo>
                    <a:lnTo>
                      <a:pt x="299" y="257"/>
                    </a:lnTo>
                    <a:lnTo>
                      <a:pt x="309" y="257"/>
                    </a:lnTo>
                    <a:lnTo>
                      <a:pt x="317" y="256"/>
                    </a:lnTo>
                    <a:lnTo>
                      <a:pt x="320" y="257"/>
                    </a:lnTo>
                    <a:lnTo>
                      <a:pt x="322" y="262"/>
                    </a:lnTo>
                    <a:lnTo>
                      <a:pt x="323" y="273"/>
                    </a:lnTo>
                    <a:lnTo>
                      <a:pt x="322" y="286"/>
                    </a:lnTo>
                    <a:lnTo>
                      <a:pt x="323" y="301"/>
                    </a:lnTo>
                    <a:lnTo>
                      <a:pt x="323" y="307"/>
                    </a:lnTo>
                    <a:lnTo>
                      <a:pt x="326" y="315"/>
                    </a:lnTo>
                    <a:lnTo>
                      <a:pt x="330" y="320"/>
                    </a:lnTo>
                    <a:lnTo>
                      <a:pt x="331" y="323"/>
                    </a:lnTo>
                    <a:lnTo>
                      <a:pt x="334" y="326"/>
                    </a:lnTo>
                    <a:lnTo>
                      <a:pt x="334" y="331"/>
                    </a:lnTo>
                    <a:lnTo>
                      <a:pt x="336" y="355"/>
                    </a:lnTo>
                    <a:lnTo>
                      <a:pt x="336" y="379"/>
                    </a:lnTo>
                    <a:lnTo>
                      <a:pt x="334" y="400"/>
                    </a:lnTo>
                    <a:lnTo>
                      <a:pt x="334" y="419"/>
                    </a:lnTo>
                    <a:lnTo>
                      <a:pt x="277" y="451"/>
                    </a:lnTo>
                    <a:lnTo>
                      <a:pt x="217" y="483"/>
                    </a:lnTo>
                    <a:lnTo>
                      <a:pt x="158" y="515"/>
                    </a:lnTo>
                    <a:lnTo>
                      <a:pt x="129" y="530"/>
                    </a:lnTo>
                    <a:lnTo>
                      <a:pt x="97" y="544"/>
                    </a:lnTo>
                    <a:lnTo>
                      <a:pt x="93" y="552"/>
                    </a:lnTo>
                    <a:lnTo>
                      <a:pt x="88" y="562"/>
                    </a:lnTo>
                    <a:lnTo>
                      <a:pt x="78" y="586"/>
                    </a:lnTo>
                    <a:lnTo>
                      <a:pt x="70" y="613"/>
                    </a:lnTo>
                    <a:lnTo>
                      <a:pt x="62" y="647"/>
                    </a:lnTo>
                    <a:lnTo>
                      <a:pt x="56" y="683"/>
                    </a:lnTo>
                    <a:lnTo>
                      <a:pt x="49" y="723"/>
                    </a:lnTo>
                    <a:lnTo>
                      <a:pt x="40" y="812"/>
                    </a:lnTo>
                    <a:lnTo>
                      <a:pt x="27" y="936"/>
                    </a:lnTo>
                    <a:lnTo>
                      <a:pt x="20" y="997"/>
                    </a:lnTo>
                    <a:lnTo>
                      <a:pt x="17" y="1057"/>
                    </a:lnTo>
                    <a:lnTo>
                      <a:pt x="14" y="1101"/>
                    </a:lnTo>
                    <a:lnTo>
                      <a:pt x="9" y="1141"/>
                    </a:lnTo>
                    <a:lnTo>
                      <a:pt x="4" y="1178"/>
                    </a:lnTo>
                    <a:lnTo>
                      <a:pt x="3" y="1209"/>
                    </a:lnTo>
                    <a:lnTo>
                      <a:pt x="3" y="1225"/>
                    </a:lnTo>
                    <a:lnTo>
                      <a:pt x="1" y="1244"/>
                    </a:lnTo>
                    <a:lnTo>
                      <a:pt x="0" y="1265"/>
                    </a:lnTo>
                    <a:lnTo>
                      <a:pt x="0" y="1287"/>
                    </a:lnTo>
                    <a:lnTo>
                      <a:pt x="3" y="1306"/>
                    </a:lnTo>
                    <a:lnTo>
                      <a:pt x="8" y="1324"/>
                    </a:lnTo>
                    <a:lnTo>
                      <a:pt x="12" y="1342"/>
                    </a:lnTo>
                    <a:lnTo>
                      <a:pt x="14" y="1361"/>
                    </a:lnTo>
                    <a:lnTo>
                      <a:pt x="12" y="1369"/>
                    </a:lnTo>
                    <a:lnTo>
                      <a:pt x="9" y="1377"/>
                    </a:lnTo>
                    <a:lnTo>
                      <a:pt x="6" y="1385"/>
                    </a:lnTo>
                    <a:lnTo>
                      <a:pt x="4" y="1391"/>
                    </a:lnTo>
                    <a:lnTo>
                      <a:pt x="4" y="1414"/>
                    </a:lnTo>
                    <a:lnTo>
                      <a:pt x="3" y="1433"/>
                    </a:lnTo>
                    <a:lnTo>
                      <a:pt x="1" y="1449"/>
                    </a:lnTo>
                    <a:lnTo>
                      <a:pt x="1" y="1463"/>
                    </a:lnTo>
                    <a:lnTo>
                      <a:pt x="3" y="1466"/>
                    </a:lnTo>
                    <a:lnTo>
                      <a:pt x="6" y="1470"/>
                    </a:lnTo>
                    <a:lnTo>
                      <a:pt x="12" y="1471"/>
                    </a:lnTo>
                    <a:lnTo>
                      <a:pt x="19" y="1473"/>
                    </a:lnTo>
                    <a:lnTo>
                      <a:pt x="22" y="1474"/>
                    </a:lnTo>
                    <a:lnTo>
                      <a:pt x="22" y="1476"/>
                    </a:lnTo>
                    <a:lnTo>
                      <a:pt x="22" y="1479"/>
                    </a:lnTo>
                    <a:lnTo>
                      <a:pt x="20" y="1481"/>
                    </a:lnTo>
                    <a:lnTo>
                      <a:pt x="19" y="1482"/>
                    </a:lnTo>
                    <a:lnTo>
                      <a:pt x="22" y="1535"/>
                    </a:lnTo>
                    <a:lnTo>
                      <a:pt x="25" y="1580"/>
                    </a:lnTo>
                    <a:lnTo>
                      <a:pt x="27" y="1601"/>
                    </a:lnTo>
                    <a:lnTo>
                      <a:pt x="32" y="1620"/>
                    </a:lnTo>
                    <a:lnTo>
                      <a:pt x="38" y="1638"/>
                    </a:lnTo>
                    <a:lnTo>
                      <a:pt x="48" y="1655"/>
                    </a:lnTo>
                    <a:lnTo>
                      <a:pt x="54" y="1665"/>
                    </a:lnTo>
                    <a:lnTo>
                      <a:pt x="61" y="1671"/>
                    </a:lnTo>
                    <a:lnTo>
                      <a:pt x="70" y="1678"/>
                    </a:lnTo>
                    <a:lnTo>
                      <a:pt x="78" y="1683"/>
                    </a:lnTo>
                    <a:lnTo>
                      <a:pt x="89" y="1686"/>
                    </a:lnTo>
                    <a:lnTo>
                      <a:pt x="101" y="1689"/>
                    </a:lnTo>
                    <a:lnTo>
                      <a:pt x="113" y="1691"/>
                    </a:lnTo>
                    <a:lnTo>
                      <a:pt x="128" y="1691"/>
                    </a:lnTo>
                    <a:lnTo>
                      <a:pt x="141" y="1737"/>
                    </a:lnTo>
                    <a:lnTo>
                      <a:pt x="152" y="1785"/>
                    </a:lnTo>
                    <a:lnTo>
                      <a:pt x="161" y="1835"/>
                    </a:lnTo>
                    <a:lnTo>
                      <a:pt x="169" y="1886"/>
                    </a:lnTo>
                    <a:lnTo>
                      <a:pt x="174" y="1936"/>
                    </a:lnTo>
                    <a:lnTo>
                      <a:pt x="177" y="1987"/>
                    </a:lnTo>
                    <a:lnTo>
                      <a:pt x="181" y="2091"/>
                    </a:lnTo>
                    <a:lnTo>
                      <a:pt x="184" y="2197"/>
                    </a:lnTo>
                    <a:lnTo>
                      <a:pt x="187" y="2302"/>
                    </a:lnTo>
                    <a:lnTo>
                      <a:pt x="189" y="2352"/>
                    </a:lnTo>
                    <a:lnTo>
                      <a:pt x="190" y="2400"/>
                    </a:lnTo>
                    <a:lnTo>
                      <a:pt x="192" y="2448"/>
                    </a:lnTo>
                    <a:lnTo>
                      <a:pt x="193" y="2470"/>
                    </a:lnTo>
                    <a:lnTo>
                      <a:pt x="197" y="2494"/>
                    </a:lnTo>
                    <a:lnTo>
                      <a:pt x="201" y="2533"/>
                    </a:lnTo>
                    <a:lnTo>
                      <a:pt x="206" y="2578"/>
                    </a:lnTo>
                    <a:lnTo>
                      <a:pt x="209" y="2626"/>
                    </a:lnTo>
                    <a:lnTo>
                      <a:pt x="216" y="2672"/>
                    </a:lnTo>
                    <a:lnTo>
                      <a:pt x="217" y="2696"/>
                    </a:lnTo>
                    <a:lnTo>
                      <a:pt x="217" y="2719"/>
                    </a:lnTo>
                    <a:lnTo>
                      <a:pt x="221" y="2739"/>
                    </a:lnTo>
                    <a:lnTo>
                      <a:pt x="224" y="2747"/>
                    </a:lnTo>
                    <a:lnTo>
                      <a:pt x="227" y="2754"/>
                    </a:lnTo>
                    <a:lnTo>
                      <a:pt x="230" y="2757"/>
                    </a:lnTo>
                    <a:lnTo>
                      <a:pt x="233" y="2757"/>
                    </a:lnTo>
                    <a:lnTo>
                      <a:pt x="238" y="2757"/>
                    </a:lnTo>
                    <a:lnTo>
                      <a:pt x="241" y="2757"/>
                    </a:lnTo>
                    <a:lnTo>
                      <a:pt x="235" y="2771"/>
                    </a:lnTo>
                    <a:lnTo>
                      <a:pt x="227" y="2784"/>
                    </a:lnTo>
                    <a:lnTo>
                      <a:pt x="217" y="2796"/>
                    </a:lnTo>
                    <a:lnTo>
                      <a:pt x="206" y="2804"/>
                    </a:lnTo>
                    <a:lnTo>
                      <a:pt x="195" y="2810"/>
                    </a:lnTo>
                    <a:lnTo>
                      <a:pt x="182" y="2815"/>
                    </a:lnTo>
                    <a:lnTo>
                      <a:pt x="169" y="2821"/>
                    </a:lnTo>
                    <a:lnTo>
                      <a:pt x="163" y="2824"/>
                    </a:lnTo>
                    <a:lnTo>
                      <a:pt x="158" y="2829"/>
                    </a:lnTo>
                    <a:lnTo>
                      <a:pt x="152" y="2836"/>
                    </a:lnTo>
                    <a:lnTo>
                      <a:pt x="147" y="2844"/>
                    </a:lnTo>
                    <a:lnTo>
                      <a:pt x="139" y="2861"/>
                    </a:lnTo>
                    <a:lnTo>
                      <a:pt x="137" y="2864"/>
                    </a:lnTo>
                    <a:lnTo>
                      <a:pt x="137" y="2869"/>
                    </a:lnTo>
                    <a:lnTo>
                      <a:pt x="137" y="2876"/>
                    </a:lnTo>
                    <a:lnTo>
                      <a:pt x="192" y="2882"/>
                    </a:lnTo>
                    <a:lnTo>
                      <a:pt x="243" y="2885"/>
                    </a:lnTo>
                    <a:lnTo>
                      <a:pt x="267" y="2885"/>
                    </a:lnTo>
                    <a:lnTo>
                      <a:pt x="291" y="2885"/>
                    </a:lnTo>
                    <a:lnTo>
                      <a:pt x="314" y="2882"/>
                    </a:lnTo>
                    <a:lnTo>
                      <a:pt x="336" y="2877"/>
                    </a:lnTo>
                    <a:lnTo>
                      <a:pt x="339" y="2876"/>
                    </a:lnTo>
                    <a:lnTo>
                      <a:pt x="341" y="2872"/>
                    </a:lnTo>
                    <a:lnTo>
                      <a:pt x="344" y="2866"/>
                    </a:lnTo>
                    <a:lnTo>
                      <a:pt x="349" y="2858"/>
                    </a:lnTo>
                    <a:lnTo>
                      <a:pt x="350" y="2855"/>
                    </a:lnTo>
                    <a:lnTo>
                      <a:pt x="352" y="2855"/>
                    </a:lnTo>
                    <a:lnTo>
                      <a:pt x="358" y="2855"/>
                    </a:lnTo>
                    <a:lnTo>
                      <a:pt x="366" y="2856"/>
                    </a:lnTo>
                    <a:lnTo>
                      <a:pt x="374" y="2858"/>
                    </a:lnTo>
                    <a:lnTo>
                      <a:pt x="379" y="2858"/>
                    </a:lnTo>
                    <a:lnTo>
                      <a:pt x="402" y="2853"/>
                    </a:lnTo>
                    <a:lnTo>
                      <a:pt x="411" y="2850"/>
                    </a:lnTo>
                    <a:lnTo>
                      <a:pt x="421" y="2847"/>
                    </a:lnTo>
                    <a:lnTo>
                      <a:pt x="422" y="2840"/>
                    </a:lnTo>
                    <a:lnTo>
                      <a:pt x="424" y="2832"/>
                    </a:lnTo>
                    <a:lnTo>
                      <a:pt x="424" y="2808"/>
                    </a:lnTo>
                    <a:lnTo>
                      <a:pt x="418" y="2735"/>
                    </a:lnTo>
                    <a:lnTo>
                      <a:pt x="410" y="2591"/>
                    </a:lnTo>
                    <a:lnTo>
                      <a:pt x="406" y="2523"/>
                    </a:lnTo>
                    <a:lnTo>
                      <a:pt x="405" y="2474"/>
                    </a:lnTo>
                    <a:lnTo>
                      <a:pt x="405" y="2410"/>
                    </a:lnTo>
                    <a:lnTo>
                      <a:pt x="400" y="2349"/>
                    </a:lnTo>
                    <a:lnTo>
                      <a:pt x="394" y="2291"/>
                    </a:lnTo>
                    <a:lnTo>
                      <a:pt x="390" y="2264"/>
                    </a:lnTo>
                    <a:lnTo>
                      <a:pt x="386" y="2238"/>
                    </a:lnTo>
                    <a:lnTo>
                      <a:pt x="381" y="2224"/>
                    </a:lnTo>
                    <a:lnTo>
                      <a:pt x="376" y="2209"/>
                    </a:lnTo>
                    <a:lnTo>
                      <a:pt x="370" y="2195"/>
                    </a:lnTo>
                    <a:lnTo>
                      <a:pt x="366" y="2182"/>
                    </a:lnTo>
                    <a:lnTo>
                      <a:pt x="363" y="2168"/>
                    </a:lnTo>
                    <a:lnTo>
                      <a:pt x="360" y="2153"/>
                    </a:lnTo>
                    <a:lnTo>
                      <a:pt x="358" y="2118"/>
                    </a:lnTo>
                    <a:lnTo>
                      <a:pt x="358" y="2080"/>
                    </a:lnTo>
                    <a:lnTo>
                      <a:pt x="362" y="2037"/>
                    </a:lnTo>
                    <a:lnTo>
                      <a:pt x="365" y="1992"/>
                    </a:lnTo>
                    <a:lnTo>
                      <a:pt x="370" y="1944"/>
                    </a:lnTo>
                    <a:lnTo>
                      <a:pt x="381" y="1846"/>
                    </a:lnTo>
                    <a:lnTo>
                      <a:pt x="387" y="1788"/>
                    </a:lnTo>
                    <a:lnTo>
                      <a:pt x="394" y="1731"/>
                    </a:lnTo>
                    <a:lnTo>
                      <a:pt x="398" y="1681"/>
                    </a:lnTo>
                    <a:lnTo>
                      <a:pt x="405" y="1638"/>
                    </a:lnTo>
                    <a:lnTo>
                      <a:pt x="408" y="1630"/>
                    </a:lnTo>
                    <a:lnTo>
                      <a:pt x="410" y="1623"/>
                    </a:lnTo>
                    <a:lnTo>
                      <a:pt x="413" y="1617"/>
                    </a:lnTo>
                    <a:lnTo>
                      <a:pt x="416" y="1611"/>
                    </a:lnTo>
                    <a:lnTo>
                      <a:pt x="426" y="1611"/>
                    </a:lnTo>
                    <a:lnTo>
                      <a:pt x="429" y="1631"/>
                    </a:lnTo>
                    <a:lnTo>
                      <a:pt x="435" y="1651"/>
                    </a:lnTo>
                    <a:lnTo>
                      <a:pt x="440" y="1670"/>
                    </a:lnTo>
                    <a:lnTo>
                      <a:pt x="443" y="1691"/>
                    </a:lnTo>
                    <a:lnTo>
                      <a:pt x="454" y="1761"/>
                    </a:lnTo>
                    <a:lnTo>
                      <a:pt x="464" y="1835"/>
                    </a:lnTo>
                    <a:lnTo>
                      <a:pt x="475" y="1912"/>
                    </a:lnTo>
                    <a:lnTo>
                      <a:pt x="487" y="1992"/>
                    </a:lnTo>
                    <a:lnTo>
                      <a:pt x="501" y="2025"/>
                    </a:lnTo>
                    <a:lnTo>
                      <a:pt x="512" y="2056"/>
                    </a:lnTo>
                    <a:lnTo>
                      <a:pt x="519" y="2086"/>
                    </a:lnTo>
                    <a:lnTo>
                      <a:pt x="525" y="2120"/>
                    </a:lnTo>
                    <a:lnTo>
                      <a:pt x="530" y="2163"/>
                    </a:lnTo>
                    <a:lnTo>
                      <a:pt x="533" y="2206"/>
                    </a:lnTo>
                    <a:lnTo>
                      <a:pt x="536" y="2251"/>
                    </a:lnTo>
                    <a:lnTo>
                      <a:pt x="539" y="2293"/>
                    </a:lnTo>
                    <a:lnTo>
                      <a:pt x="555" y="2411"/>
                    </a:lnTo>
                    <a:lnTo>
                      <a:pt x="567" y="2525"/>
                    </a:lnTo>
                    <a:lnTo>
                      <a:pt x="586" y="2741"/>
                    </a:lnTo>
                    <a:lnTo>
                      <a:pt x="587" y="2751"/>
                    </a:lnTo>
                    <a:lnTo>
                      <a:pt x="591" y="2759"/>
                    </a:lnTo>
                    <a:lnTo>
                      <a:pt x="594" y="2768"/>
                    </a:lnTo>
                    <a:lnTo>
                      <a:pt x="594" y="2776"/>
                    </a:lnTo>
                    <a:lnTo>
                      <a:pt x="594" y="2786"/>
                    </a:lnTo>
                    <a:lnTo>
                      <a:pt x="592" y="2794"/>
                    </a:lnTo>
                    <a:lnTo>
                      <a:pt x="587" y="2812"/>
                    </a:lnTo>
                    <a:lnTo>
                      <a:pt x="583" y="2829"/>
                    </a:lnTo>
                    <a:lnTo>
                      <a:pt x="579" y="2837"/>
                    </a:lnTo>
                    <a:lnTo>
                      <a:pt x="579" y="2847"/>
                    </a:lnTo>
                    <a:lnTo>
                      <a:pt x="586" y="2852"/>
                    </a:lnTo>
                    <a:lnTo>
                      <a:pt x="594" y="2855"/>
                    </a:lnTo>
                    <a:lnTo>
                      <a:pt x="603" y="2860"/>
                    </a:lnTo>
                    <a:lnTo>
                      <a:pt x="611" y="2866"/>
                    </a:lnTo>
                    <a:lnTo>
                      <a:pt x="618" y="2874"/>
                    </a:lnTo>
                    <a:lnTo>
                      <a:pt x="621" y="2882"/>
                    </a:lnTo>
                    <a:lnTo>
                      <a:pt x="624" y="2892"/>
                    </a:lnTo>
                    <a:lnTo>
                      <a:pt x="664" y="2896"/>
                    </a:lnTo>
                    <a:lnTo>
                      <a:pt x="709" y="2898"/>
                    </a:lnTo>
                    <a:lnTo>
                      <a:pt x="754" y="2898"/>
                    </a:lnTo>
                    <a:lnTo>
                      <a:pt x="797" y="2896"/>
                    </a:lnTo>
                    <a:lnTo>
                      <a:pt x="794" y="2880"/>
                    </a:lnTo>
                    <a:lnTo>
                      <a:pt x="789" y="2861"/>
                    </a:lnTo>
                    <a:lnTo>
                      <a:pt x="781" y="2844"/>
                    </a:lnTo>
                    <a:lnTo>
                      <a:pt x="770" y="2826"/>
                    </a:lnTo>
                    <a:lnTo>
                      <a:pt x="760" y="2813"/>
                    </a:lnTo>
                    <a:lnTo>
                      <a:pt x="749" y="2800"/>
                    </a:lnTo>
                    <a:lnTo>
                      <a:pt x="741" y="2789"/>
                    </a:lnTo>
                    <a:lnTo>
                      <a:pt x="740" y="2783"/>
                    </a:lnTo>
                    <a:lnTo>
                      <a:pt x="738" y="2776"/>
                    </a:lnTo>
                    <a:lnTo>
                      <a:pt x="738" y="2773"/>
                    </a:lnTo>
                    <a:lnTo>
                      <a:pt x="740" y="2768"/>
                    </a:lnTo>
                    <a:lnTo>
                      <a:pt x="743" y="2762"/>
                    </a:lnTo>
                    <a:lnTo>
                      <a:pt x="748" y="2754"/>
                    </a:lnTo>
                    <a:lnTo>
                      <a:pt x="749" y="2749"/>
                    </a:lnTo>
                    <a:lnTo>
                      <a:pt x="749" y="2744"/>
                    </a:lnTo>
                    <a:lnTo>
                      <a:pt x="746" y="2717"/>
                    </a:lnTo>
                    <a:lnTo>
                      <a:pt x="743" y="2687"/>
                    </a:lnTo>
                    <a:lnTo>
                      <a:pt x="740" y="2655"/>
                    </a:lnTo>
                    <a:lnTo>
                      <a:pt x="736" y="2623"/>
                    </a:lnTo>
                    <a:lnTo>
                      <a:pt x="738" y="2567"/>
                    </a:lnTo>
                    <a:lnTo>
                      <a:pt x="743" y="2510"/>
                    </a:lnTo>
                    <a:lnTo>
                      <a:pt x="746" y="2453"/>
                    </a:lnTo>
                    <a:lnTo>
                      <a:pt x="748" y="2395"/>
                    </a:lnTo>
                    <a:lnTo>
                      <a:pt x="748" y="2355"/>
                    </a:lnTo>
                    <a:lnTo>
                      <a:pt x="744" y="2317"/>
                    </a:lnTo>
                    <a:lnTo>
                      <a:pt x="738" y="2241"/>
                    </a:lnTo>
                    <a:lnTo>
                      <a:pt x="730" y="2166"/>
                    </a:lnTo>
                    <a:lnTo>
                      <a:pt x="728" y="2128"/>
                    </a:lnTo>
                    <a:lnTo>
                      <a:pt x="728" y="2089"/>
                    </a:lnTo>
                    <a:lnTo>
                      <a:pt x="730" y="1878"/>
                    </a:lnTo>
                    <a:lnTo>
                      <a:pt x="733" y="1665"/>
                    </a:lnTo>
                    <a:lnTo>
                      <a:pt x="756" y="1654"/>
                    </a:lnTo>
                    <a:lnTo>
                      <a:pt x="775" y="1643"/>
                    </a:lnTo>
                    <a:lnTo>
                      <a:pt x="812" y="1615"/>
                    </a:lnTo>
                    <a:lnTo>
                      <a:pt x="816" y="1595"/>
                    </a:lnTo>
                    <a:lnTo>
                      <a:pt x="818" y="1567"/>
                    </a:lnTo>
                    <a:lnTo>
                      <a:pt x="823" y="1508"/>
                    </a:lnTo>
                    <a:lnTo>
                      <a:pt x="829" y="1425"/>
                    </a:lnTo>
                    <a:lnTo>
                      <a:pt x="832" y="1329"/>
                    </a:lnTo>
                    <a:lnTo>
                      <a:pt x="834" y="1226"/>
                    </a:lnTo>
                    <a:lnTo>
                      <a:pt x="834" y="1119"/>
                    </a:lnTo>
                    <a:lnTo>
                      <a:pt x="829" y="1012"/>
                    </a:lnTo>
                    <a:lnTo>
                      <a:pt x="823" y="904"/>
                    </a:lnTo>
                    <a:lnTo>
                      <a:pt x="818" y="853"/>
                    </a:lnTo>
                    <a:lnTo>
                      <a:pt x="813" y="804"/>
                    </a:lnTo>
                    <a:lnTo>
                      <a:pt x="807" y="757"/>
                    </a:lnTo>
                    <a:lnTo>
                      <a:pt x="799" y="712"/>
                    </a:lnTo>
                    <a:close/>
                    <a:moveTo>
                      <a:pt x="123" y="1636"/>
                    </a:moveTo>
                    <a:lnTo>
                      <a:pt x="113" y="1636"/>
                    </a:lnTo>
                    <a:lnTo>
                      <a:pt x="107" y="1577"/>
                    </a:lnTo>
                    <a:lnTo>
                      <a:pt x="113" y="1585"/>
                    </a:lnTo>
                    <a:lnTo>
                      <a:pt x="117" y="1595"/>
                    </a:lnTo>
                    <a:lnTo>
                      <a:pt x="123" y="1615"/>
                    </a:lnTo>
                    <a:lnTo>
                      <a:pt x="123" y="1636"/>
                    </a:lnTo>
                    <a:close/>
                    <a:moveTo>
                      <a:pt x="181" y="1065"/>
                    </a:moveTo>
                    <a:lnTo>
                      <a:pt x="181" y="1065"/>
                    </a:lnTo>
                    <a:lnTo>
                      <a:pt x="179" y="1100"/>
                    </a:lnTo>
                    <a:lnTo>
                      <a:pt x="176" y="1135"/>
                    </a:lnTo>
                    <a:lnTo>
                      <a:pt x="174" y="1170"/>
                    </a:lnTo>
                    <a:lnTo>
                      <a:pt x="169" y="1207"/>
                    </a:lnTo>
                    <a:lnTo>
                      <a:pt x="161" y="1236"/>
                    </a:lnTo>
                    <a:lnTo>
                      <a:pt x="153" y="1265"/>
                    </a:lnTo>
                    <a:lnTo>
                      <a:pt x="145" y="1292"/>
                    </a:lnTo>
                    <a:lnTo>
                      <a:pt x="137" y="1319"/>
                    </a:lnTo>
                    <a:lnTo>
                      <a:pt x="133" y="1346"/>
                    </a:lnTo>
                    <a:lnTo>
                      <a:pt x="131" y="1372"/>
                    </a:lnTo>
                    <a:lnTo>
                      <a:pt x="128" y="1418"/>
                    </a:lnTo>
                    <a:lnTo>
                      <a:pt x="125" y="1412"/>
                    </a:lnTo>
                    <a:lnTo>
                      <a:pt x="121" y="1401"/>
                    </a:lnTo>
                    <a:lnTo>
                      <a:pt x="118" y="1385"/>
                    </a:lnTo>
                    <a:lnTo>
                      <a:pt x="118" y="1362"/>
                    </a:lnTo>
                    <a:lnTo>
                      <a:pt x="120" y="1345"/>
                    </a:lnTo>
                    <a:lnTo>
                      <a:pt x="125" y="1327"/>
                    </a:lnTo>
                    <a:lnTo>
                      <a:pt x="136" y="1285"/>
                    </a:lnTo>
                    <a:lnTo>
                      <a:pt x="141" y="1261"/>
                    </a:lnTo>
                    <a:lnTo>
                      <a:pt x="147" y="1237"/>
                    </a:lnTo>
                    <a:lnTo>
                      <a:pt x="150" y="1210"/>
                    </a:lnTo>
                    <a:lnTo>
                      <a:pt x="153" y="1180"/>
                    </a:lnTo>
                    <a:lnTo>
                      <a:pt x="160" y="1095"/>
                    </a:lnTo>
                    <a:lnTo>
                      <a:pt x="168" y="1015"/>
                    </a:lnTo>
                    <a:lnTo>
                      <a:pt x="176" y="951"/>
                    </a:lnTo>
                    <a:lnTo>
                      <a:pt x="182" y="911"/>
                    </a:lnTo>
                    <a:lnTo>
                      <a:pt x="185" y="920"/>
                    </a:lnTo>
                    <a:lnTo>
                      <a:pt x="185" y="930"/>
                    </a:lnTo>
                    <a:lnTo>
                      <a:pt x="185" y="949"/>
                    </a:lnTo>
                    <a:lnTo>
                      <a:pt x="181" y="991"/>
                    </a:lnTo>
                    <a:lnTo>
                      <a:pt x="181" y="1008"/>
                    </a:lnTo>
                    <a:lnTo>
                      <a:pt x="182" y="1026"/>
                    </a:lnTo>
                    <a:lnTo>
                      <a:pt x="182" y="1045"/>
                    </a:lnTo>
                    <a:lnTo>
                      <a:pt x="181" y="1065"/>
                    </a:lnTo>
                    <a:close/>
                    <a:moveTo>
                      <a:pt x="669" y="1193"/>
                    </a:moveTo>
                    <a:lnTo>
                      <a:pt x="669" y="1193"/>
                    </a:lnTo>
                    <a:lnTo>
                      <a:pt x="668" y="1159"/>
                    </a:lnTo>
                    <a:lnTo>
                      <a:pt x="666" y="1124"/>
                    </a:lnTo>
                    <a:lnTo>
                      <a:pt x="664" y="1047"/>
                    </a:lnTo>
                    <a:lnTo>
                      <a:pt x="668" y="887"/>
                    </a:lnTo>
                    <a:lnTo>
                      <a:pt x="671" y="892"/>
                    </a:lnTo>
                    <a:lnTo>
                      <a:pt x="674" y="900"/>
                    </a:lnTo>
                    <a:lnTo>
                      <a:pt x="679" y="909"/>
                    </a:lnTo>
                    <a:lnTo>
                      <a:pt x="682" y="920"/>
                    </a:lnTo>
                    <a:lnTo>
                      <a:pt x="685" y="941"/>
                    </a:lnTo>
                    <a:lnTo>
                      <a:pt x="690" y="968"/>
                    </a:lnTo>
                    <a:lnTo>
                      <a:pt x="696" y="1036"/>
                    </a:lnTo>
                    <a:lnTo>
                      <a:pt x="701" y="1113"/>
                    </a:lnTo>
                    <a:lnTo>
                      <a:pt x="706" y="1194"/>
                    </a:lnTo>
                    <a:lnTo>
                      <a:pt x="714" y="1345"/>
                    </a:lnTo>
                    <a:lnTo>
                      <a:pt x="719" y="1402"/>
                    </a:lnTo>
                    <a:lnTo>
                      <a:pt x="724" y="1438"/>
                    </a:lnTo>
                    <a:lnTo>
                      <a:pt x="708" y="1447"/>
                    </a:lnTo>
                    <a:lnTo>
                      <a:pt x="706" y="1417"/>
                    </a:lnTo>
                    <a:lnTo>
                      <a:pt x="701" y="1386"/>
                    </a:lnTo>
                    <a:lnTo>
                      <a:pt x="690" y="1324"/>
                    </a:lnTo>
                    <a:lnTo>
                      <a:pt x="679" y="1260"/>
                    </a:lnTo>
                    <a:lnTo>
                      <a:pt x="674" y="1226"/>
                    </a:lnTo>
                    <a:lnTo>
                      <a:pt x="669" y="1193"/>
                    </a:lnTo>
                    <a:close/>
                    <a:moveTo>
                      <a:pt x="724" y="1591"/>
                    </a:moveTo>
                    <a:lnTo>
                      <a:pt x="719" y="1591"/>
                    </a:lnTo>
                    <a:lnTo>
                      <a:pt x="712" y="1551"/>
                    </a:lnTo>
                    <a:lnTo>
                      <a:pt x="719" y="1559"/>
                    </a:lnTo>
                    <a:lnTo>
                      <a:pt x="722" y="1567"/>
                    </a:lnTo>
                    <a:lnTo>
                      <a:pt x="724" y="1577"/>
                    </a:lnTo>
                    <a:lnTo>
                      <a:pt x="724" y="1591"/>
                    </a:lnTo>
                    <a:close/>
                  </a:path>
                </a:pathLst>
              </a:custGeom>
              <a:solidFill>
                <a:schemeClr val="accent5"/>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28" name="Gruppieren 26"/>
            <p:cNvGrpSpPr/>
            <p:nvPr/>
          </p:nvGrpSpPr>
          <p:grpSpPr>
            <a:xfrm>
              <a:off x="4762134" y="2581487"/>
              <a:ext cx="673962" cy="1063529"/>
              <a:chOff x="1593782" y="3418618"/>
              <a:chExt cx="817978" cy="1290794"/>
            </a:xfrm>
          </p:grpSpPr>
          <p:sp>
            <p:nvSpPr>
              <p:cNvPr id="34" name="Ellipse 4"/>
              <p:cNvSpPr/>
              <p:nvPr/>
            </p:nvSpPr>
            <p:spPr>
              <a:xfrm>
                <a:off x="1593782" y="4482081"/>
                <a:ext cx="817978" cy="227331"/>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Freeform 13"/>
              <p:cNvSpPr>
                <a:spLocks noEditPoints="1"/>
              </p:cNvSpPr>
              <p:nvPr/>
            </p:nvSpPr>
            <p:spPr bwMode="auto">
              <a:xfrm>
                <a:off x="1854828" y="3418618"/>
                <a:ext cx="412915" cy="1206109"/>
              </a:xfrm>
              <a:custGeom>
                <a:avLst/>
                <a:gdLst>
                  <a:gd name="T0" fmla="*/ 887 w 1010"/>
                  <a:gd name="T1" fmla="*/ 661 h 2956"/>
                  <a:gd name="T2" fmla="*/ 812 w 1010"/>
                  <a:gd name="T3" fmla="*/ 535 h 2956"/>
                  <a:gd name="T4" fmla="*/ 685 w 1010"/>
                  <a:gd name="T5" fmla="*/ 421 h 2956"/>
                  <a:gd name="T6" fmla="*/ 676 w 1010"/>
                  <a:gd name="T7" fmla="*/ 149 h 2956"/>
                  <a:gd name="T8" fmla="*/ 583 w 1010"/>
                  <a:gd name="T9" fmla="*/ 13 h 2956"/>
                  <a:gd name="T10" fmla="*/ 431 w 1010"/>
                  <a:gd name="T11" fmla="*/ 56 h 2956"/>
                  <a:gd name="T12" fmla="*/ 371 w 1010"/>
                  <a:gd name="T13" fmla="*/ 259 h 2956"/>
                  <a:gd name="T14" fmla="*/ 355 w 1010"/>
                  <a:gd name="T15" fmla="*/ 440 h 2956"/>
                  <a:gd name="T16" fmla="*/ 206 w 1010"/>
                  <a:gd name="T17" fmla="*/ 514 h 2956"/>
                  <a:gd name="T18" fmla="*/ 134 w 1010"/>
                  <a:gd name="T19" fmla="*/ 639 h 2956"/>
                  <a:gd name="T20" fmla="*/ 146 w 1010"/>
                  <a:gd name="T21" fmla="*/ 769 h 2956"/>
                  <a:gd name="T22" fmla="*/ 158 w 1010"/>
                  <a:gd name="T23" fmla="*/ 991 h 2956"/>
                  <a:gd name="T24" fmla="*/ 141 w 1010"/>
                  <a:gd name="T25" fmla="*/ 1220 h 2956"/>
                  <a:gd name="T26" fmla="*/ 141 w 1010"/>
                  <a:gd name="T27" fmla="*/ 1422 h 2956"/>
                  <a:gd name="T28" fmla="*/ 125 w 1010"/>
                  <a:gd name="T29" fmla="*/ 1561 h 2956"/>
                  <a:gd name="T30" fmla="*/ 146 w 1010"/>
                  <a:gd name="T31" fmla="*/ 1686 h 2956"/>
                  <a:gd name="T32" fmla="*/ 184 w 1010"/>
                  <a:gd name="T33" fmla="*/ 1882 h 2956"/>
                  <a:gd name="T34" fmla="*/ 178 w 1010"/>
                  <a:gd name="T35" fmla="*/ 2034 h 2956"/>
                  <a:gd name="T36" fmla="*/ 158 w 1010"/>
                  <a:gd name="T37" fmla="*/ 2199 h 2956"/>
                  <a:gd name="T38" fmla="*/ 114 w 1010"/>
                  <a:gd name="T39" fmla="*/ 2765 h 2956"/>
                  <a:gd name="T40" fmla="*/ 85 w 1010"/>
                  <a:gd name="T41" fmla="*/ 2846 h 2956"/>
                  <a:gd name="T42" fmla="*/ 3 w 1010"/>
                  <a:gd name="T43" fmla="*/ 2922 h 2956"/>
                  <a:gd name="T44" fmla="*/ 178 w 1010"/>
                  <a:gd name="T45" fmla="*/ 2910 h 2956"/>
                  <a:gd name="T46" fmla="*/ 274 w 1010"/>
                  <a:gd name="T47" fmla="*/ 2858 h 2956"/>
                  <a:gd name="T48" fmla="*/ 291 w 1010"/>
                  <a:gd name="T49" fmla="*/ 2863 h 2956"/>
                  <a:gd name="T50" fmla="*/ 379 w 1010"/>
                  <a:gd name="T51" fmla="*/ 2812 h 2956"/>
                  <a:gd name="T52" fmla="*/ 363 w 1010"/>
                  <a:gd name="T53" fmla="*/ 2496 h 2956"/>
                  <a:gd name="T54" fmla="*/ 384 w 1010"/>
                  <a:gd name="T55" fmla="*/ 2064 h 2956"/>
                  <a:gd name="T56" fmla="*/ 437 w 1010"/>
                  <a:gd name="T57" fmla="*/ 1742 h 2956"/>
                  <a:gd name="T58" fmla="*/ 501 w 1010"/>
                  <a:gd name="T59" fmla="*/ 1563 h 2956"/>
                  <a:gd name="T60" fmla="*/ 525 w 1010"/>
                  <a:gd name="T61" fmla="*/ 1686 h 2956"/>
                  <a:gd name="T62" fmla="*/ 519 w 1010"/>
                  <a:gd name="T63" fmla="*/ 1955 h 2956"/>
                  <a:gd name="T64" fmla="*/ 516 w 1010"/>
                  <a:gd name="T65" fmla="*/ 2183 h 2956"/>
                  <a:gd name="T66" fmla="*/ 492 w 1010"/>
                  <a:gd name="T67" fmla="*/ 2649 h 2956"/>
                  <a:gd name="T68" fmla="*/ 496 w 1010"/>
                  <a:gd name="T69" fmla="*/ 2796 h 2956"/>
                  <a:gd name="T70" fmla="*/ 501 w 1010"/>
                  <a:gd name="T71" fmla="*/ 2927 h 2956"/>
                  <a:gd name="T72" fmla="*/ 608 w 1010"/>
                  <a:gd name="T73" fmla="*/ 2942 h 2956"/>
                  <a:gd name="T74" fmla="*/ 625 w 1010"/>
                  <a:gd name="T75" fmla="*/ 2874 h 2956"/>
                  <a:gd name="T76" fmla="*/ 685 w 1010"/>
                  <a:gd name="T77" fmla="*/ 2727 h 2956"/>
                  <a:gd name="T78" fmla="*/ 711 w 1010"/>
                  <a:gd name="T79" fmla="*/ 2354 h 2956"/>
                  <a:gd name="T80" fmla="*/ 738 w 1010"/>
                  <a:gd name="T81" fmla="*/ 2053 h 2956"/>
                  <a:gd name="T82" fmla="*/ 783 w 1010"/>
                  <a:gd name="T83" fmla="*/ 1675 h 2956"/>
                  <a:gd name="T84" fmla="*/ 817 w 1010"/>
                  <a:gd name="T85" fmla="*/ 1422 h 2956"/>
                  <a:gd name="T86" fmla="*/ 793 w 1010"/>
                  <a:gd name="T87" fmla="*/ 1244 h 2956"/>
                  <a:gd name="T88" fmla="*/ 874 w 1010"/>
                  <a:gd name="T89" fmla="*/ 1204 h 2956"/>
                  <a:gd name="T90" fmla="*/ 986 w 1010"/>
                  <a:gd name="T91" fmla="*/ 1044 h 2956"/>
                  <a:gd name="T92" fmla="*/ 962 w 1010"/>
                  <a:gd name="T93" fmla="*/ 826 h 2956"/>
                  <a:gd name="T94" fmla="*/ 178 w 1010"/>
                  <a:gd name="T95" fmla="*/ 1614 h 2956"/>
                  <a:gd name="T96" fmla="*/ 194 w 1010"/>
                  <a:gd name="T97" fmla="*/ 1678 h 2956"/>
                  <a:gd name="T98" fmla="*/ 243 w 1010"/>
                  <a:gd name="T99" fmla="*/ 1384 h 2956"/>
                  <a:gd name="T100" fmla="*/ 211 w 1010"/>
                  <a:gd name="T101" fmla="*/ 1416 h 2956"/>
                  <a:gd name="T102" fmla="*/ 250 w 1010"/>
                  <a:gd name="T103" fmla="*/ 1247 h 2956"/>
                  <a:gd name="T104" fmla="*/ 287 w 1010"/>
                  <a:gd name="T105" fmla="*/ 1092 h 2956"/>
                  <a:gd name="T106" fmla="*/ 263 w 1010"/>
                  <a:gd name="T107" fmla="*/ 1159 h 2956"/>
                  <a:gd name="T108" fmla="*/ 272 w 1010"/>
                  <a:gd name="T109" fmla="*/ 962 h 2956"/>
                  <a:gd name="T110" fmla="*/ 285 w 1010"/>
                  <a:gd name="T111" fmla="*/ 919 h 2956"/>
                  <a:gd name="T112" fmla="*/ 892 w 1010"/>
                  <a:gd name="T113" fmla="*/ 993 h 2956"/>
                  <a:gd name="T114" fmla="*/ 815 w 1010"/>
                  <a:gd name="T115" fmla="*/ 1142 h 2956"/>
                  <a:gd name="T116" fmla="*/ 749 w 1010"/>
                  <a:gd name="T117" fmla="*/ 1063 h 2956"/>
                  <a:gd name="T118" fmla="*/ 727 w 1010"/>
                  <a:gd name="T119" fmla="*/ 829 h 2956"/>
                  <a:gd name="T120" fmla="*/ 759 w 1010"/>
                  <a:gd name="T121" fmla="*/ 732 h 2956"/>
                  <a:gd name="T122" fmla="*/ 852 w 1010"/>
                  <a:gd name="T123" fmla="*/ 871 h 2956"/>
                  <a:gd name="T124" fmla="*/ 898 w 1010"/>
                  <a:gd name="T125" fmla="*/ 980 h 29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10"/>
                  <a:gd name="T190" fmla="*/ 0 h 2956"/>
                  <a:gd name="T191" fmla="*/ 1010 w 1010"/>
                  <a:gd name="T192" fmla="*/ 2956 h 29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10" h="2956">
                    <a:moveTo>
                      <a:pt x="962" y="826"/>
                    </a:moveTo>
                    <a:lnTo>
                      <a:pt x="962" y="826"/>
                    </a:lnTo>
                    <a:lnTo>
                      <a:pt x="950" y="796"/>
                    </a:lnTo>
                    <a:lnTo>
                      <a:pt x="945" y="781"/>
                    </a:lnTo>
                    <a:lnTo>
                      <a:pt x="937" y="767"/>
                    </a:lnTo>
                    <a:lnTo>
                      <a:pt x="921" y="738"/>
                    </a:lnTo>
                    <a:lnTo>
                      <a:pt x="913" y="724"/>
                    </a:lnTo>
                    <a:lnTo>
                      <a:pt x="906" y="708"/>
                    </a:lnTo>
                    <a:lnTo>
                      <a:pt x="887" y="661"/>
                    </a:lnTo>
                    <a:lnTo>
                      <a:pt x="870" y="618"/>
                    </a:lnTo>
                    <a:lnTo>
                      <a:pt x="868" y="604"/>
                    </a:lnTo>
                    <a:lnTo>
                      <a:pt x="858" y="592"/>
                    </a:lnTo>
                    <a:lnTo>
                      <a:pt x="850" y="581"/>
                    </a:lnTo>
                    <a:lnTo>
                      <a:pt x="841" y="570"/>
                    </a:lnTo>
                    <a:lnTo>
                      <a:pt x="831" y="560"/>
                    </a:lnTo>
                    <a:lnTo>
                      <a:pt x="820" y="543"/>
                    </a:lnTo>
                    <a:lnTo>
                      <a:pt x="812" y="535"/>
                    </a:lnTo>
                    <a:lnTo>
                      <a:pt x="804" y="527"/>
                    </a:lnTo>
                    <a:lnTo>
                      <a:pt x="793" y="520"/>
                    </a:lnTo>
                    <a:lnTo>
                      <a:pt x="781" y="514"/>
                    </a:lnTo>
                    <a:lnTo>
                      <a:pt x="757" y="504"/>
                    </a:lnTo>
                    <a:lnTo>
                      <a:pt x="730" y="495"/>
                    </a:lnTo>
                    <a:lnTo>
                      <a:pt x="701" y="487"/>
                    </a:lnTo>
                    <a:lnTo>
                      <a:pt x="695" y="469"/>
                    </a:lnTo>
                    <a:lnTo>
                      <a:pt x="690" y="445"/>
                    </a:lnTo>
                    <a:lnTo>
                      <a:pt x="685" y="421"/>
                    </a:lnTo>
                    <a:lnTo>
                      <a:pt x="685" y="410"/>
                    </a:lnTo>
                    <a:lnTo>
                      <a:pt x="685" y="399"/>
                    </a:lnTo>
                    <a:lnTo>
                      <a:pt x="690" y="349"/>
                    </a:lnTo>
                    <a:lnTo>
                      <a:pt x="692" y="323"/>
                    </a:lnTo>
                    <a:lnTo>
                      <a:pt x="690" y="309"/>
                    </a:lnTo>
                    <a:lnTo>
                      <a:pt x="689" y="296"/>
                    </a:lnTo>
                    <a:lnTo>
                      <a:pt x="684" y="202"/>
                    </a:lnTo>
                    <a:lnTo>
                      <a:pt x="676" y="149"/>
                    </a:lnTo>
                    <a:lnTo>
                      <a:pt x="669" y="122"/>
                    </a:lnTo>
                    <a:lnTo>
                      <a:pt x="666" y="110"/>
                    </a:lnTo>
                    <a:lnTo>
                      <a:pt x="663" y="102"/>
                    </a:lnTo>
                    <a:lnTo>
                      <a:pt x="653" y="83"/>
                    </a:lnTo>
                    <a:lnTo>
                      <a:pt x="641" y="66"/>
                    </a:lnTo>
                    <a:lnTo>
                      <a:pt x="626" y="48"/>
                    </a:lnTo>
                    <a:lnTo>
                      <a:pt x="610" y="32"/>
                    </a:lnTo>
                    <a:lnTo>
                      <a:pt x="602" y="26"/>
                    </a:lnTo>
                    <a:lnTo>
                      <a:pt x="592" y="19"/>
                    </a:lnTo>
                    <a:lnTo>
                      <a:pt x="583" y="13"/>
                    </a:lnTo>
                    <a:lnTo>
                      <a:pt x="572" y="8"/>
                    </a:lnTo>
                    <a:lnTo>
                      <a:pt x="559" y="5"/>
                    </a:lnTo>
                    <a:lnTo>
                      <a:pt x="548" y="2"/>
                    </a:lnTo>
                    <a:lnTo>
                      <a:pt x="533" y="0"/>
                    </a:lnTo>
                    <a:lnTo>
                      <a:pt x="519" y="0"/>
                    </a:lnTo>
                    <a:lnTo>
                      <a:pt x="479" y="13"/>
                    </a:lnTo>
                    <a:lnTo>
                      <a:pt x="463" y="26"/>
                    </a:lnTo>
                    <a:lnTo>
                      <a:pt x="447" y="40"/>
                    </a:lnTo>
                    <a:lnTo>
                      <a:pt x="431" y="56"/>
                    </a:lnTo>
                    <a:lnTo>
                      <a:pt x="418" y="72"/>
                    </a:lnTo>
                    <a:lnTo>
                      <a:pt x="405" y="90"/>
                    </a:lnTo>
                    <a:lnTo>
                      <a:pt x="394" y="109"/>
                    </a:lnTo>
                    <a:lnTo>
                      <a:pt x="384" y="130"/>
                    </a:lnTo>
                    <a:lnTo>
                      <a:pt x="376" y="151"/>
                    </a:lnTo>
                    <a:lnTo>
                      <a:pt x="373" y="168"/>
                    </a:lnTo>
                    <a:lnTo>
                      <a:pt x="370" y="184"/>
                    </a:lnTo>
                    <a:lnTo>
                      <a:pt x="370" y="203"/>
                    </a:lnTo>
                    <a:lnTo>
                      <a:pt x="368" y="223"/>
                    </a:lnTo>
                    <a:lnTo>
                      <a:pt x="371" y="259"/>
                    </a:lnTo>
                    <a:lnTo>
                      <a:pt x="376" y="295"/>
                    </a:lnTo>
                    <a:lnTo>
                      <a:pt x="371" y="331"/>
                    </a:lnTo>
                    <a:lnTo>
                      <a:pt x="368" y="360"/>
                    </a:lnTo>
                    <a:lnTo>
                      <a:pt x="367" y="386"/>
                    </a:lnTo>
                    <a:lnTo>
                      <a:pt x="365" y="412"/>
                    </a:lnTo>
                    <a:lnTo>
                      <a:pt x="362" y="424"/>
                    </a:lnTo>
                    <a:lnTo>
                      <a:pt x="359" y="436"/>
                    </a:lnTo>
                    <a:lnTo>
                      <a:pt x="355" y="440"/>
                    </a:lnTo>
                    <a:lnTo>
                      <a:pt x="352" y="445"/>
                    </a:lnTo>
                    <a:lnTo>
                      <a:pt x="347" y="447"/>
                    </a:lnTo>
                    <a:lnTo>
                      <a:pt x="343" y="450"/>
                    </a:lnTo>
                    <a:lnTo>
                      <a:pt x="331" y="452"/>
                    </a:lnTo>
                    <a:lnTo>
                      <a:pt x="320" y="456"/>
                    </a:lnTo>
                    <a:lnTo>
                      <a:pt x="283" y="487"/>
                    </a:lnTo>
                    <a:lnTo>
                      <a:pt x="227" y="498"/>
                    </a:lnTo>
                    <a:lnTo>
                      <a:pt x="206" y="514"/>
                    </a:lnTo>
                    <a:lnTo>
                      <a:pt x="186" y="532"/>
                    </a:lnTo>
                    <a:lnTo>
                      <a:pt x="176" y="541"/>
                    </a:lnTo>
                    <a:lnTo>
                      <a:pt x="168" y="552"/>
                    </a:lnTo>
                    <a:lnTo>
                      <a:pt x="162" y="564"/>
                    </a:lnTo>
                    <a:lnTo>
                      <a:pt x="155" y="575"/>
                    </a:lnTo>
                    <a:lnTo>
                      <a:pt x="150" y="617"/>
                    </a:lnTo>
                    <a:lnTo>
                      <a:pt x="136" y="634"/>
                    </a:lnTo>
                    <a:lnTo>
                      <a:pt x="134" y="639"/>
                    </a:lnTo>
                    <a:lnTo>
                      <a:pt x="136" y="642"/>
                    </a:lnTo>
                    <a:lnTo>
                      <a:pt x="141" y="650"/>
                    </a:lnTo>
                    <a:lnTo>
                      <a:pt x="144" y="658"/>
                    </a:lnTo>
                    <a:lnTo>
                      <a:pt x="146" y="663"/>
                    </a:lnTo>
                    <a:lnTo>
                      <a:pt x="146" y="669"/>
                    </a:lnTo>
                    <a:lnTo>
                      <a:pt x="142" y="693"/>
                    </a:lnTo>
                    <a:lnTo>
                      <a:pt x="142" y="719"/>
                    </a:lnTo>
                    <a:lnTo>
                      <a:pt x="144" y="745"/>
                    </a:lnTo>
                    <a:lnTo>
                      <a:pt x="146" y="769"/>
                    </a:lnTo>
                    <a:lnTo>
                      <a:pt x="149" y="786"/>
                    </a:lnTo>
                    <a:lnTo>
                      <a:pt x="149" y="804"/>
                    </a:lnTo>
                    <a:lnTo>
                      <a:pt x="147" y="839"/>
                    </a:lnTo>
                    <a:lnTo>
                      <a:pt x="147" y="873"/>
                    </a:lnTo>
                    <a:lnTo>
                      <a:pt x="147" y="890"/>
                    </a:lnTo>
                    <a:lnTo>
                      <a:pt x="149" y="906"/>
                    </a:lnTo>
                    <a:lnTo>
                      <a:pt x="154" y="929"/>
                    </a:lnTo>
                    <a:lnTo>
                      <a:pt x="157" y="954"/>
                    </a:lnTo>
                    <a:lnTo>
                      <a:pt x="158" y="980"/>
                    </a:lnTo>
                    <a:lnTo>
                      <a:pt x="158" y="991"/>
                    </a:lnTo>
                    <a:lnTo>
                      <a:pt x="157" y="1004"/>
                    </a:lnTo>
                    <a:lnTo>
                      <a:pt x="146" y="1082"/>
                    </a:lnTo>
                    <a:lnTo>
                      <a:pt x="144" y="1145"/>
                    </a:lnTo>
                    <a:lnTo>
                      <a:pt x="142" y="1163"/>
                    </a:lnTo>
                    <a:lnTo>
                      <a:pt x="139" y="1182"/>
                    </a:lnTo>
                    <a:lnTo>
                      <a:pt x="139" y="1201"/>
                    </a:lnTo>
                    <a:lnTo>
                      <a:pt x="141" y="1220"/>
                    </a:lnTo>
                    <a:lnTo>
                      <a:pt x="142" y="1241"/>
                    </a:lnTo>
                    <a:lnTo>
                      <a:pt x="142" y="1262"/>
                    </a:lnTo>
                    <a:lnTo>
                      <a:pt x="144" y="1284"/>
                    </a:lnTo>
                    <a:lnTo>
                      <a:pt x="146" y="1307"/>
                    </a:lnTo>
                    <a:lnTo>
                      <a:pt x="147" y="1327"/>
                    </a:lnTo>
                    <a:lnTo>
                      <a:pt x="149" y="1352"/>
                    </a:lnTo>
                    <a:lnTo>
                      <a:pt x="149" y="1377"/>
                    </a:lnTo>
                    <a:lnTo>
                      <a:pt x="146" y="1400"/>
                    </a:lnTo>
                    <a:lnTo>
                      <a:pt x="141" y="1422"/>
                    </a:lnTo>
                    <a:lnTo>
                      <a:pt x="136" y="1443"/>
                    </a:lnTo>
                    <a:lnTo>
                      <a:pt x="136" y="1451"/>
                    </a:lnTo>
                    <a:lnTo>
                      <a:pt x="136" y="1459"/>
                    </a:lnTo>
                    <a:lnTo>
                      <a:pt x="139" y="1473"/>
                    </a:lnTo>
                    <a:lnTo>
                      <a:pt x="141" y="1488"/>
                    </a:lnTo>
                    <a:lnTo>
                      <a:pt x="141" y="1494"/>
                    </a:lnTo>
                    <a:lnTo>
                      <a:pt x="139" y="1502"/>
                    </a:lnTo>
                    <a:lnTo>
                      <a:pt x="131" y="1532"/>
                    </a:lnTo>
                    <a:lnTo>
                      <a:pt x="125" y="1561"/>
                    </a:lnTo>
                    <a:lnTo>
                      <a:pt x="125" y="1577"/>
                    </a:lnTo>
                    <a:lnTo>
                      <a:pt x="123" y="1592"/>
                    </a:lnTo>
                    <a:lnTo>
                      <a:pt x="125" y="1608"/>
                    </a:lnTo>
                    <a:lnTo>
                      <a:pt x="126" y="1624"/>
                    </a:lnTo>
                    <a:lnTo>
                      <a:pt x="128" y="1665"/>
                    </a:lnTo>
                    <a:lnTo>
                      <a:pt x="131" y="1672"/>
                    </a:lnTo>
                    <a:lnTo>
                      <a:pt x="136" y="1677"/>
                    </a:lnTo>
                    <a:lnTo>
                      <a:pt x="141" y="1681"/>
                    </a:lnTo>
                    <a:lnTo>
                      <a:pt x="146" y="1686"/>
                    </a:lnTo>
                    <a:lnTo>
                      <a:pt x="154" y="1697"/>
                    </a:lnTo>
                    <a:lnTo>
                      <a:pt x="160" y="1710"/>
                    </a:lnTo>
                    <a:lnTo>
                      <a:pt x="166" y="1721"/>
                    </a:lnTo>
                    <a:lnTo>
                      <a:pt x="174" y="1734"/>
                    </a:lnTo>
                    <a:lnTo>
                      <a:pt x="187" y="1744"/>
                    </a:lnTo>
                    <a:lnTo>
                      <a:pt x="184" y="1872"/>
                    </a:lnTo>
                    <a:lnTo>
                      <a:pt x="184" y="1882"/>
                    </a:lnTo>
                    <a:lnTo>
                      <a:pt x="184" y="1891"/>
                    </a:lnTo>
                    <a:lnTo>
                      <a:pt x="179" y="1910"/>
                    </a:lnTo>
                    <a:lnTo>
                      <a:pt x="179" y="1918"/>
                    </a:lnTo>
                    <a:lnTo>
                      <a:pt x="179" y="1925"/>
                    </a:lnTo>
                    <a:lnTo>
                      <a:pt x="181" y="1942"/>
                    </a:lnTo>
                    <a:lnTo>
                      <a:pt x="182" y="1958"/>
                    </a:lnTo>
                    <a:lnTo>
                      <a:pt x="184" y="1968"/>
                    </a:lnTo>
                    <a:lnTo>
                      <a:pt x="182" y="1976"/>
                    </a:lnTo>
                    <a:lnTo>
                      <a:pt x="178" y="2034"/>
                    </a:lnTo>
                    <a:lnTo>
                      <a:pt x="171" y="2053"/>
                    </a:lnTo>
                    <a:lnTo>
                      <a:pt x="165" y="2072"/>
                    </a:lnTo>
                    <a:lnTo>
                      <a:pt x="162" y="2088"/>
                    </a:lnTo>
                    <a:lnTo>
                      <a:pt x="160" y="2104"/>
                    </a:lnTo>
                    <a:lnTo>
                      <a:pt x="160" y="2136"/>
                    </a:lnTo>
                    <a:lnTo>
                      <a:pt x="162" y="2168"/>
                    </a:lnTo>
                    <a:lnTo>
                      <a:pt x="160" y="2184"/>
                    </a:lnTo>
                    <a:lnTo>
                      <a:pt x="158" y="2199"/>
                    </a:lnTo>
                    <a:lnTo>
                      <a:pt x="154" y="2647"/>
                    </a:lnTo>
                    <a:lnTo>
                      <a:pt x="149" y="2673"/>
                    </a:lnTo>
                    <a:lnTo>
                      <a:pt x="142" y="2697"/>
                    </a:lnTo>
                    <a:lnTo>
                      <a:pt x="126" y="2743"/>
                    </a:lnTo>
                    <a:lnTo>
                      <a:pt x="123" y="2749"/>
                    </a:lnTo>
                    <a:lnTo>
                      <a:pt x="120" y="2754"/>
                    </a:lnTo>
                    <a:lnTo>
                      <a:pt x="117" y="2761"/>
                    </a:lnTo>
                    <a:lnTo>
                      <a:pt x="114" y="2765"/>
                    </a:lnTo>
                    <a:lnTo>
                      <a:pt x="117" y="2781"/>
                    </a:lnTo>
                    <a:lnTo>
                      <a:pt x="118" y="2794"/>
                    </a:lnTo>
                    <a:lnTo>
                      <a:pt x="115" y="2810"/>
                    </a:lnTo>
                    <a:lnTo>
                      <a:pt x="112" y="2825"/>
                    </a:lnTo>
                    <a:lnTo>
                      <a:pt x="107" y="2834"/>
                    </a:lnTo>
                    <a:lnTo>
                      <a:pt x="96" y="2838"/>
                    </a:lnTo>
                    <a:lnTo>
                      <a:pt x="85" y="2841"/>
                    </a:lnTo>
                    <a:lnTo>
                      <a:pt x="85" y="2846"/>
                    </a:lnTo>
                    <a:lnTo>
                      <a:pt x="82" y="2850"/>
                    </a:lnTo>
                    <a:lnTo>
                      <a:pt x="74" y="2860"/>
                    </a:lnTo>
                    <a:lnTo>
                      <a:pt x="62" y="2868"/>
                    </a:lnTo>
                    <a:lnTo>
                      <a:pt x="50" y="2878"/>
                    </a:lnTo>
                    <a:lnTo>
                      <a:pt x="21" y="2892"/>
                    </a:lnTo>
                    <a:lnTo>
                      <a:pt x="8" y="2898"/>
                    </a:lnTo>
                    <a:lnTo>
                      <a:pt x="0" y="2906"/>
                    </a:lnTo>
                    <a:lnTo>
                      <a:pt x="0" y="2916"/>
                    </a:lnTo>
                    <a:lnTo>
                      <a:pt x="1" y="2919"/>
                    </a:lnTo>
                    <a:lnTo>
                      <a:pt x="3" y="2922"/>
                    </a:lnTo>
                    <a:lnTo>
                      <a:pt x="6" y="2924"/>
                    </a:lnTo>
                    <a:lnTo>
                      <a:pt x="10" y="2926"/>
                    </a:lnTo>
                    <a:lnTo>
                      <a:pt x="21" y="2926"/>
                    </a:lnTo>
                    <a:lnTo>
                      <a:pt x="126" y="2916"/>
                    </a:lnTo>
                    <a:lnTo>
                      <a:pt x="139" y="2914"/>
                    </a:lnTo>
                    <a:lnTo>
                      <a:pt x="154" y="2914"/>
                    </a:lnTo>
                    <a:lnTo>
                      <a:pt x="166" y="2913"/>
                    </a:lnTo>
                    <a:lnTo>
                      <a:pt x="173" y="2911"/>
                    </a:lnTo>
                    <a:lnTo>
                      <a:pt x="178" y="2910"/>
                    </a:lnTo>
                    <a:lnTo>
                      <a:pt x="182" y="2906"/>
                    </a:lnTo>
                    <a:lnTo>
                      <a:pt x="187" y="2900"/>
                    </a:lnTo>
                    <a:lnTo>
                      <a:pt x="194" y="2887"/>
                    </a:lnTo>
                    <a:lnTo>
                      <a:pt x="200" y="2871"/>
                    </a:lnTo>
                    <a:lnTo>
                      <a:pt x="205" y="2860"/>
                    </a:lnTo>
                    <a:lnTo>
                      <a:pt x="245" y="2857"/>
                    </a:lnTo>
                    <a:lnTo>
                      <a:pt x="266" y="2855"/>
                    </a:lnTo>
                    <a:lnTo>
                      <a:pt x="272" y="2857"/>
                    </a:lnTo>
                    <a:lnTo>
                      <a:pt x="274" y="2858"/>
                    </a:lnTo>
                    <a:lnTo>
                      <a:pt x="274" y="2860"/>
                    </a:lnTo>
                    <a:lnTo>
                      <a:pt x="275" y="2878"/>
                    </a:lnTo>
                    <a:lnTo>
                      <a:pt x="279" y="2879"/>
                    </a:lnTo>
                    <a:lnTo>
                      <a:pt x="282" y="2881"/>
                    </a:lnTo>
                    <a:lnTo>
                      <a:pt x="285" y="2881"/>
                    </a:lnTo>
                    <a:lnTo>
                      <a:pt x="291" y="2878"/>
                    </a:lnTo>
                    <a:lnTo>
                      <a:pt x="291" y="2863"/>
                    </a:lnTo>
                    <a:lnTo>
                      <a:pt x="293" y="2857"/>
                    </a:lnTo>
                    <a:lnTo>
                      <a:pt x="295" y="2852"/>
                    </a:lnTo>
                    <a:lnTo>
                      <a:pt x="307" y="2847"/>
                    </a:lnTo>
                    <a:lnTo>
                      <a:pt x="319" y="2844"/>
                    </a:lnTo>
                    <a:lnTo>
                      <a:pt x="331" y="2841"/>
                    </a:lnTo>
                    <a:lnTo>
                      <a:pt x="341" y="2836"/>
                    </a:lnTo>
                    <a:lnTo>
                      <a:pt x="354" y="2821"/>
                    </a:lnTo>
                    <a:lnTo>
                      <a:pt x="379" y="2812"/>
                    </a:lnTo>
                    <a:lnTo>
                      <a:pt x="381" y="2805"/>
                    </a:lnTo>
                    <a:lnTo>
                      <a:pt x="381" y="2794"/>
                    </a:lnTo>
                    <a:lnTo>
                      <a:pt x="376" y="2761"/>
                    </a:lnTo>
                    <a:lnTo>
                      <a:pt x="373" y="2727"/>
                    </a:lnTo>
                    <a:lnTo>
                      <a:pt x="371" y="2705"/>
                    </a:lnTo>
                    <a:lnTo>
                      <a:pt x="360" y="2532"/>
                    </a:lnTo>
                    <a:lnTo>
                      <a:pt x="363" y="2496"/>
                    </a:lnTo>
                    <a:lnTo>
                      <a:pt x="360" y="2407"/>
                    </a:lnTo>
                    <a:lnTo>
                      <a:pt x="362" y="2336"/>
                    </a:lnTo>
                    <a:lnTo>
                      <a:pt x="363" y="2267"/>
                    </a:lnTo>
                    <a:lnTo>
                      <a:pt x="367" y="2202"/>
                    </a:lnTo>
                    <a:lnTo>
                      <a:pt x="370" y="2171"/>
                    </a:lnTo>
                    <a:lnTo>
                      <a:pt x="375" y="2141"/>
                    </a:lnTo>
                    <a:lnTo>
                      <a:pt x="381" y="2072"/>
                    </a:lnTo>
                    <a:lnTo>
                      <a:pt x="384" y="2064"/>
                    </a:lnTo>
                    <a:lnTo>
                      <a:pt x="389" y="2054"/>
                    </a:lnTo>
                    <a:lnTo>
                      <a:pt x="394" y="2046"/>
                    </a:lnTo>
                    <a:lnTo>
                      <a:pt x="397" y="2037"/>
                    </a:lnTo>
                    <a:lnTo>
                      <a:pt x="403" y="1970"/>
                    </a:lnTo>
                    <a:lnTo>
                      <a:pt x="426" y="1824"/>
                    </a:lnTo>
                    <a:lnTo>
                      <a:pt x="431" y="1795"/>
                    </a:lnTo>
                    <a:lnTo>
                      <a:pt x="434" y="1768"/>
                    </a:lnTo>
                    <a:lnTo>
                      <a:pt x="437" y="1742"/>
                    </a:lnTo>
                    <a:lnTo>
                      <a:pt x="445" y="1717"/>
                    </a:lnTo>
                    <a:lnTo>
                      <a:pt x="453" y="1693"/>
                    </a:lnTo>
                    <a:lnTo>
                      <a:pt x="463" y="1670"/>
                    </a:lnTo>
                    <a:lnTo>
                      <a:pt x="472" y="1648"/>
                    </a:lnTo>
                    <a:lnTo>
                      <a:pt x="480" y="1625"/>
                    </a:lnTo>
                    <a:lnTo>
                      <a:pt x="487" y="1605"/>
                    </a:lnTo>
                    <a:lnTo>
                      <a:pt x="493" y="1584"/>
                    </a:lnTo>
                    <a:lnTo>
                      <a:pt x="498" y="1572"/>
                    </a:lnTo>
                    <a:lnTo>
                      <a:pt x="501" y="1563"/>
                    </a:lnTo>
                    <a:lnTo>
                      <a:pt x="506" y="1553"/>
                    </a:lnTo>
                    <a:lnTo>
                      <a:pt x="512" y="1547"/>
                    </a:lnTo>
                    <a:lnTo>
                      <a:pt x="514" y="1560"/>
                    </a:lnTo>
                    <a:lnTo>
                      <a:pt x="516" y="1571"/>
                    </a:lnTo>
                    <a:lnTo>
                      <a:pt x="520" y="1588"/>
                    </a:lnTo>
                    <a:lnTo>
                      <a:pt x="519" y="1646"/>
                    </a:lnTo>
                    <a:lnTo>
                      <a:pt x="524" y="1672"/>
                    </a:lnTo>
                    <a:lnTo>
                      <a:pt x="525" y="1686"/>
                    </a:lnTo>
                    <a:lnTo>
                      <a:pt x="525" y="1701"/>
                    </a:lnTo>
                    <a:lnTo>
                      <a:pt x="522" y="1725"/>
                    </a:lnTo>
                    <a:lnTo>
                      <a:pt x="524" y="1779"/>
                    </a:lnTo>
                    <a:lnTo>
                      <a:pt x="524" y="1808"/>
                    </a:lnTo>
                    <a:lnTo>
                      <a:pt x="522" y="1835"/>
                    </a:lnTo>
                    <a:lnTo>
                      <a:pt x="522" y="1888"/>
                    </a:lnTo>
                    <a:lnTo>
                      <a:pt x="520" y="1933"/>
                    </a:lnTo>
                    <a:lnTo>
                      <a:pt x="519" y="1955"/>
                    </a:lnTo>
                    <a:lnTo>
                      <a:pt x="516" y="1974"/>
                    </a:lnTo>
                    <a:lnTo>
                      <a:pt x="514" y="1987"/>
                    </a:lnTo>
                    <a:lnTo>
                      <a:pt x="514" y="1998"/>
                    </a:lnTo>
                    <a:lnTo>
                      <a:pt x="514" y="2021"/>
                    </a:lnTo>
                    <a:lnTo>
                      <a:pt x="516" y="2042"/>
                    </a:lnTo>
                    <a:lnTo>
                      <a:pt x="516" y="2053"/>
                    </a:lnTo>
                    <a:lnTo>
                      <a:pt x="514" y="2062"/>
                    </a:lnTo>
                    <a:lnTo>
                      <a:pt x="514" y="2114"/>
                    </a:lnTo>
                    <a:lnTo>
                      <a:pt x="516" y="2183"/>
                    </a:lnTo>
                    <a:lnTo>
                      <a:pt x="514" y="2218"/>
                    </a:lnTo>
                    <a:lnTo>
                      <a:pt x="511" y="2250"/>
                    </a:lnTo>
                    <a:lnTo>
                      <a:pt x="500" y="2509"/>
                    </a:lnTo>
                    <a:lnTo>
                      <a:pt x="498" y="2525"/>
                    </a:lnTo>
                    <a:lnTo>
                      <a:pt x="496" y="2543"/>
                    </a:lnTo>
                    <a:lnTo>
                      <a:pt x="496" y="2578"/>
                    </a:lnTo>
                    <a:lnTo>
                      <a:pt x="495" y="2615"/>
                    </a:lnTo>
                    <a:lnTo>
                      <a:pt x="493" y="2633"/>
                    </a:lnTo>
                    <a:lnTo>
                      <a:pt x="492" y="2649"/>
                    </a:lnTo>
                    <a:lnTo>
                      <a:pt x="492" y="2698"/>
                    </a:lnTo>
                    <a:lnTo>
                      <a:pt x="488" y="2713"/>
                    </a:lnTo>
                    <a:lnTo>
                      <a:pt x="484" y="2730"/>
                    </a:lnTo>
                    <a:lnTo>
                      <a:pt x="480" y="2749"/>
                    </a:lnTo>
                    <a:lnTo>
                      <a:pt x="480" y="2759"/>
                    </a:lnTo>
                    <a:lnTo>
                      <a:pt x="482" y="2769"/>
                    </a:lnTo>
                    <a:lnTo>
                      <a:pt x="485" y="2777"/>
                    </a:lnTo>
                    <a:lnTo>
                      <a:pt x="492" y="2786"/>
                    </a:lnTo>
                    <a:lnTo>
                      <a:pt x="496" y="2796"/>
                    </a:lnTo>
                    <a:lnTo>
                      <a:pt x="501" y="2805"/>
                    </a:lnTo>
                    <a:lnTo>
                      <a:pt x="503" y="2818"/>
                    </a:lnTo>
                    <a:lnTo>
                      <a:pt x="503" y="2834"/>
                    </a:lnTo>
                    <a:lnTo>
                      <a:pt x="498" y="2868"/>
                    </a:lnTo>
                    <a:lnTo>
                      <a:pt x="495" y="2898"/>
                    </a:lnTo>
                    <a:lnTo>
                      <a:pt x="493" y="2911"/>
                    </a:lnTo>
                    <a:lnTo>
                      <a:pt x="496" y="2921"/>
                    </a:lnTo>
                    <a:lnTo>
                      <a:pt x="498" y="2924"/>
                    </a:lnTo>
                    <a:lnTo>
                      <a:pt x="501" y="2927"/>
                    </a:lnTo>
                    <a:lnTo>
                      <a:pt x="509" y="2932"/>
                    </a:lnTo>
                    <a:lnTo>
                      <a:pt x="530" y="2938"/>
                    </a:lnTo>
                    <a:lnTo>
                      <a:pt x="549" y="2948"/>
                    </a:lnTo>
                    <a:lnTo>
                      <a:pt x="560" y="2953"/>
                    </a:lnTo>
                    <a:lnTo>
                      <a:pt x="570" y="2956"/>
                    </a:lnTo>
                    <a:lnTo>
                      <a:pt x="578" y="2956"/>
                    </a:lnTo>
                    <a:lnTo>
                      <a:pt x="588" y="2954"/>
                    </a:lnTo>
                    <a:lnTo>
                      <a:pt x="599" y="2948"/>
                    </a:lnTo>
                    <a:lnTo>
                      <a:pt x="608" y="2942"/>
                    </a:lnTo>
                    <a:lnTo>
                      <a:pt x="618" y="2934"/>
                    </a:lnTo>
                    <a:lnTo>
                      <a:pt x="626" y="2926"/>
                    </a:lnTo>
                    <a:lnTo>
                      <a:pt x="631" y="2919"/>
                    </a:lnTo>
                    <a:lnTo>
                      <a:pt x="634" y="2914"/>
                    </a:lnTo>
                    <a:lnTo>
                      <a:pt x="636" y="2897"/>
                    </a:lnTo>
                    <a:lnTo>
                      <a:pt x="634" y="2887"/>
                    </a:lnTo>
                    <a:lnTo>
                      <a:pt x="634" y="2881"/>
                    </a:lnTo>
                    <a:lnTo>
                      <a:pt x="625" y="2874"/>
                    </a:lnTo>
                    <a:lnTo>
                      <a:pt x="623" y="2865"/>
                    </a:lnTo>
                    <a:lnTo>
                      <a:pt x="621" y="2847"/>
                    </a:lnTo>
                    <a:lnTo>
                      <a:pt x="620" y="2820"/>
                    </a:lnTo>
                    <a:lnTo>
                      <a:pt x="652" y="2812"/>
                    </a:lnTo>
                    <a:lnTo>
                      <a:pt x="668" y="2807"/>
                    </a:lnTo>
                    <a:lnTo>
                      <a:pt x="674" y="2804"/>
                    </a:lnTo>
                    <a:lnTo>
                      <a:pt x="681" y="2801"/>
                    </a:lnTo>
                    <a:lnTo>
                      <a:pt x="685" y="2727"/>
                    </a:lnTo>
                    <a:lnTo>
                      <a:pt x="681" y="2709"/>
                    </a:lnTo>
                    <a:lnTo>
                      <a:pt x="679" y="2700"/>
                    </a:lnTo>
                    <a:lnTo>
                      <a:pt x="681" y="2689"/>
                    </a:lnTo>
                    <a:lnTo>
                      <a:pt x="689" y="2604"/>
                    </a:lnTo>
                    <a:lnTo>
                      <a:pt x="689" y="2567"/>
                    </a:lnTo>
                    <a:lnTo>
                      <a:pt x="695" y="2532"/>
                    </a:lnTo>
                    <a:lnTo>
                      <a:pt x="698" y="2495"/>
                    </a:lnTo>
                    <a:lnTo>
                      <a:pt x="705" y="2424"/>
                    </a:lnTo>
                    <a:lnTo>
                      <a:pt x="711" y="2354"/>
                    </a:lnTo>
                    <a:lnTo>
                      <a:pt x="716" y="2317"/>
                    </a:lnTo>
                    <a:lnTo>
                      <a:pt x="721" y="2282"/>
                    </a:lnTo>
                    <a:lnTo>
                      <a:pt x="722" y="2258"/>
                    </a:lnTo>
                    <a:lnTo>
                      <a:pt x="724" y="2235"/>
                    </a:lnTo>
                    <a:lnTo>
                      <a:pt x="724" y="2213"/>
                    </a:lnTo>
                    <a:lnTo>
                      <a:pt x="727" y="2192"/>
                    </a:lnTo>
                    <a:lnTo>
                      <a:pt x="732" y="2107"/>
                    </a:lnTo>
                    <a:lnTo>
                      <a:pt x="738" y="2053"/>
                    </a:lnTo>
                    <a:lnTo>
                      <a:pt x="743" y="1998"/>
                    </a:lnTo>
                    <a:lnTo>
                      <a:pt x="748" y="1946"/>
                    </a:lnTo>
                    <a:lnTo>
                      <a:pt x="753" y="1920"/>
                    </a:lnTo>
                    <a:lnTo>
                      <a:pt x="757" y="1894"/>
                    </a:lnTo>
                    <a:lnTo>
                      <a:pt x="762" y="1838"/>
                    </a:lnTo>
                    <a:lnTo>
                      <a:pt x="769" y="1813"/>
                    </a:lnTo>
                    <a:lnTo>
                      <a:pt x="772" y="1785"/>
                    </a:lnTo>
                    <a:lnTo>
                      <a:pt x="778" y="1731"/>
                    </a:lnTo>
                    <a:lnTo>
                      <a:pt x="783" y="1675"/>
                    </a:lnTo>
                    <a:lnTo>
                      <a:pt x="786" y="1648"/>
                    </a:lnTo>
                    <a:lnTo>
                      <a:pt x="791" y="1619"/>
                    </a:lnTo>
                    <a:lnTo>
                      <a:pt x="809" y="1508"/>
                    </a:lnTo>
                    <a:lnTo>
                      <a:pt x="813" y="1489"/>
                    </a:lnTo>
                    <a:lnTo>
                      <a:pt x="817" y="1467"/>
                    </a:lnTo>
                    <a:lnTo>
                      <a:pt x="818" y="1444"/>
                    </a:lnTo>
                    <a:lnTo>
                      <a:pt x="818" y="1433"/>
                    </a:lnTo>
                    <a:lnTo>
                      <a:pt x="817" y="1422"/>
                    </a:lnTo>
                    <a:lnTo>
                      <a:pt x="807" y="1368"/>
                    </a:lnTo>
                    <a:lnTo>
                      <a:pt x="796" y="1318"/>
                    </a:lnTo>
                    <a:lnTo>
                      <a:pt x="794" y="1308"/>
                    </a:lnTo>
                    <a:lnTo>
                      <a:pt x="794" y="1300"/>
                    </a:lnTo>
                    <a:lnTo>
                      <a:pt x="794" y="1281"/>
                    </a:lnTo>
                    <a:lnTo>
                      <a:pt x="794" y="1262"/>
                    </a:lnTo>
                    <a:lnTo>
                      <a:pt x="793" y="1254"/>
                    </a:lnTo>
                    <a:lnTo>
                      <a:pt x="791" y="1246"/>
                    </a:lnTo>
                    <a:lnTo>
                      <a:pt x="793" y="1244"/>
                    </a:lnTo>
                    <a:lnTo>
                      <a:pt x="805" y="1254"/>
                    </a:lnTo>
                    <a:lnTo>
                      <a:pt x="823" y="1251"/>
                    </a:lnTo>
                    <a:lnTo>
                      <a:pt x="841" y="1246"/>
                    </a:lnTo>
                    <a:lnTo>
                      <a:pt x="855" y="1239"/>
                    </a:lnTo>
                    <a:lnTo>
                      <a:pt x="862" y="1235"/>
                    </a:lnTo>
                    <a:lnTo>
                      <a:pt x="865" y="1230"/>
                    </a:lnTo>
                    <a:lnTo>
                      <a:pt x="874" y="1204"/>
                    </a:lnTo>
                    <a:lnTo>
                      <a:pt x="879" y="1198"/>
                    </a:lnTo>
                    <a:lnTo>
                      <a:pt x="884" y="1191"/>
                    </a:lnTo>
                    <a:lnTo>
                      <a:pt x="894" y="1180"/>
                    </a:lnTo>
                    <a:lnTo>
                      <a:pt x="921" y="1139"/>
                    </a:lnTo>
                    <a:lnTo>
                      <a:pt x="934" y="1123"/>
                    </a:lnTo>
                    <a:lnTo>
                      <a:pt x="946" y="1107"/>
                    </a:lnTo>
                    <a:lnTo>
                      <a:pt x="961" y="1087"/>
                    </a:lnTo>
                    <a:lnTo>
                      <a:pt x="974" y="1065"/>
                    </a:lnTo>
                    <a:lnTo>
                      <a:pt x="986" y="1044"/>
                    </a:lnTo>
                    <a:lnTo>
                      <a:pt x="998" y="1020"/>
                    </a:lnTo>
                    <a:lnTo>
                      <a:pt x="1006" y="998"/>
                    </a:lnTo>
                    <a:lnTo>
                      <a:pt x="1010" y="975"/>
                    </a:lnTo>
                    <a:lnTo>
                      <a:pt x="1010" y="966"/>
                    </a:lnTo>
                    <a:lnTo>
                      <a:pt x="1010" y="958"/>
                    </a:lnTo>
                    <a:lnTo>
                      <a:pt x="1007" y="938"/>
                    </a:lnTo>
                    <a:lnTo>
                      <a:pt x="1001" y="918"/>
                    </a:lnTo>
                    <a:lnTo>
                      <a:pt x="993" y="897"/>
                    </a:lnTo>
                    <a:lnTo>
                      <a:pt x="975" y="857"/>
                    </a:lnTo>
                    <a:lnTo>
                      <a:pt x="962" y="826"/>
                    </a:lnTo>
                    <a:close/>
                    <a:moveTo>
                      <a:pt x="194" y="1678"/>
                    </a:moveTo>
                    <a:lnTo>
                      <a:pt x="194" y="1678"/>
                    </a:lnTo>
                    <a:lnTo>
                      <a:pt x="192" y="1680"/>
                    </a:lnTo>
                    <a:lnTo>
                      <a:pt x="189" y="1678"/>
                    </a:lnTo>
                    <a:lnTo>
                      <a:pt x="182" y="1654"/>
                    </a:lnTo>
                    <a:lnTo>
                      <a:pt x="179" y="1640"/>
                    </a:lnTo>
                    <a:lnTo>
                      <a:pt x="178" y="1627"/>
                    </a:lnTo>
                    <a:lnTo>
                      <a:pt x="178" y="1614"/>
                    </a:lnTo>
                    <a:lnTo>
                      <a:pt x="179" y="1601"/>
                    </a:lnTo>
                    <a:lnTo>
                      <a:pt x="184" y="1590"/>
                    </a:lnTo>
                    <a:lnTo>
                      <a:pt x="187" y="1585"/>
                    </a:lnTo>
                    <a:lnTo>
                      <a:pt x="192" y="1580"/>
                    </a:lnTo>
                    <a:lnTo>
                      <a:pt x="198" y="1580"/>
                    </a:lnTo>
                    <a:lnTo>
                      <a:pt x="202" y="1584"/>
                    </a:lnTo>
                    <a:lnTo>
                      <a:pt x="200" y="1630"/>
                    </a:lnTo>
                    <a:lnTo>
                      <a:pt x="198" y="1656"/>
                    </a:lnTo>
                    <a:lnTo>
                      <a:pt x="194" y="1678"/>
                    </a:lnTo>
                    <a:close/>
                    <a:moveTo>
                      <a:pt x="253" y="1355"/>
                    </a:moveTo>
                    <a:lnTo>
                      <a:pt x="253" y="1355"/>
                    </a:lnTo>
                    <a:lnTo>
                      <a:pt x="247" y="1356"/>
                    </a:lnTo>
                    <a:lnTo>
                      <a:pt x="242" y="1358"/>
                    </a:lnTo>
                    <a:lnTo>
                      <a:pt x="234" y="1366"/>
                    </a:lnTo>
                    <a:lnTo>
                      <a:pt x="235" y="1372"/>
                    </a:lnTo>
                    <a:lnTo>
                      <a:pt x="237" y="1376"/>
                    </a:lnTo>
                    <a:lnTo>
                      <a:pt x="243" y="1384"/>
                    </a:lnTo>
                    <a:lnTo>
                      <a:pt x="242" y="1395"/>
                    </a:lnTo>
                    <a:lnTo>
                      <a:pt x="237" y="1406"/>
                    </a:lnTo>
                    <a:lnTo>
                      <a:pt x="232" y="1416"/>
                    </a:lnTo>
                    <a:lnTo>
                      <a:pt x="229" y="1425"/>
                    </a:lnTo>
                    <a:lnTo>
                      <a:pt x="215" y="1484"/>
                    </a:lnTo>
                    <a:lnTo>
                      <a:pt x="213" y="1484"/>
                    </a:lnTo>
                    <a:lnTo>
                      <a:pt x="211" y="1467"/>
                    </a:lnTo>
                    <a:lnTo>
                      <a:pt x="210" y="1449"/>
                    </a:lnTo>
                    <a:lnTo>
                      <a:pt x="211" y="1416"/>
                    </a:lnTo>
                    <a:lnTo>
                      <a:pt x="218" y="1382"/>
                    </a:lnTo>
                    <a:lnTo>
                      <a:pt x="224" y="1348"/>
                    </a:lnTo>
                    <a:lnTo>
                      <a:pt x="240" y="1283"/>
                    </a:lnTo>
                    <a:lnTo>
                      <a:pt x="248" y="1251"/>
                    </a:lnTo>
                    <a:lnTo>
                      <a:pt x="255" y="1217"/>
                    </a:lnTo>
                    <a:lnTo>
                      <a:pt x="256" y="1220"/>
                    </a:lnTo>
                    <a:lnTo>
                      <a:pt x="256" y="1225"/>
                    </a:lnTo>
                    <a:lnTo>
                      <a:pt x="253" y="1233"/>
                    </a:lnTo>
                    <a:lnTo>
                      <a:pt x="250" y="1243"/>
                    </a:lnTo>
                    <a:lnTo>
                      <a:pt x="250" y="1247"/>
                    </a:lnTo>
                    <a:lnTo>
                      <a:pt x="251" y="1252"/>
                    </a:lnTo>
                    <a:lnTo>
                      <a:pt x="256" y="1257"/>
                    </a:lnTo>
                    <a:lnTo>
                      <a:pt x="255" y="1305"/>
                    </a:lnTo>
                    <a:lnTo>
                      <a:pt x="253" y="1355"/>
                    </a:lnTo>
                    <a:close/>
                    <a:moveTo>
                      <a:pt x="303" y="1033"/>
                    </a:moveTo>
                    <a:lnTo>
                      <a:pt x="303" y="1033"/>
                    </a:lnTo>
                    <a:lnTo>
                      <a:pt x="295" y="1063"/>
                    </a:lnTo>
                    <a:lnTo>
                      <a:pt x="287" y="1092"/>
                    </a:lnTo>
                    <a:lnTo>
                      <a:pt x="279" y="1119"/>
                    </a:lnTo>
                    <a:lnTo>
                      <a:pt x="271" y="1147"/>
                    </a:lnTo>
                    <a:lnTo>
                      <a:pt x="271" y="1179"/>
                    </a:lnTo>
                    <a:lnTo>
                      <a:pt x="261" y="1201"/>
                    </a:lnTo>
                    <a:lnTo>
                      <a:pt x="258" y="1201"/>
                    </a:lnTo>
                    <a:lnTo>
                      <a:pt x="258" y="1195"/>
                    </a:lnTo>
                    <a:lnTo>
                      <a:pt x="261" y="1183"/>
                    </a:lnTo>
                    <a:lnTo>
                      <a:pt x="263" y="1172"/>
                    </a:lnTo>
                    <a:lnTo>
                      <a:pt x="263" y="1159"/>
                    </a:lnTo>
                    <a:lnTo>
                      <a:pt x="266" y="1148"/>
                    </a:lnTo>
                    <a:lnTo>
                      <a:pt x="272" y="1119"/>
                    </a:lnTo>
                    <a:lnTo>
                      <a:pt x="275" y="1089"/>
                    </a:lnTo>
                    <a:lnTo>
                      <a:pt x="277" y="1073"/>
                    </a:lnTo>
                    <a:lnTo>
                      <a:pt x="277" y="1057"/>
                    </a:lnTo>
                    <a:lnTo>
                      <a:pt x="277" y="1041"/>
                    </a:lnTo>
                    <a:lnTo>
                      <a:pt x="274" y="1025"/>
                    </a:lnTo>
                    <a:lnTo>
                      <a:pt x="272" y="962"/>
                    </a:lnTo>
                    <a:lnTo>
                      <a:pt x="269" y="938"/>
                    </a:lnTo>
                    <a:lnTo>
                      <a:pt x="269" y="914"/>
                    </a:lnTo>
                    <a:lnTo>
                      <a:pt x="269" y="865"/>
                    </a:lnTo>
                    <a:lnTo>
                      <a:pt x="269" y="834"/>
                    </a:lnTo>
                    <a:lnTo>
                      <a:pt x="272" y="842"/>
                    </a:lnTo>
                    <a:lnTo>
                      <a:pt x="275" y="852"/>
                    </a:lnTo>
                    <a:lnTo>
                      <a:pt x="280" y="873"/>
                    </a:lnTo>
                    <a:lnTo>
                      <a:pt x="282" y="897"/>
                    </a:lnTo>
                    <a:lnTo>
                      <a:pt x="285" y="919"/>
                    </a:lnTo>
                    <a:lnTo>
                      <a:pt x="291" y="945"/>
                    </a:lnTo>
                    <a:lnTo>
                      <a:pt x="299" y="974"/>
                    </a:lnTo>
                    <a:lnTo>
                      <a:pt x="301" y="988"/>
                    </a:lnTo>
                    <a:lnTo>
                      <a:pt x="303" y="1002"/>
                    </a:lnTo>
                    <a:lnTo>
                      <a:pt x="304" y="1018"/>
                    </a:lnTo>
                    <a:lnTo>
                      <a:pt x="303" y="1033"/>
                    </a:lnTo>
                    <a:close/>
                    <a:moveTo>
                      <a:pt x="898" y="980"/>
                    </a:moveTo>
                    <a:lnTo>
                      <a:pt x="898" y="980"/>
                    </a:lnTo>
                    <a:lnTo>
                      <a:pt x="895" y="986"/>
                    </a:lnTo>
                    <a:lnTo>
                      <a:pt x="892" y="993"/>
                    </a:lnTo>
                    <a:lnTo>
                      <a:pt x="886" y="1004"/>
                    </a:lnTo>
                    <a:lnTo>
                      <a:pt x="876" y="1015"/>
                    </a:lnTo>
                    <a:lnTo>
                      <a:pt x="870" y="1028"/>
                    </a:lnTo>
                    <a:lnTo>
                      <a:pt x="857" y="1063"/>
                    </a:lnTo>
                    <a:lnTo>
                      <a:pt x="847" y="1086"/>
                    </a:lnTo>
                    <a:lnTo>
                      <a:pt x="836" y="1110"/>
                    </a:lnTo>
                    <a:lnTo>
                      <a:pt x="829" y="1123"/>
                    </a:lnTo>
                    <a:lnTo>
                      <a:pt x="823" y="1134"/>
                    </a:lnTo>
                    <a:lnTo>
                      <a:pt x="815" y="1142"/>
                    </a:lnTo>
                    <a:lnTo>
                      <a:pt x="809" y="1147"/>
                    </a:lnTo>
                    <a:lnTo>
                      <a:pt x="805" y="1139"/>
                    </a:lnTo>
                    <a:lnTo>
                      <a:pt x="802" y="1131"/>
                    </a:lnTo>
                    <a:lnTo>
                      <a:pt x="789" y="1113"/>
                    </a:lnTo>
                    <a:lnTo>
                      <a:pt x="764" y="1084"/>
                    </a:lnTo>
                    <a:lnTo>
                      <a:pt x="757" y="1070"/>
                    </a:lnTo>
                    <a:lnTo>
                      <a:pt x="754" y="1065"/>
                    </a:lnTo>
                    <a:lnTo>
                      <a:pt x="749" y="1063"/>
                    </a:lnTo>
                    <a:lnTo>
                      <a:pt x="745" y="1062"/>
                    </a:lnTo>
                    <a:lnTo>
                      <a:pt x="740" y="1058"/>
                    </a:lnTo>
                    <a:lnTo>
                      <a:pt x="730" y="1033"/>
                    </a:lnTo>
                    <a:lnTo>
                      <a:pt x="722" y="1006"/>
                    </a:lnTo>
                    <a:lnTo>
                      <a:pt x="717" y="978"/>
                    </a:lnTo>
                    <a:lnTo>
                      <a:pt x="714" y="950"/>
                    </a:lnTo>
                    <a:lnTo>
                      <a:pt x="714" y="919"/>
                    </a:lnTo>
                    <a:lnTo>
                      <a:pt x="716" y="889"/>
                    </a:lnTo>
                    <a:lnTo>
                      <a:pt x="721" y="860"/>
                    </a:lnTo>
                    <a:lnTo>
                      <a:pt x="727" y="829"/>
                    </a:lnTo>
                    <a:lnTo>
                      <a:pt x="732" y="796"/>
                    </a:lnTo>
                    <a:lnTo>
                      <a:pt x="738" y="775"/>
                    </a:lnTo>
                    <a:lnTo>
                      <a:pt x="741" y="764"/>
                    </a:lnTo>
                    <a:lnTo>
                      <a:pt x="745" y="754"/>
                    </a:lnTo>
                    <a:lnTo>
                      <a:pt x="753" y="745"/>
                    </a:lnTo>
                    <a:lnTo>
                      <a:pt x="756" y="740"/>
                    </a:lnTo>
                    <a:lnTo>
                      <a:pt x="759" y="732"/>
                    </a:lnTo>
                    <a:lnTo>
                      <a:pt x="764" y="737"/>
                    </a:lnTo>
                    <a:lnTo>
                      <a:pt x="769" y="743"/>
                    </a:lnTo>
                    <a:lnTo>
                      <a:pt x="780" y="764"/>
                    </a:lnTo>
                    <a:lnTo>
                      <a:pt x="801" y="801"/>
                    </a:lnTo>
                    <a:lnTo>
                      <a:pt x="810" y="815"/>
                    </a:lnTo>
                    <a:lnTo>
                      <a:pt x="821" y="826"/>
                    </a:lnTo>
                    <a:lnTo>
                      <a:pt x="833" y="839"/>
                    </a:lnTo>
                    <a:lnTo>
                      <a:pt x="842" y="852"/>
                    </a:lnTo>
                    <a:lnTo>
                      <a:pt x="852" y="871"/>
                    </a:lnTo>
                    <a:lnTo>
                      <a:pt x="860" y="889"/>
                    </a:lnTo>
                    <a:lnTo>
                      <a:pt x="868" y="908"/>
                    </a:lnTo>
                    <a:lnTo>
                      <a:pt x="878" y="926"/>
                    </a:lnTo>
                    <a:lnTo>
                      <a:pt x="884" y="937"/>
                    </a:lnTo>
                    <a:lnTo>
                      <a:pt x="892" y="950"/>
                    </a:lnTo>
                    <a:lnTo>
                      <a:pt x="895" y="956"/>
                    </a:lnTo>
                    <a:lnTo>
                      <a:pt x="898" y="964"/>
                    </a:lnTo>
                    <a:lnTo>
                      <a:pt x="898" y="972"/>
                    </a:lnTo>
                    <a:lnTo>
                      <a:pt x="898" y="980"/>
                    </a:lnTo>
                    <a:close/>
                  </a:path>
                </a:pathLst>
              </a:custGeom>
              <a:solidFill>
                <a:schemeClr val="accent5"/>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29" name="Gruppieren 33"/>
            <p:cNvGrpSpPr/>
            <p:nvPr/>
          </p:nvGrpSpPr>
          <p:grpSpPr>
            <a:xfrm>
              <a:off x="3128576" y="2594981"/>
              <a:ext cx="939368" cy="1409690"/>
              <a:chOff x="3506739" y="2431056"/>
              <a:chExt cx="939368" cy="1409690"/>
            </a:xfrm>
          </p:grpSpPr>
          <p:sp>
            <p:nvSpPr>
              <p:cNvPr id="32" name="Ellipse 4"/>
              <p:cNvSpPr/>
              <p:nvPr/>
            </p:nvSpPr>
            <p:spPr>
              <a:xfrm>
                <a:off x="3506739" y="3579680"/>
                <a:ext cx="939368" cy="261066"/>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Freeform 10"/>
              <p:cNvSpPr>
                <a:spLocks noEditPoints="1"/>
              </p:cNvSpPr>
              <p:nvPr/>
            </p:nvSpPr>
            <p:spPr bwMode="auto">
              <a:xfrm rot="21317180">
                <a:off x="3760248" y="2431056"/>
                <a:ext cx="427798" cy="1291552"/>
              </a:xfrm>
              <a:custGeom>
                <a:avLst/>
                <a:gdLst>
                  <a:gd name="T0" fmla="*/ 879 w 943"/>
                  <a:gd name="T1" fmla="*/ 962 h 2850"/>
                  <a:gd name="T2" fmla="*/ 897 w 943"/>
                  <a:gd name="T3" fmla="*/ 760 h 2850"/>
                  <a:gd name="T4" fmla="*/ 881 w 943"/>
                  <a:gd name="T5" fmla="*/ 603 h 2850"/>
                  <a:gd name="T6" fmla="*/ 796 w 943"/>
                  <a:gd name="T7" fmla="*/ 525 h 2850"/>
                  <a:gd name="T8" fmla="*/ 679 w 943"/>
                  <a:gd name="T9" fmla="*/ 443 h 2850"/>
                  <a:gd name="T10" fmla="*/ 696 w 943"/>
                  <a:gd name="T11" fmla="*/ 371 h 2850"/>
                  <a:gd name="T12" fmla="*/ 740 w 943"/>
                  <a:gd name="T13" fmla="*/ 282 h 2850"/>
                  <a:gd name="T14" fmla="*/ 720 w 943"/>
                  <a:gd name="T15" fmla="*/ 136 h 2850"/>
                  <a:gd name="T16" fmla="*/ 685 w 943"/>
                  <a:gd name="T17" fmla="*/ 65 h 2850"/>
                  <a:gd name="T18" fmla="*/ 652 w 943"/>
                  <a:gd name="T19" fmla="*/ 16 h 2850"/>
                  <a:gd name="T20" fmla="*/ 533 w 943"/>
                  <a:gd name="T21" fmla="*/ 6 h 2850"/>
                  <a:gd name="T22" fmla="*/ 431 w 943"/>
                  <a:gd name="T23" fmla="*/ 61 h 2850"/>
                  <a:gd name="T24" fmla="*/ 418 w 943"/>
                  <a:gd name="T25" fmla="*/ 205 h 2850"/>
                  <a:gd name="T26" fmla="*/ 493 w 943"/>
                  <a:gd name="T27" fmla="*/ 350 h 2850"/>
                  <a:gd name="T28" fmla="*/ 455 w 943"/>
                  <a:gd name="T29" fmla="*/ 419 h 2850"/>
                  <a:gd name="T30" fmla="*/ 416 w 943"/>
                  <a:gd name="T31" fmla="*/ 440 h 2850"/>
                  <a:gd name="T32" fmla="*/ 320 w 943"/>
                  <a:gd name="T33" fmla="*/ 483 h 2850"/>
                  <a:gd name="T34" fmla="*/ 218 w 943"/>
                  <a:gd name="T35" fmla="*/ 551 h 2850"/>
                  <a:gd name="T36" fmla="*/ 163 w 943"/>
                  <a:gd name="T37" fmla="*/ 722 h 2850"/>
                  <a:gd name="T38" fmla="*/ 150 w 943"/>
                  <a:gd name="T39" fmla="*/ 922 h 2850"/>
                  <a:gd name="T40" fmla="*/ 136 w 943"/>
                  <a:gd name="T41" fmla="*/ 1266 h 2850"/>
                  <a:gd name="T42" fmla="*/ 141 w 943"/>
                  <a:gd name="T43" fmla="*/ 1473 h 2850"/>
                  <a:gd name="T44" fmla="*/ 149 w 943"/>
                  <a:gd name="T45" fmla="*/ 1604 h 2850"/>
                  <a:gd name="T46" fmla="*/ 197 w 943"/>
                  <a:gd name="T47" fmla="*/ 1934 h 2850"/>
                  <a:gd name="T48" fmla="*/ 133 w 943"/>
                  <a:gd name="T49" fmla="*/ 2190 h 2850"/>
                  <a:gd name="T50" fmla="*/ 53 w 943"/>
                  <a:gd name="T51" fmla="*/ 2663 h 2850"/>
                  <a:gd name="T52" fmla="*/ 14 w 943"/>
                  <a:gd name="T53" fmla="*/ 2796 h 2850"/>
                  <a:gd name="T54" fmla="*/ 94 w 943"/>
                  <a:gd name="T55" fmla="*/ 2850 h 2850"/>
                  <a:gd name="T56" fmla="*/ 179 w 943"/>
                  <a:gd name="T57" fmla="*/ 2812 h 2850"/>
                  <a:gd name="T58" fmla="*/ 243 w 943"/>
                  <a:gd name="T59" fmla="*/ 2720 h 2850"/>
                  <a:gd name="T60" fmla="*/ 266 w 943"/>
                  <a:gd name="T61" fmla="*/ 2616 h 2850"/>
                  <a:gd name="T62" fmla="*/ 399 w 943"/>
                  <a:gd name="T63" fmla="*/ 2099 h 2850"/>
                  <a:gd name="T64" fmla="*/ 472 w 943"/>
                  <a:gd name="T65" fmla="*/ 1776 h 2850"/>
                  <a:gd name="T66" fmla="*/ 523 w 943"/>
                  <a:gd name="T67" fmla="*/ 1691 h 2850"/>
                  <a:gd name="T68" fmla="*/ 519 w 943"/>
                  <a:gd name="T69" fmla="*/ 1878 h 2850"/>
                  <a:gd name="T70" fmla="*/ 483 w 943"/>
                  <a:gd name="T71" fmla="*/ 2217 h 2850"/>
                  <a:gd name="T72" fmla="*/ 443 w 943"/>
                  <a:gd name="T73" fmla="*/ 2507 h 2850"/>
                  <a:gd name="T74" fmla="*/ 413 w 943"/>
                  <a:gd name="T75" fmla="*/ 2765 h 2850"/>
                  <a:gd name="T76" fmla="*/ 499 w 943"/>
                  <a:gd name="T77" fmla="*/ 2791 h 2850"/>
                  <a:gd name="T78" fmla="*/ 576 w 943"/>
                  <a:gd name="T79" fmla="*/ 2837 h 2850"/>
                  <a:gd name="T80" fmla="*/ 671 w 943"/>
                  <a:gd name="T81" fmla="*/ 2799 h 2850"/>
                  <a:gd name="T82" fmla="*/ 615 w 943"/>
                  <a:gd name="T83" fmla="*/ 2696 h 2850"/>
                  <a:gd name="T84" fmla="*/ 666 w 943"/>
                  <a:gd name="T85" fmla="*/ 2445 h 2850"/>
                  <a:gd name="T86" fmla="*/ 696 w 943"/>
                  <a:gd name="T87" fmla="*/ 2192 h 2850"/>
                  <a:gd name="T88" fmla="*/ 829 w 943"/>
                  <a:gd name="T89" fmla="*/ 1580 h 2850"/>
                  <a:gd name="T90" fmla="*/ 841 w 943"/>
                  <a:gd name="T91" fmla="*/ 1345 h 2850"/>
                  <a:gd name="T92" fmla="*/ 858 w 943"/>
                  <a:gd name="T93" fmla="*/ 1436 h 2850"/>
                  <a:gd name="T94" fmla="*/ 857 w 943"/>
                  <a:gd name="T95" fmla="*/ 1507 h 2850"/>
                  <a:gd name="T96" fmla="*/ 876 w 943"/>
                  <a:gd name="T97" fmla="*/ 1585 h 2850"/>
                  <a:gd name="T98" fmla="*/ 841 w 943"/>
                  <a:gd name="T99" fmla="*/ 1659 h 2850"/>
                  <a:gd name="T100" fmla="*/ 927 w 943"/>
                  <a:gd name="T101" fmla="*/ 1599 h 2850"/>
                  <a:gd name="T102" fmla="*/ 937 w 943"/>
                  <a:gd name="T103" fmla="*/ 1442 h 2850"/>
                  <a:gd name="T104" fmla="*/ 259 w 943"/>
                  <a:gd name="T105" fmla="*/ 1295 h 2850"/>
                  <a:gd name="T106" fmla="*/ 245 w 943"/>
                  <a:gd name="T107" fmla="*/ 1402 h 2850"/>
                  <a:gd name="T108" fmla="*/ 240 w 943"/>
                  <a:gd name="T109" fmla="*/ 1390 h 2850"/>
                  <a:gd name="T110" fmla="*/ 290 w 943"/>
                  <a:gd name="T111" fmla="*/ 888 h 2850"/>
                  <a:gd name="T112" fmla="*/ 315 w 943"/>
                  <a:gd name="T113" fmla="*/ 1015 h 2850"/>
                  <a:gd name="T114" fmla="*/ 310 w 943"/>
                  <a:gd name="T115" fmla="*/ 1119 h 28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43"/>
                  <a:gd name="T175" fmla="*/ 0 h 2850"/>
                  <a:gd name="T176" fmla="*/ 943 w 943"/>
                  <a:gd name="T177" fmla="*/ 2850 h 285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43" h="2850">
                    <a:moveTo>
                      <a:pt x="937" y="1442"/>
                    </a:moveTo>
                    <a:lnTo>
                      <a:pt x="937" y="1442"/>
                    </a:lnTo>
                    <a:lnTo>
                      <a:pt x="916" y="1241"/>
                    </a:lnTo>
                    <a:lnTo>
                      <a:pt x="911" y="1141"/>
                    </a:lnTo>
                    <a:lnTo>
                      <a:pt x="895" y="1055"/>
                    </a:lnTo>
                    <a:lnTo>
                      <a:pt x="887" y="1010"/>
                    </a:lnTo>
                    <a:lnTo>
                      <a:pt x="879" y="962"/>
                    </a:lnTo>
                    <a:lnTo>
                      <a:pt x="874" y="914"/>
                    </a:lnTo>
                    <a:lnTo>
                      <a:pt x="873" y="866"/>
                    </a:lnTo>
                    <a:lnTo>
                      <a:pt x="873" y="842"/>
                    </a:lnTo>
                    <a:lnTo>
                      <a:pt x="874" y="816"/>
                    </a:lnTo>
                    <a:lnTo>
                      <a:pt x="877" y="792"/>
                    </a:lnTo>
                    <a:lnTo>
                      <a:pt x="881" y="770"/>
                    </a:lnTo>
                    <a:lnTo>
                      <a:pt x="889" y="765"/>
                    </a:lnTo>
                    <a:lnTo>
                      <a:pt x="897" y="760"/>
                    </a:lnTo>
                    <a:lnTo>
                      <a:pt x="905" y="754"/>
                    </a:lnTo>
                    <a:lnTo>
                      <a:pt x="906" y="751"/>
                    </a:lnTo>
                    <a:lnTo>
                      <a:pt x="908" y="746"/>
                    </a:lnTo>
                    <a:lnTo>
                      <a:pt x="901" y="723"/>
                    </a:lnTo>
                    <a:lnTo>
                      <a:pt x="897" y="701"/>
                    </a:lnTo>
                    <a:lnTo>
                      <a:pt x="889" y="651"/>
                    </a:lnTo>
                    <a:lnTo>
                      <a:pt x="885" y="627"/>
                    </a:lnTo>
                    <a:lnTo>
                      <a:pt x="881" y="603"/>
                    </a:lnTo>
                    <a:lnTo>
                      <a:pt x="874" y="583"/>
                    </a:lnTo>
                    <a:lnTo>
                      <a:pt x="869" y="575"/>
                    </a:lnTo>
                    <a:lnTo>
                      <a:pt x="863" y="565"/>
                    </a:lnTo>
                    <a:lnTo>
                      <a:pt x="853" y="555"/>
                    </a:lnTo>
                    <a:lnTo>
                      <a:pt x="844" y="546"/>
                    </a:lnTo>
                    <a:lnTo>
                      <a:pt x="833" y="539"/>
                    </a:lnTo>
                    <a:lnTo>
                      <a:pt x="821" y="533"/>
                    </a:lnTo>
                    <a:lnTo>
                      <a:pt x="796" y="525"/>
                    </a:lnTo>
                    <a:lnTo>
                      <a:pt x="770" y="519"/>
                    </a:lnTo>
                    <a:lnTo>
                      <a:pt x="745" y="509"/>
                    </a:lnTo>
                    <a:lnTo>
                      <a:pt x="732" y="503"/>
                    </a:lnTo>
                    <a:lnTo>
                      <a:pt x="720" y="496"/>
                    </a:lnTo>
                    <a:lnTo>
                      <a:pt x="708" y="486"/>
                    </a:lnTo>
                    <a:lnTo>
                      <a:pt x="698" y="475"/>
                    </a:lnTo>
                    <a:lnTo>
                      <a:pt x="687" y="461"/>
                    </a:lnTo>
                    <a:lnTo>
                      <a:pt x="679" y="443"/>
                    </a:lnTo>
                    <a:lnTo>
                      <a:pt x="674" y="432"/>
                    </a:lnTo>
                    <a:lnTo>
                      <a:pt x="671" y="416"/>
                    </a:lnTo>
                    <a:lnTo>
                      <a:pt x="669" y="400"/>
                    </a:lnTo>
                    <a:lnTo>
                      <a:pt x="671" y="392"/>
                    </a:lnTo>
                    <a:lnTo>
                      <a:pt x="672" y="384"/>
                    </a:lnTo>
                    <a:lnTo>
                      <a:pt x="677" y="379"/>
                    </a:lnTo>
                    <a:lnTo>
                      <a:pt x="684" y="376"/>
                    </a:lnTo>
                    <a:lnTo>
                      <a:pt x="696" y="371"/>
                    </a:lnTo>
                    <a:lnTo>
                      <a:pt x="703" y="368"/>
                    </a:lnTo>
                    <a:lnTo>
                      <a:pt x="709" y="365"/>
                    </a:lnTo>
                    <a:lnTo>
                      <a:pt x="716" y="362"/>
                    </a:lnTo>
                    <a:lnTo>
                      <a:pt x="719" y="355"/>
                    </a:lnTo>
                    <a:lnTo>
                      <a:pt x="725" y="342"/>
                    </a:lnTo>
                    <a:lnTo>
                      <a:pt x="730" y="325"/>
                    </a:lnTo>
                    <a:lnTo>
                      <a:pt x="735" y="304"/>
                    </a:lnTo>
                    <a:lnTo>
                      <a:pt x="740" y="282"/>
                    </a:lnTo>
                    <a:lnTo>
                      <a:pt x="741" y="261"/>
                    </a:lnTo>
                    <a:lnTo>
                      <a:pt x="741" y="238"/>
                    </a:lnTo>
                    <a:lnTo>
                      <a:pt x="741" y="219"/>
                    </a:lnTo>
                    <a:lnTo>
                      <a:pt x="736" y="203"/>
                    </a:lnTo>
                    <a:lnTo>
                      <a:pt x="716" y="171"/>
                    </a:lnTo>
                    <a:lnTo>
                      <a:pt x="720" y="136"/>
                    </a:lnTo>
                    <a:lnTo>
                      <a:pt x="719" y="129"/>
                    </a:lnTo>
                    <a:lnTo>
                      <a:pt x="714" y="123"/>
                    </a:lnTo>
                    <a:lnTo>
                      <a:pt x="704" y="107"/>
                    </a:lnTo>
                    <a:lnTo>
                      <a:pt x="695" y="93"/>
                    </a:lnTo>
                    <a:lnTo>
                      <a:pt x="687" y="80"/>
                    </a:lnTo>
                    <a:lnTo>
                      <a:pt x="685" y="77"/>
                    </a:lnTo>
                    <a:lnTo>
                      <a:pt x="685" y="73"/>
                    </a:lnTo>
                    <a:lnTo>
                      <a:pt x="685" y="65"/>
                    </a:lnTo>
                    <a:lnTo>
                      <a:pt x="687" y="59"/>
                    </a:lnTo>
                    <a:lnTo>
                      <a:pt x="687" y="54"/>
                    </a:lnTo>
                    <a:lnTo>
                      <a:pt x="685" y="49"/>
                    </a:lnTo>
                    <a:lnTo>
                      <a:pt x="680" y="43"/>
                    </a:lnTo>
                    <a:lnTo>
                      <a:pt x="676" y="35"/>
                    </a:lnTo>
                    <a:lnTo>
                      <a:pt x="671" y="30"/>
                    </a:lnTo>
                    <a:lnTo>
                      <a:pt x="664" y="24"/>
                    </a:lnTo>
                    <a:lnTo>
                      <a:pt x="652" y="16"/>
                    </a:lnTo>
                    <a:lnTo>
                      <a:pt x="634" y="9"/>
                    </a:lnTo>
                    <a:lnTo>
                      <a:pt x="616" y="4"/>
                    </a:lnTo>
                    <a:lnTo>
                      <a:pt x="596" y="1"/>
                    </a:lnTo>
                    <a:lnTo>
                      <a:pt x="575" y="0"/>
                    </a:lnTo>
                    <a:lnTo>
                      <a:pt x="551" y="0"/>
                    </a:lnTo>
                    <a:lnTo>
                      <a:pt x="548" y="3"/>
                    </a:lnTo>
                    <a:lnTo>
                      <a:pt x="543" y="4"/>
                    </a:lnTo>
                    <a:lnTo>
                      <a:pt x="533" y="6"/>
                    </a:lnTo>
                    <a:lnTo>
                      <a:pt x="523" y="6"/>
                    </a:lnTo>
                    <a:lnTo>
                      <a:pt x="512" y="9"/>
                    </a:lnTo>
                    <a:lnTo>
                      <a:pt x="491" y="17"/>
                    </a:lnTo>
                    <a:lnTo>
                      <a:pt x="467" y="30"/>
                    </a:lnTo>
                    <a:lnTo>
                      <a:pt x="456" y="37"/>
                    </a:lnTo>
                    <a:lnTo>
                      <a:pt x="447" y="45"/>
                    </a:lnTo>
                    <a:lnTo>
                      <a:pt x="437" y="53"/>
                    </a:lnTo>
                    <a:lnTo>
                      <a:pt x="431" y="61"/>
                    </a:lnTo>
                    <a:lnTo>
                      <a:pt x="424" y="73"/>
                    </a:lnTo>
                    <a:lnTo>
                      <a:pt x="419" y="86"/>
                    </a:lnTo>
                    <a:lnTo>
                      <a:pt x="416" y="99"/>
                    </a:lnTo>
                    <a:lnTo>
                      <a:pt x="413" y="113"/>
                    </a:lnTo>
                    <a:lnTo>
                      <a:pt x="413" y="128"/>
                    </a:lnTo>
                    <a:lnTo>
                      <a:pt x="411" y="144"/>
                    </a:lnTo>
                    <a:lnTo>
                      <a:pt x="413" y="174"/>
                    </a:lnTo>
                    <a:lnTo>
                      <a:pt x="418" y="205"/>
                    </a:lnTo>
                    <a:lnTo>
                      <a:pt x="426" y="233"/>
                    </a:lnTo>
                    <a:lnTo>
                      <a:pt x="435" y="259"/>
                    </a:lnTo>
                    <a:lnTo>
                      <a:pt x="447" y="280"/>
                    </a:lnTo>
                    <a:lnTo>
                      <a:pt x="477" y="312"/>
                    </a:lnTo>
                    <a:lnTo>
                      <a:pt x="483" y="323"/>
                    </a:lnTo>
                    <a:lnTo>
                      <a:pt x="488" y="338"/>
                    </a:lnTo>
                    <a:lnTo>
                      <a:pt x="493" y="350"/>
                    </a:lnTo>
                    <a:lnTo>
                      <a:pt x="499" y="362"/>
                    </a:lnTo>
                    <a:lnTo>
                      <a:pt x="488" y="405"/>
                    </a:lnTo>
                    <a:lnTo>
                      <a:pt x="482" y="408"/>
                    </a:lnTo>
                    <a:lnTo>
                      <a:pt x="477" y="411"/>
                    </a:lnTo>
                    <a:lnTo>
                      <a:pt x="474" y="414"/>
                    </a:lnTo>
                    <a:lnTo>
                      <a:pt x="471" y="419"/>
                    </a:lnTo>
                    <a:lnTo>
                      <a:pt x="455" y="419"/>
                    </a:lnTo>
                    <a:lnTo>
                      <a:pt x="451" y="422"/>
                    </a:lnTo>
                    <a:lnTo>
                      <a:pt x="450" y="427"/>
                    </a:lnTo>
                    <a:lnTo>
                      <a:pt x="448" y="430"/>
                    </a:lnTo>
                    <a:lnTo>
                      <a:pt x="447" y="435"/>
                    </a:lnTo>
                    <a:lnTo>
                      <a:pt x="443" y="437"/>
                    </a:lnTo>
                    <a:lnTo>
                      <a:pt x="416" y="440"/>
                    </a:lnTo>
                    <a:lnTo>
                      <a:pt x="405" y="448"/>
                    </a:lnTo>
                    <a:lnTo>
                      <a:pt x="392" y="458"/>
                    </a:lnTo>
                    <a:lnTo>
                      <a:pt x="381" y="467"/>
                    </a:lnTo>
                    <a:lnTo>
                      <a:pt x="368" y="475"/>
                    </a:lnTo>
                    <a:lnTo>
                      <a:pt x="367" y="477"/>
                    </a:lnTo>
                    <a:lnTo>
                      <a:pt x="320" y="483"/>
                    </a:lnTo>
                    <a:lnTo>
                      <a:pt x="302" y="490"/>
                    </a:lnTo>
                    <a:lnTo>
                      <a:pt x="286" y="494"/>
                    </a:lnTo>
                    <a:lnTo>
                      <a:pt x="272" y="501"/>
                    </a:lnTo>
                    <a:lnTo>
                      <a:pt x="259" y="509"/>
                    </a:lnTo>
                    <a:lnTo>
                      <a:pt x="248" y="517"/>
                    </a:lnTo>
                    <a:lnTo>
                      <a:pt x="237" y="527"/>
                    </a:lnTo>
                    <a:lnTo>
                      <a:pt x="227" y="538"/>
                    </a:lnTo>
                    <a:lnTo>
                      <a:pt x="218" y="551"/>
                    </a:lnTo>
                    <a:lnTo>
                      <a:pt x="208" y="565"/>
                    </a:lnTo>
                    <a:lnTo>
                      <a:pt x="200" y="583"/>
                    </a:lnTo>
                    <a:lnTo>
                      <a:pt x="192" y="602"/>
                    </a:lnTo>
                    <a:lnTo>
                      <a:pt x="186" y="623"/>
                    </a:lnTo>
                    <a:lnTo>
                      <a:pt x="174" y="664"/>
                    </a:lnTo>
                    <a:lnTo>
                      <a:pt x="166" y="704"/>
                    </a:lnTo>
                    <a:lnTo>
                      <a:pt x="163" y="722"/>
                    </a:lnTo>
                    <a:lnTo>
                      <a:pt x="165" y="739"/>
                    </a:lnTo>
                    <a:lnTo>
                      <a:pt x="165" y="759"/>
                    </a:lnTo>
                    <a:lnTo>
                      <a:pt x="163" y="778"/>
                    </a:lnTo>
                    <a:lnTo>
                      <a:pt x="160" y="796"/>
                    </a:lnTo>
                    <a:lnTo>
                      <a:pt x="158" y="816"/>
                    </a:lnTo>
                    <a:lnTo>
                      <a:pt x="155" y="858"/>
                    </a:lnTo>
                    <a:lnTo>
                      <a:pt x="152" y="901"/>
                    </a:lnTo>
                    <a:lnTo>
                      <a:pt x="150" y="922"/>
                    </a:lnTo>
                    <a:lnTo>
                      <a:pt x="147" y="943"/>
                    </a:lnTo>
                    <a:lnTo>
                      <a:pt x="141" y="986"/>
                    </a:lnTo>
                    <a:lnTo>
                      <a:pt x="134" y="1031"/>
                    </a:lnTo>
                    <a:lnTo>
                      <a:pt x="131" y="1077"/>
                    </a:lnTo>
                    <a:lnTo>
                      <a:pt x="128" y="1125"/>
                    </a:lnTo>
                    <a:lnTo>
                      <a:pt x="128" y="1173"/>
                    </a:lnTo>
                    <a:lnTo>
                      <a:pt x="131" y="1221"/>
                    </a:lnTo>
                    <a:lnTo>
                      <a:pt x="136" y="1266"/>
                    </a:lnTo>
                    <a:lnTo>
                      <a:pt x="142" y="1310"/>
                    </a:lnTo>
                    <a:lnTo>
                      <a:pt x="146" y="1338"/>
                    </a:lnTo>
                    <a:lnTo>
                      <a:pt x="147" y="1382"/>
                    </a:lnTo>
                    <a:lnTo>
                      <a:pt x="149" y="1422"/>
                    </a:lnTo>
                    <a:lnTo>
                      <a:pt x="149" y="1438"/>
                    </a:lnTo>
                    <a:lnTo>
                      <a:pt x="147" y="1447"/>
                    </a:lnTo>
                    <a:lnTo>
                      <a:pt x="141" y="1473"/>
                    </a:lnTo>
                    <a:lnTo>
                      <a:pt x="133" y="1510"/>
                    </a:lnTo>
                    <a:lnTo>
                      <a:pt x="130" y="1529"/>
                    </a:lnTo>
                    <a:lnTo>
                      <a:pt x="128" y="1548"/>
                    </a:lnTo>
                    <a:lnTo>
                      <a:pt x="130" y="1566"/>
                    </a:lnTo>
                    <a:lnTo>
                      <a:pt x="131" y="1574"/>
                    </a:lnTo>
                    <a:lnTo>
                      <a:pt x="134" y="1582"/>
                    </a:lnTo>
                    <a:lnTo>
                      <a:pt x="141" y="1593"/>
                    </a:lnTo>
                    <a:lnTo>
                      <a:pt x="149" y="1604"/>
                    </a:lnTo>
                    <a:lnTo>
                      <a:pt x="158" y="1615"/>
                    </a:lnTo>
                    <a:lnTo>
                      <a:pt x="168" y="1625"/>
                    </a:lnTo>
                    <a:lnTo>
                      <a:pt x="190" y="1646"/>
                    </a:lnTo>
                    <a:lnTo>
                      <a:pt x="210" y="1663"/>
                    </a:lnTo>
                    <a:lnTo>
                      <a:pt x="194" y="1852"/>
                    </a:lnTo>
                    <a:lnTo>
                      <a:pt x="197" y="1934"/>
                    </a:lnTo>
                    <a:lnTo>
                      <a:pt x="178" y="1964"/>
                    </a:lnTo>
                    <a:lnTo>
                      <a:pt x="174" y="1990"/>
                    </a:lnTo>
                    <a:lnTo>
                      <a:pt x="152" y="2032"/>
                    </a:lnTo>
                    <a:lnTo>
                      <a:pt x="147" y="2123"/>
                    </a:lnTo>
                    <a:lnTo>
                      <a:pt x="133" y="2190"/>
                    </a:lnTo>
                    <a:lnTo>
                      <a:pt x="120" y="2261"/>
                    </a:lnTo>
                    <a:lnTo>
                      <a:pt x="94" y="2402"/>
                    </a:lnTo>
                    <a:lnTo>
                      <a:pt x="85" y="2451"/>
                    </a:lnTo>
                    <a:lnTo>
                      <a:pt x="78" y="2501"/>
                    </a:lnTo>
                    <a:lnTo>
                      <a:pt x="72" y="2551"/>
                    </a:lnTo>
                    <a:lnTo>
                      <a:pt x="64" y="2603"/>
                    </a:lnTo>
                    <a:lnTo>
                      <a:pt x="53" y="2663"/>
                    </a:lnTo>
                    <a:lnTo>
                      <a:pt x="75" y="2691"/>
                    </a:lnTo>
                    <a:lnTo>
                      <a:pt x="64" y="2725"/>
                    </a:lnTo>
                    <a:lnTo>
                      <a:pt x="56" y="2736"/>
                    </a:lnTo>
                    <a:lnTo>
                      <a:pt x="46" y="2749"/>
                    </a:lnTo>
                    <a:lnTo>
                      <a:pt x="24" y="2780"/>
                    </a:lnTo>
                    <a:lnTo>
                      <a:pt x="14" y="2796"/>
                    </a:lnTo>
                    <a:lnTo>
                      <a:pt x="5" y="2812"/>
                    </a:lnTo>
                    <a:lnTo>
                      <a:pt x="3" y="2820"/>
                    </a:lnTo>
                    <a:lnTo>
                      <a:pt x="1" y="2828"/>
                    </a:lnTo>
                    <a:lnTo>
                      <a:pt x="0" y="2836"/>
                    </a:lnTo>
                    <a:lnTo>
                      <a:pt x="1" y="2844"/>
                    </a:lnTo>
                    <a:lnTo>
                      <a:pt x="46" y="2848"/>
                    </a:lnTo>
                    <a:lnTo>
                      <a:pt x="70" y="2850"/>
                    </a:lnTo>
                    <a:lnTo>
                      <a:pt x="94" y="2850"/>
                    </a:lnTo>
                    <a:lnTo>
                      <a:pt x="118" y="2850"/>
                    </a:lnTo>
                    <a:lnTo>
                      <a:pt x="141" y="2848"/>
                    </a:lnTo>
                    <a:lnTo>
                      <a:pt x="162" y="2844"/>
                    </a:lnTo>
                    <a:lnTo>
                      <a:pt x="181" y="2839"/>
                    </a:lnTo>
                    <a:lnTo>
                      <a:pt x="179" y="2826"/>
                    </a:lnTo>
                    <a:lnTo>
                      <a:pt x="178" y="2813"/>
                    </a:lnTo>
                    <a:lnTo>
                      <a:pt x="179" y="2812"/>
                    </a:lnTo>
                    <a:lnTo>
                      <a:pt x="202" y="2810"/>
                    </a:lnTo>
                    <a:lnTo>
                      <a:pt x="222" y="2807"/>
                    </a:lnTo>
                    <a:lnTo>
                      <a:pt x="230" y="2804"/>
                    </a:lnTo>
                    <a:lnTo>
                      <a:pt x="238" y="2800"/>
                    </a:lnTo>
                    <a:lnTo>
                      <a:pt x="246" y="2796"/>
                    </a:lnTo>
                    <a:lnTo>
                      <a:pt x="254" y="2789"/>
                    </a:lnTo>
                    <a:lnTo>
                      <a:pt x="243" y="2720"/>
                    </a:lnTo>
                    <a:lnTo>
                      <a:pt x="259" y="2701"/>
                    </a:lnTo>
                    <a:lnTo>
                      <a:pt x="262" y="2690"/>
                    </a:lnTo>
                    <a:lnTo>
                      <a:pt x="264" y="2679"/>
                    </a:lnTo>
                    <a:lnTo>
                      <a:pt x="264" y="2658"/>
                    </a:lnTo>
                    <a:lnTo>
                      <a:pt x="264" y="2637"/>
                    </a:lnTo>
                    <a:lnTo>
                      <a:pt x="264" y="2626"/>
                    </a:lnTo>
                    <a:lnTo>
                      <a:pt x="266" y="2616"/>
                    </a:lnTo>
                    <a:lnTo>
                      <a:pt x="283" y="2536"/>
                    </a:lnTo>
                    <a:lnTo>
                      <a:pt x="301" y="2454"/>
                    </a:lnTo>
                    <a:lnTo>
                      <a:pt x="318" y="2374"/>
                    </a:lnTo>
                    <a:lnTo>
                      <a:pt x="336" y="2299"/>
                    </a:lnTo>
                    <a:lnTo>
                      <a:pt x="367" y="2166"/>
                    </a:lnTo>
                    <a:lnTo>
                      <a:pt x="399" y="2099"/>
                    </a:lnTo>
                    <a:lnTo>
                      <a:pt x="413" y="2064"/>
                    </a:lnTo>
                    <a:lnTo>
                      <a:pt x="419" y="2045"/>
                    </a:lnTo>
                    <a:lnTo>
                      <a:pt x="426" y="2025"/>
                    </a:lnTo>
                    <a:lnTo>
                      <a:pt x="440" y="1905"/>
                    </a:lnTo>
                    <a:lnTo>
                      <a:pt x="455" y="1843"/>
                    </a:lnTo>
                    <a:lnTo>
                      <a:pt x="463" y="1809"/>
                    </a:lnTo>
                    <a:lnTo>
                      <a:pt x="472" y="1776"/>
                    </a:lnTo>
                    <a:lnTo>
                      <a:pt x="482" y="1742"/>
                    </a:lnTo>
                    <a:lnTo>
                      <a:pt x="493" y="1711"/>
                    </a:lnTo>
                    <a:lnTo>
                      <a:pt x="506" y="1684"/>
                    </a:lnTo>
                    <a:lnTo>
                      <a:pt x="514" y="1671"/>
                    </a:lnTo>
                    <a:lnTo>
                      <a:pt x="520" y="1662"/>
                    </a:lnTo>
                    <a:lnTo>
                      <a:pt x="523" y="1663"/>
                    </a:lnTo>
                    <a:lnTo>
                      <a:pt x="523" y="1691"/>
                    </a:lnTo>
                    <a:lnTo>
                      <a:pt x="522" y="1721"/>
                    </a:lnTo>
                    <a:lnTo>
                      <a:pt x="517" y="1750"/>
                    </a:lnTo>
                    <a:lnTo>
                      <a:pt x="512" y="1777"/>
                    </a:lnTo>
                    <a:lnTo>
                      <a:pt x="511" y="1792"/>
                    </a:lnTo>
                    <a:lnTo>
                      <a:pt x="511" y="1806"/>
                    </a:lnTo>
                    <a:lnTo>
                      <a:pt x="515" y="1833"/>
                    </a:lnTo>
                    <a:lnTo>
                      <a:pt x="519" y="1862"/>
                    </a:lnTo>
                    <a:lnTo>
                      <a:pt x="519" y="1878"/>
                    </a:lnTo>
                    <a:lnTo>
                      <a:pt x="517" y="1892"/>
                    </a:lnTo>
                    <a:lnTo>
                      <a:pt x="506" y="2051"/>
                    </a:lnTo>
                    <a:lnTo>
                      <a:pt x="506" y="2099"/>
                    </a:lnTo>
                    <a:lnTo>
                      <a:pt x="491" y="2150"/>
                    </a:lnTo>
                    <a:lnTo>
                      <a:pt x="487" y="2184"/>
                    </a:lnTo>
                    <a:lnTo>
                      <a:pt x="483" y="2217"/>
                    </a:lnTo>
                    <a:lnTo>
                      <a:pt x="479" y="2285"/>
                    </a:lnTo>
                    <a:lnTo>
                      <a:pt x="475" y="2318"/>
                    </a:lnTo>
                    <a:lnTo>
                      <a:pt x="472" y="2350"/>
                    </a:lnTo>
                    <a:lnTo>
                      <a:pt x="467" y="2382"/>
                    </a:lnTo>
                    <a:lnTo>
                      <a:pt x="461" y="2411"/>
                    </a:lnTo>
                    <a:lnTo>
                      <a:pt x="453" y="2442"/>
                    </a:lnTo>
                    <a:lnTo>
                      <a:pt x="448" y="2474"/>
                    </a:lnTo>
                    <a:lnTo>
                      <a:pt x="443" y="2507"/>
                    </a:lnTo>
                    <a:lnTo>
                      <a:pt x="440" y="2541"/>
                    </a:lnTo>
                    <a:lnTo>
                      <a:pt x="437" y="2610"/>
                    </a:lnTo>
                    <a:lnTo>
                      <a:pt x="431" y="2672"/>
                    </a:lnTo>
                    <a:lnTo>
                      <a:pt x="426" y="2693"/>
                    </a:lnTo>
                    <a:lnTo>
                      <a:pt x="419" y="2720"/>
                    </a:lnTo>
                    <a:lnTo>
                      <a:pt x="413" y="2746"/>
                    </a:lnTo>
                    <a:lnTo>
                      <a:pt x="413" y="2757"/>
                    </a:lnTo>
                    <a:lnTo>
                      <a:pt x="413" y="2765"/>
                    </a:lnTo>
                    <a:lnTo>
                      <a:pt x="416" y="2768"/>
                    </a:lnTo>
                    <a:lnTo>
                      <a:pt x="419" y="2773"/>
                    </a:lnTo>
                    <a:lnTo>
                      <a:pt x="427" y="2778"/>
                    </a:lnTo>
                    <a:lnTo>
                      <a:pt x="439" y="2781"/>
                    </a:lnTo>
                    <a:lnTo>
                      <a:pt x="451" y="2784"/>
                    </a:lnTo>
                    <a:lnTo>
                      <a:pt x="475" y="2788"/>
                    </a:lnTo>
                    <a:lnTo>
                      <a:pt x="488" y="2789"/>
                    </a:lnTo>
                    <a:lnTo>
                      <a:pt x="499" y="2791"/>
                    </a:lnTo>
                    <a:lnTo>
                      <a:pt x="496" y="2802"/>
                    </a:lnTo>
                    <a:lnTo>
                      <a:pt x="496" y="2813"/>
                    </a:lnTo>
                    <a:lnTo>
                      <a:pt x="504" y="2818"/>
                    </a:lnTo>
                    <a:lnTo>
                      <a:pt x="512" y="2823"/>
                    </a:lnTo>
                    <a:lnTo>
                      <a:pt x="531" y="2829"/>
                    </a:lnTo>
                    <a:lnTo>
                      <a:pt x="552" y="2834"/>
                    </a:lnTo>
                    <a:lnTo>
                      <a:pt x="576" y="2837"/>
                    </a:lnTo>
                    <a:lnTo>
                      <a:pt x="600" y="2837"/>
                    </a:lnTo>
                    <a:lnTo>
                      <a:pt x="624" y="2836"/>
                    </a:lnTo>
                    <a:lnTo>
                      <a:pt x="648" y="2834"/>
                    </a:lnTo>
                    <a:lnTo>
                      <a:pt x="671" y="2829"/>
                    </a:lnTo>
                    <a:lnTo>
                      <a:pt x="676" y="2820"/>
                    </a:lnTo>
                    <a:lnTo>
                      <a:pt x="674" y="2808"/>
                    </a:lnTo>
                    <a:lnTo>
                      <a:pt x="671" y="2799"/>
                    </a:lnTo>
                    <a:lnTo>
                      <a:pt x="663" y="2781"/>
                    </a:lnTo>
                    <a:lnTo>
                      <a:pt x="653" y="2765"/>
                    </a:lnTo>
                    <a:lnTo>
                      <a:pt x="644" y="2751"/>
                    </a:lnTo>
                    <a:lnTo>
                      <a:pt x="632" y="2738"/>
                    </a:lnTo>
                    <a:lnTo>
                      <a:pt x="624" y="2725"/>
                    </a:lnTo>
                    <a:lnTo>
                      <a:pt x="618" y="2711"/>
                    </a:lnTo>
                    <a:lnTo>
                      <a:pt x="615" y="2703"/>
                    </a:lnTo>
                    <a:lnTo>
                      <a:pt x="615" y="2696"/>
                    </a:lnTo>
                    <a:lnTo>
                      <a:pt x="624" y="2691"/>
                    </a:lnTo>
                    <a:lnTo>
                      <a:pt x="634" y="2688"/>
                    </a:lnTo>
                    <a:lnTo>
                      <a:pt x="629" y="2615"/>
                    </a:lnTo>
                    <a:lnTo>
                      <a:pt x="637" y="2573"/>
                    </a:lnTo>
                    <a:lnTo>
                      <a:pt x="647" y="2530"/>
                    </a:lnTo>
                    <a:lnTo>
                      <a:pt x="656" y="2488"/>
                    </a:lnTo>
                    <a:lnTo>
                      <a:pt x="666" y="2445"/>
                    </a:lnTo>
                    <a:lnTo>
                      <a:pt x="671" y="2413"/>
                    </a:lnTo>
                    <a:lnTo>
                      <a:pt x="674" y="2381"/>
                    </a:lnTo>
                    <a:lnTo>
                      <a:pt x="679" y="2317"/>
                    </a:lnTo>
                    <a:lnTo>
                      <a:pt x="680" y="2285"/>
                    </a:lnTo>
                    <a:lnTo>
                      <a:pt x="684" y="2253"/>
                    </a:lnTo>
                    <a:lnTo>
                      <a:pt x="688" y="2222"/>
                    </a:lnTo>
                    <a:lnTo>
                      <a:pt x="696" y="2192"/>
                    </a:lnTo>
                    <a:lnTo>
                      <a:pt x="762" y="2054"/>
                    </a:lnTo>
                    <a:lnTo>
                      <a:pt x="765" y="1998"/>
                    </a:lnTo>
                    <a:lnTo>
                      <a:pt x="793" y="1758"/>
                    </a:lnTo>
                    <a:lnTo>
                      <a:pt x="805" y="1700"/>
                    </a:lnTo>
                    <a:lnTo>
                      <a:pt x="818" y="1641"/>
                    </a:lnTo>
                    <a:lnTo>
                      <a:pt x="829" y="1580"/>
                    </a:lnTo>
                    <a:lnTo>
                      <a:pt x="842" y="1521"/>
                    </a:lnTo>
                    <a:lnTo>
                      <a:pt x="844" y="1447"/>
                    </a:lnTo>
                    <a:lnTo>
                      <a:pt x="845" y="1422"/>
                    </a:lnTo>
                    <a:lnTo>
                      <a:pt x="845" y="1396"/>
                    </a:lnTo>
                    <a:lnTo>
                      <a:pt x="844" y="1370"/>
                    </a:lnTo>
                    <a:lnTo>
                      <a:pt x="839" y="1348"/>
                    </a:lnTo>
                    <a:lnTo>
                      <a:pt x="841" y="1345"/>
                    </a:lnTo>
                    <a:lnTo>
                      <a:pt x="844" y="1346"/>
                    </a:lnTo>
                    <a:lnTo>
                      <a:pt x="861" y="1394"/>
                    </a:lnTo>
                    <a:lnTo>
                      <a:pt x="863" y="1406"/>
                    </a:lnTo>
                    <a:lnTo>
                      <a:pt x="863" y="1417"/>
                    </a:lnTo>
                    <a:lnTo>
                      <a:pt x="861" y="1426"/>
                    </a:lnTo>
                    <a:lnTo>
                      <a:pt x="858" y="1436"/>
                    </a:lnTo>
                    <a:lnTo>
                      <a:pt x="852" y="1454"/>
                    </a:lnTo>
                    <a:lnTo>
                      <a:pt x="850" y="1462"/>
                    </a:lnTo>
                    <a:lnTo>
                      <a:pt x="847" y="1471"/>
                    </a:lnTo>
                    <a:lnTo>
                      <a:pt x="847" y="1478"/>
                    </a:lnTo>
                    <a:lnTo>
                      <a:pt x="849" y="1482"/>
                    </a:lnTo>
                    <a:lnTo>
                      <a:pt x="850" y="1490"/>
                    </a:lnTo>
                    <a:lnTo>
                      <a:pt x="855" y="1499"/>
                    </a:lnTo>
                    <a:lnTo>
                      <a:pt x="857" y="1507"/>
                    </a:lnTo>
                    <a:lnTo>
                      <a:pt x="850" y="1545"/>
                    </a:lnTo>
                    <a:lnTo>
                      <a:pt x="858" y="1580"/>
                    </a:lnTo>
                    <a:lnTo>
                      <a:pt x="866" y="1583"/>
                    </a:lnTo>
                    <a:lnTo>
                      <a:pt x="871" y="1585"/>
                    </a:lnTo>
                    <a:lnTo>
                      <a:pt x="876" y="1585"/>
                    </a:lnTo>
                    <a:lnTo>
                      <a:pt x="871" y="1593"/>
                    </a:lnTo>
                    <a:lnTo>
                      <a:pt x="865" y="1601"/>
                    </a:lnTo>
                    <a:lnTo>
                      <a:pt x="847" y="1619"/>
                    </a:lnTo>
                    <a:lnTo>
                      <a:pt x="841" y="1627"/>
                    </a:lnTo>
                    <a:lnTo>
                      <a:pt x="836" y="1636"/>
                    </a:lnTo>
                    <a:lnTo>
                      <a:pt x="834" y="1641"/>
                    </a:lnTo>
                    <a:lnTo>
                      <a:pt x="836" y="1647"/>
                    </a:lnTo>
                    <a:lnTo>
                      <a:pt x="837" y="1652"/>
                    </a:lnTo>
                    <a:lnTo>
                      <a:pt x="841" y="1659"/>
                    </a:lnTo>
                    <a:lnTo>
                      <a:pt x="842" y="1659"/>
                    </a:lnTo>
                    <a:lnTo>
                      <a:pt x="858" y="1655"/>
                    </a:lnTo>
                    <a:lnTo>
                      <a:pt x="874" y="1652"/>
                    </a:lnTo>
                    <a:lnTo>
                      <a:pt x="889" y="1644"/>
                    </a:lnTo>
                    <a:lnTo>
                      <a:pt x="900" y="1636"/>
                    </a:lnTo>
                    <a:lnTo>
                      <a:pt x="911" y="1627"/>
                    </a:lnTo>
                    <a:lnTo>
                      <a:pt x="919" y="1614"/>
                    </a:lnTo>
                    <a:lnTo>
                      <a:pt x="927" y="1599"/>
                    </a:lnTo>
                    <a:lnTo>
                      <a:pt x="933" y="1585"/>
                    </a:lnTo>
                    <a:lnTo>
                      <a:pt x="938" y="1569"/>
                    </a:lnTo>
                    <a:lnTo>
                      <a:pt x="941" y="1551"/>
                    </a:lnTo>
                    <a:lnTo>
                      <a:pt x="943" y="1534"/>
                    </a:lnTo>
                    <a:lnTo>
                      <a:pt x="943" y="1516"/>
                    </a:lnTo>
                    <a:lnTo>
                      <a:pt x="943" y="1497"/>
                    </a:lnTo>
                    <a:lnTo>
                      <a:pt x="943" y="1479"/>
                    </a:lnTo>
                    <a:lnTo>
                      <a:pt x="937" y="1442"/>
                    </a:lnTo>
                    <a:close/>
                    <a:moveTo>
                      <a:pt x="310" y="1119"/>
                    </a:moveTo>
                    <a:lnTo>
                      <a:pt x="310" y="1119"/>
                    </a:lnTo>
                    <a:lnTo>
                      <a:pt x="290" y="1220"/>
                    </a:lnTo>
                    <a:lnTo>
                      <a:pt x="283" y="1237"/>
                    </a:lnTo>
                    <a:lnTo>
                      <a:pt x="274" y="1257"/>
                    </a:lnTo>
                    <a:lnTo>
                      <a:pt x="266" y="1274"/>
                    </a:lnTo>
                    <a:lnTo>
                      <a:pt x="259" y="1295"/>
                    </a:lnTo>
                    <a:lnTo>
                      <a:pt x="258" y="1310"/>
                    </a:lnTo>
                    <a:lnTo>
                      <a:pt x="256" y="1324"/>
                    </a:lnTo>
                    <a:lnTo>
                      <a:pt x="256" y="1348"/>
                    </a:lnTo>
                    <a:lnTo>
                      <a:pt x="254" y="1361"/>
                    </a:lnTo>
                    <a:lnTo>
                      <a:pt x="253" y="1372"/>
                    </a:lnTo>
                    <a:lnTo>
                      <a:pt x="248" y="1383"/>
                    </a:lnTo>
                    <a:lnTo>
                      <a:pt x="242" y="1396"/>
                    </a:lnTo>
                    <a:lnTo>
                      <a:pt x="245" y="1402"/>
                    </a:lnTo>
                    <a:lnTo>
                      <a:pt x="248" y="1406"/>
                    </a:lnTo>
                    <a:lnTo>
                      <a:pt x="253" y="1409"/>
                    </a:lnTo>
                    <a:lnTo>
                      <a:pt x="254" y="1415"/>
                    </a:lnTo>
                    <a:lnTo>
                      <a:pt x="250" y="1426"/>
                    </a:lnTo>
                    <a:lnTo>
                      <a:pt x="245" y="1423"/>
                    </a:lnTo>
                    <a:lnTo>
                      <a:pt x="240" y="1390"/>
                    </a:lnTo>
                    <a:lnTo>
                      <a:pt x="237" y="1356"/>
                    </a:lnTo>
                    <a:lnTo>
                      <a:pt x="235" y="1321"/>
                    </a:lnTo>
                    <a:lnTo>
                      <a:pt x="234" y="1286"/>
                    </a:lnTo>
                    <a:lnTo>
                      <a:pt x="235" y="1252"/>
                    </a:lnTo>
                    <a:lnTo>
                      <a:pt x="237" y="1217"/>
                    </a:lnTo>
                    <a:lnTo>
                      <a:pt x="243" y="1146"/>
                    </a:lnTo>
                    <a:lnTo>
                      <a:pt x="253" y="1079"/>
                    </a:lnTo>
                    <a:lnTo>
                      <a:pt x="266" y="1012"/>
                    </a:lnTo>
                    <a:lnTo>
                      <a:pt x="290" y="888"/>
                    </a:lnTo>
                    <a:lnTo>
                      <a:pt x="293" y="893"/>
                    </a:lnTo>
                    <a:lnTo>
                      <a:pt x="298" y="903"/>
                    </a:lnTo>
                    <a:lnTo>
                      <a:pt x="307" y="930"/>
                    </a:lnTo>
                    <a:lnTo>
                      <a:pt x="315" y="959"/>
                    </a:lnTo>
                    <a:lnTo>
                      <a:pt x="320" y="978"/>
                    </a:lnTo>
                    <a:lnTo>
                      <a:pt x="315" y="1015"/>
                    </a:lnTo>
                    <a:lnTo>
                      <a:pt x="326" y="1041"/>
                    </a:lnTo>
                    <a:lnTo>
                      <a:pt x="328" y="1052"/>
                    </a:lnTo>
                    <a:lnTo>
                      <a:pt x="326" y="1063"/>
                    </a:lnTo>
                    <a:lnTo>
                      <a:pt x="325" y="1074"/>
                    </a:lnTo>
                    <a:lnTo>
                      <a:pt x="323" y="1084"/>
                    </a:lnTo>
                    <a:lnTo>
                      <a:pt x="317" y="1103"/>
                    </a:lnTo>
                    <a:lnTo>
                      <a:pt x="310" y="1119"/>
                    </a:lnTo>
                    <a:close/>
                  </a:path>
                </a:pathLst>
              </a:custGeom>
              <a:solidFill>
                <a:schemeClr val="accent5"/>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sp>
          <p:nvSpPr>
            <p:cNvPr id="30" name="Ellipse 4"/>
            <p:cNvSpPr/>
            <p:nvPr/>
          </p:nvSpPr>
          <p:spPr>
            <a:xfrm>
              <a:off x="3955139" y="4156053"/>
              <a:ext cx="1186156" cy="329653"/>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Freeform 25"/>
            <p:cNvSpPr>
              <a:spLocks noEditPoints="1"/>
            </p:cNvSpPr>
            <p:nvPr>
              <p:custDataLst>
                <p:tags r:id="rId3"/>
              </p:custDataLst>
            </p:nvPr>
          </p:nvSpPr>
          <p:spPr bwMode="auto">
            <a:xfrm>
              <a:off x="4267023" y="2571877"/>
              <a:ext cx="540104" cy="1759694"/>
            </a:xfrm>
            <a:custGeom>
              <a:avLst/>
              <a:gdLst/>
              <a:ahLst/>
              <a:cxnLst>
                <a:cxn ang="0">
                  <a:pos x="267" y="1065"/>
                </a:cxn>
                <a:cxn ang="0">
                  <a:pos x="262" y="1226"/>
                </a:cxn>
                <a:cxn ang="0">
                  <a:pos x="272" y="1322"/>
                </a:cxn>
                <a:cxn ang="0">
                  <a:pos x="287" y="1437"/>
                </a:cxn>
                <a:cxn ang="0">
                  <a:pos x="295" y="1219"/>
                </a:cxn>
                <a:cxn ang="0">
                  <a:pos x="292" y="5"/>
                </a:cxn>
                <a:cxn ang="0">
                  <a:pos x="353" y="91"/>
                </a:cxn>
                <a:cxn ang="0">
                  <a:pos x="352" y="154"/>
                </a:cxn>
                <a:cxn ang="0">
                  <a:pos x="330" y="188"/>
                </a:cxn>
                <a:cxn ang="0">
                  <a:pos x="327" y="247"/>
                </a:cxn>
                <a:cxn ang="0">
                  <a:pos x="368" y="289"/>
                </a:cxn>
                <a:cxn ang="0">
                  <a:pos x="468" y="321"/>
                </a:cxn>
                <a:cxn ang="0">
                  <a:pos x="482" y="366"/>
                </a:cxn>
                <a:cxn ang="0">
                  <a:pos x="499" y="495"/>
                </a:cxn>
                <a:cxn ang="0">
                  <a:pos x="514" y="635"/>
                </a:cxn>
                <a:cxn ang="0">
                  <a:pos x="525" y="807"/>
                </a:cxn>
                <a:cxn ang="0">
                  <a:pos x="513" y="916"/>
                </a:cxn>
                <a:cxn ang="0">
                  <a:pos x="490" y="965"/>
                </a:cxn>
                <a:cxn ang="0">
                  <a:pos x="444" y="962"/>
                </a:cxn>
                <a:cxn ang="0">
                  <a:pos x="454" y="870"/>
                </a:cxn>
                <a:cxn ang="0">
                  <a:pos x="428" y="606"/>
                </a:cxn>
                <a:cxn ang="0">
                  <a:pos x="418" y="572"/>
                </a:cxn>
                <a:cxn ang="0">
                  <a:pos x="407" y="636"/>
                </a:cxn>
                <a:cxn ang="0">
                  <a:pos x="430" y="775"/>
                </a:cxn>
                <a:cxn ang="0">
                  <a:pos x="428" y="922"/>
                </a:cxn>
                <a:cxn ang="0">
                  <a:pos x="418" y="1017"/>
                </a:cxn>
                <a:cxn ang="0">
                  <a:pos x="407" y="1440"/>
                </a:cxn>
                <a:cxn ang="0">
                  <a:pos x="391" y="1600"/>
                </a:cxn>
                <a:cxn ang="0">
                  <a:pos x="398" y="1667"/>
                </a:cxn>
                <a:cxn ang="0">
                  <a:pos x="410" y="1709"/>
                </a:cxn>
                <a:cxn ang="0">
                  <a:pos x="310" y="1703"/>
                </a:cxn>
                <a:cxn ang="0">
                  <a:pos x="301" y="1680"/>
                </a:cxn>
                <a:cxn ang="0">
                  <a:pos x="242" y="1652"/>
                </a:cxn>
                <a:cxn ang="0">
                  <a:pos x="127" y="1664"/>
                </a:cxn>
                <a:cxn ang="0">
                  <a:pos x="119" y="1652"/>
                </a:cxn>
                <a:cxn ang="0">
                  <a:pos x="139" y="1632"/>
                </a:cxn>
                <a:cxn ang="0">
                  <a:pos x="198" y="1584"/>
                </a:cxn>
                <a:cxn ang="0">
                  <a:pos x="176" y="1391"/>
                </a:cxn>
                <a:cxn ang="0">
                  <a:pos x="167" y="1311"/>
                </a:cxn>
                <a:cxn ang="0">
                  <a:pos x="152" y="1185"/>
                </a:cxn>
                <a:cxn ang="0">
                  <a:pos x="122" y="999"/>
                </a:cxn>
                <a:cxn ang="0">
                  <a:pos x="99" y="950"/>
                </a:cxn>
                <a:cxn ang="0">
                  <a:pos x="103" y="758"/>
                </a:cxn>
                <a:cxn ang="0">
                  <a:pos x="84" y="799"/>
                </a:cxn>
                <a:cxn ang="0">
                  <a:pos x="66" y="874"/>
                </a:cxn>
                <a:cxn ang="0">
                  <a:pos x="56" y="944"/>
                </a:cxn>
                <a:cxn ang="0">
                  <a:pos x="67" y="962"/>
                </a:cxn>
                <a:cxn ang="0">
                  <a:pos x="12" y="888"/>
                </a:cxn>
                <a:cxn ang="0">
                  <a:pos x="4" y="839"/>
                </a:cxn>
                <a:cxn ang="0">
                  <a:pos x="23" y="704"/>
                </a:cxn>
                <a:cxn ang="0">
                  <a:pos x="36" y="582"/>
                </a:cxn>
                <a:cxn ang="0">
                  <a:pos x="52" y="464"/>
                </a:cxn>
                <a:cxn ang="0">
                  <a:pos x="61" y="343"/>
                </a:cxn>
                <a:cxn ang="0">
                  <a:pos x="98" y="326"/>
                </a:cxn>
                <a:cxn ang="0">
                  <a:pos x="179" y="289"/>
                </a:cxn>
                <a:cxn ang="0">
                  <a:pos x="213" y="251"/>
                </a:cxn>
                <a:cxn ang="0">
                  <a:pos x="198" y="181"/>
                </a:cxn>
                <a:cxn ang="0">
                  <a:pos x="181" y="132"/>
                </a:cxn>
                <a:cxn ang="0">
                  <a:pos x="181" y="63"/>
                </a:cxn>
                <a:cxn ang="0">
                  <a:pos x="262" y="0"/>
                </a:cxn>
              </a:cxnLst>
              <a:rect l="0" t="0" r="r" b="b"/>
              <a:pathLst>
                <a:path w="527" h="1717">
                  <a:moveTo>
                    <a:pt x="272" y="1011"/>
                  </a:moveTo>
                  <a:lnTo>
                    <a:pt x="270" y="1014"/>
                  </a:lnTo>
                  <a:lnTo>
                    <a:pt x="267" y="1019"/>
                  </a:lnTo>
                  <a:lnTo>
                    <a:pt x="265" y="1028"/>
                  </a:lnTo>
                  <a:lnTo>
                    <a:pt x="265" y="1044"/>
                  </a:lnTo>
                  <a:lnTo>
                    <a:pt x="267" y="1065"/>
                  </a:lnTo>
                  <a:lnTo>
                    <a:pt x="270" y="1094"/>
                  </a:lnTo>
                  <a:lnTo>
                    <a:pt x="273" y="1133"/>
                  </a:lnTo>
                  <a:lnTo>
                    <a:pt x="273" y="1165"/>
                  </a:lnTo>
                  <a:lnTo>
                    <a:pt x="270" y="1193"/>
                  </a:lnTo>
                  <a:lnTo>
                    <a:pt x="265" y="1213"/>
                  </a:lnTo>
                  <a:lnTo>
                    <a:pt x="262" y="1226"/>
                  </a:lnTo>
                  <a:lnTo>
                    <a:pt x="259" y="1234"/>
                  </a:lnTo>
                  <a:lnTo>
                    <a:pt x="259" y="1239"/>
                  </a:lnTo>
                  <a:lnTo>
                    <a:pt x="262" y="1251"/>
                  </a:lnTo>
                  <a:lnTo>
                    <a:pt x="265" y="1269"/>
                  </a:lnTo>
                  <a:lnTo>
                    <a:pt x="269" y="1292"/>
                  </a:lnTo>
                  <a:lnTo>
                    <a:pt x="272" y="1322"/>
                  </a:lnTo>
                  <a:lnTo>
                    <a:pt x="272" y="1355"/>
                  </a:lnTo>
                  <a:lnTo>
                    <a:pt x="270" y="1394"/>
                  </a:lnTo>
                  <a:lnTo>
                    <a:pt x="275" y="1403"/>
                  </a:lnTo>
                  <a:lnTo>
                    <a:pt x="279" y="1414"/>
                  </a:lnTo>
                  <a:lnTo>
                    <a:pt x="284" y="1426"/>
                  </a:lnTo>
                  <a:lnTo>
                    <a:pt x="287" y="1437"/>
                  </a:lnTo>
                  <a:lnTo>
                    <a:pt x="288" y="1448"/>
                  </a:lnTo>
                  <a:lnTo>
                    <a:pt x="288" y="1431"/>
                  </a:lnTo>
                  <a:lnTo>
                    <a:pt x="290" y="1405"/>
                  </a:lnTo>
                  <a:lnTo>
                    <a:pt x="292" y="1372"/>
                  </a:lnTo>
                  <a:lnTo>
                    <a:pt x="295" y="1296"/>
                  </a:lnTo>
                  <a:lnTo>
                    <a:pt x="295" y="1219"/>
                  </a:lnTo>
                  <a:lnTo>
                    <a:pt x="293" y="1185"/>
                  </a:lnTo>
                  <a:lnTo>
                    <a:pt x="292" y="1160"/>
                  </a:lnTo>
                  <a:lnTo>
                    <a:pt x="272" y="1011"/>
                  </a:lnTo>
                  <a:close/>
                  <a:moveTo>
                    <a:pt x="262" y="0"/>
                  </a:moveTo>
                  <a:lnTo>
                    <a:pt x="281" y="0"/>
                  </a:lnTo>
                  <a:lnTo>
                    <a:pt x="292" y="5"/>
                  </a:lnTo>
                  <a:lnTo>
                    <a:pt x="305" y="12"/>
                  </a:lnTo>
                  <a:lnTo>
                    <a:pt x="321" y="23"/>
                  </a:lnTo>
                  <a:lnTo>
                    <a:pt x="335" y="37"/>
                  </a:lnTo>
                  <a:lnTo>
                    <a:pt x="345" y="54"/>
                  </a:lnTo>
                  <a:lnTo>
                    <a:pt x="352" y="72"/>
                  </a:lnTo>
                  <a:lnTo>
                    <a:pt x="353" y="91"/>
                  </a:lnTo>
                  <a:lnTo>
                    <a:pt x="353" y="106"/>
                  </a:lnTo>
                  <a:lnTo>
                    <a:pt x="350" y="118"/>
                  </a:lnTo>
                  <a:lnTo>
                    <a:pt x="348" y="128"/>
                  </a:lnTo>
                  <a:lnTo>
                    <a:pt x="347" y="131"/>
                  </a:lnTo>
                  <a:lnTo>
                    <a:pt x="352" y="137"/>
                  </a:lnTo>
                  <a:lnTo>
                    <a:pt x="352" y="154"/>
                  </a:lnTo>
                  <a:lnTo>
                    <a:pt x="348" y="166"/>
                  </a:lnTo>
                  <a:lnTo>
                    <a:pt x="344" y="174"/>
                  </a:lnTo>
                  <a:lnTo>
                    <a:pt x="339" y="178"/>
                  </a:lnTo>
                  <a:lnTo>
                    <a:pt x="336" y="180"/>
                  </a:lnTo>
                  <a:lnTo>
                    <a:pt x="332" y="180"/>
                  </a:lnTo>
                  <a:lnTo>
                    <a:pt x="330" y="188"/>
                  </a:lnTo>
                  <a:lnTo>
                    <a:pt x="327" y="197"/>
                  </a:lnTo>
                  <a:lnTo>
                    <a:pt x="322" y="204"/>
                  </a:lnTo>
                  <a:lnTo>
                    <a:pt x="321" y="207"/>
                  </a:lnTo>
                  <a:lnTo>
                    <a:pt x="321" y="238"/>
                  </a:lnTo>
                  <a:lnTo>
                    <a:pt x="322" y="241"/>
                  </a:lnTo>
                  <a:lnTo>
                    <a:pt x="327" y="247"/>
                  </a:lnTo>
                  <a:lnTo>
                    <a:pt x="335" y="255"/>
                  </a:lnTo>
                  <a:lnTo>
                    <a:pt x="342" y="266"/>
                  </a:lnTo>
                  <a:lnTo>
                    <a:pt x="350" y="275"/>
                  </a:lnTo>
                  <a:lnTo>
                    <a:pt x="358" y="281"/>
                  </a:lnTo>
                  <a:lnTo>
                    <a:pt x="362" y="286"/>
                  </a:lnTo>
                  <a:lnTo>
                    <a:pt x="368" y="289"/>
                  </a:lnTo>
                  <a:lnTo>
                    <a:pt x="382" y="292"/>
                  </a:lnTo>
                  <a:lnTo>
                    <a:pt x="399" y="298"/>
                  </a:lnTo>
                  <a:lnTo>
                    <a:pt x="436" y="310"/>
                  </a:lnTo>
                  <a:lnTo>
                    <a:pt x="453" y="317"/>
                  </a:lnTo>
                  <a:lnTo>
                    <a:pt x="464" y="320"/>
                  </a:lnTo>
                  <a:lnTo>
                    <a:pt x="468" y="321"/>
                  </a:lnTo>
                  <a:lnTo>
                    <a:pt x="476" y="324"/>
                  </a:lnTo>
                  <a:lnTo>
                    <a:pt x="481" y="330"/>
                  </a:lnTo>
                  <a:lnTo>
                    <a:pt x="482" y="341"/>
                  </a:lnTo>
                  <a:lnTo>
                    <a:pt x="484" y="350"/>
                  </a:lnTo>
                  <a:lnTo>
                    <a:pt x="482" y="358"/>
                  </a:lnTo>
                  <a:lnTo>
                    <a:pt x="482" y="366"/>
                  </a:lnTo>
                  <a:lnTo>
                    <a:pt x="484" y="377"/>
                  </a:lnTo>
                  <a:lnTo>
                    <a:pt x="485" y="392"/>
                  </a:lnTo>
                  <a:lnTo>
                    <a:pt x="490" y="452"/>
                  </a:lnTo>
                  <a:lnTo>
                    <a:pt x="493" y="467"/>
                  </a:lnTo>
                  <a:lnTo>
                    <a:pt x="496" y="480"/>
                  </a:lnTo>
                  <a:lnTo>
                    <a:pt x="499" y="495"/>
                  </a:lnTo>
                  <a:lnTo>
                    <a:pt x="499" y="516"/>
                  </a:lnTo>
                  <a:lnTo>
                    <a:pt x="501" y="539"/>
                  </a:lnTo>
                  <a:lnTo>
                    <a:pt x="502" y="566"/>
                  </a:lnTo>
                  <a:lnTo>
                    <a:pt x="505" y="593"/>
                  </a:lnTo>
                  <a:lnTo>
                    <a:pt x="511" y="618"/>
                  </a:lnTo>
                  <a:lnTo>
                    <a:pt x="514" y="635"/>
                  </a:lnTo>
                  <a:lnTo>
                    <a:pt x="517" y="658"/>
                  </a:lnTo>
                  <a:lnTo>
                    <a:pt x="521" y="685"/>
                  </a:lnTo>
                  <a:lnTo>
                    <a:pt x="522" y="715"/>
                  </a:lnTo>
                  <a:lnTo>
                    <a:pt x="524" y="747"/>
                  </a:lnTo>
                  <a:lnTo>
                    <a:pt x="525" y="778"/>
                  </a:lnTo>
                  <a:lnTo>
                    <a:pt x="525" y="807"/>
                  </a:lnTo>
                  <a:lnTo>
                    <a:pt x="527" y="833"/>
                  </a:lnTo>
                  <a:lnTo>
                    <a:pt x="527" y="871"/>
                  </a:lnTo>
                  <a:lnTo>
                    <a:pt x="519" y="871"/>
                  </a:lnTo>
                  <a:lnTo>
                    <a:pt x="517" y="884"/>
                  </a:lnTo>
                  <a:lnTo>
                    <a:pt x="514" y="882"/>
                  </a:lnTo>
                  <a:lnTo>
                    <a:pt x="513" y="916"/>
                  </a:lnTo>
                  <a:lnTo>
                    <a:pt x="507" y="922"/>
                  </a:lnTo>
                  <a:lnTo>
                    <a:pt x="502" y="931"/>
                  </a:lnTo>
                  <a:lnTo>
                    <a:pt x="498" y="944"/>
                  </a:lnTo>
                  <a:lnTo>
                    <a:pt x="493" y="954"/>
                  </a:lnTo>
                  <a:lnTo>
                    <a:pt x="491" y="962"/>
                  </a:lnTo>
                  <a:lnTo>
                    <a:pt x="490" y="965"/>
                  </a:lnTo>
                  <a:lnTo>
                    <a:pt x="482" y="968"/>
                  </a:lnTo>
                  <a:lnTo>
                    <a:pt x="470" y="970"/>
                  </a:lnTo>
                  <a:lnTo>
                    <a:pt x="458" y="970"/>
                  </a:lnTo>
                  <a:lnTo>
                    <a:pt x="448" y="967"/>
                  </a:lnTo>
                  <a:lnTo>
                    <a:pt x="445" y="965"/>
                  </a:lnTo>
                  <a:lnTo>
                    <a:pt x="444" y="962"/>
                  </a:lnTo>
                  <a:lnTo>
                    <a:pt x="444" y="961"/>
                  </a:lnTo>
                  <a:lnTo>
                    <a:pt x="445" y="957"/>
                  </a:lnTo>
                  <a:lnTo>
                    <a:pt x="445" y="956"/>
                  </a:lnTo>
                  <a:lnTo>
                    <a:pt x="447" y="954"/>
                  </a:lnTo>
                  <a:lnTo>
                    <a:pt x="448" y="887"/>
                  </a:lnTo>
                  <a:lnTo>
                    <a:pt x="454" y="870"/>
                  </a:lnTo>
                  <a:lnTo>
                    <a:pt x="451" y="865"/>
                  </a:lnTo>
                  <a:lnTo>
                    <a:pt x="442" y="861"/>
                  </a:lnTo>
                  <a:lnTo>
                    <a:pt x="444" y="719"/>
                  </a:lnTo>
                  <a:lnTo>
                    <a:pt x="441" y="699"/>
                  </a:lnTo>
                  <a:lnTo>
                    <a:pt x="431" y="626"/>
                  </a:lnTo>
                  <a:lnTo>
                    <a:pt x="428" y="606"/>
                  </a:lnTo>
                  <a:lnTo>
                    <a:pt x="427" y="592"/>
                  </a:lnTo>
                  <a:lnTo>
                    <a:pt x="427" y="581"/>
                  </a:lnTo>
                  <a:lnTo>
                    <a:pt x="424" y="575"/>
                  </a:lnTo>
                  <a:lnTo>
                    <a:pt x="422" y="573"/>
                  </a:lnTo>
                  <a:lnTo>
                    <a:pt x="419" y="572"/>
                  </a:lnTo>
                  <a:lnTo>
                    <a:pt x="418" y="572"/>
                  </a:lnTo>
                  <a:lnTo>
                    <a:pt x="416" y="573"/>
                  </a:lnTo>
                  <a:lnTo>
                    <a:pt x="415" y="573"/>
                  </a:lnTo>
                  <a:lnTo>
                    <a:pt x="411" y="584"/>
                  </a:lnTo>
                  <a:lnTo>
                    <a:pt x="408" y="601"/>
                  </a:lnTo>
                  <a:lnTo>
                    <a:pt x="408" y="618"/>
                  </a:lnTo>
                  <a:lnTo>
                    <a:pt x="407" y="636"/>
                  </a:lnTo>
                  <a:lnTo>
                    <a:pt x="407" y="667"/>
                  </a:lnTo>
                  <a:lnTo>
                    <a:pt x="408" y="682"/>
                  </a:lnTo>
                  <a:lnTo>
                    <a:pt x="422" y="742"/>
                  </a:lnTo>
                  <a:lnTo>
                    <a:pt x="425" y="759"/>
                  </a:lnTo>
                  <a:lnTo>
                    <a:pt x="428" y="770"/>
                  </a:lnTo>
                  <a:lnTo>
                    <a:pt x="430" y="775"/>
                  </a:lnTo>
                  <a:lnTo>
                    <a:pt x="419" y="778"/>
                  </a:lnTo>
                  <a:lnTo>
                    <a:pt x="421" y="784"/>
                  </a:lnTo>
                  <a:lnTo>
                    <a:pt x="421" y="799"/>
                  </a:lnTo>
                  <a:lnTo>
                    <a:pt x="422" y="819"/>
                  </a:lnTo>
                  <a:lnTo>
                    <a:pt x="427" y="898"/>
                  </a:lnTo>
                  <a:lnTo>
                    <a:pt x="428" y="922"/>
                  </a:lnTo>
                  <a:lnTo>
                    <a:pt x="428" y="942"/>
                  </a:lnTo>
                  <a:lnTo>
                    <a:pt x="430" y="956"/>
                  </a:lnTo>
                  <a:lnTo>
                    <a:pt x="430" y="961"/>
                  </a:lnTo>
                  <a:lnTo>
                    <a:pt x="424" y="967"/>
                  </a:lnTo>
                  <a:lnTo>
                    <a:pt x="418" y="971"/>
                  </a:lnTo>
                  <a:lnTo>
                    <a:pt x="418" y="1017"/>
                  </a:lnTo>
                  <a:lnTo>
                    <a:pt x="416" y="1048"/>
                  </a:lnTo>
                  <a:lnTo>
                    <a:pt x="416" y="1309"/>
                  </a:lnTo>
                  <a:lnTo>
                    <a:pt x="415" y="1337"/>
                  </a:lnTo>
                  <a:lnTo>
                    <a:pt x="413" y="1369"/>
                  </a:lnTo>
                  <a:lnTo>
                    <a:pt x="410" y="1403"/>
                  </a:lnTo>
                  <a:lnTo>
                    <a:pt x="407" y="1440"/>
                  </a:lnTo>
                  <a:lnTo>
                    <a:pt x="404" y="1475"/>
                  </a:lnTo>
                  <a:lnTo>
                    <a:pt x="401" y="1509"/>
                  </a:lnTo>
                  <a:lnTo>
                    <a:pt x="398" y="1540"/>
                  </a:lnTo>
                  <a:lnTo>
                    <a:pt x="396" y="1566"/>
                  </a:lnTo>
                  <a:lnTo>
                    <a:pt x="393" y="1586"/>
                  </a:lnTo>
                  <a:lnTo>
                    <a:pt x="391" y="1600"/>
                  </a:lnTo>
                  <a:lnTo>
                    <a:pt x="391" y="1604"/>
                  </a:lnTo>
                  <a:lnTo>
                    <a:pt x="370" y="1608"/>
                  </a:lnTo>
                  <a:lnTo>
                    <a:pt x="373" y="1624"/>
                  </a:lnTo>
                  <a:lnTo>
                    <a:pt x="381" y="1640"/>
                  </a:lnTo>
                  <a:lnTo>
                    <a:pt x="390" y="1655"/>
                  </a:lnTo>
                  <a:lnTo>
                    <a:pt x="398" y="1667"/>
                  </a:lnTo>
                  <a:lnTo>
                    <a:pt x="404" y="1675"/>
                  </a:lnTo>
                  <a:lnTo>
                    <a:pt x="405" y="1678"/>
                  </a:lnTo>
                  <a:lnTo>
                    <a:pt x="411" y="1692"/>
                  </a:lnTo>
                  <a:lnTo>
                    <a:pt x="413" y="1701"/>
                  </a:lnTo>
                  <a:lnTo>
                    <a:pt x="411" y="1707"/>
                  </a:lnTo>
                  <a:lnTo>
                    <a:pt x="410" y="1709"/>
                  </a:lnTo>
                  <a:lnTo>
                    <a:pt x="391" y="1715"/>
                  </a:lnTo>
                  <a:lnTo>
                    <a:pt x="371" y="1717"/>
                  </a:lnTo>
                  <a:lnTo>
                    <a:pt x="353" y="1715"/>
                  </a:lnTo>
                  <a:lnTo>
                    <a:pt x="336" y="1712"/>
                  </a:lnTo>
                  <a:lnTo>
                    <a:pt x="313" y="1704"/>
                  </a:lnTo>
                  <a:lnTo>
                    <a:pt x="310" y="1703"/>
                  </a:lnTo>
                  <a:lnTo>
                    <a:pt x="307" y="1700"/>
                  </a:lnTo>
                  <a:lnTo>
                    <a:pt x="307" y="1694"/>
                  </a:lnTo>
                  <a:lnTo>
                    <a:pt x="308" y="1686"/>
                  </a:lnTo>
                  <a:lnTo>
                    <a:pt x="312" y="1680"/>
                  </a:lnTo>
                  <a:lnTo>
                    <a:pt x="313" y="1678"/>
                  </a:lnTo>
                  <a:lnTo>
                    <a:pt x="301" y="1680"/>
                  </a:lnTo>
                  <a:lnTo>
                    <a:pt x="292" y="1669"/>
                  </a:lnTo>
                  <a:lnTo>
                    <a:pt x="292" y="1646"/>
                  </a:lnTo>
                  <a:lnTo>
                    <a:pt x="264" y="1649"/>
                  </a:lnTo>
                  <a:lnTo>
                    <a:pt x="265" y="1638"/>
                  </a:lnTo>
                  <a:lnTo>
                    <a:pt x="261" y="1640"/>
                  </a:lnTo>
                  <a:lnTo>
                    <a:pt x="242" y="1652"/>
                  </a:lnTo>
                  <a:lnTo>
                    <a:pt x="235" y="1658"/>
                  </a:lnTo>
                  <a:lnTo>
                    <a:pt x="232" y="1660"/>
                  </a:lnTo>
                  <a:lnTo>
                    <a:pt x="218" y="1663"/>
                  </a:lnTo>
                  <a:lnTo>
                    <a:pt x="198" y="1666"/>
                  </a:lnTo>
                  <a:lnTo>
                    <a:pt x="139" y="1666"/>
                  </a:lnTo>
                  <a:lnTo>
                    <a:pt x="127" y="1664"/>
                  </a:lnTo>
                  <a:lnTo>
                    <a:pt x="122" y="1664"/>
                  </a:lnTo>
                  <a:lnTo>
                    <a:pt x="118" y="1661"/>
                  </a:lnTo>
                  <a:lnTo>
                    <a:pt x="115" y="1660"/>
                  </a:lnTo>
                  <a:lnTo>
                    <a:pt x="115" y="1655"/>
                  </a:lnTo>
                  <a:lnTo>
                    <a:pt x="118" y="1652"/>
                  </a:lnTo>
                  <a:lnTo>
                    <a:pt x="119" y="1652"/>
                  </a:lnTo>
                  <a:lnTo>
                    <a:pt x="121" y="1651"/>
                  </a:lnTo>
                  <a:lnTo>
                    <a:pt x="121" y="1641"/>
                  </a:lnTo>
                  <a:lnTo>
                    <a:pt x="122" y="1638"/>
                  </a:lnTo>
                  <a:lnTo>
                    <a:pt x="126" y="1635"/>
                  </a:lnTo>
                  <a:lnTo>
                    <a:pt x="132" y="1632"/>
                  </a:lnTo>
                  <a:lnTo>
                    <a:pt x="139" y="1632"/>
                  </a:lnTo>
                  <a:lnTo>
                    <a:pt x="155" y="1626"/>
                  </a:lnTo>
                  <a:lnTo>
                    <a:pt x="170" y="1618"/>
                  </a:lnTo>
                  <a:lnTo>
                    <a:pt x="182" y="1609"/>
                  </a:lnTo>
                  <a:lnTo>
                    <a:pt x="192" y="1601"/>
                  </a:lnTo>
                  <a:lnTo>
                    <a:pt x="201" y="1592"/>
                  </a:lnTo>
                  <a:lnTo>
                    <a:pt x="198" y="1584"/>
                  </a:lnTo>
                  <a:lnTo>
                    <a:pt x="195" y="1568"/>
                  </a:lnTo>
                  <a:lnTo>
                    <a:pt x="192" y="1545"/>
                  </a:lnTo>
                  <a:lnTo>
                    <a:pt x="189" y="1517"/>
                  </a:lnTo>
                  <a:lnTo>
                    <a:pt x="186" y="1486"/>
                  </a:lnTo>
                  <a:lnTo>
                    <a:pt x="179" y="1422"/>
                  </a:lnTo>
                  <a:lnTo>
                    <a:pt x="176" y="1391"/>
                  </a:lnTo>
                  <a:lnTo>
                    <a:pt x="175" y="1365"/>
                  </a:lnTo>
                  <a:lnTo>
                    <a:pt x="173" y="1343"/>
                  </a:lnTo>
                  <a:lnTo>
                    <a:pt x="172" y="1329"/>
                  </a:lnTo>
                  <a:lnTo>
                    <a:pt x="172" y="1325"/>
                  </a:lnTo>
                  <a:lnTo>
                    <a:pt x="170" y="1322"/>
                  </a:lnTo>
                  <a:lnTo>
                    <a:pt x="167" y="1311"/>
                  </a:lnTo>
                  <a:lnTo>
                    <a:pt x="162" y="1269"/>
                  </a:lnTo>
                  <a:lnTo>
                    <a:pt x="161" y="1259"/>
                  </a:lnTo>
                  <a:lnTo>
                    <a:pt x="161" y="1256"/>
                  </a:lnTo>
                  <a:lnTo>
                    <a:pt x="156" y="1203"/>
                  </a:lnTo>
                  <a:lnTo>
                    <a:pt x="155" y="1199"/>
                  </a:lnTo>
                  <a:lnTo>
                    <a:pt x="152" y="1185"/>
                  </a:lnTo>
                  <a:lnTo>
                    <a:pt x="147" y="1165"/>
                  </a:lnTo>
                  <a:lnTo>
                    <a:pt x="144" y="1140"/>
                  </a:lnTo>
                  <a:lnTo>
                    <a:pt x="135" y="1082"/>
                  </a:lnTo>
                  <a:lnTo>
                    <a:pt x="130" y="1051"/>
                  </a:lnTo>
                  <a:lnTo>
                    <a:pt x="127" y="1024"/>
                  </a:lnTo>
                  <a:lnTo>
                    <a:pt x="122" y="999"/>
                  </a:lnTo>
                  <a:lnTo>
                    <a:pt x="121" y="979"/>
                  </a:lnTo>
                  <a:lnTo>
                    <a:pt x="118" y="965"/>
                  </a:lnTo>
                  <a:lnTo>
                    <a:pt x="118" y="961"/>
                  </a:lnTo>
                  <a:lnTo>
                    <a:pt x="115" y="959"/>
                  </a:lnTo>
                  <a:lnTo>
                    <a:pt x="101" y="959"/>
                  </a:lnTo>
                  <a:lnTo>
                    <a:pt x="99" y="950"/>
                  </a:lnTo>
                  <a:lnTo>
                    <a:pt x="98" y="933"/>
                  </a:lnTo>
                  <a:lnTo>
                    <a:pt x="98" y="881"/>
                  </a:lnTo>
                  <a:lnTo>
                    <a:pt x="99" y="848"/>
                  </a:lnTo>
                  <a:lnTo>
                    <a:pt x="99" y="816"/>
                  </a:lnTo>
                  <a:lnTo>
                    <a:pt x="101" y="785"/>
                  </a:lnTo>
                  <a:lnTo>
                    <a:pt x="103" y="758"/>
                  </a:lnTo>
                  <a:lnTo>
                    <a:pt x="103" y="735"/>
                  </a:lnTo>
                  <a:lnTo>
                    <a:pt x="104" y="721"/>
                  </a:lnTo>
                  <a:lnTo>
                    <a:pt x="104" y="715"/>
                  </a:lnTo>
                  <a:lnTo>
                    <a:pt x="96" y="742"/>
                  </a:lnTo>
                  <a:lnTo>
                    <a:pt x="89" y="772"/>
                  </a:lnTo>
                  <a:lnTo>
                    <a:pt x="84" y="799"/>
                  </a:lnTo>
                  <a:lnTo>
                    <a:pt x="79" y="824"/>
                  </a:lnTo>
                  <a:lnTo>
                    <a:pt x="76" y="844"/>
                  </a:lnTo>
                  <a:lnTo>
                    <a:pt x="75" y="858"/>
                  </a:lnTo>
                  <a:lnTo>
                    <a:pt x="75" y="862"/>
                  </a:lnTo>
                  <a:lnTo>
                    <a:pt x="67" y="864"/>
                  </a:lnTo>
                  <a:lnTo>
                    <a:pt x="66" y="874"/>
                  </a:lnTo>
                  <a:lnTo>
                    <a:pt x="56" y="871"/>
                  </a:lnTo>
                  <a:lnTo>
                    <a:pt x="56" y="876"/>
                  </a:lnTo>
                  <a:lnTo>
                    <a:pt x="58" y="893"/>
                  </a:lnTo>
                  <a:lnTo>
                    <a:pt x="58" y="913"/>
                  </a:lnTo>
                  <a:lnTo>
                    <a:pt x="56" y="917"/>
                  </a:lnTo>
                  <a:lnTo>
                    <a:pt x="56" y="944"/>
                  </a:lnTo>
                  <a:lnTo>
                    <a:pt x="55" y="954"/>
                  </a:lnTo>
                  <a:lnTo>
                    <a:pt x="55" y="959"/>
                  </a:lnTo>
                  <a:lnTo>
                    <a:pt x="61" y="954"/>
                  </a:lnTo>
                  <a:lnTo>
                    <a:pt x="66" y="954"/>
                  </a:lnTo>
                  <a:lnTo>
                    <a:pt x="67" y="956"/>
                  </a:lnTo>
                  <a:lnTo>
                    <a:pt x="67" y="962"/>
                  </a:lnTo>
                  <a:lnTo>
                    <a:pt x="55" y="976"/>
                  </a:lnTo>
                  <a:lnTo>
                    <a:pt x="24" y="974"/>
                  </a:lnTo>
                  <a:lnTo>
                    <a:pt x="0" y="937"/>
                  </a:lnTo>
                  <a:lnTo>
                    <a:pt x="7" y="919"/>
                  </a:lnTo>
                  <a:lnTo>
                    <a:pt x="10" y="904"/>
                  </a:lnTo>
                  <a:lnTo>
                    <a:pt x="12" y="888"/>
                  </a:lnTo>
                  <a:lnTo>
                    <a:pt x="12" y="871"/>
                  </a:lnTo>
                  <a:lnTo>
                    <a:pt x="7" y="873"/>
                  </a:lnTo>
                  <a:lnTo>
                    <a:pt x="7" y="858"/>
                  </a:lnTo>
                  <a:lnTo>
                    <a:pt x="3" y="854"/>
                  </a:lnTo>
                  <a:lnTo>
                    <a:pt x="3" y="850"/>
                  </a:lnTo>
                  <a:lnTo>
                    <a:pt x="4" y="839"/>
                  </a:lnTo>
                  <a:lnTo>
                    <a:pt x="7" y="822"/>
                  </a:lnTo>
                  <a:lnTo>
                    <a:pt x="9" y="802"/>
                  </a:lnTo>
                  <a:lnTo>
                    <a:pt x="15" y="756"/>
                  </a:lnTo>
                  <a:lnTo>
                    <a:pt x="18" y="736"/>
                  </a:lnTo>
                  <a:lnTo>
                    <a:pt x="21" y="718"/>
                  </a:lnTo>
                  <a:lnTo>
                    <a:pt x="23" y="704"/>
                  </a:lnTo>
                  <a:lnTo>
                    <a:pt x="24" y="698"/>
                  </a:lnTo>
                  <a:lnTo>
                    <a:pt x="26" y="687"/>
                  </a:lnTo>
                  <a:lnTo>
                    <a:pt x="27" y="669"/>
                  </a:lnTo>
                  <a:lnTo>
                    <a:pt x="30" y="642"/>
                  </a:lnTo>
                  <a:lnTo>
                    <a:pt x="33" y="613"/>
                  </a:lnTo>
                  <a:lnTo>
                    <a:pt x="36" y="582"/>
                  </a:lnTo>
                  <a:lnTo>
                    <a:pt x="43" y="530"/>
                  </a:lnTo>
                  <a:lnTo>
                    <a:pt x="46" y="506"/>
                  </a:lnTo>
                  <a:lnTo>
                    <a:pt x="49" y="487"/>
                  </a:lnTo>
                  <a:lnTo>
                    <a:pt x="50" y="473"/>
                  </a:lnTo>
                  <a:lnTo>
                    <a:pt x="52" y="469"/>
                  </a:lnTo>
                  <a:lnTo>
                    <a:pt x="52" y="464"/>
                  </a:lnTo>
                  <a:lnTo>
                    <a:pt x="53" y="452"/>
                  </a:lnTo>
                  <a:lnTo>
                    <a:pt x="53" y="435"/>
                  </a:lnTo>
                  <a:lnTo>
                    <a:pt x="56" y="392"/>
                  </a:lnTo>
                  <a:lnTo>
                    <a:pt x="58" y="372"/>
                  </a:lnTo>
                  <a:lnTo>
                    <a:pt x="59" y="355"/>
                  </a:lnTo>
                  <a:lnTo>
                    <a:pt x="61" y="343"/>
                  </a:lnTo>
                  <a:lnTo>
                    <a:pt x="66" y="334"/>
                  </a:lnTo>
                  <a:lnTo>
                    <a:pt x="72" y="329"/>
                  </a:lnTo>
                  <a:lnTo>
                    <a:pt x="84" y="329"/>
                  </a:lnTo>
                  <a:lnTo>
                    <a:pt x="86" y="330"/>
                  </a:lnTo>
                  <a:lnTo>
                    <a:pt x="89" y="329"/>
                  </a:lnTo>
                  <a:lnTo>
                    <a:pt x="98" y="326"/>
                  </a:lnTo>
                  <a:lnTo>
                    <a:pt x="110" y="320"/>
                  </a:lnTo>
                  <a:lnTo>
                    <a:pt x="124" y="314"/>
                  </a:lnTo>
                  <a:lnTo>
                    <a:pt x="141" y="306"/>
                  </a:lnTo>
                  <a:lnTo>
                    <a:pt x="156" y="300"/>
                  </a:lnTo>
                  <a:lnTo>
                    <a:pt x="169" y="294"/>
                  </a:lnTo>
                  <a:lnTo>
                    <a:pt x="179" y="289"/>
                  </a:lnTo>
                  <a:lnTo>
                    <a:pt x="184" y="286"/>
                  </a:lnTo>
                  <a:lnTo>
                    <a:pt x="189" y="281"/>
                  </a:lnTo>
                  <a:lnTo>
                    <a:pt x="195" y="274"/>
                  </a:lnTo>
                  <a:lnTo>
                    <a:pt x="202" y="264"/>
                  </a:lnTo>
                  <a:lnTo>
                    <a:pt x="209" y="257"/>
                  </a:lnTo>
                  <a:lnTo>
                    <a:pt x="213" y="251"/>
                  </a:lnTo>
                  <a:lnTo>
                    <a:pt x="215" y="247"/>
                  </a:lnTo>
                  <a:lnTo>
                    <a:pt x="215" y="209"/>
                  </a:lnTo>
                  <a:lnTo>
                    <a:pt x="209" y="206"/>
                  </a:lnTo>
                  <a:lnTo>
                    <a:pt x="204" y="198"/>
                  </a:lnTo>
                  <a:lnTo>
                    <a:pt x="199" y="189"/>
                  </a:lnTo>
                  <a:lnTo>
                    <a:pt x="198" y="181"/>
                  </a:lnTo>
                  <a:lnTo>
                    <a:pt x="196" y="178"/>
                  </a:lnTo>
                  <a:lnTo>
                    <a:pt x="187" y="171"/>
                  </a:lnTo>
                  <a:lnTo>
                    <a:pt x="182" y="161"/>
                  </a:lnTo>
                  <a:lnTo>
                    <a:pt x="181" y="149"/>
                  </a:lnTo>
                  <a:lnTo>
                    <a:pt x="179" y="140"/>
                  </a:lnTo>
                  <a:lnTo>
                    <a:pt x="181" y="132"/>
                  </a:lnTo>
                  <a:lnTo>
                    <a:pt x="181" y="129"/>
                  </a:lnTo>
                  <a:lnTo>
                    <a:pt x="179" y="126"/>
                  </a:lnTo>
                  <a:lnTo>
                    <a:pt x="178" y="117"/>
                  </a:lnTo>
                  <a:lnTo>
                    <a:pt x="176" y="101"/>
                  </a:lnTo>
                  <a:lnTo>
                    <a:pt x="176" y="85"/>
                  </a:lnTo>
                  <a:lnTo>
                    <a:pt x="181" y="63"/>
                  </a:lnTo>
                  <a:lnTo>
                    <a:pt x="190" y="42"/>
                  </a:lnTo>
                  <a:lnTo>
                    <a:pt x="202" y="25"/>
                  </a:lnTo>
                  <a:lnTo>
                    <a:pt x="218" y="14"/>
                  </a:lnTo>
                  <a:lnTo>
                    <a:pt x="235" y="6"/>
                  </a:lnTo>
                  <a:lnTo>
                    <a:pt x="250" y="2"/>
                  </a:lnTo>
                  <a:lnTo>
                    <a:pt x="262" y="0"/>
                  </a:lnTo>
                  <a:close/>
                </a:path>
              </a:pathLst>
            </a:custGeom>
            <a:solidFill>
              <a:schemeClr val="accent1"/>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a:p>
          </p:txBody>
        </p:sp>
      </p:grpSp>
    </p:spTree>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5"/>
          <p:cNvSpPr>
            <a:spLocks noGrp="1" noChangeArrowheads="1"/>
          </p:cNvSpPr>
          <p:nvPr>
            <p:ph type="ctrTitle"/>
          </p:nvPr>
        </p:nvSpPr>
        <p:spPr>
          <a:xfrm>
            <a:off x="0" y="4653136"/>
            <a:ext cx="9144000" cy="576064"/>
          </a:xfrm>
          <a:noFill/>
        </p:spPr>
        <p:txBody>
          <a:bodyPr>
            <a:noAutofit/>
          </a:bodyPr>
          <a:lstStyle/>
          <a:p>
            <a:pPr eaLnBrk="1" hangingPunct="1"/>
            <a:r>
              <a:rPr lang="en-GB" sz="2800" dirty="0" err="1" smtClean="0">
                <a:ea typeface="ＭＳ Ｐゴシック" pitchFamily="34" charset="-128"/>
              </a:rPr>
              <a:t>Vielen</a:t>
            </a:r>
            <a:r>
              <a:rPr lang="en-GB" sz="2800" dirty="0" smtClean="0">
                <a:ea typeface="ＭＳ Ｐゴシック" pitchFamily="34" charset="-128"/>
              </a:rPr>
              <a:t> Dank </a:t>
            </a:r>
            <a:r>
              <a:rPr lang="en-GB" sz="2800" dirty="0" err="1" smtClean="0">
                <a:ea typeface="ＭＳ Ｐゴシック" pitchFamily="34" charset="-128"/>
              </a:rPr>
              <a:t>für</a:t>
            </a:r>
            <a:r>
              <a:rPr lang="en-GB" sz="2800" dirty="0" smtClean="0">
                <a:ea typeface="ＭＳ Ｐゴシック" pitchFamily="34" charset="-128"/>
              </a:rPr>
              <a:t> </a:t>
            </a:r>
            <a:r>
              <a:rPr lang="en-GB" sz="2800" dirty="0" err="1" smtClean="0">
                <a:ea typeface="ＭＳ Ｐゴシック" pitchFamily="34" charset="-128"/>
              </a:rPr>
              <a:t>Ihre</a:t>
            </a:r>
            <a:r>
              <a:rPr lang="en-GB" sz="2800" dirty="0" smtClean="0">
                <a:ea typeface="ＭＳ Ｐゴシック" pitchFamily="34" charset="-128"/>
              </a:rPr>
              <a:t> </a:t>
            </a:r>
            <a:r>
              <a:rPr lang="en-GB" sz="2800" dirty="0" err="1" smtClean="0">
                <a:ea typeface="ＭＳ Ｐゴシック" pitchFamily="34" charset="-128"/>
              </a:rPr>
              <a:t>Aufmerksamkeit</a:t>
            </a:r>
            <a:r>
              <a:rPr lang="en-GB" sz="2800" dirty="0" smtClean="0">
                <a:ea typeface="ＭＳ Ｐゴシック" pitchFamily="34" charset="-128"/>
              </a:rPr>
              <a:t>!</a:t>
            </a:r>
          </a:p>
        </p:txBody>
      </p:sp>
      <p:sp>
        <p:nvSpPr>
          <p:cNvPr id="3075" name="Rectangle 3"/>
          <p:cNvSpPr>
            <a:spLocks noChangeArrowheads="1"/>
          </p:cNvSpPr>
          <p:nvPr/>
        </p:nvSpPr>
        <p:spPr bwMode="auto">
          <a:xfrm>
            <a:off x="8905083" y="7116749"/>
            <a:ext cx="161924" cy="357930"/>
          </a:xfrm>
          <a:prstGeom prst="rect">
            <a:avLst/>
          </a:prstGeom>
          <a:noFill/>
          <a:ln w="9525">
            <a:noFill/>
            <a:miter lim="800000"/>
            <a:headEnd/>
            <a:tailEnd/>
          </a:ln>
        </p:spPr>
        <p:txBody>
          <a:bodyPr wrap="none" lIns="80147" tIns="40074" rIns="80147" bIns="40074" anchor="ctr">
            <a:spAutoFit/>
          </a:bodyPr>
          <a:lstStyle/>
          <a:p>
            <a:endParaRPr lang="de-DE"/>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7" name="Gruppieren 46"/>
          <p:cNvGrpSpPr/>
          <p:nvPr>
            <p:custDataLst>
              <p:tags r:id="rId1"/>
            </p:custDataLst>
          </p:nvPr>
        </p:nvGrpSpPr>
        <p:grpSpPr>
          <a:xfrm>
            <a:off x="323527" y="441538"/>
            <a:ext cx="8496943" cy="3347646"/>
            <a:chOff x="323527" y="441538"/>
            <a:chExt cx="8496943" cy="3347646"/>
          </a:xfrm>
        </p:grpSpPr>
        <p:sp>
          <p:nvSpPr>
            <p:cNvPr id="36" name="Rechteck 35"/>
            <p:cNvSpPr/>
            <p:nvPr>
              <p:custDataLst>
                <p:tags r:id="rId2"/>
              </p:custDataLst>
            </p:nvPr>
          </p:nvSpPr>
          <p:spPr>
            <a:xfrm>
              <a:off x="323527" y="441538"/>
              <a:ext cx="8496943" cy="323165"/>
            </a:xfrm>
            <a:prstGeom prst="rect">
              <a:avLst/>
            </a:prstGeom>
          </p:spPr>
          <p:txBody>
            <a:bodyPr wrap="square" lIns="0" tIns="0" rIns="0" bIns="0" anchor="b" anchorCtr="0">
              <a:spAutoFit/>
            </a:bodyPr>
            <a:lstStyle/>
            <a:p>
              <a:r>
                <a:rPr lang="en-US" sz="2100" b="1" dirty="0" err="1" smtClean="0">
                  <a:latin typeface="Arial"/>
                  <a:ea typeface="+mj-ea"/>
                  <a:cs typeface="Arial" pitchFamily="34" charset="0"/>
                </a:rPr>
                <a:t>Übersicht</a:t>
              </a:r>
              <a:endParaRPr lang="en-US" dirty="0">
                <a:latin typeface="Arial"/>
              </a:endParaRPr>
            </a:p>
          </p:txBody>
        </p:sp>
        <p:sp>
          <p:nvSpPr>
            <p:cNvPr id="37" name="Rectangle 15">
              <a:hlinkClick r:id="rId15" action="ppaction://hlinksldjump"/>
            </p:cNvPr>
            <p:cNvSpPr>
              <a:spLocks noChangeArrowheads="1"/>
            </p:cNvSpPr>
            <p:nvPr>
              <p:custDataLst>
                <p:tags r:id="rId3"/>
              </p:custDataLst>
            </p:nvPr>
          </p:nvSpPr>
          <p:spPr bwMode="auto">
            <a:xfrm>
              <a:off x="755576" y="1052736"/>
              <a:ext cx="8064000" cy="432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de-DE" b="1" smtClean="0">
                  <a:solidFill>
                    <a:schemeClr val="bg2">
                      <a:lumMod val="10000"/>
                    </a:schemeClr>
                  </a:solidFill>
                  <a:latin typeface="Arial"/>
                </a:rPr>
                <a:t>Ein paar Zahlen zu Continental</a:t>
              </a:r>
              <a:endParaRPr lang="en-US" b="1" dirty="0" smtClean="0">
                <a:solidFill>
                  <a:schemeClr val="bg2">
                    <a:lumMod val="10000"/>
                  </a:schemeClr>
                </a:solidFill>
                <a:latin typeface="Arial"/>
              </a:endParaRPr>
            </a:p>
          </p:txBody>
        </p:sp>
        <p:sp>
          <p:nvSpPr>
            <p:cNvPr id="38" name="Rectangle 15">
              <a:hlinkClick r:id="rId15" action="ppaction://hlinksldjump"/>
            </p:cNvPr>
            <p:cNvSpPr>
              <a:spLocks noChangeArrowheads="1"/>
            </p:cNvSpPr>
            <p:nvPr>
              <p:custDataLst>
                <p:tags r:id="rId4"/>
              </p:custDataLst>
            </p:nvPr>
          </p:nvSpPr>
          <p:spPr bwMode="auto">
            <a:xfrm>
              <a:off x="323528" y="1052736"/>
              <a:ext cx="432048" cy="432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sz="1800" smtClean="0">
                  <a:solidFill>
                    <a:schemeClr val="bg2">
                      <a:lumMod val="10000"/>
                    </a:schemeClr>
                  </a:solidFill>
                  <a:latin typeface="Arial"/>
                </a:rPr>
                <a:t>1</a:t>
              </a:r>
              <a:endParaRPr lang="en-US" sz="1800" dirty="0">
                <a:solidFill>
                  <a:schemeClr val="bg2">
                    <a:lumMod val="10000"/>
                  </a:schemeClr>
                </a:solidFill>
                <a:latin typeface="Arial"/>
              </a:endParaRPr>
            </a:p>
          </p:txBody>
        </p:sp>
        <p:sp>
          <p:nvSpPr>
            <p:cNvPr id="39" name="Rectangle 15">
              <a:hlinkClick r:id="rId16" action="ppaction://hlinksldjump"/>
            </p:cNvPr>
            <p:cNvSpPr>
              <a:spLocks noChangeArrowheads="1"/>
            </p:cNvSpPr>
            <p:nvPr>
              <p:custDataLst>
                <p:tags r:id="rId5"/>
              </p:custDataLst>
            </p:nvPr>
          </p:nvSpPr>
          <p:spPr bwMode="auto">
            <a:xfrm>
              <a:off x="755576" y="1628848"/>
              <a:ext cx="8064000" cy="432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de-DE" b="1" smtClean="0">
                  <a:solidFill>
                    <a:schemeClr val="bg2">
                      <a:lumMod val="10000"/>
                    </a:schemeClr>
                  </a:solidFill>
                  <a:latin typeface="Arial"/>
                </a:rPr>
                <a:t>ConNext - Mehr als nur eine Software</a:t>
              </a:r>
              <a:endParaRPr lang="en-US" b="1" dirty="0" smtClean="0">
                <a:solidFill>
                  <a:schemeClr val="bg2">
                    <a:lumMod val="10000"/>
                  </a:schemeClr>
                </a:solidFill>
                <a:latin typeface="Arial"/>
              </a:endParaRPr>
            </a:p>
          </p:txBody>
        </p:sp>
        <p:sp>
          <p:nvSpPr>
            <p:cNvPr id="40" name="Rectangle 15">
              <a:hlinkClick r:id="rId16" action="ppaction://hlinksldjump"/>
            </p:cNvPr>
            <p:cNvSpPr>
              <a:spLocks noChangeArrowheads="1"/>
            </p:cNvSpPr>
            <p:nvPr>
              <p:custDataLst>
                <p:tags r:id="rId6"/>
              </p:custDataLst>
            </p:nvPr>
          </p:nvSpPr>
          <p:spPr bwMode="auto">
            <a:xfrm>
              <a:off x="323528" y="1628848"/>
              <a:ext cx="432048" cy="432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sz="1800" smtClean="0">
                  <a:solidFill>
                    <a:schemeClr val="bg2">
                      <a:lumMod val="10000"/>
                    </a:schemeClr>
                  </a:solidFill>
                  <a:latin typeface="Arial"/>
                </a:rPr>
                <a:t>2</a:t>
              </a:r>
              <a:endParaRPr lang="en-US" sz="1800" dirty="0">
                <a:solidFill>
                  <a:schemeClr val="bg2">
                    <a:lumMod val="10000"/>
                  </a:schemeClr>
                </a:solidFill>
                <a:latin typeface="Arial"/>
              </a:endParaRPr>
            </a:p>
          </p:txBody>
        </p:sp>
        <p:sp>
          <p:nvSpPr>
            <p:cNvPr id="41" name="Rectangle 15">
              <a:hlinkClick r:id="rId17" action="ppaction://hlinksldjump"/>
            </p:cNvPr>
            <p:cNvSpPr>
              <a:spLocks noChangeArrowheads="1"/>
            </p:cNvSpPr>
            <p:nvPr>
              <p:custDataLst>
                <p:tags r:id="rId7"/>
              </p:custDataLst>
            </p:nvPr>
          </p:nvSpPr>
          <p:spPr bwMode="auto">
            <a:xfrm>
              <a:off x="755576" y="2204959"/>
              <a:ext cx="8064000" cy="432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de-DE" b="1" smtClean="0">
                  <a:solidFill>
                    <a:schemeClr val="bg2">
                      <a:lumMod val="10000"/>
                    </a:schemeClr>
                  </a:solidFill>
                  <a:latin typeface="Arial"/>
                </a:rPr>
                <a:t>Neue Wege in der Implementierung</a:t>
              </a:r>
              <a:endParaRPr lang="en-US" b="1" dirty="0" smtClean="0">
                <a:solidFill>
                  <a:schemeClr val="bg2">
                    <a:lumMod val="10000"/>
                  </a:schemeClr>
                </a:solidFill>
                <a:latin typeface="Arial"/>
              </a:endParaRPr>
            </a:p>
          </p:txBody>
        </p:sp>
        <p:sp>
          <p:nvSpPr>
            <p:cNvPr id="42" name="Rectangle 15">
              <a:hlinkClick r:id="rId17" action="ppaction://hlinksldjump"/>
            </p:cNvPr>
            <p:cNvSpPr>
              <a:spLocks noChangeArrowheads="1"/>
            </p:cNvSpPr>
            <p:nvPr>
              <p:custDataLst>
                <p:tags r:id="rId8"/>
              </p:custDataLst>
            </p:nvPr>
          </p:nvSpPr>
          <p:spPr bwMode="auto">
            <a:xfrm>
              <a:off x="323528" y="2204959"/>
              <a:ext cx="432048" cy="432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sz="1800" smtClean="0">
                  <a:solidFill>
                    <a:schemeClr val="bg2">
                      <a:lumMod val="10000"/>
                    </a:schemeClr>
                  </a:solidFill>
                  <a:latin typeface="Arial"/>
                </a:rPr>
                <a:t>3</a:t>
              </a:r>
              <a:endParaRPr lang="en-US" sz="1800" dirty="0">
                <a:solidFill>
                  <a:schemeClr val="bg2">
                    <a:lumMod val="10000"/>
                  </a:schemeClr>
                </a:solidFill>
                <a:latin typeface="Arial"/>
              </a:endParaRPr>
            </a:p>
          </p:txBody>
        </p:sp>
        <p:sp>
          <p:nvSpPr>
            <p:cNvPr id="43" name="Rectangle 15">
              <a:hlinkClick r:id="" action="ppaction://noaction"/>
            </p:cNvPr>
            <p:cNvSpPr>
              <a:spLocks noChangeArrowheads="1"/>
            </p:cNvSpPr>
            <p:nvPr>
              <p:custDataLst>
                <p:tags r:id="rId9"/>
              </p:custDataLst>
            </p:nvPr>
          </p:nvSpPr>
          <p:spPr bwMode="auto">
            <a:xfrm>
              <a:off x="755576" y="2781072"/>
              <a:ext cx="8064000" cy="432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en-US" b="1" smtClean="0">
                  <a:solidFill>
                    <a:schemeClr val="bg2">
                      <a:lumMod val="10000"/>
                    </a:schemeClr>
                  </a:solidFill>
                  <a:latin typeface="Arial"/>
                </a:rPr>
                <a:t>Den Change  persönlich begleiten</a:t>
              </a:r>
              <a:endParaRPr lang="en-US" b="1" dirty="0" smtClean="0">
                <a:solidFill>
                  <a:schemeClr val="bg2">
                    <a:lumMod val="10000"/>
                  </a:schemeClr>
                </a:solidFill>
                <a:latin typeface="Arial"/>
              </a:endParaRPr>
            </a:p>
          </p:txBody>
        </p:sp>
        <p:sp>
          <p:nvSpPr>
            <p:cNvPr id="44" name="Rectangle 15">
              <a:hlinkClick r:id="" action="ppaction://noaction"/>
            </p:cNvPr>
            <p:cNvSpPr>
              <a:spLocks noChangeArrowheads="1"/>
            </p:cNvSpPr>
            <p:nvPr>
              <p:custDataLst>
                <p:tags r:id="rId10"/>
              </p:custDataLst>
            </p:nvPr>
          </p:nvSpPr>
          <p:spPr bwMode="auto">
            <a:xfrm>
              <a:off x="323528" y="2781072"/>
              <a:ext cx="432048" cy="432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sz="1800" smtClean="0">
                  <a:solidFill>
                    <a:schemeClr val="bg2">
                      <a:lumMod val="10000"/>
                    </a:schemeClr>
                  </a:solidFill>
                  <a:latin typeface="Arial"/>
                </a:rPr>
                <a:t>4</a:t>
              </a:r>
              <a:endParaRPr lang="en-US" sz="1800" dirty="0">
                <a:solidFill>
                  <a:schemeClr val="bg2">
                    <a:lumMod val="10000"/>
                  </a:schemeClr>
                </a:solidFill>
                <a:latin typeface="Arial"/>
              </a:endParaRPr>
            </a:p>
          </p:txBody>
        </p:sp>
        <p:sp>
          <p:nvSpPr>
            <p:cNvPr id="45" name="Rectangle 15">
              <a:hlinkClick r:id="" action="ppaction://noaction"/>
            </p:cNvPr>
            <p:cNvSpPr>
              <a:spLocks noChangeArrowheads="1"/>
            </p:cNvSpPr>
            <p:nvPr>
              <p:custDataLst>
                <p:tags r:id="rId11"/>
              </p:custDataLst>
            </p:nvPr>
          </p:nvSpPr>
          <p:spPr bwMode="auto">
            <a:xfrm>
              <a:off x="755576" y="3357184"/>
              <a:ext cx="8064000" cy="432000"/>
            </a:xfrm>
            <a:prstGeom prst="rect">
              <a:avLst/>
            </a:prstGeom>
            <a:gradFill rotWithShape="1">
              <a:gsLst>
                <a:gs pos="0">
                  <a:srgbClr val="EAEAEA"/>
                </a:gs>
                <a:gs pos="100000">
                  <a:srgbClr val="B2B2B2"/>
                </a:gs>
              </a:gsLst>
              <a:lin ang="2700000" scaled="1"/>
            </a:gradFill>
            <a:ln w="9525" algn="ctr">
              <a:noFill/>
              <a:miter lim="800000"/>
              <a:headEnd/>
              <a:tailEnd/>
            </a:ln>
          </p:spPr>
          <p:txBody>
            <a:bodyPr wrap="none" lIns="108000" tIns="35120" rIns="70239" bIns="35120" anchor="ctr"/>
            <a:lstStyle/>
            <a:p>
              <a:pPr marL="238125" indent="-238125"/>
              <a:r>
                <a:rPr lang="en-US" b="1" smtClean="0">
                  <a:solidFill>
                    <a:schemeClr val="bg2">
                      <a:lumMod val="10000"/>
                    </a:schemeClr>
                  </a:solidFill>
                  <a:latin typeface="Arial"/>
                </a:rPr>
                <a:t>Fazit</a:t>
              </a:r>
              <a:endParaRPr lang="en-US" b="1" dirty="0" smtClean="0">
                <a:solidFill>
                  <a:schemeClr val="bg2">
                    <a:lumMod val="10000"/>
                  </a:schemeClr>
                </a:solidFill>
                <a:latin typeface="Arial"/>
              </a:endParaRPr>
            </a:p>
          </p:txBody>
        </p:sp>
        <p:sp>
          <p:nvSpPr>
            <p:cNvPr id="46" name="Rectangle 15">
              <a:hlinkClick r:id="" action="ppaction://noaction"/>
            </p:cNvPr>
            <p:cNvSpPr>
              <a:spLocks noChangeArrowheads="1"/>
            </p:cNvSpPr>
            <p:nvPr>
              <p:custDataLst>
                <p:tags r:id="rId12"/>
              </p:custDataLst>
            </p:nvPr>
          </p:nvSpPr>
          <p:spPr bwMode="auto">
            <a:xfrm>
              <a:off x="323528" y="3357184"/>
              <a:ext cx="432048" cy="432000"/>
            </a:xfrm>
            <a:prstGeom prst="rect">
              <a:avLst/>
            </a:prstGeom>
            <a:solidFill>
              <a:schemeClr val="accent1"/>
            </a:solidFill>
            <a:ln w="9525" algn="ctr">
              <a:noFill/>
              <a:miter lim="800000"/>
              <a:headEnd/>
              <a:tailEnd/>
            </a:ln>
          </p:spPr>
          <p:txBody>
            <a:bodyPr wrap="none" lIns="36000" tIns="35120" rIns="36000" bIns="35120" anchor="ctr"/>
            <a:lstStyle/>
            <a:p>
              <a:pPr marL="238125" indent="-238125" algn="ctr">
                <a:tabLst>
                  <a:tab pos="446088" algn="l"/>
                </a:tabLst>
              </a:pPr>
              <a:r>
                <a:rPr lang="en-US" sz="1800" smtClean="0">
                  <a:solidFill>
                    <a:schemeClr val="bg2">
                      <a:lumMod val="10000"/>
                    </a:schemeClr>
                  </a:solidFill>
                  <a:latin typeface="Arial"/>
                </a:rPr>
                <a:t>5</a:t>
              </a:r>
              <a:endParaRPr lang="en-US" sz="1800" dirty="0">
                <a:solidFill>
                  <a:schemeClr val="bg2">
                    <a:lumMod val="10000"/>
                  </a:schemeClr>
                </a:solidFill>
                <a:latin typeface="Arial"/>
              </a:endParaRPr>
            </a:p>
          </p:txBody>
        </p:sp>
      </p:gr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34055" name="Group 167"/>
          <p:cNvGraphicFramePr>
            <a:graphicFrameLocks noGrp="1"/>
          </p:cNvGraphicFramePr>
          <p:nvPr>
            <p:extLst>
              <p:ext uri="{D42A27DB-BD31-4B8C-83A1-F6EECF244321}">
                <p14:modId xmlns="" xmlns:p14="http://schemas.microsoft.com/office/powerpoint/2010/main" val="4162889830"/>
              </p:ext>
            </p:extLst>
          </p:nvPr>
        </p:nvGraphicFramePr>
        <p:xfrm>
          <a:off x="323850" y="2276872"/>
          <a:ext cx="5543550" cy="2283246"/>
        </p:xfrm>
        <a:graphic>
          <a:graphicData uri="http://schemas.openxmlformats.org/drawingml/2006/table">
            <a:tbl>
              <a:tblPr/>
              <a:tblGrid>
                <a:gridCol w="5543550"/>
              </a:tblGrid>
              <a:tr h="473016">
                <a:tc>
                  <a:txBody>
                    <a:bodyPr/>
                    <a:lstStyle/>
                    <a:p>
                      <a:pPr marL="180975" marR="0" lvl="0" indent="-180975" algn="l" defTabSz="995363" rtl="0" eaLnBrk="1" fontAlgn="base" latinLnBrk="0" hangingPunct="1">
                        <a:lnSpc>
                          <a:spcPct val="110000"/>
                        </a:lnSpc>
                        <a:spcBef>
                          <a:spcPct val="30000"/>
                        </a:spcBef>
                        <a:spcAft>
                          <a:spcPct val="0"/>
                        </a:spcAft>
                        <a:buClr>
                          <a:schemeClr val="accent1"/>
                        </a:buClr>
                        <a:buSzPct val="100000"/>
                        <a:buFontTx/>
                        <a:buBlip>
                          <a:blip r:embed="rId3"/>
                        </a:buBlip>
                        <a:tabLst/>
                        <a:defRPr/>
                      </a:pPr>
                      <a:r>
                        <a:rPr kumimoji="0" lang="de-DE" sz="1400" b="0" i="0" u="none" strike="noStrike" cap="none" normalizeH="0" baseline="0" dirty="0" smtClean="0">
                          <a:ln>
                            <a:noFill/>
                          </a:ln>
                          <a:solidFill>
                            <a:schemeClr val="tx1"/>
                          </a:solidFill>
                          <a:effectLst/>
                          <a:latin typeface="Arial" charset="0"/>
                        </a:rPr>
                        <a:t>Seit 1871 mit Hauptsitz in Hannover</a:t>
                      </a:r>
                    </a:p>
                  </a:txBody>
                  <a:tcPr anchor="ctr" horzOverflow="overflow">
                    <a:lnL cap="flat">
                      <a:noFill/>
                    </a:lnL>
                    <a:lnR cap="flat">
                      <a:noFill/>
                    </a:lnR>
                    <a:lnT cap="flat">
                      <a:noFill/>
                    </a:lnT>
                    <a:lnB w="9525" cap="flat" cmpd="sng" algn="ctr">
                      <a:solidFill>
                        <a:schemeClr val="accent5"/>
                      </a:solidFill>
                      <a:prstDash val="solid"/>
                      <a:round/>
                      <a:headEnd type="none" w="med" len="med"/>
                      <a:tailEnd type="none" w="med" len="med"/>
                    </a:lnB>
                    <a:lnTlToBr>
                      <a:noFill/>
                    </a:lnTlToBr>
                    <a:lnBlToTr>
                      <a:noFill/>
                    </a:lnBlToTr>
                    <a:noFill/>
                  </a:tcPr>
                </a:tc>
              </a:tr>
              <a:tr h="451060">
                <a:tc>
                  <a:txBody>
                    <a:bodyPr/>
                    <a:lstStyle/>
                    <a:p>
                      <a:pPr marL="180975" marR="0" lvl="0" indent="-180975" algn="l" defTabSz="995363" rtl="0" eaLnBrk="1" fontAlgn="base" latinLnBrk="0" hangingPunct="1">
                        <a:lnSpc>
                          <a:spcPct val="110000"/>
                        </a:lnSpc>
                        <a:spcBef>
                          <a:spcPct val="30000"/>
                        </a:spcBef>
                        <a:spcAft>
                          <a:spcPct val="0"/>
                        </a:spcAft>
                        <a:buClr>
                          <a:schemeClr val="accent1"/>
                        </a:buClr>
                        <a:buSzPct val="100000"/>
                        <a:buFontTx/>
                        <a:buBlip>
                          <a:blip r:embed="rId3"/>
                        </a:buBlip>
                        <a:tabLst/>
                        <a:defRPr/>
                      </a:pPr>
                      <a:r>
                        <a:rPr kumimoji="0" lang="de-DE" sz="1400" b="0" i="0" u="none" strike="noStrike" kern="1200" cap="none" normalizeH="0" baseline="0" dirty="0" smtClean="0">
                          <a:ln>
                            <a:noFill/>
                          </a:ln>
                          <a:solidFill>
                            <a:schemeClr val="tx1"/>
                          </a:solidFill>
                          <a:effectLst/>
                          <a:latin typeface="Arial" charset="0"/>
                          <a:ea typeface="+mn-ea"/>
                          <a:cs typeface="+mn-cs"/>
                        </a:rPr>
                        <a:t>30,5 Mrd € Umsatz</a:t>
                      </a:r>
                    </a:p>
                  </a:txBody>
                  <a:tcPr anchor="ctr" horzOverflow="overflow">
                    <a:lnL cap="flat">
                      <a:noFill/>
                    </a:lnL>
                    <a:lnR cap="flat">
                      <a:noFill/>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a:noFill/>
                    </a:lnTlToBr>
                    <a:lnBlToTr>
                      <a:noFill/>
                    </a:lnBlToTr>
                    <a:noFill/>
                  </a:tcPr>
                </a:tc>
              </a:tr>
              <a:tr h="455053">
                <a:tc>
                  <a:txBody>
                    <a:bodyPr/>
                    <a:lstStyle/>
                    <a:p>
                      <a:pPr marL="180975" marR="0" lvl="0" indent="-180975" algn="l" defTabSz="995363" rtl="0" eaLnBrk="1" fontAlgn="base" latinLnBrk="0" hangingPunct="1">
                        <a:lnSpc>
                          <a:spcPct val="110000"/>
                        </a:lnSpc>
                        <a:spcBef>
                          <a:spcPct val="30000"/>
                        </a:spcBef>
                        <a:spcAft>
                          <a:spcPct val="0"/>
                        </a:spcAft>
                        <a:buClr>
                          <a:schemeClr val="accent1"/>
                        </a:buClr>
                        <a:buSzPct val="100000"/>
                        <a:buFontTx/>
                        <a:buBlip>
                          <a:blip r:embed="rId3"/>
                        </a:buBlip>
                        <a:tabLst/>
                        <a:defRPr/>
                      </a:pPr>
                      <a:r>
                        <a:rPr kumimoji="0" lang="de-DE" sz="1400" b="0" i="0" u="none" strike="noStrike" kern="1200" cap="none" normalizeH="0" baseline="0" dirty="0" smtClean="0">
                          <a:ln>
                            <a:noFill/>
                          </a:ln>
                          <a:solidFill>
                            <a:schemeClr val="tx1"/>
                          </a:solidFill>
                          <a:effectLst/>
                          <a:latin typeface="Arial" charset="0"/>
                          <a:ea typeface="+mn-ea"/>
                          <a:cs typeface="+mn-cs"/>
                        </a:rPr>
                        <a:t>163.788 Mitarbeiter weltweit</a:t>
                      </a:r>
                    </a:p>
                  </a:txBody>
                  <a:tcPr anchor="ctr" horzOverflow="overflow">
                    <a:lnL cap="flat">
                      <a:noFill/>
                    </a:lnL>
                    <a:lnR cap="flat">
                      <a:noFill/>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a:noFill/>
                    </a:lnTlToBr>
                    <a:lnBlToTr>
                      <a:noFill/>
                    </a:lnBlToTr>
                    <a:noFill/>
                  </a:tcPr>
                </a:tc>
              </a:tr>
              <a:tr h="453057">
                <a:tc>
                  <a:txBody>
                    <a:bodyPr/>
                    <a:lstStyle/>
                    <a:p>
                      <a:pPr marL="180975" marR="0" lvl="0" indent="-180975" algn="l" defTabSz="995363" rtl="0" eaLnBrk="1" fontAlgn="base" latinLnBrk="0" hangingPunct="1">
                        <a:lnSpc>
                          <a:spcPct val="110000"/>
                        </a:lnSpc>
                        <a:spcBef>
                          <a:spcPct val="30000"/>
                        </a:spcBef>
                        <a:spcAft>
                          <a:spcPct val="0"/>
                        </a:spcAft>
                        <a:buClr>
                          <a:schemeClr val="accent1"/>
                        </a:buClr>
                        <a:buSzPct val="100000"/>
                        <a:buFontTx/>
                        <a:buBlip>
                          <a:blip r:embed="rId3"/>
                        </a:buBlip>
                        <a:tabLst/>
                        <a:defRPr/>
                      </a:pPr>
                      <a:r>
                        <a:rPr kumimoji="0" lang="de-DE" sz="1400" b="0" i="0" u="none" strike="noStrike" kern="1200" cap="none" normalizeH="0" baseline="0" dirty="0" smtClean="0">
                          <a:ln>
                            <a:noFill/>
                          </a:ln>
                          <a:solidFill>
                            <a:schemeClr val="tx1"/>
                          </a:solidFill>
                          <a:effectLst/>
                          <a:latin typeface="Arial" charset="0"/>
                          <a:ea typeface="+mn-ea"/>
                          <a:cs typeface="+mn-cs"/>
                        </a:rPr>
                        <a:t>269 Standorte in 46 Ländern</a:t>
                      </a:r>
                    </a:p>
                  </a:txBody>
                  <a:tcPr anchor="ctr" horzOverflow="overflow">
                    <a:lnL cap="flat">
                      <a:noFill/>
                    </a:lnL>
                    <a:lnR cap="flat">
                      <a:noFill/>
                    </a:lnR>
                    <a:lnT w="9525" cap="flat" cmpd="sng" algn="ctr">
                      <a:solidFill>
                        <a:schemeClr val="accent5"/>
                      </a:solidFill>
                      <a:prstDash val="solid"/>
                      <a:round/>
                      <a:headEnd type="none" w="med" len="med"/>
                      <a:tailEnd type="none" w="med" len="med"/>
                    </a:lnT>
                    <a:lnB w="9525" cap="flat" cmpd="sng" algn="ctr">
                      <a:solidFill>
                        <a:schemeClr val="accent5"/>
                      </a:solidFill>
                      <a:prstDash val="solid"/>
                      <a:round/>
                      <a:headEnd type="none" w="med" len="med"/>
                      <a:tailEnd type="none" w="med" len="med"/>
                    </a:lnB>
                    <a:lnTlToBr>
                      <a:noFill/>
                    </a:lnTlToBr>
                    <a:lnBlToTr>
                      <a:noFill/>
                    </a:lnBlToTr>
                    <a:noFill/>
                  </a:tcPr>
                </a:tc>
              </a:tr>
              <a:tr h="451060">
                <a:tc>
                  <a:txBody>
                    <a:bodyPr/>
                    <a:lstStyle/>
                    <a:p>
                      <a:pPr marL="180975" marR="0" lvl="0" indent="-180975" algn="l" defTabSz="995363" rtl="0" eaLnBrk="1" fontAlgn="base" latinLnBrk="0" hangingPunct="1">
                        <a:lnSpc>
                          <a:spcPct val="110000"/>
                        </a:lnSpc>
                        <a:spcBef>
                          <a:spcPct val="30000"/>
                        </a:spcBef>
                        <a:spcAft>
                          <a:spcPct val="0"/>
                        </a:spcAft>
                        <a:buClr>
                          <a:schemeClr val="accent1"/>
                        </a:buClr>
                        <a:buSzPct val="100000"/>
                        <a:buFontTx/>
                        <a:buBlip>
                          <a:blip r:embed="rId3"/>
                        </a:buBlip>
                        <a:tabLst/>
                        <a:defRPr/>
                      </a:pPr>
                      <a:r>
                        <a:rPr kumimoji="0" lang="de-DE" sz="1400" b="0" i="0" u="none" strike="noStrike" kern="1200" cap="none" normalizeH="0" baseline="0" dirty="0" smtClean="0">
                          <a:ln>
                            <a:noFill/>
                          </a:ln>
                          <a:solidFill>
                            <a:schemeClr val="tx1"/>
                          </a:solidFill>
                          <a:effectLst/>
                          <a:latin typeface="Arial" charset="0"/>
                          <a:ea typeface="+mn-ea"/>
                          <a:cs typeface="+mn-cs"/>
                        </a:rPr>
                        <a:t>Unter den Top 5 der Automobilzulieferindustrie</a:t>
                      </a:r>
                    </a:p>
                  </a:txBody>
                  <a:tcPr anchor="ctr" horzOverflow="overflow">
                    <a:lnL cap="flat">
                      <a:noFill/>
                    </a:lnL>
                    <a:lnR cap="flat">
                      <a:noFill/>
                    </a:lnR>
                    <a:lnT w="9525" cap="flat" cmpd="sng" algn="ctr">
                      <a:solidFill>
                        <a:schemeClr val="accent5"/>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noFill/>
                  </a:tcPr>
                </a:tc>
              </a:tr>
            </a:tbl>
          </a:graphicData>
        </a:graphic>
      </p:graphicFrame>
      <p:sp>
        <p:nvSpPr>
          <p:cNvPr id="20" name="Ellipse 19"/>
          <p:cNvSpPr/>
          <p:nvPr/>
        </p:nvSpPr>
        <p:spPr>
          <a:xfrm>
            <a:off x="4123768" y="1157709"/>
            <a:ext cx="4680520" cy="4680520"/>
          </a:xfrm>
          <a:prstGeom prst="ellipse">
            <a:avLst/>
          </a:prstGeom>
          <a:solidFill>
            <a:schemeClr val="bg1"/>
          </a:solidFill>
          <a:ln w="952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600" dirty="0" smtClean="0"/>
          </a:p>
        </p:txBody>
      </p:sp>
      <p:graphicFrame>
        <p:nvGraphicFramePr>
          <p:cNvPr id="25" name="Object 2"/>
          <p:cNvGraphicFramePr>
            <a:graphicFrameLocks noChangeAspect="1"/>
          </p:cNvGraphicFramePr>
          <p:nvPr/>
        </p:nvGraphicFramePr>
        <p:xfrm>
          <a:off x="3779912" y="833636"/>
          <a:ext cx="5591537" cy="5243530"/>
        </p:xfrm>
        <a:graphic>
          <a:graphicData uri="http://schemas.openxmlformats.org/drawingml/2006/chart">
            <c:chart xmlns:c="http://schemas.openxmlformats.org/drawingml/2006/chart" xmlns:r="http://schemas.openxmlformats.org/officeDocument/2006/relationships" r:id="rId4"/>
          </a:graphicData>
        </a:graphic>
      </p:graphicFrame>
      <p:sp>
        <p:nvSpPr>
          <p:cNvPr id="933904" name="Rectangle 13"/>
          <p:cNvSpPr>
            <a:spLocks noGrp="1" noChangeArrowheads="1"/>
          </p:cNvSpPr>
          <p:nvPr>
            <p:ph type="title"/>
          </p:nvPr>
        </p:nvSpPr>
        <p:spPr/>
        <p:txBody>
          <a:bodyPr>
            <a:noAutofit/>
          </a:bodyPr>
          <a:lstStyle/>
          <a:p>
            <a:r>
              <a:rPr lang="de-DE" altLang="de-DE" dirty="0" smtClean="0"/>
              <a:t/>
            </a:r>
            <a:br>
              <a:rPr lang="de-DE" altLang="de-DE" dirty="0" smtClean="0"/>
            </a:br>
            <a:r>
              <a:rPr lang="de-DE" dirty="0" smtClean="0"/>
              <a:t>Continental-Konzern</a:t>
            </a:r>
            <a:br>
              <a:rPr lang="de-DE" dirty="0" smtClean="0"/>
            </a:br>
            <a:r>
              <a:rPr lang="de-DE" dirty="0" smtClean="0">
                <a:solidFill>
                  <a:schemeClr val="accent5"/>
                </a:solidFill>
              </a:rPr>
              <a:t>Überblick 2011</a:t>
            </a:r>
            <a:endParaRPr lang="de-DE" dirty="0">
              <a:solidFill>
                <a:schemeClr val="accent5"/>
              </a:solidFill>
            </a:endParaRPr>
          </a:p>
        </p:txBody>
      </p:sp>
      <p:sp>
        <p:nvSpPr>
          <p:cNvPr id="933907" name="Text Box 19"/>
          <p:cNvSpPr txBox="1">
            <a:spLocks noChangeArrowheads="1"/>
          </p:cNvSpPr>
          <p:nvPr/>
        </p:nvSpPr>
        <p:spPr bwMode="auto">
          <a:xfrm>
            <a:off x="5652120" y="1897087"/>
            <a:ext cx="772969" cy="307777"/>
          </a:xfrm>
          <a:prstGeom prst="rect">
            <a:avLst/>
          </a:prstGeom>
          <a:noFill/>
          <a:ln w="9525">
            <a:noFill/>
            <a:miter lim="800000"/>
            <a:headEnd/>
            <a:tailEnd/>
          </a:ln>
          <a:effectLst/>
        </p:spPr>
        <p:txBody>
          <a:bodyPr wrap="none">
            <a:spAutoFit/>
          </a:bodyPr>
          <a:lstStyle/>
          <a:p>
            <a:r>
              <a:rPr lang="de-DE" sz="1400" b="0" dirty="0" smtClean="0">
                <a:solidFill>
                  <a:schemeClr val="bg1"/>
                </a:solidFill>
              </a:rPr>
              <a:t>Reifen*</a:t>
            </a:r>
            <a:endParaRPr lang="de-DE" sz="1400" b="0" dirty="0">
              <a:solidFill>
                <a:schemeClr val="bg1"/>
              </a:solidFill>
            </a:endParaRPr>
          </a:p>
        </p:txBody>
      </p:sp>
      <p:sp>
        <p:nvSpPr>
          <p:cNvPr id="933913" name="Text Box 25"/>
          <p:cNvSpPr txBox="1">
            <a:spLocks noChangeArrowheads="1"/>
          </p:cNvSpPr>
          <p:nvPr/>
        </p:nvSpPr>
        <p:spPr bwMode="auto">
          <a:xfrm>
            <a:off x="7086667" y="3512364"/>
            <a:ext cx="1550424" cy="307777"/>
          </a:xfrm>
          <a:prstGeom prst="rect">
            <a:avLst/>
          </a:prstGeom>
          <a:noFill/>
          <a:ln w="9525">
            <a:noFill/>
            <a:miter lim="800000"/>
            <a:headEnd/>
            <a:tailEnd/>
          </a:ln>
          <a:effectLst/>
        </p:spPr>
        <p:txBody>
          <a:bodyPr wrap="none">
            <a:spAutoFit/>
          </a:bodyPr>
          <a:lstStyle/>
          <a:p>
            <a:r>
              <a:rPr lang="de-DE" sz="1400" b="0" dirty="0" smtClean="0"/>
              <a:t>Chassis &amp; Safety</a:t>
            </a:r>
            <a:endParaRPr lang="de-DE" sz="1400" b="0" dirty="0"/>
          </a:p>
        </p:txBody>
      </p:sp>
      <p:sp>
        <p:nvSpPr>
          <p:cNvPr id="933914" name="Text Box 26"/>
          <p:cNvSpPr txBox="1">
            <a:spLocks noChangeArrowheads="1"/>
          </p:cNvSpPr>
          <p:nvPr/>
        </p:nvSpPr>
        <p:spPr bwMode="auto">
          <a:xfrm>
            <a:off x="6011863" y="4652963"/>
            <a:ext cx="1040670" cy="307777"/>
          </a:xfrm>
          <a:prstGeom prst="rect">
            <a:avLst/>
          </a:prstGeom>
          <a:noFill/>
          <a:ln w="9525">
            <a:noFill/>
            <a:miter lim="800000"/>
            <a:headEnd/>
            <a:tailEnd/>
          </a:ln>
          <a:effectLst/>
        </p:spPr>
        <p:txBody>
          <a:bodyPr wrap="none">
            <a:spAutoFit/>
          </a:bodyPr>
          <a:lstStyle/>
          <a:p>
            <a:r>
              <a:rPr lang="de-DE" sz="1400" b="0" dirty="0" smtClean="0"/>
              <a:t>Powertrain</a:t>
            </a:r>
            <a:endParaRPr lang="de-DE" sz="1400" b="0" dirty="0"/>
          </a:p>
        </p:txBody>
      </p:sp>
      <p:sp>
        <p:nvSpPr>
          <p:cNvPr id="933922" name="Text Box 34"/>
          <p:cNvSpPr txBox="1">
            <a:spLocks noChangeArrowheads="1"/>
          </p:cNvSpPr>
          <p:nvPr/>
        </p:nvSpPr>
        <p:spPr bwMode="auto">
          <a:xfrm>
            <a:off x="4643438" y="3512364"/>
            <a:ext cx="740908" cy="307777"/>
          </a:xfrm>
          <a:prstGeom prst="rect">
            <a:avLst/>
          </a:prstGeom>
          <a:noFill/>
          <a:ln w="9525">
            <a:noFill/>
            <a:miter lim="800000"/>
            <a:headEnd/>
            <a:tailEnd/>
          </a:ln>
          <a:effectLst/>
        </p:spPr>
        <p:txBody>
          <a:bodyPr wrap="none">
            <a:spAutoFit/>
          </a:bodyPr>
          <a:lstStyle/>
          <a:p>
            <a:r>
              <a:rPr lang="de-DE" sz="1400" b="0" dirty="0" smtClean="0"/>
              <a:t>Interior</a:t>
            </a:r>
            <a:endParaRPr lang="de-DE" sz="1400" b="0" dirty="0"/>
          </a:p>
        </p:txBody>
      </p:sp>
      <p:sp>
        <p:nvSpPr>
          <p:cNvPr id="933932" name="Text Box 14"/>
          <p:cNvSpPr txBox="1">
            <a:spLocks noChangeArrowheads="1"/>
          </p:cNvSpPr>
          <p:nvPr/>
        </p:nvSpPr>
        <p:spPr bwMode="auto">
          <a:xfrm>
            <a:off x="4284663" y="5579964"/>
            <a:ext cx="4535487" cy="369316"/>
          </a:xfrm>
          <a:prstGeom prst="rect">
            <a:avLst/>
          </a:prstGeom>
          <a:noFill/>
          <a:ln w="9525">
            <a:noFill/>
            <a:miter lim="800000"/>
            <a:headEnd/>
            <a:tailEnd/>
          </a:ln>
        </p:spPr>
        <p:txBody>
          <a:bodyPr lIns="91424" tIns="45712" rIns="0" bIns="45712">
            <a:spAutoFit/>
          </a:bodyPr>
          <a:lstStyle/>
          <a:p>
            <a:pPr algn="r" eaLnBrk="0" hangingPunct="0"/>
            <a:r>
              <a:rPr lang="de-DE" sz="900" dirty="0" smtClean="0"/>
              <a:t>*pro forma</a:t>
            </a:r>
          </a:p>
          <a:p>
            <a:pPr algn="r" eaLnBrk="0" hangingPunct="0"/>
            <a:r>
              <a:rPr lang="de-DE" sz="900" b="0" dirty="0" smtClean="0"/>
              <a:t>Stand: 31.12.2011</a:t>
            </a:r>
            <a:endParaRPr lang="de-DE" sz="900" b="0" dirty="0"/>
          </a:p>
        </p:txBody>
      </p:sp>
      <p:sp>
        <p:nvSpPr>
          <p:cNvPr id="26" name="Text Box 20"/>
          <p:cNvSpPr txBox="1">
            <a:spLocks noChangeArrowheads="1"/>
          </p:cNvSpPr>
          <p:nvPr/>
        </p:nvSpPr>
        <p:spPr bwMode="auto">
          <a:xfrm>
            <a:off x="7161482" y="2088593"/>
            <a:ext cx="980718" cy="307777"/>
          </a:xfrm>
          <a:prstGeom prst="rect">
            <a:avLst/>
          </a:prstGeom>
          <a:noFill/>
          <a:ln w="9525">
            <a:noFill/>
            <a:miter lim="800000"/>
            <a:headEnd/>
            <a:tailEnd/>
          </a:ln>
          <a:effectLst/>
        </p:spPr>
        <p:txBody>
          <a:bodyPr wrap="none">
            <a:spAutoFit/>
          </a:bodyPr>
          <a:lstStyle/>
          <a:p>
            <a:r>
              <a:rPr lang="de-DE" sz="1400" b="0" dirty="0" smtClean="0"/>
              <a:t>ContiTech</a:t>
            </a:r>
            <a:endParaRPr lang="de-DE" sz="1400" b="0" dirty="0"/>
          </a:p>
        </p:txBody>
      </p:sp>
      <p:sp>
        <p:nvSpPr>
          <p:cNvPr id="19" name="Textfeld 18"/>
          <p:cNvSpPr txBox="1"/>
          <p:nvPr/>
        </p:nvSpPr>
        <p:spPr>
          <a:xfrm>
            <a:off x="4866724" y="969842"/>
            <a:ext cx="3294492" cy="338554"/>
          </a:xfrm>
          <a:prstGeom prst="rect">
            <a:avLst/>
          </a:prstGeom>
          <a:noFill/>
        </p:spPr>
        <p:txBody>
          <a:bodyPr wrap="none" rtlCol="0">
            <a:spAutoFit/>
          </a:bodyPr>
          <a:lstStyle/>
          <a:p>
            <a:r>
              <a:rPr lang="de-DE" sz="1600" dirty="0" smtClean="0"/>
              <a:t>Umsatzanteile der Divisionen in %</a:t>
            </a:r>
            <a:endParaRPr lang="de-DE" sz="1600" dirty="0"/>
          </a:p>
        </p:txBody>
      </p:sp>
    </p:spTree>
  </p:cSld>
  <p:clrMapOvr>
    <a:masterClrMapping/>
  </p:clrMapOvr>
  <p:transition>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Continental-Konzern</a:t>
            </a:r>
            <a:br>
              <a:rPr lang="de-DE" dirty="0" smtClean="0"/>
            </a:br>
            <a:r>
              <a:rPr lang="de-DE" dirty="0" smtClean="0">
                <a:solidFill>
                  <a:schemeClr val="accent5"/>
                </a:solidFill>
              </a:rPr>
              <a:t>Fünf starke Divisionen</a:t>
            </a:r>
            <a:endParaRPr lang="de-DE" dirty="0"/>
          </a:p>
        </p:txBody>
      </p:sp>
      <p:sp>
        <p:nvSpPr>
          <p:cNvPr id="6" name="Text Box 5"/>
          <p:cNvSpPr txBox="1">
            <a:spLocks noChangeArrowheads="1"/>
          </p:cNvSpPr>
          <p:nvPr/>
        </p:nvSpPr>
        <p:spPr bwMode="auto">
          <a:xfrm>
            <a:off x="4355977" y="5623744"/>
            <a:ext cx="4464174" cy="276999"/>
          </a:xfrm>
          <a:prstGeom prst="rect">
            <a:avLst/>
          </a:prstGeom>
          <a:noFill/>
          <a:ln w="9525" algn="ctr">
            <a:noFill/>
            <a:miter lim="800000"/>
            <a:headEnd/>
            <a:tailEnd/>
          </a:ln>
        </p:spPr>
        <p:txBody>
          <a:bodyPr wrap="square" lIns="0" tIns="0" rIns="0" bIns="0">
            <a:spAutoFit/>
          </a:bodyPr>
          <a:lstStyle/>
          <a:p>
            <a:pPr marL="253243" indent="-253243" algn="r" defTabSz="873827">
              <a:buClr>
                <a:srgbClr val="E19900"/>
              </a:buClr>
            </a:pPr>
            <a:r>
              <a:rPr lang="de-DE" sz="900" dirty="0" smtClean="0">
                <a:solidFill>
                  <a:srgbClr val="000000"/>
                </a:solidFill>
              </a:rPr>
              <a:t/>
            </a:r>
            <a:br>
              <a:rPr lang="de-DE" sz="900" dirty="0" smtClean="0">
                <a:solidFill>
                  <a:srgbClr val="000000"/>
                </a:solidFill>
              </a:rPr>
            </a:br>
            <a:endParaRPr lang="de-DE" sz="900" dirty="0"/>
          </a:p>
        </p:txBody>
      </p:sp>
      <p:sp>
        <p:nvSpPr>
          <p:cNvPr id="7" name="Rectangle 2"/>
          <p:cNvSpPr>
            <a:spLocks noChangeArrowheads="1"/>
          </p:cNvSpPr>
          <p:nvPr>
            <p:custDataLst>
              <p:tags r:id="rId1"/>
            </p:custDataLst>
          </p:nvPr>
        </p:nvSpPr>
        <p:spPr bwMode="auto">
          <a:xfrm>
            <a:off x="323850" y="1266591"/>
            <a:ext cx="5061882" cy="4373263"/>
          </a:xfrm>
          <a:prstGeom prst="rect">
            <a:avLst/>
          </a:prstGeom>
          <a:solidFill>
            <a:schemeClr val="bg1">
              <a:lumMod val="50000"/>
            </a:schemeClr>
          </a:solidFill>
          <a:ln w="28575" algn="ctr">
            <a:noFill/>
            <a:miter lim="800000"/>
            <a:headEnd/>
            <a:tailEnd/>
          </a:ln>
        </p:spPr>
        <p:txBody>
          <a:bodyPr lIns="90000" tIns="144000" rIns="126075" bIns="126075"/>
          <a:lstStyle/>
          <a:p>
            <a:pPr marL="155575" indent="-155575" defTabSz="873125">
              <a:lnSpc>
                <a:spcPct val="65000"/>
              </a:lnSpc>
            </a:pPr>
            <a:endParaRPr lang="en-US" sz="1800" dirty="0">
              <a:solidFill>
                <a:schemeClr val="bg1"/>
              </a:solidFill>
              <a:ea typeface="ヒラギノ角ゴ Pro W3" pitchFamily="1" charset="-128"/>
            </a:endParaRPr>
          </a:p>
        </p:txBody>
      </p:sp>
      <p:sp>
        <p:nvSpPr>
          <p:cNvPr id="8" name="Rectangle 7"/>
          <p:cNvSpPr>
            <a:spLocks noChangeArrowheads="1"/>
          </p:cNvSpPr>
          <p:nvPr/>
        </p:nvSpPr>
        <p:spPr bwMode="auto">
          <a:xfrm>
            <a:off x="2035262" y="2039839"/>
            <a:ext cx="1620000" cy="3537348"/>
          </a:xfrm>
          <a:prstGeom prst="rect">
            <a:avLst/>
          </a:prstGeom>
          <a:solidFill>
            <a:schemeClr val="bg1">
              <a:lumMod val="75000"/>
            </a:schemeClr>
          </a:solidFill>
          <a:ln w="9525" algn="ctr">
            <a:noFill/>
            <a:miter lim="800000"/>
            <a:headEnd/>
            <a:tailEnd/>
          </a:ln>
        </p:spPr>
        <p:txBody>
          <a:bodyPr wrap="none" lIns="216000" tIns="35120" rIns="70239" bIns="35120" anchor="ctr"/>
          <a:lstStyle/>
          <a:p>
            <a:pPr marL="238125" indent="-238125">
              <a:spcAft>
                <a:spcPct val="35000"/>
              </a:spcAft>
              <a:buClr>
                <a:srgbClr val="E19900"/>
              </a:buClr>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Blip>
                <a:blip r:embed="rId10"/>
              </a:buBlip>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r>
              <a:rPr lang="en-US" sz="2800" kern="0" dirty="0" smtClean="0">
                <a:solidFill>
                  <a:schemeClr val="bg1">
                    <a:lumMod val="65000"/>
                  </a:schemeClr>
                </a:solidFill>
                <a:latin typeface="Arial" pitchFamily="34" charset="0"/>
                <a:cs typeface="Arial" pitchFamily="34" charset="0"/>
              </a:rPr>
              <a:t/>
            </a:r>
            <a:br>
              <a:rPr lang="en-US" sz="2800" kern="0" dirty="0" smtClean="0">
                <a:solidFill>
                  <a:schemeClr val="bg1">
                    <a:lumMod val="65000"/>
                  </a:schemeClr>
                </a:solidFill>
                <a:latin typeface="Arial" pitchFamily="34" charset="0"/>
                <a:cs typeface="Arial" pitchFamily="34" charset="0"/>
              </a:rPr>
            </a:b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tabLst>
                <a:tab pos="446088" algn="l"/>
              </a:tabLst>
            </a:pPr>
            <a:endParaRPr lang="en-US" sz="2800" kern="0" dirty="0" smtClean="0">
              <a:solidFill>
                <a:schemeClr val="bg1">
                  <a:lumMod val="65000"/>
                </a:schemeClr>
              </a:solidFill>
              <a:latin typeface="Arial" pitchFamily="34" charset="0"/>
              <a:cs typeface="Arial" pitchFamily="34" charset="0"/>
            </a:endParaRPr>
          </a:p>
        </p:txBody>
      </p:sp>
      <p:sp>
        <p:nvSpPr>
          <p:cNvPr id="9" name="Rectangle 7"/>
          <p:cNvSpPr>
            <a:spLocks noChangeArrowheads="1"/>
          </p:cNvSpPr>
          <p:nvPr/>
        </p:nvSpPr>
        <p:spPr bwMode="auto">
          <a:xfrm>
            <a:off x="359712" y="2039839"/>
            <a:ext cx="1620000" cy="3537348"/>
          </a:xfrm>
          <a:prstGeom prst="rect">
            <a:avLst/>
          </a:prstGeom>
          <a:solidFill>
            <a:schemeClr val="bg1">
              <a:lumMod val="75000"/>
            </a:schemeClr>
          </a:solidFill>
          <a:ln w="9525" algn="ctr">
            <a:noFill/>
            <a:miter lim="800000"/>
            <a:headEnd/>
            <a:tailEnd/>
          </a:ln>
        </p:spPr>
        <p:txBody>
          <a:bodyPr wrap="none" lIns="216000" tIns="35120" rIns="70239" bIns="35120" anchor="ctr"/>
          <a:lstStyle/>
          <a:p>
            <a:pPr marL="238125" indent="-238125">
              <a:spcAft>
                <a:spcPct val="35000"/>
              </a:spcAft>
              <a:buClr>
                <a:srgbClr val="E19900"/>
              </a:buClr>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Blip>
                <a:blip r:embed="rId10"/>
              </a:buBlip>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r>
              <a:rPr lang="en-US" sz="2800" kern="0" dirty="0" smtClean="0">
                <a:solidFill>
                  <a:schemeClr val="bg1">
                    <a:lumMod val="65000"/>
                  </a:schemeClr>
                </a:solidFill>
                <a:latin typeface="Arial" pitchFamily="34" charset="0"/>
                <a:cs typeface="Arial" pitchFamily="34" charset="0"/>
              </a:rPr>
              <a:t/>
            </a:r>
            <a:br>
              <a:rPr lang="en-US" sz="2800" kern="0" dirty="0" smtClean="0">
                <a:solidFill>
                  <a:schemeClr val="bg1">
                    <a:lumMod val="65000"/>
                  </a:schemeClr>
                </a:solidFill>
                <a:latin typeface="Arial" pitchFamily="34" charset="0"/>
                <a:cs typeface="Arial" pitchFamily="34" charset="0"/>
              </a:rPr>
            </a:b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tabLst>
                <a:tab pos="446088" algn="l"/>
              </a:tabLst>
            </a:pPr>
            <a:endParaRPr lang="en-US" sz="2800" kern="0" dirty="0" smtClean="0">
              <a:solidFill>
                <a:schemeClr val="bg1">
                  <a:lumMod val="65000"/>
                </a:schemeClr>
              </a:solidFill>
              <a:latin typeface="Arial" pitchFamily="34" charset="0"/>
              <a:cs typeface="Arial" pitchFamily="34" charset="0"/>
            </a:endParaRPr>
          </a:p>
        </p:txBody>
      </p:sp>
      <p:sp>
        <p:nvSpPr>
          <p:cNvPr id="10" name="Rectangle 7"/>
          <p:cNvSpPr>
            <a:spLocks noChangeArrowheads="1"/>
          </p:cNvSpPr>
          <p:nvPr/>
        </p:nvSpPr>
        <p:spPr bwMode="auto">
          <a:xfrm>
            <a:off x="3727075" y="2039839"/>
            <a:ext cx="1620000" cy="3537348"/>
          </a:xfrm>
          <a:prstGeom prst="rect">
            <a:avLst/>
          </a:prstGeom>
          <a:solidFill>
            <a:schemeClr val="bg1">
              <a:lumMod val="75000"/>
            </a:schemeClr>
          </a:solidFill>
          <a:ln w="9525" algn="ctr">
            <a:noFill/>
            <a:miter lim="800000"/>
            <a:headEnd/>
            <a:tailEnd/>
          </a:ln>
        </p:spPr>
        <p:txBody>
          <a:bodyPr wrap="none" lIns="216000" tIns="35120" rIns="70239" bIns="35120" anchor="ctr"/>
          <a:lstStyle/>
          <a:p>
            <a:pPr marL="238125" indent="-238125">
              <a:spcAft>
                <a:spcPct val="35000"/>
              </a:spcAft>
              <a:buClr>
                <a:srgbClr val="E19900"/>
              </a:buClr>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Blip>
                <a:blip r:embed="rId10"/>
              </a:buBlip>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r>
              <a:rPr lang="en-US" sz="2800" kern="0" dirty="0" smtClean="0">
                <a:solidFill>
                  <a:schemeClr val="bg1">
                    <a:lumMod val="65000"/>
                  </a:schemeClr>
                </a:solidFill>
                <a:latin typeface="Arial" pitchFamily="34" charset="0"/>
                <a:cs typeface="Arial" pitchFamily="34" charset="0"/>
              </a:rPr>
              <a:t/>
            </a:r>
            <a:br>
              <a:rPr lang="en-US" sz="2800" kern="0" dirty="0" smtClean="0">
                <a:solidFill>
                  <a:schemeClr val="bg1">
                    <a:lumMod val="65000"/>
                  </a:schemeClr>
                </a:solidFill>
                <a:latin typeface="Arial" pitchFamily="34" charset="0"/>
                <a:cs typeface="Arial" pitchFamily="34" charset="0"/>
              </a:rPr>
            </a:b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kern="0" dirty="0" smtClean="0">
              <a:solidFill>
                <a:schemeClr val="bg1">
                  <a:lumMod val="65000"/>
                </a:schemeClr>
              </a:solidFill>
              <a:latin typeface="Arial" pitchFamily="34" charset="0"/>
              <a:cs typeface="Arial" pitchFamily="34" charset="0"/>
            </a:endParaRPr>
          </a:p>
          <a:p>
            <a:pPr marL="238125" indent="-238125">
              <a:spcAft>
                <a:spcPct val="35000"/>
              </a:spcAft>
              <a:tabLst>
                <a:tab pos="446088" algn="l"/>
              </a:tabLst>
            </a:pPr>
            <a:endParaRPr lang="en-US" sz="2800" kern="0" dirty="0" smtClean="0">
              <a:solidFill>
                <a:schemeClr val="bg1">
                  <a:lumMod val="65000"/>
                </a:schemeClr>
              </a:solidFill>
              <a:latin typeface="Arial" pitchFamily="34" charset="0"/>
              <a:cs typeface="Arial" pitchFamily="34" charset="0"/>
            </a:endParaRPr>
          </a:p>
        </p:txBody>
      </p:sp>
      <p:sp>
        <p:nvSpPr>
          <p:cNvPr id="11" name="Rectangle 3"/>
          <p:cNvSpPr>
            <a:spLocks noChangeArrowheads="1"/>
          </p:cNvSpPr>
          <p:nvPr>
            <p:custDataLst>
              <p:tags r:id="rId2"/>
            </p:custDataLst>
          </p:nvPr>
        </p:nvSpPr>
        <p:spPr bwMode="auto">
          <a:xfrm>
            <a:off x="5436096" y="1268414"/>
            <a:ext cx="3384054" cy="4373262"/>
          </a:xfrm>
          <a:prstGeom prst="rect">
            <a:avLst/>
          </a:prstGeom>
          <a:solidFill>
            <a:schemeClr val="bg1">
              <a:lumMod val="50000"/>
            </a:schemeClr>
          </a:solidFill>
          <a:ln w="28575" algn="ctr">
            <a:noFill/>
            <a:miter lim="800000"/>
            <a:headEnd/>
            <a:tailEnd/>
          </a:ln>
        </p:spPr>
        <p:txBody>
          <a:bodyPr lIns="90000" tIns="144000" rIns="126075" bIns="126075"/>
          <a:lstStyle/>
          <a:p>
            <a:pPr marL="155575" indent="-155575" defTabSz="873125">
              <a:lnSpc>
                <a:spcPct val="65000"/>
              </a:lnSpc>
            </a:pPr>
            <a:endParaRPr lang="en-US" dirty="0">
              <a:solidFill>
                <a:schemeClr val="bg1"/>
              </a:solidFill>
              <a:ea typeface="ヒラギノ角ゴ Pro W3" pitchFamily="1" charset="-128"/>
            </a:endParaRPr>
          </a:p>
        </p:txBody>
      </p:sp>
      <p:sp>
        <p:nvSpPr>
          <p:cNvPr id="12" name="Rectangle 7"/>
          <p:cNvSpPr>
            <a:spLocks noChangeArrowheads="1"/>
          </p:cNvSpPr>
          <p:nvPr/>
        </p:nvSpPr>
        <p:spPr bwMode="auto">
          <a:xfrm>
            <a:off x="5480028" y="2039839"/>
            <a:ext cx="1620000" cy="3537348"/>
          </a:xfrm>
          <a:prstGeom prst="rect">
            <a:avLst/>
          </a:prstGeom>
          <a:solidFill>
            <a:schemeClr val="bg1">
              <a:lumMod val="75000"/>
            </a:schemeClr>
          </a:solidFill>
          <a:ln w="9525" algn="ctr">
            <a:noFill/>
            <a:miter lim="800000"/>
            <a:headEnd/>
            <a:tailEnd/>
          </a:ln>
        </p:spPr>
        <p:txBody>
          <a:bodyPr wrap="none" lIns="216000" tIns="35120" rIns="70239" bIns="35120" anchor="ctr"/>
          <a:lstStyle/>
          <a:p>
            <a:pPr marL="238125" indent="-238125">
              <a:spcAft>
                <a:spcPct val="35000"/>
              </a:spcAft>
              <a:buClr>
                <a:srgbClr val="E19900"/>
              </a:buClr>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Blip>
                <a:blip r:embed="rId10"/>
              </a:buBlip>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r>
              <a:rPr lang="en-US" sz="2800" b="1" kern="0" dirty="0" smtClean="0">
                <a:solidFill>
                  <a:schemeClr val="bg1">
                    <a:lumMod val="65000"/>
                  </a:schemeClr>
                </a:solidFill>
                <a:latin typeface="Arial" pitchFamily="34" charset="0"/>
                <a:cs typeface="Arial" pitchFamily="34" charset="0"/>
              </a:rPr>
              <a:t/>
            </a:r>
            <a:br>
              <a:rPr lang="en-US" sz="2800" b="1" kern="0" dirty="0" smtClean="0">
                <a:solidFill>
                  <a:schemeClr val="bg1">
                    <a:lumMod val="65000"/>
                  </a:schemeClr>
                </a:solidFill>
                <a:latin typeface="Arial" pitchFamily="34" charset="0"/>
                <a:cs typeface="Arial" pitchFamily="34" charset="0"/>
              </a:rPr>
            </a:b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buClr>
                <a:srgbClr val="E19900"/>
              </a:buClr>
              <a:buFont typeface="Arial" charset="0"/>
              <a:buNone/>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spcAft>
                <a:spcPct val="35000"/>
              </a:spcAft>
              <a:tabLst>
                <a:tab pos="446088" algn="l"/>
              </a:tabLst>
            </a:pPr>
            <a:endParaRPr lang="en-US" sz="2800" b="1" kern="0" dirty="0" smtClean="0">
              <a:solidFill>
                <a:schemeClr val="bg1">
                  <a:lumMod val="65000"/>
                </a:schemeClr>
              </a:solidFill>
              <a:latin typeface="Arial" pitchFamily="34" charset="0"/>
              <a:cs typeface="Arial" pitchFamily="34" charset="0"/>
            </a:endParaRPr>
          </a:p>
        </p:txBody>
      </p:sp>
      <p:sp>
        <p:nvSpPr>
          <p:cNvPr id="13" name="Rectangle 7"/>
          <p:cNvSpPr>
            <a:spLocks noChangeArrowheads="1"/>
          </p:cNvSpPr>
          <p:nvPr>
            <p:custDataLst>
              <p:tags r:id="rId3"/>
            </p:custDataLst>
          </p:nvPr>
        </p:nvSpPr>
        <p:spPr bwMode="auto">
          <a:xfrm>
            <a:off x="7148790" y="2039839"/>
            <a:ext cx="1620000" cy="3537348"/>
          </a:xfrm>
          <a:prstGeom prst="rect">
            <a:avLst/>
          </a:prstGeom>
          <a:solidFill>
            <a:schemeClr val="bg1">
              <a:lumMod val="75000"/>
            </a:schemeClr>
          </a:solidFill>
          <a:ln w="9525" algn="ctr">
            <a:noFill/>
            <a:miter lim="800000"/>
            <a:headEnd/>
            <a:tailEnd/>
          </a:ln>
        </p:spPr>
        <p:txBody>
          <a:bodyPr wrap="none" lIns="216000" tIns="35120" rIns="70239" bIns="35120" anchor="ctr"/>
          <a:lstStyle/>
          <a:p>
            <a:pPr marL="238125" indent="-238125">
              <a:lnSpc>
                <a:spcPts val="1300"/>
              </a:lnSpc>
              <a:buClr>
                <a:srgbClr val="E19900"/>
              </a:buClr>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lnSpc>
                <a:spcPts val="1300"/>
              </a:lnSpc>
              <a:buClr>
                <a:srgbClr val="E19900"/>
              </a:buClr>
              <a:buFont typeface="Arial" charset="0"/>
              <a:buBlip>
                <a:blip r:embed="rId10"/>
              </a:buBlip>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lnSpc>
                <a:spcPts val="1300"/>
              </a:lnSpc>
              <a:buClr>
                <a:srgbClr val="E19900"/>
              </a:buClr>
              <a:buFont typeface="Arial" charset="0"/>
              <a:buNone/>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lnSpc>
                <a:spcPts val="1300"/>
              </a:lnSpc>
              <a:buClr>
                <a:srgbClr val="E19900"/>
              </a:buClr>
              <a:buFont typeface="Arial" charset="0"/>
              <a:buNone/>
              <a:tabLst>
                <a:tab pos="446088" algn="l"/>
              </a:tabLst>
            </a:pPr>
            <a:r>
              <a:rPr lang="en-US" sz="2800" b="1" kern="0" dirty="0" smtClean="0">
                <a:solidFill>
                  <a:schemeClr val="bg1">
                    <a:lumMod val="65000"/>
                  </a:schemeClr>
                </a:solidFill>
                <a:latin typeface="Arial" pitchFamily="34" charset="0"/>
                <a:cs typeface="Arial" pitchFamily="34" charset="0"/>
              </a:rPr>
              <a:t/>
            </a:r>
            <a:br>
              <a:rPr lang="en-US" sz="2800" b="1" kern="0" dirty="0" smtClean="0">
                <a:solidFill>
                  <a:schemeClr val="bg1">
                    <a:lumMod val="65000"/>
                  </a:schemeClr>
                </a:solidFill>
                <a:latin typeface="Arial" pitchFamily="34" charset="0"/>
                <a:cs typeface="Arial" pitchFamily="34" charset="0"/>
              </a:rPr>
            </a:br>
            <a:endParaRPr lang="en-US" sz="2800" b="1" kern="0" dirty="0" smtClean="0">
              <a:solidFill>
                <a:schemeClr val="bg1">
                  <a:lumMod val="65000"/>
                </a:schemeClr>
              </a:solidFill>
              <a:latin typeface="Arial" pitchFamily="34" charset="0"/>
              <a:cs typeface="Arial" pitchFamily="34" charset="0"/>
            </a:endParaRPr>
          </a:p>
          <a:p>
            <a:pPr marL="238125" indent="-238125">
              <a:lnSpc>
                <a:spcPts val="1300"/>
              </a:lnSpc>
              <a:buClr>
                <a:srgbClr val="E19900"/>
              </a:buClr>
              <a:buFont typeface="Arial" charset="0"/>
              <a:buNone/>
              <a:tabLst>
                <a:tab pos="446088" algn="l"/>
              </a:tabLst>
            </a:pPr>
            <a:endParaRPr lang="en-US" sz="2800" b="1" kern="0" dirty="0" smtClean="0">
              <a:solidFill>
                <a:schemeClr val="bg1">
                  <a:lumMod val="65000"/>
                </a:schemeClr>
              </a:solidFill>
              <a:latin typeface="Arial" pitchFamily="34" charset="0"/>
              <a:cs typeface="Arial" pitchFamily="34" charset="0"/>
            </a:endParaRPr>
          </a:p>
          <a:p>
            <a:pPr marL="238125" indent="-238125">
              <a:lnSpc>
                <a:spcPts val="1300"/>
              </a:lnSpc>
              <a:tabLst>
                <a:tab pos="446088" algn="l"/>
              </a:tabLst>
            </a:pPr>
            <a:endParaRPr lang="en-US" sz="2800" b="1" kern="0" dirty="0" smtClean="0">
              <a:solidFill>
                <a:schemeClr val="bg1">
                  <a:lumMod val="65000"/>
                </a:schemeClr>
              </a:solidFill>
              <a:latin typeface="Arial" pitchFamily="34" charset="0"/>
              <a:cs typeface="Arial" pitchFamily="34" charset="0"/>
            </a:endParaRPr>
          </a:p>
        </p:txBody>
      </p:sp>
      <p:sp>
        <p:nvSpPr>
          <p:cNvPr id="14" name="Rectangle 32"/>
          <p:cNvSpPr>
            <a:spLocks noChangeArrowheads="1"/>
          </p:cNvSpPr>
          <p:nvPr/>
        </p:nvSpPr>
        <p:spPr bwMode="auto">
          <a:xfrm>
            <a:off x="2035262" y="2183210"/>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dirty="0" smtClean="0">
                <a:latin typeface="Arial"/>
                <a:ea typeface="+mn-ea"/>
                <a:cs typeface="+mn-cs"/>
              </a:rPr>
              <a:t>Engine Systems</a:t>
            </a:r>
            <a:endParaRPr lang="en-US" sz="1300" b="0" i="0" dirty="0">
              <a:latin typeface="Arial"/>
              <a:ea typeface="+mn-ea"/>
              <a:cs typeface="+mn-cs"/>
            </a:endParaRPr>
          </a:p>
        </p:txBody>
      </p:sp>
      <p:sp>
        <p:nvSpPr>
          <p:cNvPr id="15" name="Rectangle 32"/>
          <p:cNvSpPr>
            <a:spLocks noChangeArrowheads="1"/>
          </p:cNvSpPr>
          <p:nvPr/>
        </p:nvSpPr>
        <p:spPr bwMode="auto">
          <a:xfrm>
            <a:off x="2035262" y="2593978"/>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dirty="0" smtClean="0">
                <a:latin typeface="Arial"/>
                <a:ea typeface="+mn-ea"/>
                <a:cs typeface="+mn-cs"/>
              </a:rPr>
              <a:t>Transmission</a:t>
            </a:r>
            <a:endParaRPr lang="en-US" sz="1300" b="0" i="0" dirty="0">
              <a:latin typeface="Arial"/>
              <a:ea typeface="+mn-ea"/>
              <a:cs typeface="+mn-cs"/>
            </a:endParaRPr>
          </a:p>
        </p:txBody>
      </p:sp>
      <p:sp>
        <p:nvSpPr>
          <p:cNvPr id="16" name="Rectangle 32"/>
          <p:cNvSpPr>
            <a:spLocks noChangeArrowheads="1"/>
          </p:cNvSpPr>
          <p:nvPr/>
        </p:nvSpPr>
        <p:spPr bwMode="auto">
          <a:xfrm>
            <a:off x="2035262" y="2993060"/>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dirty="0" smtClean="0">
                <a:latin typeface="Arial"/>
                <a:ea typeface="+mn-ea"/>
                <a:cs typeface="+mn-cs"/>
              </a:rPr>
              <a:t>Hybrid Electric</a:t>
            </a:r>
            <a:br>
              <a:rPr lang="en-US" sz="1300" b="0" i="0" dirty="0" smtClean="0">
                <a:latin typeface="Arial"/>
                <a:ea typeface="+mn-ea"/>
                <a:cs typeface="+mn-cs"/>
              </a:rPr>
            </a:br>
            <a:r>
              <a:rPr lang="en-US" sz="1300" b="0" i="0" dirty="0" smtClean="0">
                <a:latin typeface="Arial"/>
                <a:ea typeface="+mn-ea"/>
                <a:cs typeface="+mn-cs"/>
              </a:rPr>
              <a:t>Vehicle</a:t>
            </a:r>
            <a:endParaRPr lang="en-US" sz="1300" b="0" i="0" dirty="0">
              <a:latin typeface="Arial"/>
              <a:ea typeface="+mn-ea"/>
              <a:cs typeface="+mn-cs"/>
            </a:endParaRPr>
          </a:p>
        </p:txBody>
      </p:sp>
      <p:sp>
        <p:nvSpPr>
          <p:cNvPr id="17" name="Rectangle 32"/>
          <p:cNvSpPr>
            <a:spLocks noChangeArrowheads="1"/>
          </p:cNvSpPr>
          <p:nvPr/>
        </p:nvSpPr>
        <p:spPr bwMode="auto">
          <a:xfrm>
            <a:off x="2035262" y="3402298"/>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smtClean="0">
                <a:latin typeface="Arial"/>
                <a:ea typeface="+mn-ea"/>
                <a:cs typeface="+mn-cs"/>
              </a:rPr>
              <a:t>Sensors &amp; </a:t>
            </a:r>
            <a:br>
              <a:rPr lang="en-US" sz="1300" b="0" i="0" smtClean="0">
                <a:latin typeface="Arial"/>
                <a:ea typeface="+mn-ea"/>
                <a:cs typeface="+mn-cs"/>
              </a:rPr>
            </a:br>
            <a:r>
              <a:rPr lang="en-US" sz="1300" b="0" i="0" smtClean="0">
                <a:latin typeface="Arial"/>
                <a:ea typeface="+mn-ea"/>
                <a:cs typeface="+mn-cs"/>
              </a:rPr>
              <a:t>Actuators</a:t>
            </a:r>
            <a:endParaRPr lang="en-US" sz="1300" b="0" i="0">
              <a:latin typeface="Arial"/>
              <a:ea typeface="+mn-ea"/>
              <a:cs typeface="+mn-cs"/>
            </a:endParaRPr>
          </a:p>
        </p:txBody>
      </p:sp>
      <p:sp>
        <p:nvSpPr>
          <p:cNvPr id="18" name="Rectangle 32"/>
          <p:cNvSpPr>
            <a:spLocks noChangeArrowheads="1"/>
          </p:cNvSpPr>
          <p:nvPr/>
        </p:nvSpPr>
        <p:spPr bwMode="auto">
          <a:xfrm>
            <a:off x="2035262" y="3811536"/>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dirty="0" smtClean="0">
                <a:latin typeface="Arial"/>
                <a:ea typeface="+mn-ea"/>
                <a:cs typeface="+mn-cs"/>
              </a:rPr>
              <a:t>Fuel Supply</a:t>
            </a:r>
            <a:endParaRPr lang="en-US" sz="1300" b="0" i="0" dirty="0">
              <a:latin typeface="Arial"/>
              <a:ea typeface="+mn-ea"/>
              <a:cs typeface="+mn-cs"/>
            </a:endParaRPr>
          </a:p>
        </p:txBody>
      </p:sp>
      <p:sp>
        <p:nvSpPr>
          <p:cNvPr id="19" name="Rectangle 32"/>
          <p:cNvSpPr>
            <a:spLocks noChangeArrowheads="1"/>
          </p:cNvSpPr>
          <p:nvPr/>
        </p:nvSpPr>
        <p:spPr bwMode="auto">
          <a:xfrm>
            <a:off x="3727075" y="2174584"/>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dirty="0" smtClean="0">
                <a:latin typeface="Arial"/>
                <a:ea typeface="+mn-ea"/>
                <a:cs typeface="+mn-cs"/>
              </a:rPr>
              <a:t>Instrumentation &amp; </a:t>
            </a:r>
            <a:br>
              <a:rPr lang="en-US" sz="1300" b="0" i="0" dirty="0" smtClean="0">
                <a:latin typeface="Arial"/>
                <a:ea typeface="+mn-ea"/>
                <a:cs typeface="+mn-cs"/>
              </a:rPr>
            </a:br>
            <a:r>
              <a:rPr lang="en-US" sz="1300" b="0" i="0" dirty="0" smtClean="0">
                <a:latin typeface="Arial"/>
                <a:ea typeface="+mn-ea"/>
                <a:cs typeface="+mn-cs"/>
              </a:rPr>
              <a:t>Driver HMI</a:t>
            </a:r>
            <a:endParaRPr lang="en-US" sz="1300" b="0" i="0" dirty="0">
              <a:latin typeface="Arial"/>
              <a:ea typeface="+mn-ea"/>
              <a:cs typeface="+mn-cs"/>
            </a:endParaRPr>
          </a:p>
        </p:txBody>
      </p:sp>
      <p:sp>
        <p:nvSpPr>
          <p:cNvPr id="20" name="Rectangle 32"/>
          <p:cNvSpPr>
            <a:spLocks noChangeArrowheads="1"/>
          </p:cNvSpPr>
          <p:nvPr/>
        </p:nvSpPr>
        <p:spPr bwMode="auto">
          <a:xfrm>
            <a:off x="3727075" y="2585352"/>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smtClean="0">
                <a:latin typeface="Arial"/>
                <a:ea typeface="+mn-ea"/>
                <a:cs typeface="+mn-cs"/>
              </a:rPr>
              <a:t>Infotainment &amp; </a:t>
            </a:r>
            <a:br>
              <a:rPr lang="en-US" sz="1300" b="0" i="0" smtClean="0">
                <a:latin typeface="Arial"/>
                <a:ea typeface="+mn-ea"/>
                <a:cs typeface="+mn-cs"/>
              </a:rPr>
            </a:br>
            <a:r>
              <a:rPr lang="en-US" sz="1300" b="0" i="0" smtClean="0">
                <a:latin typeface="Arial"/>
                <a:ea typeface="+mn-ea"/>
                <a:cs typeface="+mn-cs"/>
              </a:rPr>
              <a:t>Connectivity</a:t>
            </a:r>
            <a:endParaRPr lang="en-US" sz="1300" b="0" i="0">
              <a:latin typeface="Arial"/>
              <a:ea typeface="+mn-ea"/>
              <a:cs typeface="+mn-cs"/>
            </a:endParaRPr>
          </a:p>
        </p:txBody>
      </p:sp>
      <p:sp>
        <p:nvSpPr>
          <p:cNvPr id="21" name="Rectangle 32"/>
          <p:cNvSpPr>
            <a:spLocks noChangeArrowheads="1"/>
          </p:cNvSpPr>
          <p:nvPr/>
        </p:nvSpPr>
        <p:spPr bwMode="auto">
          <a:xfrm>
            <a:off x="3727075" y="2993060"/>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smtClean="0">
                <a:latin typeface="Arial"/>
                <a:ea typeface="+mn-ea"/>
                <a:cs typeface="+mn-cs"/>
              </a:rPr>
              <a:t>Body &amp; Security</a:t>
            </a:r>
            <a:endParaRPr lang="en-US" sz="1300" b="0" i="0">
              <a:latin typeface="Arial"/>
              <a:ea typeface="+mn-ea"/>
              <a:cs typeface="+mn-cs"/>
            </a:endParaRPr>
          </a:p>
        </p:txBody>
      </p:sp>
      <p:sp>
        <p:nvSpPr>
          <p:cNvPr id="22" name="Rectangle 32"/>
          <p:cNvSpPr>
            <a:spLocks noChangeArrowheads="1"/>
          </p:cNvSpPr>
          <p:nvPr/>
        </p:nvSpPr>
        <p:spPr bwMode="auto">
          <a:xfrm>
            <a:off x="359712" y="2174584"/>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dirty="0" smtClean="0">
                <a:latin typeface="Arial"/>
                <a:ea typeface="+mn-ea"/>
                <a:cs typeface="+mn-cs"/>
              </a:rPr>
              <a:t>Electronic</a:t>
            </a:r>
            <a:br>
              <a:rPr lang="en-US" sz="1300" b="0" i="0" dirty="0" smtClean="0">
                <a:latin typeface="Arial"/>
                <a:ea typeface="+mn-ea"/>
                <a:cs typeface="+mn-cs"/>
              </a:rPr>
            </a:br>
            <a:r>
              <a:rPr lang="en-US" sz="1300" b="0" i="0" dirty="0" smtClean="0">
                <a:latin typeface="Arial"/>
                <a:ea typeface="+mn-ea"/>
                <a:cs typeface="+mn-cs"/>
              </a:rPr>
              <a:t>Brake Systems</a:t>
            </a:r>
            <a:endParaRPr lang="en-US" sz="1300" b="0" i="0" dirty="0">
              <a:latin typeface="Arial"/>
              <a:ea typeface="+mn-ea"/>
              <a:cs typeface="+mn-cs"/>
            </a:endParaRPr>
          </a:p>
        </p:txBody>
      </p:sp>
      <p:sp>
        <p:nvSpPr>
          <p:cNvPr id="23" name="Rectangle 32"/>
          <p:cNvSpPr>
            <a:spLocks noChangeArrowheads="1"/>
          </p:cNvSpPr>
          <p:nvPr/>
        </p:nvSpPr>
        <p:spPr bwMode="auto">
          <a:xfrm>
            <a:off x="359712" y="2585352"/>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dirty="0" smtClean="0">
                <a:latin typeface="Arial"/>
                <a:ea typeface="+mn-ea"/>
                <a:cs typeface="+mn-cs"/>
              </a:rPr>
              <a:t>Hydraulic </a:t>
            </a:r>
            <a:br>
              <a:rPr lang="en-US" sz="1300" b="0" i="0" dirty="0" smtClean="0">
                <a:latin typeface="Arial"/>
                <a:ea typeface="+mn-ea"/>
                <a:cs typeface="+mn-cs"/>
              </a:rPr>
            </a:br>
            <a:r>
              <a:rPr lang="en-US" sz="1300" b="0" i="0" dirty="0" smtClean="0">
                <a:latin typeface="Arial"/>
                <a:ea typeface="+mn-ea"/>
                <a:cs typeface="+mn-cs"/>
              </a:rPr>
              <a:t>Brake Systems</a:t>
            </a:r>
            <a:endParaRPr lang="en-US" sz="1300" b="0" i="0" dirty="0">
              <a:latin typeface="Arial"/>
              <a:ea typeface="+mn-ea"/>
              <a:cs typeface="+mn-cs"/>
            </a:endParaRPr>
          </a:p>
        </p:txBody>
      </p:sp>
      <p:sp>
        <p:nvSpPr>
          <p:cNvPr id="24" name="Rectangle 32"/>
          <p:cNvSpPr>
            <a:spLocks noChangeArrowheads="1"/>
          </p:cNvSpPr>
          <p:nvPr/>
        </p:nvSpPr>
        <p:spPr bwMode="auto">
          <a:xfrm>
            <a:off x="359712" y="2993060"/>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en-US" sz="1300" dirty="0" smtClean="0">
                <a:latin typeface="Arial"/>
              </a:rPr>
              <a:t>Passive Safety &amp; </a:t>
            </a:r>
            <a:br>
              <a:rPr lang="en-US" sz="1300" dirty="0" smtClean="0">
                <a:latin typeface="Arial"/>
              </a:rPr>
            </a:br>
            <a:r>
              <a:rPr lang="en-US" sz="1300" dirty="0" err="1" smtClean="0">
                <a:latin typeface="Arial"/>
              </a:rPr>
              <a:t>Sensorics</a:t>
            </a:r>
            <a:endParaRPr lang="en-US" sz="1300" b="0" i="0" dirty="0">
              <a:latin typeface="Arial"/>
              <a:ea typeface="+mn-ea"/>
              <a:cs typeface="+mn-cs"/>
            </a:endParaRPr>
          </a:p>
        </p:txBody>
      </p:sp>
      <p:sp>
        <p:nvSpPr>
          <p:cNvPr id="25" name="Rectangle 32"/>
          <p:cNvSpPr>
            <a:spLocks noChangeArrowheads="1"/>
          </p:cNvSpPr>
          <p:nvPr/>
        </p:nvSpPr>
        <p:spPr bwMode="auto">
          <a:xfrm>
            <a:off x="371153" y="3404617"/>
            <a:ext cx="1584000" cy="528439"/>
          </a:xfrm>
          <a:prstGeom prst="rect">
            <a:avLst/>
          </a:prstGeom>
          <a:solidFill>
            <a:schemeClr val="bg1"/>
          </a:solidFill>
          <a:ln w="6350" algn="ctr">
            <a:solidFill>
              <a:schemeClr val="bg1"/>
            </a:solidFill>
            <a:miter lim="800000"/>
            <a:headEnd/>
            <a:tailEnd/>
          </a:ln>
        </p:spPr>
        <p:txBody>
          <a:bodyPr wrap="square" lIns="36000" tIns="72000" anchor="ctr"/>
          <a:lstStyle/>
          <a:p>
            <a:pPr>
              <a:lnSpc>
                <a:spcPts val="1300"/>
              </a:lnSpc>
            </a:pPr>
            <a:r>
              <a:rPr lang="en-US" sz="1300" dirty="0" smtClean="0"/>
              <a:t>Advanced Driver Assistance Systems (ADAS)</a:t>
            </a:r>
            <a:endParaRPr lang="en-US" sz="1300" dirty="0"/>
          </a:p>
        </p:txBody>
      </p:sp>
      <p:sp>
        <p:nvSpPr>
          <p:cNvPr id="26" name="Rectangle 32"/>
          <p:cNvSpPr>
            <a:spLocks noChangeArrowheads="1"/>
          </p:cNvSpPr>
          <p:nvPr/>
        </p:nvSpPr>
        <p:spPr bwMode="auto">
          <a:xfrm>
            <a:off x="371961" y="3986054"/>
            <a:ext cx="1584000" cy="360000"/>
          </a:xfrm>
          <a:prstGeom prst="rect">
            <a:avLst/>
          </a:prstGeom>
          <a:solidFill>
            <a:schemeClr val="bg1"/>
          </a:solidFill>
          <a:ln w="6350" algn="ctr">
            <a:solidFill>
              <a:schemeClr val="bg1"/>
            </a:solidFill>
            <a:miter lim="800000"/>
            <a:headEnd/>
            <a:tailEnd/>
          </a:ln>
        </p:spPr>
        <p:txBody>
          <a:bodyPr wrap="none" lIns="36000" tIns="72000" anchor="ctr"/>
          <a:lstStyle/>
          <a:p>
            <a:pPr>
              <a:lnSpc>
                <a:spcPts val="1300"/>
              </a:lnSpc>
            </a:pPr>
            <a:r>
              <a:rPr lang="de-DE" sz="1300" dirty="0" smtClean="0"/>
              <a:t>Chassis</a:t>
            </a:r>
            <a:br>
              <a:rPr lang="de-DE" sz="1300" dirty="0" smtClean="0"/>
            </a:br>
            <a:r>
              <a:rPr lang="de-DE" sz="1300" dirty="0" smtClean="0"/>
              <a:t>Components</a:t>
            </a:r>
            <a:endParaRPr lang="de-DE" sz="1300" dirty="0"/>
          </a:p>
        </p:txBody>
      </p:sp>
      <p:sp>
        <p:nvSpPr>
          <p:cNvPr id="27" name="Rectangle 32"/>
          <p:cNvSpPr>
            <a:spLocks noChangeArrowheads="1"/>
          </p:cNvSpPr>
          <p:nvPr/>
        </p:nvSpPr>
        <p:spPr bwMode="auto">
          <a:xfrm>
            <a:off x="5480028" y="2183210"/>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de-DE" sz="1300" b="0" i="0" smtClean="0">
                <a:latin typeface="Arial"/>
                <a:ea typeface="+mn-ea"/>
                <a:cs typeface="+mn-cs"/>
              </a:rPr>
              <a:t>Pkw-Reifen</a:t>
            </a:r>
          </a:p>
          <a:p>
            <a:pPr algn="l" defTabSz="914400">
              <a:lnSpc>
                <a:spcPts val="1300"/>
              </a:lnSpc>
              <a:buNone/>
            </a:pPr>
            <a:r>
              <a:rPr lang="de-DE" sz="1300" smtClean="0">
                <a:latin typeface="Arial"/>
              </a:rPr>
              <a:t>Erstausrüstung</a:t>
            </a:r>
            <a:endParaRPr lang="de-DE" sz="1300" b="0" i="0">
              <a:latin typeface="Arial"/>
              <a:ea typeface="+mn-ea"/>
              <a:cs typeface="+mn-cs"/>
            </a:endParaRPr>
          </a:p>
        </p:txBody>
      </p:sp>
      <p:sp>
        <p:nvSpPr>
          <p:cNvPr id="28" name="Rectangle 32"/>
          <p:cNvSpPr>
            <a:spLocks noChangeArrowheads="1"/>
          </p:cNvSpPr>
          <p:nvPr/>
        </p:nvSpPr>
        <p:spPr bwMode="auto">
          <a:xfrm>
            <a:off x="5480028" y="2593977"/>
            <a:ext cx="1584000" cy="526866"/>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de-DE" sz="1300" smtClean="0"/>
              <a:t>Pkw-Reifen</a:t>
            </a:r>
          </a:p>
          <a:p>
            <a:pPr algn="l" defTabSz="914400">
              <a:lnSpc>
                <a:spcPts val="1300"/>
              </a:lnSpc>
              <a:buNone/>
            </a:pPr>
            <a:r>
              <a:rPr lang="de-DE" sz="1300" b="0" i="0" smtClean="0">
                <a:latin typeface="Arial"/>
                <a:ea typeface="+mn-ea"/>
                <a:cs typeface="+mn-cs"/>
              </a:rPr>
              <a:t>Ersatzgeschäft,</a:t>
            </a:r>
            <a:br>
              <a:rPr lang="de-DE" sz="1300" b="0" i="0" smtClean="0">
                <a:latin typeface="Arial"/>
                <a:ea typeface="+mn-ea"/>
                <a:cs typeface="+mn-cs"/>
              </a:rPr>
            </a:br>
            <a:r>
              <a:rPr lang="de-DE" sz="1300" b="0" i="0" smtClean="0">
                <a:latin typeface="Arial"/>
                <a:ea typeface="+mn-ea"/>
                <a:cs typeface="+mn-cs"/>
              </a:rPr>
              <a:t>EMEA</a:t>
            </a:r>
            <a:endParaRPr lang="de-DE" sz="1300" b="0" i="0">
              <a:latin typeface="Arial"/>
              <a:ea typeface="+mn-ea"/>
              <a:cs typeface="+mn-cs"/>
            </a:endParaRPr>
          </a:p>
        </p:txBody>
      </p:sp>
      <p:sp>
        <p:nvSpPr>
          <p:cNvPr id="29" name="Rectangle 32"/>
          <p:cNvSpPr>
            <a:spLocks noChangeArrowheads="1"/>
          </p:cNvSpPr>
          <p:nvPr/>
        </p:nvSpPr>
        <p:spPr bwMode="auto">
          <a:xfrm>
            <a:off x="5480028" y="3167971"/>
            <a:ext cx="1584000" cy="526866"/>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de-DE" sz="1300" smtClean="0"/>
              <a:t>Pkw-Reifen</a:t>
            </a:r>
          </a:p>
          <a:p>
            <a:pPr>
              <a:lnSpc>
                <a:spcPts val="1300"/>
              </a:lnSpc>
            </a:pPr>
            <a:r>
              <a:rPr lang="de-DE" sz="1300" smtClean="0"/>
              <a:t>Ersatzgeschäft,</a:t>
            </a:r>
          </a:p>
          <a:p>
            <a:pPr algn="l" defTabSz="914400">
              <a:lnSpc>
                <a:spcPts val="1300"/>
              </a:lnSpc>
              <a:buNone/>
            </a:pPr>
            <a:r>
              <a:rPr lang="de-DE" sz="1300" b="0" i="0" smtClean="0">
                <a:latin typeface="Arial"/>
                <a:ea typeface="+mn-ea"/>
                <a:cs typeface="+mn-cs"/>
              </a:rPr>
              <a:t>The Americas</a:t>
            </a:r>
            <a:endParaRPr lang="de-DE" sz="1300" b="0" i="0">
              <a:latin typeface="Arial"/>
              <a:ea typeface="+mn-ea"/>
              <a:cs typeface="+mn-cs"/>
            </a:endParaRPr>
          </a:p>
        </p:txBody>
      </p:sp>
      <p:sp>
        <p:nvSpPr>
          <p:cNvPr id="30" name="Rectangle 32"/>
          <p:cNvSpPr>
            <a:spLocks noChangeArrowheads="1"/>
          </p:cNvSpPr>
          <p:nvPr/>
        </p:nvSpPr>
        <p:spPr bwMode="auto">
          <a:xfrm>
            <a:off x="5480028" y="3741738"/>
            <a:ext cx="1584000" cy="526866"/>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1300"/>
              </a:lnSpc>
            </a:pPr>
            <a:r>
              <a:rPr lang="de-DE" sz="1300" smtClean="0"/>
              <a:t>Pkw-Reifen</a:t>
            </a:r>
          </a:p>
          <a:p>
            <a:pPr>
              <a:lnSpc>
                <a:spcPts val="1300"/>
              </a:lnSpc>
            </a:pPr>
            <a:r>
              <a:rPr lang="de-DE" sz="1300" smtClean="0"/>
              <a:t>Ersatzgeschäft,</a:t>
            </a:r>
            <a:br>
              <a:rPr lang="de-DE" sz="1300" smtClean="0"/>
            </a:br>
            <a:r>
              <a:rPr lang="de-DE" sz="1300" smtClean="0"/>
              <a:t>Asia Pacific</a:t>
            </a:r>
            <a:endParaRPr lang="de-DE" sz="1300"/>
          </a:p>
        </p:txBody>
      </p:sp>
      <p:sp>
        <p:nvSpPr>
          <p:cNvPr id="31" name="Rectangle 32"/>
          <p:cNvSpPr>
            <a:spLocks noChangeArrowheads="1"/>
          </p:cNvSpPr>
          <p:nvPr/>
        </p:nvSpPr>
        <p:spPr bwMode="auto">
          <a:xfrm>
            <a:off x="5480028" y="4319597"/>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de-DE" sz="1300" b="0" i="0" smtClean="0">
                <a:latin typeface="Arial"/>
                <a:ea typeface="+mn-ea"/>
                <a:cs typeface="+mn-cs"/>
              </a:rPr>
              <a:t>Nutzfahrzeugreifen</a:t>
            </a:r>
            <a:endParaRPr lang="de-DE" sz="1300" b="0" i="0">
              <a:latin typeface="Arial"/>
              <a:ea typeface="+mn-ea"/>
              <a:cs typeface="+mn-cs"/>
            </a:endParaRPr>
          </a:p>
        </p:txBody>
      </p:sp>
      <p:sp>
        <p:nvSpPr>
          <p:cNvPr id="32" name="Rectangle 32"/>
          <p:cNvSpPr>
            <a:spLocks noChangeArrowheads="1"/>
          </p:cNvSpPr>
          <p:nvPr/>
        </p:nvSpPr>
        <p:spPr bwMode="auto">
          <a:xfrm>
            <a:off x="5480028" y="4728636"/>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de-DE" sz="1300" b="0" i="0" smtClean="0">
                <a:latin typeface="Arial"/>
                <a:ea typeface="+mn-ea"/>
                <a:cs typeface="+mn-cs"/>
              </a:rPr>
              <a:t>Zweiradreifen</a:t>
            </a:r>
            <a:endParaRPr lang="de-DE" sz="1300" b="0" i="0">
              <a:latin typeface="Arial"/>
              <a:ea typeface="+mn-ea"/>
              <a:cs typeface="+mn-cs"/>
            </a:endParaRPr>
          </a:p>
        </p:txBody>
      </p:sp>
      <p:sp>
        <p:nvSpPr>
          <p:cNvPr id="33" name="Rectangle 32"/>
          <p:cNvSpPr>
            <a:spLocks noChangeArrowheads="1"/>
          </p:cNvSpPr>
          <p:nvPr/>
        </p:nvSpPr>
        <p:spPr bwMode="auto">
          <a:xfrm>
            <a:off x="7148790" y="2174584"/>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dirty="0" smtClean="0">
                <a:latin typeface="Arial"/>
                <a:ea typeface="+mn-ea"/>
                <a:cs typeface="+mn-cs"/>
              </a:rPr>
              <a:t>Air Spring Systems</a:t>
            </a:r>
            <a:endParaRPr lang="en-US" sz="1300" b="0" i="0" dirty="0">
              <a:latin typeface="Arial"/>
              <a:ea typeface="+mn-ea"/>
              <a:cs typeface="+mn-cs"/>
            </a:endParaRPr>
          </a:p>
        </p:txBody>
      </p:sp>
      <p:sp>
        <p:nvSpPr>
          <p:cNvPr id="34" name="Rectangle 32"/>
          <p:cNvSpPr>
            <a:spLocks noChangeArrowheads="1"/>
          </p:cNvSpPr>
          <p:nvPr/>
        </p:nvSpPr>
        <p:spPr bwMode="auto">
          <a:xfrm>
            <a:off x="7148790" y="2583822"/>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dirty="0" err="1" smtClean="0">
                <a:latin typeface="Arial"/>
                <a:ea typeface="+mn-ea"/>
                <a:cs typeface="+mn-cs"/>
              </a:rPr>
              <a:t>Benecke-Kaliko</a:t>
            </a:r>
            <a:r>
              <a:rPr lang="en-US" sz="1300" b="0" i="0" dirty="0" smtClean="0">
                <a:latin typeface="Arial"/>
                <a:ea typeface="+mn-ea"/>
                <a:cs typeface="+mn-cs"/>
              </a:rPr>
              <a:t/>
            </a:r>
            <a:br>
              <a:rPr lang="en-US" sz="1300" b="0" i="0" dirty="0" smtClean="0">
                <a:latin typeface="Arial"/>
                <a:ea typeface="+mn-ea"/>
                <a:cs typeface="+mn-cs"/>
              </a:rPr>
            </a:br>
            <a:r>
              <a:rPr lang="en-US" sz="1300" b="0" i="0" dirty="0" smtClean="0">
                <a:latin typeface="Arial"/>
                <a:ea typeface="+mn-ea"/>
                <a:cs typeface="+mn-cs"/>
              </a:rPr>
              <a:t>Group</a:t>
            </a:r>
            <a:endParaRPr lang="en-US" sz="1300" b="0" i="0" dirty="0">
              <a:latin typeface="Arial"/>
              <a:ea typeface="+mn-ea"/>
              <a:cs typeface="+mn-cs"/>
            </a:endParaRPr>
          </a:p>
        </p:txBody>
      </p:sp>
      <p:sp>
        <p:nvSpPr>
          <p:cNvPr id="35" name="Rectangle 32"/>
          <p:cNvSpPr>
            <a:spLocks noChangeArrowheads="1"/>
          </p:cNvSpPr>
          <p:nvPr/>
        </p:nvSpPr>
        <p:spPr bwMode="auto">
          <a:xfrm>
            <a:off x="7148790" y="2993060"/>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smtClean="0">
                <a:latin typeface="Arial"/>
                <a:ea typeface="+mn-ea"/>
                <a:cs typeface="+mn-cs"/>
              </a:rPr>
              <a:t>Conveyor Belt </a:t>
            </a:r>
            <a:br>
              <a:rPr lang="en-US" sz="1300" b="0" i="0" smtClean="0">
                <a:latin typeface="Arial"/>
                <a:ea typeface="+mn-ea"/>
                <a:cs typeface="+mn-cs"/>
              </a:rPr>
            </a:br>
            <a:r>
              <a:rPr lang="en-US" sz="1300" b="0" i="0" smtClean="0">
                <a:latin typeface="Arial"/>
                <a:ea typeface="+mn-ea"/>
                <a:cs typeface="+mn-cs"/>
              </a:rPr>
              <a:t>Group</a:t>
            </a:r>
            <a:endParaRPr lang="en-US" sz="1300" b="0" i="0">
              <a:latin typeface="Arial"/>
              <a:ea typeface="+mn-ea"/>
              <a:cs typeface="+mn-cs"/>
            </a:endParaRPr>
          </a:p>
        </p:txBody>
      </p:sp>
      <p:sp>
        <p:nvSpPr>
          <p:cNvPr id="36" name="Rectangle 32"/>
          <p:cNvSpPr>
            <a:spLocks noChangeArrowheads="1"/>
          </p:cNvSpPr>
          <p:nvPr/>
        </p:nvSpPr>
        <p:spPr bwMode="auto">
          <a:xfrm>
            <a:off x="7148790" y="3402298"/>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smtClean="0">
                <a:latin typeface="Arial"/>
                <a:ea typeface="+mn-ea"/>
                <a:cs typeface="+mn-cs"/>
              </a:rPr>
              <a:t>Elastomer Coatings</a:t>
            </a:r>
            <a:endParaRPr lang="en-US" sz="1300" b="0" i="0">
              <a:latin typeface="Arial"/>
              <a:ea typeface="+mn-ea"/>
              <a:cs typeface="+mn-cs"/>
            </a:endParaRPr>
          </a:p>
        </p:txBody>
      </p:sp>
      <p:sp>
        <p:nvSpPr>
          <p:cNvPr id="37" name="Rectangle 32"/>
          <p:cNvSpPr>
            <a:spLocks noChangeArrowheads="1"/>
          </p:cNvSpPr>
          <p:nvPr/>
        </p:nvSpPr>
        <p:spPr bwMode="auto">
          <a:xfrm>
            <a:off x="7148790" y="3811536"/>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smtClean="0">
                <a:latin typeface="Arial"/>
                <a:ea typeface="+mn-ea"/>
                <a:cs typeface="+mn-cs"/>
              </a:rPr>
              <a:t>Fluid Technology</a:t>
            </a:r>
            <a:endParaRPr lang="en-US" sz="1300" b="0" i="0">
              <a:latin typeface="Arial"/>
              <a:ea typeface="+mn-ea"/>
              <a:cs typeface="+mn-cs"/>
            </a:endParaRPr>
          </a:p>
        </p:txBody>
      </p:sp>
      <p:sp>
        <p:nvSpPr>
          <p:cNvPr id="38" name="Rectangle 32"/>
          <p:cNvSpPr>
            <a:spLocks noChangeArrowheads="1"/>
          </p:cNvSpPr>
          <p:nvPr/>
        </p:nvSpPr>
        <p:spPr bwMode="auto">
          <a:xfrm>
            <a:off x="7148790" y="4220774"/>
            <a:ext cx="1584000" cy="360000"/>
          </a:xfrm>
          <a:prstGeom prst="rect">
            <a:avLst/>
          </a:prstGeom>
          <a:solidFill>
            <a:schemeClr val="bg1"/>
          </a:solidFill>
          <a:ln w="6350" algn="ctr">
            <a:solidFill>
              <a:schemeClr val="bg1"/>
            </a:solidFill>
            <a:miter lim="800000"/>
            <a:headEnd/>
            <a:tailEnd/>
          </a:ln>
        </p:spPr>
        <p:txBody>
          <a:bodyPr wrap="none" lIns="18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smtClean="0">
                <a:latin typeface="Arial"/>
                <a:ea typeface="+mn-ea"/>
                <a:cs typeface="+mn-cs"/>
              </a:rPr>
              <a:t>Power Transmission</a:t>
            </a:r>
            <a:br>
              <a:rPr lang="en-US" sz="1300" b="0" i="0" smtClean="0">
                <a:latin typeface="Arial"/>
                <a:ea typeface="+mn-ea"/>
                <a:cs typeface="+mn-cs"/>
              </a:rPr>
            </a:br>
            <a:r>
              <a:rPr lang="en-US" sz="1300" b="0" i="0" smtClean="0">
                <a:latin typeface="Arial"/>
                <a:ea typeface="+mn-ea"/>
                <a:cs typeface="+mn-cs"/>
              </a:rPr>
              <a:t>Group</a:t>
            </a:r>
            <a:endParaRPr lang="en-US" sz="1300" b="0" i="0">
              <a:latin typeface="Arial"/>
              <a:ea typeface="+mn-ea"/>
              <a:cs typeface="+mn-cs"/>
            </a:endParaRPr>
          </a:p>
        </p:txBody>
      </p:sp>
      <p:sp>
        <p:nvSpPr>
          <p:cNvPr id="39" name="Rectangle 32"/>
          <p:cNvSpPr>
            <a:spLocks noChangeArrowheads="1"/>
          </p:cNvSpPr>
          <p:nvPr/>
        </p:nvSpPr>
        <p:spPr bwMode="auto">
          <a:xfrm>
            <a:off x="7148790" y="4630012"/>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smtClean="0">
                <a:latin typeface="Arial"/>
                <a:ea typeface="+mn-ea"/>
                <a:cs typeface="+mn-cs"/>
              </a:rPr>
              <a:t>Vibration Control</a:t>
            </a:r>
            <a:endParaRPr lang="en-US" sz="1300" b="0" i="0">
              <a:latin typeface="Arial"/>
              <a:ea typeface="+mn-ea"/>
              <a:cs typeface="+mn-cs"/>
            </a:endParaRPr>
          </a:p>
        </p:txBody>
      </p:sp>
      <p:sp>
        <p:nvSpPr>
          <p:cNvPr id="40" name="Rectangle 32"/>
          <p:cNvSpPr>
            <a:spLocks noChangeArrowheads="1"/>
          </p:cNvSpPr>
          <p:nvPr/>
        </p:nvSpPr>
        <p:spPr bwMode="auto">
          <a:xfrm>
            <a:off x="7148790" y="5039249"/>
            <a:ext cx="1584000" cy="360000"/>
          </a:xfrm>
          <a:prstGeom prst="rect">
            <a:avLst/>
          </a:prstGeom>
          <a:solidFill>
            <a:schemeClr val="bg1"/>
          </a:solidFill>
          <a:ln w="6350" algn="ctr">
            <a:solidFill>
              <a:schemeClr val="bg1"/>
            </a:solidFill>
            <a:miter lim="800000"/>
            <a:headEnd/>
            <a:tailEnd/>
          </a:ln>
        </p:spPr>
        <p:txBody>
          <a:bodyPr wrap="none" lIns="36000" tIns="72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smtClean="0">
                <a:latin typeface="Arial"/>
                <a:ea typeface="+mn-ea"/>
                <a:cs typeface="+mn-cs"/>
              </a:rPr>
              <a:t>Other Operations</a:t>
            </a:r>
            <a:endParaRPr lang="en-US" sz="1300" b="0" i="0">
              <a:latin typeface="Arial"/>
              <a:ea typeface="+mn-ea"/>
              <a:cs typeface="+mn-cs"/>
            </a:endParaRPr>
          </a:p>
        </p:txBody>
      </p:sp>
      <p:sp>
        <p:nvSpPr>
          <p:cNvPr id="41" name="Rectangle 57"/>
          <p:cNvSpPr>
            <a:spLocks noChangeArrowheads="1"/>
          </p:cNvSpPr>
          <p:nvPr>
            <p:custDataLst>
              <p:tags r:id="rId4"/>
            </p:custDataLst>
          </p:nvPr>
        </p:nvSpPr>
        <p:spPr bwMode="auto">
          <a:xfrm>
            <a:off x="2035262" y="1412776"/>
            <a:ext cx="1620000" cy="6556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0" tIns="0" rIns="0" bIns="0" anchor="ctr" anchorCtr="1"/>
          <a:lstStyle/>
          <a:p>
            <a:pPr defTabSz="873125"/>
            <a:r>
              <a:rPr lang="en-US" sz="1300" b="1"/>
              <a:t>Powertrain</a:t>
            </a:r>
          </a:p>
        </p:txBody>
      </p:sp>
      <p:sp>
        <p:nvSpPr>
          <p:cNvPr id="42" name="Rectangle 56"/>
          <p:cNvSpPr>
            <a:spLocks noChangeArrowheads="1"/>
          </p:cNvSpPr>
          <p:nvPr>
            <p:custDataLst>
              <p:tags r:id="rId5"/>
            </p:custDataLst>
          </p:nvPr>
        </p:nvSpPr>
        <p:spPr bwMode="auto">
          <a:xfrm>
            <a:off x="3727075" y="1412776"/>
            <a:ext cx="1620000" cy="6556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0" tIns="0" rIns="0" bIns="0" anchor="ctr" anchorCtr="1"/>
          <a:lstStyle/>
          <a:p>
            <a:pPr defTabSz="873125"/>
            <a:r>
              <a:rPr lang="en-US" sz="1300" b="1" dirty="0" smtClean="0"/>
              <a:t>Interior</a:t>
            </a:r>
            <a:endParaRPr lang="en-US" sz="1200" b="1" dirty="0"/>
          </a:p>
        </p:txBody>
      </p:sp>
      <p:sp>
        <p:nvSpPr>
          <p:cNvPr id="43" name="Rectangle 58"/>
          <p:cNvSpPr>
            <a:spLocks noChangeArrowheads="1"/>
          </p:cNvSpPr>
          <p:nvPr>
            <p:custDataLst>
              <p:tags r:id="rId6"/>
            </p:custDataLst>
          </p:nvPr>
        </p:nvSpPr>
        <p:spPr bwMode="auto">
          <a:xfrm>
            <a:off x="359712" y="1412776"/>
            <a:ext cx="1620000" cy="652462"/>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0" tIns="0" rIns="0" bIns="0" anchor="ctr" anchorCtr="1"/>
          <a:lstStyle/>
          <a:p>
            <a:pPr defTabSz="873125"/>
            <a:r>
              <a:rPr lang="en-US" sz="1300" b="1" dirty="0" smtClean="0"/>
              <a:t>Chassis &amp; Safety</a:t>
            </a:r>
            <a:endParaRPr lang="en-US" sz="1200" b="1" dirty="0" smtClean="0"/>
          </a:p>
        </p:txBody>
      </p:sp>
      <p:sp>
        <p:nvSpPr>
          <p:cNvPr id="44" name="Rectangle 53"/>
          <p:cNvSpPr>
            <a:spLocks noChangeArrowheads="1"/>
          </p:cNvSpPr>
          <p:nvPr>
            <p:custDataLst>
              <p:tags r:id="rId7"/>
            </p:custDataLst>
          </p:nvPr>
        </p:nvSpPr>
        <p:spPr bwMode="auto">
          <a:xfrm>
            <a:off x="5480028" y="1412776"/>
            <a:ext cx="1620000" cy="652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0" tIns="0" rIns="0" bIns="0" anchor="ctr" anchorCtr="1"/>
          <a:lstStyle/>
          <a:p>
            <a:pPr defTabSz="873125">
              <a:spcBef>
                <a:spcPct val="50000"/>
              </a:spcBef>
            </a:pPr>
            <a:r>
              <a:rPr lang="de-DE" sz="1300" b="1" smtClean="0"/>
              <a:t>Reifen</a:t>
            </a:r>
            <a:endParaRPr lang="de-DE" sz="1300" b="1"/>
          </a:p>
        </p:txBody>
      </p:sp>
      <p:sp>
        <p:nvSpPr>
          <p:cNvPr id="45" name="Rectangle 54"/>
          <p:cNvSpPr>
            <a:spLocks noChangeArrowheads="1"/>
          </p:cNvSpPr>
          <p:nvPr>
            <p:custDataLst>
              <p:tags r:id="rId8"/>
            </p:custDataLst>
          </p:nvPr>
        </p:nvSpPr>
        <p:spPr bwMode="auto">
          <a:xfrm>
            <a:off x="7148790" y="1412776"/>
            <a:ext cx="1620000" cy="652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0" tIns="0" rIns="0" bIns="0" anchor="ctr" anchorCtr="1"/>
          <a:lstStyle/>
          <a:p>
            <a:pPr algn="ctr" defTabSz="873125">
              <a:spcBef>
                <a:spcPct val="50000"/>
              </a:spcBef>
            </a:pPr>
            <a:r>
              <a:rPr lang="en-US" sz="1300" b="1" dirty="0" smtClean="0"/>
              <a:t>ContiTech</a:t>
            </a:r>
            <a:endParaRPr lang="en-US" sz="1300" b="1" dirty="0"/>
          </a:p>
        </p:txBody>
      </p:sp>
      <p:sp>
        <p:nvSpPr>
          <p:cNvPr id="46" name="Rectangle 32"/>
          <p:cNvSpPr>
            <a:spLocks noChangeArrowheads="1"/>
          </p:cNvSpPr>
          <p:nvPr/>
        </p:nvSpPr>
        <p:spPr bwMode="auto">
          <a:xfrm>
            <a:off x="3727075" y="3402297"/>
            <a:ext cx="1584000" cy="360000"/>
          </a:xfrm>
          <a:prstGeom prst="rect">
            <a:avLst/>
          </a:prstGeom>
          <a:solidFill>
            <a:schemeClr val="bg1"/>
          </a:solidFill>
          <a:ln w="6350" algn="ctr">
            <a:solidFill>
              <a:schemeClr val="bg1"/>
            </a:solidFill>
            <a:miter lim="800000"/>
            <a:headEnd/>
            <a:tailEnd/>
          </a:ln>
        </p:spPr>
        <p:txBody>
          <a:bodyPr wrap="none" lIns="36000" tIns="72000" rIns="3600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defTabSz="914400">
              <a:lnSpc>
                <a:spcPts val="1300"/>
              </a:lnSpc>
              <a:buNone/>
            </a:pPr>
            <a:r>
              <a:rPr lang="en-US" sz="1300" b="0" i="0" dirty="0" smtClean="0">
                <a:latin typeface="Arial"/>
                <a:ea typeface="+mn-ea"/>
                <a:cs typeface="+mn-cs"/>
              </a:rPr>
              <a:t>Commercial Vehicles</a:t>
            </a:r>
            <a:br>
              <a:rPr lang="en-US" sz="1300" b="0" i="0" dirty="0" smtClean="0">
                <a:latin typeface="Arial"/>
                <a:ea typeface="+mn-ea"/>
                <a:cs typeface="+mn-cs"/>
              </a:rPr>
            </a:br>
            <a:r>
              <a:rPr lang="en-US" sz="1300" b="0" i="0" dirty="0" smtClean="0">
                <a:latin typeface="Arial"/>
                <a:ea typeface="+mn-ea"/>
                <a:cs typeface="+mn-cs"/>
              </a:rPr>
              <a:t>&amp; Aftermarket</a:t>
            </a:r>
            <a:endParaRPr lang="en-US" sz="1300" b="0" i="0" dirty="0">
              <a:latin typeface="Arial"/>
              <a:ea typeface="+mn-ea"/>
              <a:cs typeface="+mn-cs"/>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p:txBody>
          <a:bodyPr/>
          <a:lstStyle/>
          <a:p>
            <a:r>
              <a:rPr lang="de-DE" dirty="0" smtClean="0"/>
              <a:t>Continental-Konzern</a:t>
            </a:r>
            <a:br>
              <a:rPr lang="de-DE" dirty="0" smtClean="0"/>
            </a:br>
            <a:r>
              <a:rPr lang="de-DE" dirty="0" smtClean="0">
                <a:solidFill>
                  <a:schemeClr val="accent5"/>
                </a:solidFill>
              </a:rPr>
              <a:t>269 Standorte für Produktion und F&amp;E in 46 Ländern</a:t>
            </a:r>
          </a:p>
        </p:txBody>
      </p:sp>
      <p:sp>
        <p:nvSpPr>
          <p:cNvPr id="7173" name="Text Box 5"/>
          <p:cNvSpPr txBox="1">
            <a:spLocks noChangeArrowheads="1"/>
          </p:cNvSpPr>
          <p:nvPr/>
        </p:nvSpPr>
        <p:spPr bwMode="auto">
          <a:xfrm>
            <a:off x="4355977" y="5623744"/>
            <a:ext cx="4464174" cy="276999"/>
          </a:xfrm>
          <a:prstGeom prst="rect">
            <a:avLst/>
          </a:prstGeom>
          <a:noFill/>
          <a:ln w="9525" algn="ctr">
            <a:noFill/>
            <a:miter lim="800000"/>
            <a:headEnd/>
            <a:tailEnd/>
          </a:ln>
        </p:spPr>
        <p:txBody>
          <a:bodyPr wrap="square" lIns="0" tIns="0" rIns="0" bIns="0">
            <a:spAutoFit/>
          </a:bodyPr>
          <a:lstStyle/>
          <a:p>
            <a:pPr marL="253243" indent="-253243" algn="r" defTabSz="873827">
              <a:buClr>
                <a:srgbClr val="E19900"/>
              </a:buClr>
            </a:pPr>
            <a:r>
              <a:rPr lang="de-DE" sz="900" dirty="0" smtClean="0">
                <a:solidFill>
                  <a:srgbClr val="000000"/>
                </a:solidFill>
              </a:rPr>
              <a:t/>
            </a:r>
            <a:br>
              <a:rPr lang="de-DE" sz="900" dirty="0" smtClean="0">
                <a:solidFill>
                  <a:srgbClr val="000000"/>
                </a:solidFill>
              </a:rPr>
            </a:br>
            <a:r>
              <a:rPr lang="de-DE" sz="900" dirty="0" smtClean="0">
                <a:solidFill>
                  <a:srgbClr val="000000"/>
                </a:solidFill>
              </a:rPr>
              <a:t>Stand: </a:t>
            </a:r>
            <a:r>
              <a:rPr lang="de-DE" sz="900" dirty="0" smtClean="0"/>
              <a:t>Januar</a:t>
            </a:r>
            <a:r>
              <a:rPr lang="de-DE" sz="900" dirty="0" smtClean="0">
                <a:solidFill>
                  <a:srgbClr val="000000"/>
                </a:solidFill>
              </a:rPr>
              <a:t> 2012</a:t>
            </a:r>
            <a:endParaRPr lang="de-DE" sz="900" dirty="0">
              <a:solidFill>
                <a:srgbClr val="000000"/>
              </a:solidFill>
            </a:endParaRPr>
          </a:p>
        </p:txBody>
      </p:sp>
      <p:grpSp>
        <p:nvGrpSpPr>
          <p:cNvPr id="2" name="Gruppieren 226"/>
          <p:cNvGrpSpPr/>
          <p:nvPr/>
        </p:nvGrpSpPr>
        <p:grpSpPr>
          <a:xfrm>
            <a:off x="234669" y="1052513"/>
            <a:ext cx="8674662" cy="4680743"/>
            <a:chOff x="268277" y="829183"/>
            <a:chExt cx="8604965" cy="4680743"/>
          </a:xfrm>
        </p:grpSpPr>
        <p:grpSp>
          <p:nvGrpSpPr>
            <p:cNvPr id="3" name="Gruppieren 651"/>
            <p:cNvGrpSpPr/>
            <p:nvPr/>
          </p:nvGrpSpPr>
          <p:grpSpPr>
            <a:xfrm>
              <a:off x="797446" y="1831448"/>
              <a:ext cx="7378994" cy="3678478"/>
              <a:chOff x="797446" y="2207364"/>
              <a:chExt cx="7378994" cy="3678478"/>
            </a:xfrm>
            <a:solidFill>
              <a:schemeClr val="bg1">
                <a:lumMod val="75000"/>
              </a:schemeClr>
            </a:solidFill>
            <a:effectLst>
              <a:outerShdw blurRad="50800" dist="38100" dir="2700000" algn="tl" rotWithShape="0">
                <a:prstClr val="black">
                  <a:alpha val="40000"/>
                </a:prstClr>
              </a:outerShdw>
            </a:effectLst>
          </p:grpSpPr>
          <p:grpSp>
            <p:nvGrpSpPr>
              <p:cNvPr id="4" name="Gruppieren 401"/>
              <p:cNvGrpSpPr/>
              <p:nvPr/>
            </p:nvGrpSpPr>
            <p:grpSpPr>
              <a:xfrm>
                <a:off x="797448" y="2207362"/>
                <a:ext cx="7378994" cy="3678477"/>
                <a:chOff x="103194" y="1500172"/>
                <a:chExt cx="8755080" cy="4359290"/>
              </a:xfrm>
              <a:grpFill/>
            </p:grpSpPr>
            <p:grpSp>
              <p:nvGrpSpPr>
                <p:cNvPr id="5" name="Group 2"/>
                <p:cNvGrpSpPr>
                  <a:grpSpLocks/>
                </p:cNvGrpSpPr>
                <p:nvPr/>
              </p:nvGrpSpPr>
              <p:grpSpPr bwMode="auto">
                <a:xfrm>
                  <a:off x="103194" y="1500172"/>
                  <a:ext cx="8755080" cy="4359290"/>
                  <a:chOff x="65" y="702"/>
                  <a:chExt cx="5628" cy="2746"/>
                </a:xfrm>
                <a:grpFill/>
              </p:grpSpPr>
              <p:sp>
                <p:nvSpPr>
                  <p:cNvPr id="281" name="Zimbabwe"/>
                  <p:cNvSpPr>
                    <a:spLocks/>
                  </p:cNvSpPr>
                  <p:nvPr/>
                </p:nvSpPr>
                <p:spPr bwMode="gray">
                  <a:xfrm>
                    <a:off x="3108" y="2632"/>
                    <a:ext cx="141" cy="141"/>
                  </a:xfrm>
                  <a:custGeom>
                    <a:avLst/>
                    <a:gdLst>
                      <a:gd name="T0" fmla="*/ 2147483647 w 552"/>
                      <a:gd name="T1" fmla="*/ 2147483647 h 552"/>
                      <a:gd name="T2" fmla="*/ 2147483647 w 552"/>
                      <a:gd name="T3" fmla="*/ 2147483647 h 552"/>
                      <a:gd name="T4" fmla="*/ 2147483647 w 552"/>
                      <a:gd name="T5" fmla="*/ 2147483647 h 552"/>
                      <a:gd name="T6" fmla="*/ 2147483647 w 552"/>
                      <a:gd name="T7" fmla="*/ 2147483647 h 552"/>
                      <a:gd name="T8" fmla="*/ 2147483647 w 552"/>
                      <a:gd name="T9" fmla="*/ 2147483647 h 552"/>
                      <a:gd name="T10" fmla="*/ 2147483647 w 552"/>
                      <a:gd name="T11" fmla="*/ 2147483647 h 552"/>
                      <a:gd name="T12" fmla="*/ 2147483647 w 552"/>
                      <a:gd name="T13" fmla="*/ 2147483647 h 552"/>
                      <a:gd name="T14" fmla="*/ 2147483647 w 552"/>
                      <a:gd name="T15" fmla="*/ 2147483647 h 552"/>
                      <a:gd name="T16" fmla="*/ 2147483647 w 552"/>
                      <a:gd name="T17" fmla="*/ 2147483647 h 552"/>
                      <a:gd name="T18" fmla="*/ 2147483647 w 552"/>
                      <a:gd name="T19" fmla="*/ 2147483647 h 552"/>
                      <a:gd name="T20" fmla="*/ 2147483647 w 552"/>
                      <a:gd name="T21" fmla="*/ 2147483647 h 552"/>
                      <a:gd name="T22" fmla="*/ 2147483647 w 552"/>
                      <a:gd name="T23" fmla="*/ 2147483647 h 552"/>
                      <a:gd name="T24" fmla="*/ 2147483647 w 552"/>
                      <a:gd name="T25" fmla="*/ 2147483647 h 552"/>
                      <a:gd name="T26" fmla="*/ 2147483647 w 552"/>
                      <a:gd name="T27" fmla="*/ 2147483647 h 552"/>
                      <a:gd name="T28" fmla="*/ 2147483647 w 552"/>
                      <a:gd name="T29" fmla="*/ 2147483647 h 552"/>
                      <a:gd name="T30" fmla="*/ 2147483647 w 552"/>
                      <a:gd name="T31" fmla="*/ 2147483647 h 552"/>
                      <a:gd name="T32" fmla="*/ 2147483647 w 552"/>
                      <a:gd name="T33" fmla="*/ 2147483647 h 552"/>
                      <a:gd name="T34" fmla="*/ 2147483647 w 552"/>
                      <a:gd name="T35" fmla="*/ 2147483647 h 552"/>
                      <a:gd name="T36" fmla="*/ 2147483647 w 552"/>
                      <a:gd name="T37" fmla="*/ 2147483647 h 552"/>
                      <a:gd name="T38" fmla="*/ 2147483647 w 552"/>
                      <a:gd name="T39" fmla="*/ 2147483647 h 552"/>
                      <a:gd name="T40" fmla="*/ 2147483647 w 552"/>
                      <a:gd name="T41" fmla="*/ 2147483647 h 552"/>
                      <a:gd name="T42" fmla="*/ 2147483647 w 552"/>
                      <a:gd name="T43" fmla="*/ 2147483647 h 552"/>
                      <a:gd name="T44" fmla="*/ 2147483647 w 552"/>
                      <a:gd name="T45" fmla="*/ 2147483647 h 552"/>
                      <a:gd name="T46" fmla="*/ 2147483647 w 552"/>
                      <a:gd name="T47" fmla="*/ 2147483647 h 552"/>
                      <a:gd name="T48" fmla="*/ 2147483647 w 552"/>
                      <a:gd name="T49" fmla="*/ 2147483647 h 552"/>
                      <a:gd name="T50" fmla="*/ 2147483647 w 552"/>
                      <a:gd name="T51" fmla="*/ 2147483647 h 552"/>
                      <a:gd name="T52" fmla="*/ 2147483647 w 552"/>
                      <a:gd name="T53" fmla="*/ 2147483647 h 552"/>
                      <a:gd name="T54" fmla="*/ 2147483647 w 552"/>
                      <a:gd name="T55" fmla="*/ 2147483647 h 552"/>
                      <a:gd name="T56" fmla="*/ 2147483647 w 552"/>
                      <a:gd name="T57" fmla="*/ 2147483647 h 552"/>
                      <a:gd name="T58" fmla="*/ 2147483647 w 552"/>
                      <a:gd name="T59" fmla="*/ 2147483647 h 552"/>
                      <a:gd name="T60" fmla="*/ 2147483647 w 552"/>
                      <a:gd name="T61" fmla="*/ 2147483647 h 552"/>
                      <a:gd name="T62" fmla="*/ 2147483647 w 552"/>
                      <a:gd name="T63" fmla="*/ 2147483647 h 552"/>
                      <a:gd name="T64" fmla="*/ 2147483647 w 552"/>
                      <a:gd name="T65" fmla="*/ 2147483647 h 552"/>
                      <a:gd name="T66" fmla="*/ 2147483647 w 552"/>
                      <a:gd name="T67" fmla="*/ 2147483647 h 552"/>
                      <a:gd name="T68" fmla="*/ 2147483647 w 552"/>
                      <a:gd name="T69" fmla="*/ 2147483647 h 552"/>
                      <a:gd name="T70" fmla="*/ 2147483647 w 552"/>
                      <a:gd name="T71" fmla="*/ 2147483647 h 552"/>
                      <a:gd name="T72" fmla="*/ 2147483647 w 552"/>
                      <a:gd name="T73" fmla="*/ 2147483647 h 552"/>
                      <a:gd name="T74" fmla="*/ 2147483647 w 552"/>
                      <a:gd name="T75" fmla="*/ 0 h 552"/>
                      <a:gd name="T76" fmla="*/ 2147483647 w 552"/>
                      <a:gd name="T77" fmla="*/ 2147483647 h 552"/>
                      <a:gd name="T78" fmla="*/ 2147483647 w 552"/>
                      <a:gd name="T79" fmla="*/ 2147483647 h 552"/>
                      <a:gd name="T80" fmla="*/ 2147483647 w 552"/>
                      <a:gd name="T81" fmla="*/ 2147483647 h 552"/>
                      <a:gd name="T82" fmla="*/ 2147483647 w 552"/>
                      <a:gd name="T83" fmla="*/ 2147483647 h 552"/>
                      <a:gd name="T84" fmla="*/ 2147483647 w 552"/>
                      <a:gd name="T85" fmla="*/ 2147483647 h 552"/>
                      <a:gd name="T86" fmla="*/ 2147483647 w 552"/>
                      <a:gd name="T87" fmla="*/ 2147483647 h 552"/>
                      <a:gd name="T88" fmla="*/ 2147483647 w 552"/>
                      <a:gd name="T89" fmla="*/ 2147483647 h 552"/>
                      <a:gd name="T90" fmla="*/ 2147483647 w 552"/>
                      <a:gd name="T91" fmla="*/ 2147483647 h 552"/>
                      <a:gd name="T92" fmla="*/ 2147483647 w 552"/>
                      <a:gd name="T93" fmla="*/ 2147483647 h 552"/>
                      <a:gd name="T94" fmla="*/ 2147483647 w 552"/>
                      <a:gd name="T95" fmla="*/ 2147483647 h 552"/>
                      <a:gd name="T96" fmla="*/ 2147483647 w 552"/>
                      <a:gd name="T97" fmla="*/ 2147483647 h 552"/>
                      <a:gd name="T98" fmla="*/ 2147483647 w 552"/>
                      <a:gd name="T99" fmla="*/ 2147483647 h 552"/>
                      <a:gd name="T100" fmla="*/ 2147483647 w 552"/>
                      <a:gd name="T101" fmla="*/ 2147483647 h 552"/>
                      <a:gd name="T102" fmla="*/ 2147483647 w 552"/>
                      <a:gd name="T103" fmla="*/ 2147483647 h 55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52"/>
                      <a:gd name="T157" fmla="*/ 0 h 552"/>
                      <a:gd name="T158" fmla="*/ 552 w 552"/>
                      <a:gd name="T159" fmla="*/ 552 h 55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52" h="552">
                        <a:moveTo>
                          <a:pt x="18" y="204"/>
                        </a:moveTo>
                        <a:lnTo>
                          <a:pt x="18" y="234"/>
                        </a:lnTo>
                        <a:lnTo>
                          <a:pt x="30" y="234"/>
                        </a:lnTo>
                        <a:lnTo>
                          <a:pt x="36" y="240"/>
                        </a:lnTo>
                        <a:lnTo>
                          <a:pt x="48" y="264"/>
                        </a:lnTo>
                        <a:lnTo>
                          <a:pt x="54" y="270"/>
                        </a:lnTo>
                        <a:lnTo>
                          <a:pt x="54" y="294"/>
                        </a:lnTo>
                        <a:lnTo>
                          <a:pt x="72" y="330"/>
                        </a:lnTo>
                        <a:lnTo>
                          <a:pt x="84" y="336"/>
                        </a:lnTo>
                        <a:lnTo>
                          <a:pt x="102" y="354"/>
                        </a:lnTo>
                        <a:lnTo>
                          <a:pt x="132" y="354"/>
                        </a:lnTo>
                        <a:lnTo>
                          <a:pt x="138" y="360"/>
                        </a:lnTo>
                        <a:lnTo>
                          <a:pt x="138" y="390"/>
                        </a:lnTo>
                        <a:lnTo>
                          <a:pt x="168" y="390"/>
                        </a:lnTo>
                        <a:lnTo>
                          <a:pt x="174" y="414"/>
                        </a:lnTo>
                        <a:lnTo>
                          <a:pt x="168" y="420"/>
                        </a:lnTo>
                        <a:lnTo>
                          <a:pt x="168" y="450"/>
                        </a:lnTo>
                        <a:lnTo>
                          <a:pt x="186" y="450"/>
                        </a:lnTo>
                        <a:lnTo>
                          <a:pt x="186" y="480"/>
                        </a:lnTo>
                        <a:lnTo>
                          <a:pt x="198" y="480"/>
                        </a:lnTo>
                        <a:lnTo>
                          <a:pt x="216" y="486"/>
                        </a:lnTo>
                        <a:lnTo>
                          <a:pt x="228" y="486"/>
                        </a:lnTo>
                        <a:lnTo>
                          <a:pt x="246" y="492"/>
                        </a:lnTo>
                        <a:lnTo>
                          <a:pt x="264" y="510"/>
                        </a:lnTo>
                        <a:lnTo>
                          <a:pt x="270" y="522"/>
                        </a:lnTo>
                        <a:lnTo>
                          <a:pt x="270" y="528"/>
                        </a:lnTo>
                        <a:lnTo>
                          <a:pt x="252" y="528"/>
                        </a:lnTo>
                        <a:lnTo>
                          <a:pt x="312" y="528"/>
                        </a:lnTo>
                        <a:lnTo>
                          <a:pt x="324" y="534"/>
                        </a:lnTo>
                        <a:lnTo>
                          <a:pt x="330" y="534"/>
                        </a:lnTo>
                        <a:lnTo>
                          <a:pt x="342" y="540"/>
                        </a:lnTo>
                        <a:lnTo>
                          <a:pt x="402" y="540"/>
                        </a:lnTo>
                        <a:lnTo>
                          <a:pt x="420" y="552"/>
                        </a:lnTo>
                        <a:lnTo>
                          <a:pt x="486" y="468"/>
                        </a:lnTo>
                        <a:lnTo>
                          <a:pt x="504" y="462"/>
                        </a:lnTo>
                        <a:lnTo>
                          <a:pt x="492" y="444"/>
                        </a:lnTo>
                        <a:lnTo>
                          <a:pt x="504" y="432"/>
                        </a:lnTo>
                        <a:lnTo>
                          <a:pt x="504" y="402"/>
                        </a:lnTo>
                        <a:lnTo>
                          <a:pt x="516" y="396"/>
                        </a:lnTo>
                        <a:lnTo>
                          <a:pt x="528" y="384"/>
                        </a:lnTo>
                        <a:lnTo>
                          <a:pt x="528" y="372"/>
                        </a:lnTo>
                        <a:lnTo>
                          <a:pt x="540" y="360"/>
                        </a:lnTo>
                        <a:lnTo>
                          <a:pt x="546" y="348"/>
                        </a:lnTo>
                        <a:lnTo>
                          <a:pt x="546" y="342"/>
                        </a:lnTo>
                        <a:lnTo>
                          <a:pt x="522" y="318"/>
                        </a:lnTo>
                        <a:lnTo>
                          <a:pt x="522" y="306"/>
                        </a:lnTo>
                        <a:lnTo>
                          <a:pt x="540" y="288"/>
                        </a:lnTo>
                        <a:lnTo>
                          <a:pt x="522" y="264"/>
                        </a:lnTo>
                        <a:lnTo>
                          <a:pt x="540" y="252"/>
                        </a:lnTo>
                        <a:lnTo>
                          <a:pt x="540" y="240"/>
                        </a:lnTo>
                        <a:lnTo>
                          <a:pt x="546" y="240"/>
                        </a:lnTo>
                        <a:lnTo>
                          <a:pt x="546" y="234"/>
                        </a:lnTo>
                        <a:lnTo>
                          <a:pt x="552" y="228"/>
                        </a:lnTo>
                        <a:lnTo>
                          <a:pt x="552" y="216"/>
                        </a:lnTo>
                        <a:lnTo>
                          <a:pt x="540" y="192"/>
                        </a:lnTo>
                        <a:lnTo>
                          <a:pt x="540" y="180"/>
                        </a:lnTo>
                        <a:lnTo>
                          <a:pt x="546" y="174"/>
                        </a:lnTo>
                        <a:lnTo>
                          <a:pt x="546" y="168"/>
                        </a:lnTo>
                        <a:lnTo>
                          <a:pt x="552" y="162"/>
                        </a:lnTo>
                        <a:lnTo>
                          <a:pt x="540" y="150"/>
                        </a:lnTo>
                        <a:lnTo>
                          <a:pt x="552" y="138"/>
                        </a:lnTo>
                        <a:lnTo>
                          <a:pt x="540" y="120"/>
                        </a:lnTo>
                        <a:lnTo>
                          <a:pt x="546" y="114"/>
                        </a:lnTo>
                        <a:lnTo>
                          <a:pt x="552" y="102"/>
                        </a:lnTo>
                        <a:lnTo>
                          <a:pt x="552" y="96"/>
                        </a:lnTo>
                        <a:lnTo>
                          <a:pt x="540" y="84"/>
                        </a:lnTo>
                        <a:lnTo>
                          <a:pt x="528" y="84"/>
                        </a:lnTo>
                        <a:lnTo>
                          <a:pt x="510" y="66"/>
                        </a:lnTo>
                        <a:lnTo>
                          <a:pt x="498" y="66"/>
                        </a:lnTo>
                        <a:lnTo>
                          <a:pt x="486" y="72"/>
                        </a:lnTo>
                        <a:lnTo>
                          <a:pt x="480" y="72"/>
                        </a:lnTo>
                        <a:lnTo>
                          <a:pt x="462" y="48"/>
                        </a:lnTo>
                        <a:lnTo>
                          <a:pt x="444" y="48"/>
                        </a:lnTo>
                        <a:lnTo>
                          <a:pt x="432" y="30"/>
                        </a:lnTo>
                        <a:lnTo>
                          <a:pt x="372" y="30"/>
                        </a:lnTo>
                        <a:lnTo>
                          <a:pt x="366" y="0"/>
                        </a:lnTo>
                        <a:lnTo>
                          <a:pt x="330" y="0"/>
                        </a:lnTo>
                        <a:lnTo>
                          <a:pt x="294" y="12"/>
                        </a:lnTo>
                        <a:lnTo>
                          <a:pt x="282" y="24"/>
                        </a:lnTo>
                        <a:lnTo>
                          <a:pt x="258" y="36"/>
                        </a:lnTo>
                        <a:lnTo>
                          <a:pt x="258" y="72"/>
                        </a:lnTo>
                        <a:lnTo>
                          <a:pt x="252" y="78"/>
                        </a:lnTo>
                        <a:lnTo>
                          <a:pt x="240" y="78"/>
                        </a:lnTo>
                        <a:lnTo>
                          <a:pt x="228" y="84"/>
                        </a:lnTo>
                        <a:lnTo>
                          <a:pt x="210" y="90"/>
                        </a:lnTo>
                        <a:lnTo>
                          <a:pt x="198" y="96"/>
                        </a:lnTo>
                        <a:lnTo>
                          <a:pt x="192" y="102"/>
                        </a:lnTo>
                        <a:lnTo>
                          <a:pt x="180" y="126"/>
                        </a:lnTo>
                        <a:lnTo>
                          <a:pt x="174" y="132"/>
                        </a:lnTo>
                        <a:lnTo>
                          <a:pt x="174" y="138"/>
                        </a:lnTo>
                        <a:lnTo>
                          <a:pt x="168" y="144"/>
                        </a:lnTo>
                        <a:lnTo>
                          <a:pt x="162" y="156"/>
                        </a:lnTo>
                        <a:lnTo>
                          <a:pt x="132" y="186"/>
                        </a:lnTo>
                        <a:lnTo>
                          <a:pt x="108" y="198"/>
                        </a:lnTo>
                        <a:lnTo>
                          <a:pt x="90" y="198"/>
                        </a:lnTo>
                        <a:lnTo>
                          <a:pt x="90" y="192"/>
                        </a:lnTo>
                        <a:lnTo>
                          <a:pt x="78" y="180"/>
                        </a:lnTo>
                        <a:lnTo>
                          <a:pt x="66" y="180"/>
                        </a:lnTo>
                        <a:lnTo>
                          <a:pt x="66" y="192"/>
                        </a:lnTo>
                        <a:lnTo>
                          <a:pt x="54" y="192"/>
                        </a:lnTo>
                        <a:lnTo>
                          <a:pt x="42" y="180"/>
                        </a:lnTo>
                        <a:lnTo>
                          <a:pt x="42" y="174"/>
                        </a:lnTo>
                        <a:lnTo>
                          <a:pt x="0" y="174"/>
                        </a:lnTo>
                        <a:lnTo>
                          <a:pt x="6" y="192"/>
                        </a:lnTo>
                        <a:lnTo>
                          <a:pt x="18" y="20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82" name="Zambia"/>
                  <p:cNvSpPr>
                    <a:spLocks/>
                  </p:cNvSpPr>
                  <p:nvPr/>
                </p:nvSpPr>
                <p:spPr bwMode="gray">
                  <a:xfrm>
                    <a:off x="3051" y="2478"/>
                    <a:ext cx="213" cy="204"/>
                  </a:xfrm>
                  <a:custGeom>
                    <a:avLst/>
                    <a:gdLst>
                      <a:gd name="T0" fmla="*/ 2147483647 w 834"/>
                      <a:gd name="T1" fmla="*/ 2147483647 h 798"/>
                      <a:gd name="T2" fmla="*/ 2147483647 w 834"/>
                      <a:gd name="T3" fmla="*/ 2147483647 h 798"/>
                      <a:gd name="T4" fmla="*/ 2147483647 w 834"/>
                      <a:gd name="T5" fmla="*/ 2147483647 h 798"/>
                      <a:gd name="T6" fmla="*/ 2147483647 w 834"/>
                      <a:gd name="T7" fmla="*/ 2147483647 h 798"/>
                      <a:gd name="T8" fmla="*/ 2147483647 w 834"/>
                      <a:gd name="T9" fmla="*/ 2147483647 h 798"/>
                      <a:gd name="T10" fmla="*/ 2147483647 w 834"/>
                      <a:gd name="T11" fmla="*/ 2147483647 h 798"/>
                      <a:gd name="T12" fmla="*/ 2147483647 w 834"/>
                      <a:gd name="T13" fmla="*/ 2147483647 h 798"/>
                      <a:gd name="T14" fmla="*/ 2147483647 w 834"/>
                      <a:gd name="T15" fmla="*/ 2147483647 h 798"/>
                      <a:gd name="T16" fmla="*/ 2147483647 w 834"/>
                      <a:gd name="T17" fmla="*/ 2147483647 h 798"/>
                      <a:gd name="T18" fmla="*/ 2147483647 w 834"/>
                      <a:gd name="T19" fmla="*/ 2147483647 h 798"/>
                      <a:gd name="T20" fmla="*/ 2147483647 w 834"/>
                      <a:gd name="T21" fmla="*/ 2147483647 h 798"/>
                      <a:gd name="T22" fmla="*/ 2147483647 w 834"/>
                      <a:gd name="T23" fmla="*/ 2147483647 h 798"/>
                      <a:gd name="T24" fmla="*/ 2147483647 w 834"/>
                      <a:gd name="T25" fmla="*/ 2147483647 h 798"/>
                      <a:gd name="T26" fmla="*/ 2147483647 w 834"/>
                      <a:gd name="T27" fmla="*/ 2147483647 h 798"/>
                      <a:gd name="T28" fmla="*/ 2147483647 w 834"/>
                      <a:gd name="T29" fmla="*/ 2147483647 h 798"/>
                      <a:gd name="T30" fmla="*/ 2147483647 w 834"/>
                      <a:gd name="T31" fmla="*/ 2147483647 h 798"/>
                      <a:gd name="T32" fmla="*/ 2147483647 w 834"/>
                      <a:gd name="T33" fmla="*/ 2147483647 h 798"/>
                      <a:gd name="T34" fmla="*/ 2147483647 w 834"/>
                      <a:gd name="T35" fmla="*/ 2147483647 h 798"/>
                      <a:gd name="T36" fmla="*/ 2147483647 w 834"/>
                      <a:gd name="T37" fmla="*/ 2147483647 h 798"/>
                      <a:gd name="T38" fmla="*/ 2147483647 w 834"/>
                      <a:gd name="T39" fmla="*/ 2147483647 h 798"/>
                      <a:gd name="T40" fmla="*/ 2147483647 w 834"/>
                      <a:gd name="T41" fmla="*/ 2147483647 h 798"/>
                      <a:gd name="T42" fmla="*/ 2147483647 w 834"/>
                      <a:gd name="T43" fmla="*/ 2147483647 h 798"/>
                      <a:gd name="T44" fmla="*/ 2147483647 w 834"/>
                      <a:gd name="T45" fmla="*/ 2147483647 h 798"/>
                      <a:gd name="T46" fmla="*/ 2147483647 w 834"/>
                      <a:gd name="T47" fmla="*/ 2147483647 h 798"/>
                      <a:gd name="T48" fmla="*/ 2147483647 w 834"/>
                      <a:gd name="T49" fmla="*/ 2147483647 h 798"/>
                      <a:gd name="T50" fmla="*/ 2147483647 w 834"/>
                      <a:gd name="T51" fmla="*/ 2147483647 h 798"/>
                      <a:gd name="T52" fmla="*/ 2147483647 w 834"/>
                      <a:gd name="T53" fmla="*/ 2147483647 h 798"/>
                      <a:gd name="T54" fmla="*/ 2147483647 w 834"/>
                      <a:gd name="T55" fmla="*/ 2147483647 h 798"/>
                      <a:gd name="T56" fmla="*/ 2147483647 w 834"/>
                      <a:gd name="T57" fmla="*/ 2147483647 h 798"/>
                      <a:gd name="T58" fmla="*/ 2147483647 w 834"/>
                      <a:gd name="T59" fmla="*/ 2147483647 h 798"/>
                      <a:gd name="T60" fmla="*/ 2147483647 w 834"/>
                      <a:gd name="T61" fmla="*/ 2147483647 h 798"/>
                      <a:gd name="T62" fmla="*/ 2147483647 w 834"/>
                      <a:gd name="T63" fmla="*/ 2147483647 h 798"/>
                      <a:gd name="T64" fmla="*/ 2147483647 w 834"/>
                      <a:gd name="T65" fmla="*/ 2147483647 h 798"/>
                      <a:gd name="T66" fmla="*/ 2147483647 w 834"/>
                      <a:gd name="T67" fmla="*/ 2147483647 h 798"/>
                      <a:gd name="T68" fmla="*/ 2147483647 w 834"/>
                      <a:gd name="T69" fmla="*/ 2147483647 h 798"/>
                      <a:gd name="T70" fmla="*/ 2147483647 w 834"/>
                      <a:gd name="T71" fmla="*/ 2147483647 h 798"/>
                      <a:gd name="T72" fmla="*/ 2147483647 w 834"/>
                      <a:gd name="T73" fmla="*/ 2147483647 h 798"/>
                      <a:gd name="T74" fmla="*/ 2147483647 w 834"/>
                      <a:gd name="T75" fmla="*/ 2147483647 h 798"/>
                      <a:gd name="T76" fmla="*/ 2147483647 w 834"/>
                      <a:gd name="T77" fmla="*/ 2147483647 h 798"/>
                      <a:gd name="T78" fmla="*/ 2147483647 w 834"/>
                      <a:gd name="T79" fmla="*/ 2147483647 h 798"/>
                      <a:gd name="T80" fmla="*/ 2147483647 w 834"/>
                      <a:gd name="T81" fmla="*/ 2147483647 h 798"/>
                      <a:gd name="T82" fmla="*/ 2147483647 w 834"/>
                      <a:gd name="T83" fmla="*/ 2147483647 h 798"/>
                      <a:gd name="T84" fmla="*/ 2147483647 w 834"/>
                      <a:gd name="T85" fmla="*/ 2147483647 h 798"/>
                      <a:gd name="T86" fmla="*/ 2147483647 w 834"/>
                      <a:gd name="T87" fmla="*/ 2147483647 h 798"/>
                      <a:gd name="T88" fmla="*/ 2147483647 w 834"/>
                      <a:gd name="T89" fmla="*/ 2147483647 h 798"/>
                      <a:gd name="T90" fmla="*/ 2147483647 w 834"/>
                      <a:gd name="T91" fmla="*/ 2147483647 h 798"/>
                      <a:gd name="T92" fmla="*/ 2147483647 w 834"/>
                      <a:gd name="T93" fmla="*/ 2147483647 h 798"/>
                      <a:gd name="T94" fmla="*/ 2147483647 w 834"/>
                      <a:gd name="T95" fmla="*/ 2147483647 h 798"/>
                      <a:gd name="T96" fmla="*/ 2147483647 w 834"/>
                      <a:gd name="T97" fmla="*/ 2147483647 h 798"/>
                      <a:gd name="T98" fmla="*/ 2147483647 w 834"/>
                      <a:gd name="T99" fmla="*/ 2147483647 h 798"/>
                      <a:gd name="T100" fmla="*/ 2147483647 w 834"/>
                      <a:gd name="T101" fmla="*/ 2147483647 h 798"/>
                      <a:gd name="T102" fmla="*/ 2147483647 w 834"/>
                      <a:gd name="T103" fmla="*/ 2147483647 h 798"/>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834"/>
                      <a:gd name="T157" fmla="*/ 0 h 798"/>
                      <a:gd name="T158" fmla="*/ 834 w 834"/>
                      <a:gd name="T159" fmla="*/ 798 h 798"/>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834" h="798">
                        <a:moveTo>
                          <a:pt x="822" y="186"/>
                        </a:moveTo>
                        <a:lnTo>
                          <a:pt x="822" y="162"/>
                        </a:lnTo>
                        <a:lnTo>
                          <a:pt x="816" y="168"/>
                        </a:lnTo>
                        <a:lnTo>
                          <a:pt x="810" y="168"/>
                        </a:lnTo>
                        <a:lnTo>
                          <a:pt x="810" y="126"/>
                        </a:lnTo>
                        <a:lnTo>
                          <a:pt x="798" y="114"/>
                        </a:lnTo>
                        <a:lnTo>
                          <a:pt x="786" y="114"/>
                        </a:lnTo>
                        <a:lnTo>
                          <a:pt x="786" y="102"/>
                        </a:lnTo>
                        <a:lnTo>
                          <a:pt x="768" y="90"/>
                        </a:lnTo>
                        <a:lnTo>
                          <a:pt x="750" y="90"/>
                        </a:lnTo>
                        <a:lnTo>
                          <a:pt x="750" y="72"/>
                        </a:lnTo>
                        <a:lnTo>
                          <a:pt x="738" y="78"/>
                        </a:lnTo>
                        <a:lnTo>
                          <a:pt x="726" y="78"/>
                        </a:lnTo>
                        <a:lnTo>
                          <a:pt x="708" y="60"/>
                        </a:lnTo>
                        <a:lnTo>
                          <a:pt x="690" y="60"/>
                        </a:lnTo>
                        <a:lnTo>
                          <a:pt x="684" y="54"/>
                        </a:lnTo>
                        <a:lnTo>
                          <a:pt x="684" y="36"/>
                        </a:lnTo>
                        <a:lnTo>
                          <a:pt x="672" y="42"/>
                        </a:lnTo>
                        <a:lnTo>
                          <a:pt x="654" y="42"/>
                        </a:lnTo>
                        <a:lnTo>
                          <a:pt x="648" y="54"/>
                        </a:lnTo>
                        <a:lnTo>
                          <a:pt x="642" y="60"/>
                        </a:lnTo>
                        <a:lnTo>
                          <a:pt x="636" y="60"/>
                        </a:lnTo>
                        <a:lnTo>
                          <a:pt x="624" y="48"/>
                        </a:lnTo>
                        <a:lnTo>
                          <a:pt x="624" y="36"/>
                        </a:lnTo>
                        <a:lnTo>
                          <a:pt x="618" y="30"/>
                        </a:lnTo>
                        <a:lnTo>
                          <a:pt x="606" y="30"/>
                        </a:lnTo>
                        <a:lnTo>
                          <a:pt x="600" y="24"/>
                        </a:lnTo>
                        <a:lnTo>
                          <a:pt x="594" y="24"/>
                        </a:lnTo>
                        <a:lnTo>
                          <a:pt x="594" y="6"/>
                        </a:lnTo>
                        <a:lnTo>
                          <a:pt x="600" y="0"/>
                        </a:lnTo>
                        <a:lnTo>
                          <a:pt x="576" y="12"/>
                        </a:lnTo>
                        <a:lnTo>
                          <a:pt x="558" y="12"/>
                        </a:lnTo>
                        <a:lnTo>
                          <a:pt x="546" y="18"/>
                        </a:lnTo>
                        <a:lnTo>
                          <a:pt x="528" y="18"/>
                        </a:lnTo>
                        <a:lnTo>
                          <a:pt x="510" y="24"/>
                        </a:lnTo>
                        <a:lnTo>
                          <a:pt x="498" y="24"/>
                        </a:lnTo>
                        <a:lnTo>
                          <a:pt x="498" y="54"/>
                        </a:lnTo>
                        <a:lnTo>
                          <a:pt x="480" y="72"/>
                        </a:lnTo>
                        <a:lnTo>
                          <a:pt x="468" y="78"/>
                        </a:lnTo>
                        <a:lnTo>
                          <a:pt x="462" y="84"/>
                        </a:lnTo>
                        <a:lnTo>
                          <a:pt x="456" y="84"/>
                        </a:lnTo>
                        <a:lnTo>
                          <a:pt x="468" y="96"/>
                        </a:lnTo>
                        <a:lnTo>
                          <a:pt x="468" y="102"/>
                        </a:lnTo>
                        <a:lnTo>
                          <a:pt x="474" y="108"/>
                        </a:lnTo>
                        <a:lnTo>
                          <a:pt x="474" y="114"/>
                        </a:lnTo>
                        <a:lnTo>
                          <a:pt x="480" y="120"/>
                        </a:lnTo>
                        <a:lnTo>
                          <a:pt x="480" y="144"/>
                        </a:lnTo>
                        <a:lnTo>
                          <a:pt x="486" y="162"/>
                        </a:lnTo>
                        <a:lnTo>
                          <a:pt x="486" y="216"/>
                        </a:lnTo>
                        <a:lnTo>
                          <a:pt x="474" y="228"/>
                        </a:lnTo>
                        <a:lnTo>
                          <a:pt x="468" y="240"/>
                        </a:lnTo>
                        <a:lnTo>
                          <a:pt x="462" y="258"/>
                        </a:lnTo>
                        <a:lnTo>
                          <a:pt x="456" y="270"/>
                        </a:lnTo>
                        <a:lnTo>
                          <a:pt x="456" y="294"/>
                        </a:lnTo>
                        <a:lnTo>
                          <a:pt x="468" y="306"/>
                        </a:lnTo>
                        <a:lnTo>
                          <a:pt x="474" y="306"/>
                        </a:lnTo>
                        <a:lnTo>
                          <a:pt x="474" y="312"/>
                        </a:lnTo>
                        <a:lnTo>
                          <a:pt x="480" y="312"/>
                        </a:lnTo>
                        <a:lnTo>
                          <a:pt x="510" y="342"/>
                        </a:lnTo>
                        <a:lnTo>
                          <a:pt x="522" y="348"/>
                        </a:lnTo>
                        <a:lnTo>
                          <a:pt x="528" y="348"/>
                        </a:lnTo>
                        <a:lnTo>
                          <a:pt x="534" y="342"/>
                        </a:lnTo>
                        <a:lnTo>
                          <a:pt x="534" y="324"/>
                        </a:lnTo>
                        <a:lnTo>
                          <a:pt x="558" y="324"/>
                        </a:lnTo>
                        <a:lnTo>
                          <a:pt x="558" y="372"/>
                        </a:lnTo>
                        <a:lnTo>
                          <a:pt x="552" y="408"/>
                        </a:lnTo>
                        <a:lnTo>
                          <a:pt x="546" y="426"/>
                        </a:lnTo>
                        <a:lnTo>
                          <a:pt x="540" y="426"/>
                        </a:lnTo>
                        <a:lnTo>
                          <a:pt x="540" y="420"/>
                        </a:lnTo>
                        <a:lnTo>
                          <a:pt x="534" y="408"/>
                        </a:lnTo>
                        <a:lnTo>
                          <a:pt x="516" y="420"/>
                        </a:lnTo>
                        <a:lnTo>
                          <a:pt x="498" y="420"/>
                        </a:lnTo>
                        <a:lnTo>
                          <a:pt x="498" y="408"/>
                        </a:lnTo>
                        <a:lnTo>
                          <a:pt x="492" y="396"/>
                        </a:lnTo>
                        <a:lnTo>
                          <a:pt x="492" y="384"/>
                        </a:lnTo>
                        <a:lnTo>
                          <a:pt x="480" y="372"/>
                        </a:lnTo>
                        <a:lnTo>
                          <a:pt x="468" y="372"/>
                        </a:lnTo>
                        <a:lnTo>
                          <a:pt x="462" y="360"/>
                        </a:lnTo>
                        <a:lnTo>
                          <a:pt x="462" y="354"/>
                        </a:lnTo>
                        <a:lnTo>
                          <a:pt x="456" y="342"/>
                        </a:lnTo>
                        <a:lnTo>
                          <a:pt x="450" y="336"/>
                        </a:lnTo>
                        <a:lnTo>
                          <a:pt x="444" y="336"/>
                        </a:lnTo>
                        <a:lnTo>
                          <a:pt x="438" y="342"/>
                        </a:lnTo>
                        <a:lnTo>
                          <a:pt x="426" y="342"/>
                        </a:lnTo>
                        <a:lnTo>
                          <a:pt x="426" y="330"/>
                        </a:lnTo>
                        <a:lnTo>
                          <a:pt x="420" y="324"/>
                        </a:lnTo>
                        <a:lnTo>
                          <a:pt x="390" y="324"/>
                        </a:lnTo>
                        <a:lnTo>
                          <a:pt x="390" y="312"/>
                        </a:lnTo>
                        <a:lnTo>
                          <a:pt x="396" y="312"/>
                        </a:lnTo>
                        <a:lnTo>
                          <a:pt x="396" y="300"/>
                        </a:lnTo>
                        <a:lnTo>
                          <a:pt x="384" y="300"/>
                        </a:lnTo>
                        <a:lnTo>
                          <a:pt x="378" y="294"/>
                        </a:lnTo>
                        <a:lnTo>
                          <a:pt x="378" y="282"/>
                        </a:lnTo>
                        <a:lnTo>
                          <a:pt x="366" y="270"/>
                        </a:lnTo>
                        <a:lnTo>
                          <a:pt x="360" y="270"/>
                        </a:lnTo>
                        <a:lnTo>
                          <a:pt x="354" y="276"/>
                        </a:lnTo>
                        <a:lnTo>
                          <a:pt x="354" y="294"/>
                        </a:lnTo>
                        <a:lnTo>
                          <a:pt x="348" y="300"/>
                        </a:lnTo>
                        <a:lnTo>
                          <a:pt x="348" y="306"/>
                        </a:lnTo>
                        <a:lnTo>
                          <a:pt x="330" y="306"/>
                        </a:lnTo>
                        <a:lnTo>
                          <a:pt x="300" y="300"/>
                        </a:lnTo>
                        <a:lnTo>
                          <a:pt x="264" y="294"/>
                        </a:lnTo>
                        <a:lnTo>
                          <a:pt x="246" y="282"/>
                        </a:lnTo>
                        <a:lnTo>
                          <a:pt x="240" y="276"/>
                        </a:lnTo>
                        <a:lnTo>
                          <a:pt x="234" y="264"/>
                        </a:lnTo>
                        <a:lnTo>
                          <a:pt x="234" y="246"/>
                        </a:lnTo>
                        <a:lnTo>
                          <a:pt x="192" y="252"/>
                        </a:lnTo>
                        <a:lnTo>
                          <a:pt x="198" y="258"/>
                        </a:lnTo>
                        <a:lnTo>
                          <a:pt x="198" y="264"/>
                        </a:lnTo>
                        <a:lnTo>
                          <a:pt x="180" y="264"/>
                        </a:lnTo>
                        <a:lnTo>
                          <a:pt x="174" y="258"/>
                        </a:lnTo>
                        <a:lnTo>
                          <a:pt x="174" y="228"/>
                        </a:lnTo>
                        <a:lnTo>
                          <a:pt x="156" y="228"/>
                        </a:lnTo>
                        <a:lnTo>
                          <a:pt x="150" y="216"/>
                        </a:lnTo>
                        <a:lnTo>
                          <a:pt x="144" y="234"/>
                        </a:lnTo>
                        <a:lnTo>
                          <a:pt x="144" y="240"/>
                        </a:lnTo>
                        <a:lnTo>
                          <a:pt x="156" y="252"/>
                        </a:lnTo>
                        <a:lnTo>
                          <a:pt x="156" y="270"/>
                        </a:lnTo>
                        <a:lnTo>
                          <a:pt x="150" y="276"/>
                        </a:lnTo>
                        <a:lnTo>
                          <a:pt x="144" y="276"/>
                        </a:lnTo>
                        <a:lnTo>
                          <a:pt x="144" y="330"/>
                        </a:lnTo>
                        <a:lnTo>
                          <a:pt x="156" y="342"/>
                        </a:lnTo>
                        <a:lnTo>
                          <a:pt x="138" y="348"/>
                        </a:lnTo>
                        <a:lnTo>
                          <a:pt x="138" y="354"/>
                        </a:lnTo>
                        <a:lnTo>
                          <a:pt x="144" y="360"/>
                        </a:lnTo>
                        <a:lnTo>
                          <a:pt x="144" y="384"/>
                        </a:lnTo>
                        <a:lnTo>
                          <a:pt x="132" y="396"/>
                        </a:lnTo>
                        <a:lnTo>
                          <a:pt x="126" y="396"/>
                        </a:lnTo>
                        <a:lnTo>
                          <a:pt x="0" y="390"/>
                        </a:lnTo>
                        <a:lnTo>
                          <a:pt x="0" y="642"/>
                        </a:lnTo>
                        <a:lnTo>
                          <a:pt x="6" y="654"/>
                        </a:lnTo>
                        <a:lnTo>
                          <a:pt x="6" y="672"/>
                        </a:lnTo>
                        <a:lnTo>
                          <a:pt x="96" y="762"/>
                        </a:lnTo>
                        <a:lnTo>
                          <a:pt x="114" y="768"/>
                        </a:lnTo>
                        <a:lnTo>
                          <a:pt x="138" y="756"/>
                        </a:lnTo>
                        <a:lnTo>
                          <a:pt x="144" y="756"/>
                        </a:lnTo>
                        <a:lnTo>
                          <a:pt x="150" y="750"/>
                        </a:lnTo>
                        <a:lnTo>
                          <a:pt x="168" y="750"/>
                        </a:lnTo>
                        <a:lnTo>
                          <a:pt x="174" y="756"/>
                        </a:lnTo>
                        <a:lnTo>
                          <a:pt x="174" y="762"/>
                        </a:lnTo>
                        <a:lnTo>
                          <a:pt x="204" y="756"/>
                        </a:lnTo>
                        <a:lnTo>
                          <a:pt x="222" y="774"/>
                        </a:lnTo>
                        <a:lnTo>
                          <a:pt x="264" y="774"/>
                        </a:lnTo>
                        <a:lnTo>
                          <a:pt x="264" y="780"/>
                        </a:lnTo>
                        <a:lnTo>
                          <a:pt x="276" y="792"/>
                        </a:lnTo>
                        <a:lnTo>
                          <a:pt x="288" y="792"/>
                        </a:lnTo>
                        <a:lnTo>
                          <a:pt x="288" y="780"/>
                        </a:lnTo>
                        <a:lnTo>
                          <a:pt x="300" y="780"/>
                        </a:lnTo>
                        <a:lnTo>
                          <a:pt x="312" y="792"/>
                        </a:lnTo>
                        <a:lnTo>
                          <a:pt x="312" y="798"/>
                        </a:lnTo>
                        <a:lnTo>
                          <a:pt x="330" y="798"/>
                        </a:lnTo>
                        <a:lnTo>
                          <a:pt x="354" y="786"/>
                        </a:lnTo>
                        <a:lnTo>
                          <a:pt x="384" y="756"/>
                        </a:lnTo>
                        <a:lnTo>
                          <a:pt x="390" y="744"/>
                        </a:lnTo>
                        <a:lnTo>
                          <a:pt x="396" y="738"/>
                        </a:lnTo>
                        <a:lnTo>
                          <a:pt x="396" y="732"/>
                        </a:lnTo>
                        <a:lnTo>
                          <a:pt x="402" y="726"/>
                        </a:lnTo>
                        <a:lnTo>
                          <a:pt x="414" y="702"/>
                        </a:lnTo>
                        <a:lnTo>
                          <a:pt x="420" y="696"/>
                        </a:lnTo>
                        <a:lnTo>
                          <a:pt x="432" y="690"/>
                        </a:lnTo>
                        <a:lnTo>
                          <a:pt x="450" y="684"/>
                        </a:lnTo>
                        <a:lnTo>
                          <a:pt x="462" y="678"/>
                        </a:lnTo>
                        <a:lnTo>
                          <a:pt x="474" y="678"/>
                        </a:lnTo>
                        <a:lnTo>
                          <a:pt x="480" y="672"/>
                        </a:lnTo>
                        <a:lnTo>
                          <a:pt x="480" y="636"/>
                        </a:lnTo>
                        <a:lnTo>
                          <a:pt x="504" y="624"/>
                        </a:lnTo>
                        <a:lnTo>
                          <a:pt x="516" y="612"/>
                        </a:lnTo>
                        <a:lnTo>
                          <a:pt x="552" y="600"/>
                        </a:lnTo>
                        <a:lnTo>
                          <a:pt x="588" y="600"/>
                        </a:lnTo>
                        <a:lnTo>
                          <a:pt x="588" y="576"/>
                        </a:lnTo>
                        <a:lnTo>
                          <a:pt x="570" y="558"/>
                        </a:lnTo>
                        <a:lnTo>
                          <a:pt x="582" y="546"/>
                        </a:lnTo>
                        <a:lnTo>
                          <a:pt x="612" y="546"/>
                        </a:lnTo>
                        <a:lnTo>
                          <a:pt x="630" y="528"/>
                        </a:lnTo>
                        <a:lnTo>
                          <a:pt x="642" y="528"/>
                        </a:lnTo>
                        <a:lnTo>
                          <a:pt x="654" y="522"/>
                        </a:lnTo>
                        <a:lnTo>
                          <a:pt x="672" y="522"/>
                        </a:lnTo>
                        <a:lnTo>
                          <a:pt x="690" y="516"/>
                        </a:lnTo>
                        <a:lnTo>
                          <a:pt x="702" y="510"/>
                        </a:lnTo>
                        <a:lnTo>
                          <a:pt x="708" y="510"/>
                        </a:lnTo>
                        <a:lnTo>
                          <a:pt x="732" y="498"/>
                        </a:lnTo>
                        <a:lnTo>
                          <a:pt x="750" y="486"/>
                        </a:lnTo>
                        <a:lnTo>
                          <a:pt x="762" y="480"/>
                        </a:lnTo>
                        <a:lnTo>
                          <a:pt x="780" y="474"/>
                        </a:lnTo>
                        <a:lnTo>
                          <a:pt x="786" y="468"/>
                        </a:lnTo>
                        <a:lnTo>
                          <a:pt x="792" y="468"/>
                        </a:lnTo>
                        <a:lnTo>
                          <a:pt x="780" y="462"/>
                        </a:lnTo>
                        <a:lnTo>
                          <a:pt x="768" y="450"/>
                        </a:lnTo>
                        <a:lnTo>
                          <a:pt x="756" y="444"/>
                        </a:lnTo>
                        <a:lnTo>
                          <a:pt x="756" y="438"/>
                        </a:lnTo>
                        <a:lnTo>
                          <a:pt x="762" y="432"/>
                        </a:lnTo>
                        <a:lnTo>
                          <a:pt x="768" y="420"/>
                        </a:lnTo>
                        <a:lnTo>
                          <a:pt x="774" y="414"/>
                        </a:lnTo>
                        <a:lnTo>
                          <a:pt x="780" y="402"/>
                        </a:lnTo>
                        <a:lnTo>
                          <a:pt x="774" y="366"/>
                        </a:lnTo>
                        <a:lnTo>
                          <a:pt x="780" y="366"/>
                        </a:lnTo>
                        <a:lnTo>
                          <a:pt x="786" y="360"/>
                        </a:lnTo>
                        <a:lnTo>
                          <a:pt x="798" y="354"/>
                        </a:lnTo>
                        <a:lnTo>
                          <a:pt x="816" y="336"/>
                        </a:lnTo>
                        <a:lnTo>
                          <a:pt x="816" y="330"/>
                        </a:lnTo>
                        <a:lnTo>
                          <a:pt x="804" y="330"/>
                        </a:lnTo>
                        <a:lnTo>
                          <a:pt x="804" y="258"/>
                        </a:lnTo>
                        <a:lnTo>
                          <a:pt x="810" y="240"/>
                        </a:lnTo>
                        <a:lnTo>
                          <a:pt x="798" y="234"/>
                        </a:lnTo>
                        <a:lnTo>
                          <a:pt x="798" y="216"/>
                        </a:lnTo>
                        <a:lnTo>
                          <a:pt x="804" y="216"/>
                        </a:lnTo>
                        <a:lnTo>
                          <a:pt x="810" y="210"/>
                        </a:lnTo>
                        <a:lnTo>
                          <a:pt x="834" y="198"/>
                        </a:lnTo>
                        <a:lnTo>
                          <a:pt x="834" y="186"/>
                        </a:lnTo>
                        <a:lnTo>
                          <a:pt x="822" y="18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83" name="Yemen"/>
                  <p:cNvSpPr>
                    <a:spLocks/>
                  </p:cNvSpPr>
                  <p:nvPr/>
                </p:nvSpPr>
                <p:spPr bwMode="gray">
                  <a:xfrm>
                    <a:off x="3422" y="1918"/>
                    <a:ext cx="187" cy="128"/>
                  </a:xfrm>
                  <a:custGeom>
                    <a:avLst/>
                    <a:gdLst>
                      <a:gd name="T0" fmla="*/ 2147483647 w 732"/>
                      <a:gd name="T1" fmla="*/ 2147483647 h 498"/>
                      <a:gd name="T2" fmla="*/ 2147483647 w 732"/>
                      <a:gd name="T3" fmla="*/ 2147483647 h 498"/>
                      <a:gd name="T4" fmla="*/ 2147483647 w 732"/>
                      <a:gd name="T5" fmla="*/ 2147483647 h 498"/>
                      <a:gd name="T6" fmla="*/ 2147483647 w 732"/>
                      <a:gd name="T7" fmla="*/ 2147483647 h 498"/>
                      <a:gd name="T8" fmla="*/ 2147483647 w 732"/>
                      <a:gd name="T9" fmla="*/ 2147483647 h 498"/>
                      <a:gd name="T10" fmla="*/ 2147483647 w 732"/>
                      <a:gd name="T11" fmla="*/ 2147483647 h 498"/>
                      <a:gd name="T12" fmla="*/ 2147483647 w 732"/>
                      <a:gd name="T13" fmla="*/ 2147483647 h 498"/>
                      <a:gd name="T14" fmla="*/ 2147483647 w 732"/>
                      <a:gd name="T15" fmla="*/ 2147483647 h 498"/>
                      <a:gd name="T16" fmla="*/ 2147483647 w 732"/>
                      <a:gd name="T17" fmla="*/ 2147483647 h 498"/>
                      <a:gd name="T18" fmla="*/ 2147483647 w 732"/>
                      <a:gd name="T19" fmla="*/ 2147483647 h 498"/>
                      <a:gd name="T20" fmla="*/ 2147483647 w 732"/>
                      <a:gd name="T21" fmla="*/ 2147483647 h 498"/>
                      <a:gd name="T22" fmla="*/ 2147483647 w 732"/>
                      <a:gd name="T23" fmla="*/ 2147483647 h 498"/>
                      <a:gd name="T24" fmla="*/ 2147483647 w 732"/>
                      <a:gd name="T25" fmla="*/ 2147483647 h 498"/>
                      <a:gd name="T26" fmla="*/ 2147483647 w 732"/>
                      <a:gd name="T27" fmla="*/ 2147483647 h 498"/>
                      <a:gd name="T28" fmla="*/ 2147483647 w 732"/>
                      <a:gd name="T29" fmla="*/ 2147483647 h 498"/>
                      <a:gd name="T30" fmla="*/ 0 w 732"/>
                      <a:gd name="T31" fmla="*/ 2147483647 h 498"/>
                      <a:gd name="T32" fmla="*/ 2147483647 w 732"/>
                      <a:gd name="T33" fmla="*/ 2147483647 h 498"/>
                      <a:gd name="T34" fmla="*/ 2147483647 w 732"/>
                      <a:gd name="T35" fmla="*/ 2147483647 h 498"/>
                      <a:gd name="T36" fmla="*/ 2147483647 w 732"/>
                      <a:gd name="T37" fmla="*/ 2147483647 h 498"/>
                      <a:gd name="T38" fmla="*/ 2147483647 w 732"/>
                      <a:gd name="T39" fmla="*/ 2147483647 h 498"/>
                      <a:gd name="T40" fmla="*/ 2147483647 w 732"/>
                      <a:gd name="T41" fmla="*/ 2147483647 h 498"/>
                      <a:gd name="T42" fmla="*/ 2147483647 w 732"/>
                      <a:gd name="T43" fmla="*/ 2147483647 h 498"/>
                      <a:gd name="T44" fmla="*/ 2147483647 w 732"/>
                      <a:gd name="T45" fmla="*/ 2147483647 h 498"/>
                      <a:gd name="T46" fmla="*/ 2147483647 w 732"/>
                      <a:gd name="T47" fmla="*/ 2147483647 h 498"/>
                      <a:gd name="T48" fmla="*/ 2147483647 w 732"/>
                      <a:gd name="T49" fmla="*/ 2147483647 h 498"/>
                      <a:gd name="T50" fmla="*/ 2147483647 w 732"/>
                      <a:gd name="T51" fmla="*/ 2147483647 h 498"/>
                      <a:gd name="T52" fmla="*/ 2147483647 w 732"/>
                      <a:gd name="T53" fmla="*/ 2147483647 h 498"/>
                      <a:gd name="T54" fmla="*/ 2147483647 w 732"/>
                      <a:gd name="T55" fmla="*/ 2147483647 h 498"/>
                      <a:gd name="T56" fmla="*/ 2147483647 w 732"/>
                      <a:gd name="T57" fmla="*/ 2147483647 h 498"/>
                      <a:gd name="T58" fmla="*/ 2147483647 w 732"/>
                      <a:gd name="T59" fmla="*/ 2147483647 h 498"/>
                      <a:gd name="T60" fmla="*/ 2147483647 w 732"/>
                      <a:gd name="T61" fmla="*/ 2147483647 h 498"/>
                      <a:gd name="T62" fmla="*/ 2147483647 w 732"/>
                      <a:gd name="T63" fmla="*/ 2147483647 h 498"/>
                      <a:gd name="T64" fmla="*/ 2147483647 w 732"/>
                      <a:gd name="T65" fmla="*/ 2147483647 h 498"/>
                      <a:gd name="T66" fmla="*/ 2147483647 w 732"/>
                      <a:gd name="T67" fmla="*/ 2147483647 h 498"/>
                      <a:gd name="T68" fmla="*/ 2147483647 w 732"/>
                      <a:gd name="T69" fmla="*/ 2147483647 h 498"/>
                      <a:gd name="T70" fmla="*/ 2147483647 w 732"/>
                      <a:gd name="T71" fmla="*/ 2147483647 h 498"/>
                      <a:gd name="T72" fmla="*/ 2147483647 w 732"/>
                      <a:gd name="T73" fmla="*/ 2147483647 h 498"/>
                      <a:gd name="T74" fmla="*/ 2147483647 w 732"/>
                      <a:gd name="T75" fmla="*/ 2147483647 h 498"/>
                      <a:gd name="T76" fmla="*/ 2147483647 w 732"/>
                      <a:gd name="T77" fmla="*/ 0 h 498"/>
                      <a:gd name="T78" fmla="*/ 2147483647 w 732"/>
                      <a:gd name="T79" fmla="*/ 2147483647 h 498"/>
                      <a:gd name="T80" fmla="*/ 2147483647 w 732"/>
                      <a:gd name="T81" fmla="*/ 2147483647 h 4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732"/>
                      <a:gd name="T124" fmla="*/ 0 h 498"/>
                      <a:gd name="T125" fmla="*/ 732 w 732"/>
                      <a:gd name="T126" fmla="*/ 498 h 49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732" h="498">
                        <a:moveTo>
                          <a:pt x="468" y="24"/>
                        </a:moveTo>
                        <a:lnTo>
                          <a:pt x="450" y="30"/>
                        </a:lnTo>
                        <a:lnTo>
                          <a:pt x="420" y="36"/>
                        </a:lnTo>
                        <a:lnTo>
                          <a:pt x="390" y="54"/>
                        </a:lnTo>
                        <a:lnTo>
                          <a:pt x="372" y="72"/>
                        </a:lnTo>
                        <a:lnTo>
                          <a:pt x="366" y="84"/>
                        </a:lnTo>
                        <a:lnTo>
                          <a:pt x="354" y="96"/>
                        </a:lnTo>
                        <a:lnTo>
                          <a:pt x="348" y="108"/>
                        </a:lnTo>
                        <a:lnTo>
                          <a:pt x="342" y="114"/>
                        </a:lnTo>
                        <a:lnTo>
                          <a:pt x="336" y="126"/>
                        </a:lnTo>
                        <a:lnTo>
                          <a:pt x="336" y="144"/>
                        </a:lnTo>
                        <a:lnTo>
                          <a:pt x="330" y="150"/>
                        </a:lnTo>
                        <a:lnTo>
                          <a:pt x="324" y="162"/>
                        </a:lnTo>
                        <a:lnTo>
                          <a:pt x="312" y="162"/>
                        </a:lnTo>
                        <a:lnTo>
                          <a:pt x="300" y="156"/>
                        </a:lnTo>
                        <a:lnTo>
                          <a:pt x="294" y="144"/>
                        </a:lnTo>
                        <a:lnTo>
                          <a:pt x="288" y="138"/>
                        </a:lnTo>
                        <a:lnTo>
                          <a:pt x="210" y="138"/>
                        </a:lnTo>
                        <a:lnTo>
                          <a:pt x="204" y="132"/>
                        </a:lnTo>
                        <a:lnTo>
                          <a:pt x="192" y="126"/>
                        </a:lnTo>
                        <a:lnTo>
                          <a:pt x="102" y="126"/>
                        </a:lnTo>
                        <a:lnTo>
                          <a:pt x="96" y="132"/>
                        </a:lnTo>
                        <a:lnTo>
                          <a:pt x="72" y="138"/>
                        </a:lnTo>
                        <a:lnTo>
                          <a:pt x="54" y="120"/>
                        </a:lnTo>
                        <a:lnTo>
                          <a:pt x="48" y="120"/>
                        </a:lnTo>
                        <a:lnTo>
                          <a:pt x="42" y="126"/>
                        </a:lnTo>
                        <a:lnTo>
                          <a:pt x="36" y="138"/>
                        </a:lnTo>
                        <a:lnTo>
                          <a:pt x="36" y="186"/>
                        </a:lnTo>
                        <a:lnTo>
                          <a:pt x="30" y="192"/>
                        </a:lnTo>
                        <a:lnTo>
                          <a:pt x="24" y="204"/>
                        </a:lnTo>
                        <a:lnTo>
                          <a:pt x="12" y="216"/>
                        </a:lnTo>
                        <a:lnTo>
                          <a:pt x="0" y="252"/>
                        </a:lnTo>
                        <a:lnTo>
                          <a:pt x="0" y="258"/>
                        </a:lnTo>
                        <a:lnTo>
                          <a:pt x="18" y="276"/>
                        </a:lnTo>
                        <a:lnTo>
                          <a:pt x="24" y="288"/>
                        </a:lnTo>
                        <a:lnTo>
                          <a:pt x="36" y="294"/>
                        </a:lnTo>
                        <a:lnTo>
                          <a:pt x="24" y="408"/>
                        </a:lnTo>
                        <a:lnTo>
                          <a:pt x="54" y="444"/>
                        </a:lnTo>
                        <a:lnTo>
                          <a:pt x="54" y="456"/>
                        </a:lnTo>
                        <a:lnTo>
                          <a:pt x="60" y="468"/>
                        </a:lnTo>
                        <a:lnTo>
                          <a:pt x="78" y="486"/>
                        </a:lnTo>
                        <a:lnTo>
                          <a:pt x="90" y="492"/>
                        </a:lnTo>
                        <a:lnTo>
                          <a:pt x="114" y="498"/>
                        </a:lnTo>
                        <a:lnTo>
                          <a:pt x="132" y="498"/>
                        </a:lnTo>
                        <a:lnTo>
                          <a:pt x="150" y="492"/>
                        </a:lnTo>
                        <a:lnTo>
                          <a:pt x="162" y="486"/>
                        </a:lnTo>
                        <a:lnTo>
                          <a:pt x="168" y="480"/>
                        </a:lnTo>
                        <a:lnTo>
                          <a:pt x="186" y="444"/>
                        </a:lnTo>
                        <a:lnTo>
                          <a:pt x="198" y="432"/>
                        </a:lnTo>
                        <a:lnTo>
                          <a:pt x="210" y="432"/>
                        </a:lnTo>
                        <a:lnTo>
                          <a:pt x="228" y="438"/>
                        </a:lnTo>
                        <a:lnTo>
                          <a:pt x="270" y="438"/>
                        </a:lnTo>
                        <a:lnTo>
                          <a:pt x="324" y="432"/>
                        </a:lnTo>
                        <a:lnTo>
                          <a:pt x="366" y="426"/>
                        </a:lnTo>
                        <a:lnTo>
                          <a:pt x="390" y="414"/>
                        </a:lnTo>
                        <a:lnTo>
                          <a:pt x="402" y="402"/>
                        </a:lnTo>
                        <a:lnTo>
                          <a:pt x="414" y="384"/>
                        </a:lnTo>
                        <a:lnTo>
                          <a:pt x="426" y="372"/>
                        </a:lnTo>
                        <a:lnTo>
                          <a:pt x="450" y="360"/>
                        </a:lnTo>
                        <a:lnTo>
                          <a:pt x="462" y="348"/>
                        </a:lnTo>
                        <a:lnTo>
                          <a:pt x="474" y="342"/>
                        </a:lnTo>
                        <a:lnTo>
                          <a:pt x="486" y="330"/>
                        </a:lnTo>
                        <a:lnTo>
                          <a:pt x="504" y="324"/>
                        </a:lnTo>
                        <a:lnTo>
                          <a:pt x="528" y="312"/>
                        </a:lnTo>
                        <a:lnTo>
                          <a:pt x="546" y="306"/>
                        </a:lnTo>
                        <a:lnTo>
                          <a:pt x="558" y="294"/>
                        </a:lnTo>
                        <a:lnTo>
                          <a:pt x="594" y="276"/>
                        </a:lnTo>
                        <a:lnTo>
                          <a:pt x="666" y="276"/>
                        </a:lnTo>
                        <a:lnTo>
                          <a:pt x="666" y="270"/>
                        </a:lnTo>
                        <a:lnTo>
                          <a:pt x="672" y="264"/>
                        </a:lnTo>
                        <a:lnTo>
                          <a:pt x="684" y="240"/>
                        </a:lnTo>
                        <a:lnTo>
                          <a:pt x="690" y="222"/>
                        </a:lnTo>
                        <a:lnTo>
                          <a:pt x="702" y="210"/>
                        </a:lnTo>
                        <a:lnTo>
                          <a:pt x="708" y="198"/>
                        </a:lnTo>
                        <a:lnTo>
                          <a:pt x="720" y="192"/>
                        </a:lnTo>
                        <a:lnTo>
                          <a:pt x="720" y="186"/>
                        </a:lnTo>
                        <a:lnTo>
                          <a:pt x="732" y="186"/>
                        </a:lnTo>
                        <a:lnTo>
                          <a:pt x="648" y="0"/>
                        </a:lnTo>
                        <a:lnTo>
                          <a:pt x="630" y="0"/>
                        </a:lnTo>
                        <a:lnTo>
                          <a:pt x="588" y="6"/>
                        </a:lnTo>
                        <a:lnTo>
                          <a:pt x="540" y="18"/>
                        </a:lnTo>
                        <a:lnTo>
                          <a:pt x="492" y="24"/>
                        </a:lnTo>
                        <a:lnTo>
                          <a:pt x="468"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84" name="Western Sahara"/>
                  <p:cNvSpPr>
                    <a:spLocks/>
                  </p:cNvSpPr>
                  <p:nvPr/>
                </p:nvSpPr>
                <p:spPr bwMode="gray">
                  <a:xfrm>
                    <a:off x="2353" y="1740"/>
                    <a:ext cx="153" cy="131"/>
                  </a:xfrm>
                  <a:custGeom>
                    <a:avLst/>
                    <a:gdLst>
                      <a:gd name="T0" fmla="*/ 2147483647 w 600"/>
                      <a:gd name="T1" fmla="*/ 0 h 510"/>
                      <a:gd name="T2" fmla="*/ 2147483647 w 600"/>
                      <a:gd name="T3" fmla="*/ 0 h 510"/>
                      <a:gd name="T4" fmla="*/ 2147483647 w 600"/>
                      <a:gd name="T5" fmla="*/ 2147483647 h 510"/>
                      <a:gd name="T6" fmla="*/ 2147483647 w 600"/>
                      <a:gd name="T7" fmla="*/ 2147483647 h 510"/>
                      <a:gd name="T8" fmla="*/ 2147483647 w 600"/>
                      <a:gd name="T9" fmla="*/ 2147483647 h 510"/>
                      <a:gd name="T10" fmla="*/ 2147483647 w 600"/>
                      <a:gd name="T11" fmla="*/ 2147483647 h 510"/>
                      <a:gd name="T12" fmla="*/ 2147483647 w 600"/>
                      <a:gd name="T13" fmla="*/ 2147483647 h 510"/>
                      <a:gd name="T14" fmla="*/ 2147483647 w 600"/>
                      <a:gd name="T15" fmla="*/ 2147483647 h 510"/>
                      <a:gd name="T16" fmla="*/ 2147483647 w 600"/>
                      <a:gd name="T17" fmla="*/ 2147483647 h 510"/>
                      <a:gd name="T18" fmla="*/ 2147483647 w 600"/>
                      <a:gd name="T19" fmla="*/ 2147483647 h 510"/>
                      <a:gd name="T20" fmla="*/ 2147483647 w 600"/>
                      <a:gd name="T21" fmla="*/ 2147483647 h 510"/>
                      <a:gd name="T22" fmla="*/ 2147483647 w 600"/>
                      <a:gd name="T23" fmla="*/ 2147483647 h 510"/>
                      <a:gd name="T24" fmla="*/ 2147483647 w 600"/>
                      <a:gd name="T25" fmla="*/ 2147483647 h 510"/>
                      <a:gd name="T26" fmla="*/ 2147483647 w 600"/>
                      <a:gd name="T27" fmla="*/ 2147483647 h 510"/>
                      <a:gd name="T28" fmla="*/ 2147483647 w 600"/>
                      <a:gd name="T29" fmla="*/ 2147483647 h 510"/>
                      <a:gd name="T30" fmla="*/ 2147483647 w 600"/>
                      <a:gd name="T31" fmla="*/ 2147483647 h 510"/>
                      <a:gd name="T32" fmla="*/ 2147483647 w 600"/>
                      <a:gd name="T33" fmla="*/ 2147483647 h 510"/>
                      <a:gd name="T34" fmla="*/ 2147483647 w 600"/>
                      <a:gd name="T35" fmla="*/ 2147483647 h 510"/>
                      <a:gd name="T36" fmla="*/ 2147483647 w 600"/>
                      <a:gd name="T37" fmla="*/ 2147483647 h 510"/>
                      <a:gd name="T38" fmla="*/ 2147483647 w 600"/>
                      <a:gd name="T39" fmla="*/ 2147483647 h 510"/>
                      <a:gd name="T40" fmla="*/ 2147483647 w 600"/>
                      <a:gd name="T41" fmla="*/ 2147483647 h 510"/>
                      <a:gd name="T42" fmla="*/ 2147483647 w 600"/>
                      <a:gd name="T43" fmla="*/ 2147483647 h 510"/>
                      <a:gd name="T44" fmla="*/ 2147483647 w 600"/>
                      <a:gd name="T45" fmla="*/ 2147483647 h 510"/>
                      <a:gd name="T46" fmla="*/ 2147483647 w 600"/>
                      <a:gd name="T47" fmla="*/ 2147483647 h 510"/>
                      <a:gd name="T48" fmla="*/ 2147483647 w 600"/>
                      <a:gd name="T49" fmla="*/ 2147483647 h 510"/>
                      <a:gd name="T50" fmla="*/ 2147483647 w 600"/>
                      <a:gd name="T51" fmla="*/ 2147483647 h 510"/>
                      <a:gd name="T52" fmla="*/ 2147483647 w 600"/>
                      <a:gd name="T53" fmla="*/ 2147483647 h 510"/>
                      <a:gd name="T54" fmla="*/ 2147483647 w 600"/>
                      <a:gd name="T55" fmla="*/ 2147483647 h 510"/>
                      <a:gd name="T56" fmla="*/ 2147483647 w 600"/>
                      <a:gd name="T57" fmla="*/ 2147483647 h 510"/>
                      <a:gd name="T58" fmla="*/ 2147483647 w 600"/>
                      <a:gd name="T59" fmla="*/ 2147483647 h 510"/>
                      <a:gd name="T60" fmla="*/ 2147483647 w 600"/>
                      <a:gd name="T61" fmla="*/ 2147483647 h 510"/>
                      <a:gd name="T62" fmla="*/ 2147483647 w 600"/>
                      <a:gd name="T63" fmla="*/ 2147483647 h 510"/>
                      <a:gd name="T64" fmla="*/ 2147483647 w 600"/>
                      <a:gd name="T65" fmla="*/ 2147483647 h 510"/>
                      <a:gd name="T66" fmla="*/ 2147483647 w 600"/>
                      <a:gd name="T67" fmla="*/ 2147483647 h 510"/>
                      <a:gd name="T68" fmla="*/ 2147483647 w 600"/>
                      <a:gd name="T69" fmla="*/ 2147483647 h 510"/>
                      <a:gd name="T70" fmla="*/ 2147483647 w 600"/>
                      <a:gd name="T71" fmla="*/ 2147483647 h 510"/>
                      <a:gd name="T72" fmla="*/ 2147483647 w 600"/>
                      <a:gd name="T73" fmla="*/ 2147483647 h 510"/>
                      <a:gd name="T74" fmla="*/ 2147483647 w 600"/>
                      <a:gd name="T75" fmla="*/ 2147483647 h 510"/>
                      <a:gd name="T76" fmla="*/ 2147483647 w 600"/>
                      <a:gd name="T77" fmla="*/ 2147483647 h 510"/>
                      <a:gd name="T78" fmla="*/ 0 w 600"/>
                      <a:gd name="T79" fmla="*/ 2147483647 h 510"/>
                      <a:gd name="T80" fmla="*/ 0 w 600"/>
                      <a:gd name="T81" fmla="*/ 2147483647 h 510"/>
                      <a:gd name="T82" fmla="*/ 2147483647 w 600"/>
                      <a:gd name="T83" fmla="*/ 2147483647 h 510"/>
                      <a:gd name="T84" fmla="*/ 2147483647 w 600"/>
                      <a:gd name="T85" fmla="*/ 2147483647 h 510"/>
                      <a:gd name="T86" fmla="*/ 2147483647 w 600"/>
                      <a:gd name="T87" fmla="*/ 2147483647 h 510"/>
                      <a:gd name="T88" fmla="*/ 2147483647 w 600"/>
                      <a:gd name="T89" fmla="*/ 2147483647 h 510"/>
                      <a:gd name="T90" fmla="*/ 2147483647 w 600"/>
                      <a:gd name="T91" fmla="*/ 2147483647 h 510"/>
                      <a:gd name="T92" fmla="*/ 2147483647 w 600"/>
                      <a:gd name="T93" fmla="*/ 2147483647 h 510"/>
                      <a:gd name="T94" fmla="*/ 2147483647 w 600"/>
                      <a:gd name="T95" fmla="*/ 2147483647 h 510"/>
                      <a:gd name="T96" fmla="*/ 2147483647 w 600"/>
                      <a:gd name="T97" fmla="*/ 2147483647 h 510"/>
                      <a:gd name="T98" fmla="*/ 2147483647 w 600"/>
                      <a:gd name="T99" fmla="*/ 2147483647 h 510"/>
                      <a:gd name="T100" fmla="*/ 2147483647 w 600"/>
                      <a:gd name="T101" fmla="*/ 2147483647 h 510"/>
                      <a:gd name="T102" fmla="*/ 2147483647 w 600"/>
                      <a:gd name="T103" fmla="*/ 2147483647 h 510"/>
                      <a:gd name="T104" fmla="*/ 2147483647 w 600"/>
                      <a:gd name="T105" fmla="*/ 2147483647 h 510"/>
                      <a:gd name="T106" fmla="*/ 2147483647 w 600"/>
                      <a:gd name="T107" fmla="*/ 2147483647 h 510"/>
                      <a:gd name="T108" fmla="*/ 2147483647 w 600"/>
                      <a:gd name="T109" fmla="*/ 2147483647 h 510"/>
                      <a:gd name="T110" fmla="*/ 2147483647 w 600"/>
                      <a:gd name="T111" fmla="*/ 2147483647 h 510"/>
                      <a:gd name="T112" fmla="*/ 2147483647 w 600"/>
                      <a:gd name="T113" fmla="*/ 0 h 510"/>
                      <a:gd name="T114" fmla="*/ 2147483647 w 600"/>
                      <a:gd name="T115" fmla="*/ 0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00"/>
                      <a:gd name="T175" fmla="*/ 0 h 510"/>
                      <a:gd name="T176" fmla="*/ 600 w 600"/>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00" h="510">
                        <a:moveTo>
                          <a:pt x="546" y="0"/>
                        </a:moveTo>
                        <a:lnTo>
                          <a:pt x="288" y="0"/>
                        </a:lnTo>
                        <a:lnTo>
                          <a:pt x="282" y="6"/>
                        </a:lnTo>
                        <a:lnTo>
                          <a:pt x="270" y="30"/>
                        </a:lnTo>
                        <a:lnTo>
                          <a:pt x="270" y="42"/>
                        </a:lnTo>
                        <a:lnTo>
                          <a:pt x="264" y="54"/>
                        </a:lnTo>
                        <a:lnTo>
                          <a:pt x="264" y="66"/>
                        </a:lnTo>
                        <a:lnTo>
                          <a:pt x="234" y="96"/>
                        </a:lnTo>
                        <a:lnTo>
                          <a:pt x="198" y="96"/>
                        </a:lnTo>
                        <a:lnTo>
                          <a:pt x="186" y="108"/>
                        </a:lnTo>
                        <a:lnTo>
                          <a:pt x="186" y="144"/>
                        </a:lnTo>
                        <a:lnTo>
                          <a:pt x="156" y="174"/>
                        </a:lnTo>
                        <a:lnTo>
                          <a:pt x="156" y="186"/>
                        </a:lnTo>
                        <a:lnTo>
                          <a:pt x="168" y="210"/>
                        </a:lnTo>
                        <a:lnTo>
                          <a:pt x="168" y="222"/>
                        </a:lnTo>
                        <a:lnTo>
                          <a:pt x="156" y="246"/>
                        </a:lnTo>
                        <a:lnTo>
                          <a:pt x="144" y="252"/>
                        </a:lnTo>
                        <a:lnTo>
                          <a:pt x="138" y="252"/>
                        </a:lnTo>
                        <a:lnTo>
                          <a:pt x="132" y="258"/>
                        </a:lnTo>
                        <a:lnTo>
                          <a:pt x="126" y="270"/>
                        </a:lnTo>
                        <a:lnTo>
                          <a:pt x="114" y="282"/>
                        </a:lnTo>
                        <a:lnTo>
                          <a:pt x="102" y="288"/>
                        </a:lnTo>
                        <a:lnTo>
                          <a:pt x="96" y="294"/>
                        </a:lnTo>
                        <a:lnTo>
                          <a:pt x="84" y="300"/>
                        </a:lnTo>
                        <a:lnTo>
                          <a:pt x="78" y="306"/>
                        </a:lnTo>
                        <a:lnTo>
                          <a:pt x="78" y="318"/>
                        </a:lnTo>
                        <a:lnTo>
                          <a:pt x="90" y="324"/>
                        </a:lnTo>
                        <a:lnTo>
                          <a:pt x="78" y="330"/>
                        </a:lnTo>
                        <a:lnTo>
                          <a:pt x="60" y="366"/>
                        </a:lnTo>
                        <a:lnTo>
                          <a:pt x="60" y="384"/>
                        </a:lnTo>
                        <a:lnTo>
                          <a:pt x="48" y="384"/>
                        </a:lnTo>
                        <a:lnTo>
                          <a:pt x="48" y="390"/>
                        </a:lnTo>
                        <a:lnTo>
                          <a:pt x="54" y="396"/>
                        </a:lnTo>
                        <a:lnTo>
                          <a:pt x="54" y="408"/>
                        </a:lnTo>
                        <a:lnTo>
                          <a:pt x="48" y="420"/>
                        </a:lnTo>
                        <a:lnTo>
                          <a:pt x="36" y="426"/>
                        </a:lnTo>
                        <a:lnTo>
                          <a:pt x="24" y="426"/>
                        </a:lnTo>
                        <a:lnTo>
                          <a:pt x="18" y="432"/>
                        </a:lnTo>
                        <a:lnTo>
                          <a:pt x="6" y="456"/>
                        </a:lnTo>
                        <a:lnTo>
                          <a:pt x="0" y="462"/>
                        </a:lnTo>
                        <a:lnTo>
                          <a:pt x="0" y="510"/>
                        </a:lnTo>
                        <a:lnTo>
                          <a:pt x="276" y="510"/>
                        </a:lnTo>
                        <a:lnTo>
                          <a:pt x="282" y="408"/>
                        </a:lnTo>
                        <a:lnTo>
                          <a:pt x="276" y="396"/>
                        </a:lnTo>
                        <a:lnTo>
                          <a:pt x="276" y="378"/>
                        </a:lnTo>
                        <a:lnTo>
                          <a:pt x="282" y="366"/>
                        </a:lnTo>
                        <a:lnTo>
                          <a:pt x="306" y="354"/>
                        </a:lnTo>
                        <a:lnTo>
                          <a:pt x="336" y="354"/>
                        </a:lnTo>
                        <a:lnTo>
                          <a:pt x="348" y="348"/>
                        </a:lnTo>
                        <a:lnTo>
                          <a:pt x="354" y="342"/>
                        </a:lnTo>
                        <a:lnTo>
                          <a:pt x="354" y="150"/>
                        </a:lnTo>
                        <a:lnTo>
                          <a:pt x="366" y="144"/>
                        </a:lnTo>
                        <a:lnTo>
                          <a:pt x="366" y="132"/>
                        </a:lnTo>
                        <a:lnTo>
                          <a:pt x="588" y="126"/>
                        </a:lnTo>
                        <a:lnTo>
                          <a:pt x="588" y="90"/>
                        </a:lnTo>
                        <a:lnTo>
                          <a:pt x="594" y="84"/>
                        </a:lnTo>
                        <a:lnTo>
                          <a:pt x="600" y="0"/>
                        </a:lnTo>
                        <a:lnTo>
                          <a:pt x="546"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85" name="West Bank"/>
                  <p:cNvSpPr>
                    <a:spLocks/>
                  </p:cNvSpPr>
                  <p:nvPr/>
                </p:nvSpPr>
                <p:spPr bwMode="gray">
                  <a:xfrm>
                    <a:off x="3269" y="1641"/>
                    <a:ext cx="11" cy="24"/>
                  </a:xfrm>
                  <a:custGeom>
                    <a:avLst/>
                    <a:gdLst>
                      <a:gd name="T0" fmla="*/ 2147483647 w 42"/>
                      <a:gd name="T1" fmla="*/ 2147483647 h 96"/>
                      <a:gd name="T2" fmla="*/ 2147483647 w 42"/>
                      <a:gd name="T3" fmla="*/ 2147483647 h 96"/>
                      <a:gd name="T4" fmla="*/ 2147483647 w 42"/>
                      <a:gd name="T5" fmla="*/ 2147483647 h 96"/>
                      <a:gd name="T6" fmla="*/ 2147483647 w 42"/>
                      <a:gd name="T7" fmla="*/ 0 h 96"/>
                      <a:gd name="T8" fmla="*/ 2147483647 w 42"/>
                      <a:gd name="T9" fmla="*/ 0 h 96"/>
                      <a:gd name="T10" fmla="*/ 0 w 42"/>
                      <a:gd name="T11" fmla="*/ 2147483647 h 96"/>
                      <a:gd name="T12" fmla="*/ 0 w 42"/>
                      <a:gd name="T13" fmla="*/ 2147483647 h 96"/>
                      <a:gd name="T14" fmla="*/ 2147483647 w 42"/>
                      <a:gd name="T15" fmla="*/ 2147483647 h 96"/>
                      <a:gd name="T16" fmla="*/ 2147483647 w 42"/>
                      <a:gd name="T17" fmla="*/ 2147483647 h 96"/>
                      <a:gd name="T18" fmla="*/ 2147483647 w 42"/>
                      <a:gd name="T19" fmla="*/ 2147483647 h 96"/>
                      <a:gd name="T20" fmla="*/ 2147483647 w 42"/>
                      <a:gd name="T21" fmla="*/ 2147483647 h 96"/>
                      <a:gd name="T22" fmla="*/ 2147483647 w 42"/>
                      <a:gd name="T23" fmla="*/ 2147483647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42"/>
                      <a:gd name="T37" fmla="*/ 0 h 96"/>
                      <a:gd name="T38" fmla="*/ 42 w 4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42" h="96">
                        <a:moveTo>
                          <a:pt x="24" y="78"/>
                        </a:moveTo>
                        <a:lnTo>
                          <a:pt x="30" y="84"/>
                        </a:lnTo>
                        <a:lnTo>
                          <a:pt x="42" y="72"/>
                        </a:lnTo>
                        <a:lnTo>
                          <a:pt x="36" y="0"/>
                        </a:lnTo>
                        <a:lnTo>
                          <a:pt x="18" y="0"/>
                        </a:lnTo>
                        <a:lnTo>
                          <a:pt x="0" y="18"/>
                        </a:lnTo>
                        <a:lnTo>
                          <a:pt x="0" y="90"/>
                        </a:lnTo>
                        <a:lnTo>
                          <a:pt x="6" y="96"/>
                        </a:lnTo>
                        <a:lnTo>
                          <a:pt x="12" y="90"/>
                        </a:lnTo>
                        <a:lnTo>
                          <a:pt x="18" y="90"/>
                        </a:lnTo>
                        <a:lnTo>
                          <a:pt x="18" y="84"/>
                        </a:lnTo>
                        <a:lnTo>
                          <a:pt x="24" y="7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86" name="Uzbekistan"/>
                  <p:cNvSpPr>
                    <a:spLocks/>
                  </p:cNvSpPr>
                  <p:nvPr/>
                </p:nvSpPr>
                <p:spPr bwMode="gray">
                  <a:xfrm>
                    <a:off x="3586" y="1374"/>
                    <a:ext cx="303" cy="170"/>
                  </a:xfrm>
                  <a:custGeom>
                    <a:avLst/>
                    <a:gdLst>
                      <a:gd name="T0" fmla="*/ 2147483647 w 1182"/>
                      <a:gd name="T1" fmla="*/ 2147483647 h 666"/>
                      <a:gd name="T2" fmla="*/ 2147483647 w 1182"/>
                      <a:gd name="T3" fmla="*/ 2147483647 h 666"/>
                      <a:gd name="T4" fmla="*/ 2147483647 w 1182"/>
                      <a:gd name="T5" fmla="*/ 2147483647 h 666"/>
                      <a:gd name="T6" fmla="*/ 2147483647 w 1182"/>
                      <a:gd name="T7" fmla="*/ 2147483647 h 666"/>
                      <a:gd name="T8" fmla="*/ 2147483647 w 1182"/>
                      <a:gd name="T9" fmla="*/ 2147483647 h 666"/>
                      <a:gd name="T10" fmla="*/ 2147483647 w 1182"/>
                      <a:gd name="T11" fmla="*/ 2147483647 h 666"/>
                      <a:gd name="T12" fmla="*/ 2147483647 w 1182"/>
                      <a:gd name="T13" fmla="*/ 2147483647 h 666"/>
                      <a:gd name="T14" fmla="*/ 2147483647 w 1182"/>
                      <a:gd name="T15" fmla="*/ 2147483647 h 666"/>
                      <a:gd name="T16" fmla="*/ 2147483647 w 1182"/>
                      <a:gd name="T17" fmla="*/ 2147483647 h 666"/>
                      <a:gd name="T18" fmla="*/ 2147483647 w 1182"/>
                      <a:gd name="T19" fmla="*/ 2147483647 h 666"/>
                      <a:gd name="T20" fmla="*/ 2147483647 w 1182"/>
                      <a:gd name="T21" fmla="*/ 2147483647 h 666"/>
                      <a:gd name="T22" fmla="*/ 2147483647 w 1182"/>
                      <a:gd name="T23" fmla="*/ 2147483647 h 666"/>
                      <a:gd name="T24" fmla="*/ 2147483647 w 1182"/>
                      <a:gd name="T25" fmla="*/ 2147483647 h 666"/>
                      <a:gd name="T26" fmla="*/ 2147483647 w 1182"/>
                      <a:gd name="T27" fmla="*/ 2147483647 h 666"/>
                      <a:gd name="T28" fmla="*/ 2147483647 w 1182"/>
                      <a:gd name="T29" fmla="*/ 2147483647 h 666"/>
                      <a:gd name="T30" fmla="*/ 2147483647 w 1182"/>
                      <a:gd name="T31" fmla="*/ 2147483647 h 666"/>
                      <a:gd name="T32" fmla="*/ 2147483647 w 1182"/>
                      <a:gd name="T33" fmla="*/ 2147483647 h 666"/>
                      <a:gd name="T34" fmla="*/ 2147483647 w 1182"/>
                      <a:gd name="T35" fmla="*/ 2147483647 h 666"/>
                      <a:gd name="T36" fmla="*/ 2147483647 w 1182"/>
                      <a:gd name="T37" fmla="*/ 2147483647 h 666"/>
                      <a:gd name="T38" fmla="*/ 2147483647 w 1182"/>
                      <a:gd name="T39" fmla="*/ 2147483647 h 666"/>
                      <a:gd name="T40" fmla="*/ 2147483647 w 1182"/>
                      <a:gd name="T41" fmla="*/ 2147483647 h 666"/>
                      <a:gd name="T42" fmla="*/ 2147483647 w 1182"/>
                      <a:gd name="T43" fmla="*/ 2147483647 h 666"/>
                      <a:gd name="T44" fmla="*/ 2147483647 w 1182"/>
                      <a:gd name="T45" fmla="*/ 2147483647 h 666"/>
                      <a:gd name="T46" fmla="*/ 2147483647 w 1182"/>
                      <a:gd name="T47" fmla="*/ 2147483647 h 666"/>
                      <a:gd name="T48" fmla="*/ 2147483647 w 1182"/>
                      <a:gd name="T49" fmla="*/ 2147483647 h 666"/>
                      <a:gd name="T50" fmla="*/ 2147483647 w 1182"/>
                      <a:gd name="T51" fmla="*/ 2147483647 h 666"/>
                      <a:gd name="T52" fmla="*/ 2147483647 w 1182"/>
                      <a:gd name="T53" fmla="*/ 2147483647 h 666"/>
                      <a:gd name="T54" fmla="*/ 2147483647 w 1182"/>
                      <a:gd name="T55" fmla="*/ 2147483647 h 666"/>
                      <a:gd name="T56" fmla="*/ 2147483647 w 1182"/>
                      <a:gd name="T57" fmla="*/ 2147483647 h 666"/>
                      <a:gd name="T58" fmla="*/ 2147483647 w 1182"/>
                      <a:gd name="T59" fmla="*/ 2147483647 h 666"/>
                      <a:gd name="T60" fmla="*/ 2147483647 w 1182"/>
                      <a:gd name="T61" fmla="*/ 2147483647 h 666"/>
                      <a:gd name="T62" fmla="*/ 2147483647 w 1182"/>
                      <a:gd name="T63" fmla="*/ 2147483647 h 666"/>
                      <a:gd name="T64" fmla="*/ 2147483647 w 1182"/>
                      <a:gd name="T65" fmla="*/ 2147483647 h 666"/>
                      <a:gd name="T66" fmla="*/ 2147483647 w 1182"/>
                      <a:gd name="T67" fmla="*/ 2147483647 h 666"/>
                      <a:gd name="T68" fmla="*/ 2147483647 w 1182"/>
                      <a:gd name="T69" fmla="*/ 2147483647 h 666"/>
                      <a:gd name="T70" fmla="*/ 2147483647 w 1182"/>
                      <a:gd name="T71" fmla="*/ 2147483647 h 666"/>
                      <a:gd name="T72" fmla="*/ 2147483647 w 1182"/>
                      <a:gd name="T73" fmla="*/ 2147483647 h 666"/>
                      <a:gd name="T74" fmla="*/ 2147483647 w 1182"/>
                      <a:gd name="T75" fmla="*/ 2147483647 h 666"/>
                      <a:gd name="T76" fmla="*/ 2147483647 w 1182"/>
                      <a:gd name="T77" fmla="*/ 2147483647 h 666"/>
                      <a:gd name="T78" fmla="*/ 2147483647 w 1182"/>
                      <a:gd name="T79" fmla="*/ 2147483647 h 666"/>
                      <a:gd name="T80" fmla="*/ 2147483647 w 1182"/>
                      <a:gd name="T81" fmla="*/ 2147483647 h 666"/>
                      <a:gd name="T82" fmla="*/ 2147483647 w 1182"/>
                      <a:gd name="T83" fmla="*/ 2147483647 h 666"/>
                      <a:gd name="T84" fmla="*/ 2147483647 w 1182"/>
                      <a:gd name="T85" fmla="*/ 2147483647 h 666"/>
                      <a:gd name="T86" fmla="*/ 2147483647 w 1182"/>
                      <a:gd name="T87" fmla="*/ 2147483647 h 666"/>
                      <a:gd name="T88" fmla="*/ 2147483647 w 1182"/>
                      <a:gd name="T89" fmla="*/ 2147483647 h 666"/>
                      <a:gd name="T90" fmla="*/ 2147483647 w 1182"/>
                      <a:gd name="T91" fmla="*/ 2147483647 h 666"/>
                      <a:gd name="T92" fmla="*/ 2147483647 w 1182"/>
                      <a:gd name="T93" fmla="*/ 2147483647 h 666"/>
                      <a:gd name="T94" fmla="*/ 2147483647 w 1182"/>
                      <a:gd name="T95" fmla="*/ 2147483647 h 666"/>
                      <a:gd name="T96" fmla="*/ 2147483647 w 1182"/>
                      <a:gd name="T97" fmla="*/ 2147483647 h 666"/>
                      <a:gd name="T98" fmla="*/ 2147483647 w 1182"/>
                      <a:gd name="T99" fmla="*/ 2147483647 h 666"/>
                      <a:gd name="T100" fmla="*/ 2147483647 w 1182"/>
                      <a:gd name="T101" fmla="*/ 2147483647 h 666"/>
                      <a:gd name="T102" fmla="*/ 2147483647 w 1182"/>
                      <a:gd name="T103" fmla="*/ 2147483647 h 666"/>
                      <a:gd name="T104" fmla="*/ 2147483647 w 1182"/>
                      <a:gd name="T105" fmla="*/ 2147483647 h 666"/>
                      <a:gd name="T106" fmla="*/ 2147483647 w 1182"/>
                      <a:gd name="T107" fmla="*/ 2147483647 h 666"/>
                      <a:gd name="T108" fmla="*/ 2147483647 w 1182"/>
                      <a:gd name="T109" fmla="*/ 2147483647 h 666"/>
                      <a:gd name="T110" fmla="*/ 2147483647 w 1182"/>
                      <a:gd name="T111" fmla="*/ 2147483647 h 666"/>
                      <a:gd name="T112" fmla="*/ 2147483647 w 1182"/>
                      <a:gd name="T113" fmla="*/ 2147483647 h 666"/>
                      <a:gd name="T114" fmla="*/ 2147483647 w 1182"/>
                      <a:gd name="T115" fmla="*/ 2147483647 h 66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182"/>
                      <a:gd name="T175" fmla="*/ 0 h 666"/>
                      <a:gd name="T176" fmla="*/ 1182 w 1182"/>
                      <a:gd name="T177" fmla="*/ 666 h 66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182" h="666">
                        <a:moveTo>
                          <a:pt x="1152" y="372"/>
                        </a:moveTo>
                        <a:lnTo>
                          <a:pt x="1146" y="360"/>
                        </a:lnTo>
                        <a:lnTo>
                          <a:pt x="1122" y="360"/>
                        </a:lnTo>
                        <a:lnTo>
                          <a:pt x="1116" y="342"/>
                        </a:lnTo>
                        <a:lnTo>
                          <a:pt x="1098" y="342"/>
                        </a:lnTo>
                        <a:lnTo>
                          <a:pt x="1080" y="318"/>
                        </a:lnTo>
                        <a:lnTo>
                          <a:pt x="1080" y="330"/>
                        </a:lnTo>
                        <a:lnTo>
                          <a:pt x="1068" y="330"/>
                        </a:lnTo>
                        <a:lnTo>
                          <a:pt x="1068" y="342"/>
                        </a:lnTo>
                        <a:lnTo>
                          <a:pt x="1032" y="342"/>
                        </a:lnTo>
                        <a:lnTo>
                          <a:pt x="1020" y="330"/>
                        </a:lnTo>
                        <a:lnTo>
                          <a:pt x="990" y="318"/>
                        </a:lnTo>
                        <a:lnTo>
                          <a:pt x="1038" y="270"/>
                        </a:lnTo>
                        <a:lnTo>
                          <a:pt x="1038" y="264"/>
                        </a:lnTo>
                        <a:lnTo>
                          <a:pt x="1032" y="264"/>
                        </a:lnTo>
                        <a:lnTo>
                          <a:pt x="1032" y="258"/>
                        </a:lnTo>
                        <a:lnTo>
                          <a:pt x="1002" y="276"/>
                        </a:lnTo>
                        <a:lnTo>
                          <a:pt x="978" y="276"/>
                        </a:lnTo>
                        <a:lnTo>
                          <a:pt x="966" y="300"/>
                        </a:lnTo>
                        <a:lnTo>
                          <a:pt x="960" y="300"/>
                        </a:lnTo>
                        <a:lnTo>
                          <a:pt x="954" y="306"/>
                        </a:lnTo>
                        <a:lnTo>
                          <a:pt x="942" y="306"/>
                        </a:lnTo>
                        <a:lnTo>
                          <a:pt x="930" y="312"/>
                        </a:lnTo>
                        <a:lnTo>
                          <a:pt x="918" y="324"/>
                        </a:lnTo>
                        <a:lnTo>
                          <a:pt x="918" y="342"/>
                        </a:lnTo>
                        <a:lnTo>
                          <a:pt x="912" y="342"/>
                        </a:lnTo>
                        <a:lnTo>
                          <a:pt x="906" y="348"/>
                        </a:lnTo>
                        <a:lnTo>
                          <a:pt x="894" y="354"/>
                        </a:lnTo>
                        <a:lnTo>
                          <a:pt x="882" y="366"/>
                        </a:lnTo>
                        <a:lnTo>
                          <a:pt x="882" y="378"/>
                        </a:lnTo>
                        <a:lnTo>
                          <a:pt x="888" y="384"/>
                        </a:lnTo>
                        <a:lnTo>
                          <a:pt x="888" y="396"/>
                        </a:lnTo>
                        <a:lnTo>
                          <a:pt x="882" y="390"/>
                        </a:lnTo>
                        <a:lnTo>
                          <a:pt x="870" y="390"/>
                        </a:lnTo>
                        <a:lnTo>
                          <a:pt x="858" y="384"/>
                        </a:lnTo>
                        <a:lnTo>
                          <a:pt x="852" y="384"/>
                        </a:lnTo>
                        <a:lnTo>
                          <a:pt x="852" y="372"/>
                        </a:lnTo>
                        <a:lnTo>
                          <a:pt x="858" y="366"/>
                        </a:lnTo>
                        <a:lnTo>
                          <a:pt x="858" y="348"/>
                        </a:lnTo>
                        <a:lnTo>
                          <a:pt x="840" y="342"/>
                        </a:lnTo>
                        <a:lnTo>
                          <a:pt x="762" y="342"/>
                        </a:lnTo>
                        <a:lnTo>
                          <a:pt x="732" y="282"/>
                        </a:lnTo>
                        <a:lnTo>
                          <a:pt x="726" y="276"/>
                        </a:lnTo>
                        <a:lnTo>
                          <a:pt x="714" y="276"/>
                        </a:lnTo>
                        <a:lnTo>
                          <a:pt x="708" y="282"/>
                        </a:lnTo>
                        <a:lnTo>
                          <a:pt x="702" y="282"/>
                        </a:lnTo>
                        <a:lnTo>
                          <a:pt x="696" y="276"/>
                        </a:lnTo>
                        <a:lnTo>
                          <a:pt x="696" y="234"/>
                        </a:lnTo>
                        <a:lnTo>
                          <a:pt x="690" y="216"/>
                        </a:lnTo>
                        <a:lnTo>
                          <a:pt x="690" y="204"/>
                        </a:lnTo>
                        <a:lnTo>
                          <a:pt x="660" y="204"/>
                        </a:lnTo>
                        <a:lnTo>
                          <a:pt x="654" y="192"/>
                        </a:lnTo>
                        <a:lnTo>
                          <a:pt x="642" y="186"/>
                        </a:lnTo>
                        <a:lnTo>
                          <a:pt x="636" y="168"/>
                        </a:lnTo>
                        <a:lnTo>
                          <a:pt x="618" y="150"/>
                        </a:lnTo>
                        <a:lnTo>
                          <a:pt x="612" y="138"/>
                        </a:lnTo>
                        <a:lnTo>
                          <a:pt x="600" y="138"/>
                        </a:lnTo>
                        <a:lnTo>
                          <a:pt x="576" y="150"/>
                        </a:lnTo>
                        <a:lnTo>
                          <a:pt x="570" y="156"/>
                        </a:lnTo>
                        <a:lnTo>
                          <a:pt x="552" y="156"/>
                        </a:lnTo>
                        <a:lnTo>
                          <a:pt x="534" y="150"/>
                        </a:lnTo>
                        <a:lnTo>
                          <a:pt x="474" y="150"/>
                        </a:lnTo>
                        <a:lnTo>
                          <a:pt x="456" y="156"/>
                        </a:lnTo>
                        <a:lnTo>
                          <a:pt x="420" y="156"/>
                        </a:lnTo>
                        <a:lnTo>
                          <a:pt x="414" y="162"/>
                        </a:lnTo>
                        <a:lnTo>
                          <a:pt x="408" y="162"/>
                        </a:lnTo>
                        <a:lnTo>
                          <a:pt x="330" y="90"/>
                        </a:lnTo>
                        <a:lnTo>
                          <a:pt x="264" y="54"/>
                        </a:lnTo>
                        <a:lnTo>
                          <a:pt x="270" y="66"/>
                        </a:lnTo>
                        <a:lnTo>
                          <a:pt x="270" y="90"/>
                        </a:lnTo>
                        <a:lnTo>
                          <a:pt x="264" y="102"/>
                        </a:lnTo>
                        <a:lnTo>
                          <a:pt x="258" y="108"/>
                        </a:lnTo>
                        <a:lnTo>
                          <a:pt x="240" y="108"/>
                        </a:lnTo>
                        <a:lnTo>
                          <a:pt x="228" y="102"/>
                        </a:lnTo>
                        <a:lnTo>
                          <a:pt x="222" y="96"/>
                        </a:lnTo>
                        <a:lnTo>
                          <a:pt x="222" y="78"/>
                        </a:lnTo>
                        <a:lnTo>
                          <a:pt x="210" y="54"/>
                        </a:lnTo>
                        <a:lnTo>
                          <a:pt x="216" y="36"/>
                        </a:lnTo>
                        <a:lnTo>
                          <a:pt x="162" y="12"/>
                        </a:lnTo>
                        <a:lnTo>
                          <a:pt x="156" y="30"/>
                        </a:lnTo>
                        <a:lnTo>
                          <a:pt x="168" y="36"/>
                        </a:lnTo>
                        <a:lnTo>
                          <a:pt x="174" y="48"/>
                        </a:lnTo>
                        <a:lnTo>
                          <a:pt x="174" y="72"/>
                        </a:lnTo>
                        <a:lnTo>
                          <a:pt x="168" y="78"/>
                        </a:lnTo>
                        <a:lnTo>
                          <a:pt x="156" y="84"/>
                        </a:lnTo>
                        <a:lnTo>
                          <a:pt x="150" y="84"/>
                        </a:lnTo>
                        <a:lnTo>
                          <a:pt x="144" y="78"/>
                        </a:lnTo>
                        <a:lnTo>
                          <a:pt x="144" y="60"/>
                        </a:lnTo>
                        <a:lnTo>
                          <a:pt x="132" y="48"/>
                        </a:lnTo>
                        <a:lnTo>
                          <a:pt x="132" y="42"/>
                        </a:lnTo>
                        <a:lnTo>
                          <a:pt x="144" y="30"/>
                        </a:lnTo>
                        <a:lnTo>
                          <a:pt x="150" y="6"/>
                        </a:lnTo>
                        <a:lnTo>
                          <a:pt x="144" y="0"/>
                        </a:lnTo>
                        <a:lnTo>
                          <a:pt x="0" y="42"/>
                        </a:lnTo>
                        <a:lnTo>
                          <a:pt x="48" y="324"/>
                        </a:lnTo>
                        <a:lnTo>
                          <a:pt x="60" y="324"/>
                        </a:lnTo>
                        <a:lnTo>
                          <a:pt x="72" y="336"/>
                        </a:lnTo>
                        <a:lnTo>
                          <a:pt x="138" y="336"/>
                        </a:lnTo>
                        <a:lnTo>
                          <a:pt x="132" y="324"/>
                        </a:lnTo>
                        <a:lnTo>
                          <a:pt x="120" y="318"/>
                        </a:lnTo>
                        <a:lnTo>
                          <a:pt x="114" y="300"/>
                        </a:lnTo>
                        <a:lnTo>
                          <a:pt x="114" y="288"/>
                        </a:lnTo>
                        <a:lnTo>
                          <a:pt x="132" y="270"/>
                        </a:lnTo>
                        <a:lnTo>
                          <a:pt x="144" y="264"/>
                        </a:lnTo>
                        <a:lnTo>
                          <a:pt x="156" y="264"/>
                        </a:lnTo>
                        <a:lnTo>
                          <a:pt x="162" y="258"/>
                        </a:lnTo>
                        <a:lnTo>
                          <a:pt x="168" y="258"/>
                        </a:lnTo>
                        <a:lnTo>
                          <a:pt x="168" y="246"/>
                        </a:lnTo>
                        <a:lnTo>
                          <a:pt x="174" y="240"/>
                        </a:lnTo>
                        <a:lnTo>
                          <a:pt x="180" y="240"/>
                        </a:lnTo>
                        <a:lnTo>
                          <a:pt x="186" y="246"/>
                        </a:lnTo>
                        <a:lnTo>
                          <a:pt x="198" y="246"/>
                        </a:lnTo>
                        <a:lnTo>
                          <a:pt x="204" y="252"/>
                        </a:lnTo>
                        <a:lnTo>
                          <a:pt x="174" y="222"/>
                        </a:lnTo>
                        <a:lnTo>
                          <a:pt x="204" y="228"/>
                        </a:lnTo>
                        <a:lnTo>
                          <a:pt x="210" y="216"/>
                        </a:lnTo>
                        <a:lnTo>
                          <a:pt x="228" y="240"/>
                        </a:lnTo>
                        <a:lnTo>
                          <a:pt x="252" y="240"/>
                        </a:lnTo>
                        <a:lnTo>
                          <a:pt x="252" y="252"/>
                        </a:lnTo>
                        <a:lnTo>
                          <a:pt x="264" y="258"/>
                        </a:lnTo>
                        <a:lnTo>
                          <a:pt x="300" y="258"/>
                        </a:lnTo>
                        <a:lnTo>
                          <a:pt x="306" y="264"/>
                        </a:lnTo>
                        <a:lnTo>
                          <a:pt x="312" y="276"/>
                        </a:lnTo>
                        <a:lnTo>
                          <a:pt x="312" y="288"/>
                        </a:lnTo>
                        <a:lnTo>
                          <a:pt x="324" y="294"/>
                        </a:lnTo>
                        <a:lnTo>
                          <a:pt x="312" y="306"/>
                        </a:lnTo>
                        <a:lnTo>
                          <a:pt x="312" y="318"/>
                        </a:lnTo>
                        <a:lnTo>
                          <a:pt x="330" y="336"/>
                        </a:lnTo>
                        <a:lnTo>
                          <a:pt x="360" y="336"/>
                        </a:lnTo>
                        <a:lnTo>
                          <a:pt x="414" y="342"/>
                        </a:lnTo>
                        <a:lnTo>
                          <a:pt x="414" y="336"/>
                        </a:lnTo>
                        <a:lnTo>
                          <a:pt x="450" y="354"/>
                        </a:lnTo>
                        <a:lnTo>
                          <a:pt x="468" y="384"/>
                        </a:lnTo>
                        <a:lnTo>
                          <a:pt x="486" y="402"/>
                        </a:lnTo>
                        <a:lnTo>
                          <a:pt x="486" y="408"/>
                        </a:lnTo>
                        <a:lnTo>
                          <a:pt x="492" y="414"/>
                        </a:lnTo>
                        <a:lnTo>
                          <a:pt x="510" y="450"/>
                        </a:lnTo>
                        <a:lnTo>
                          <a:pt x="522" y="462"/>
                        </a:lnTo>
                        <a:lnTo>
                          <a:pt x="534" y="468"/>
                        </a:lnTo>
                        <a:lnTo>
                          <a:pt x="552" y="468"/>
                        </a:lnTo>
                        <a:lnTo>
                          <a:pt x="564" y="474"/>
                        </a:lnTo>
                        <a:lnTo>
                          <a:pt x="570" y="474"/>
                        </a:lnTo>
                        <a:lnTo>
                          <a:pt x="582" y="486"/>
                        </a:lnTo>
                        <a:lnTo>
                          <a:pt x="588" y="498"/>
                        </a:lnTo>
                        <a:lnTo>
                          <a:pt x="594" y="504"/>
                        </a:lnTo>
                        <a:lnTo>
                          <a:pt x="624" y="522"/>
                        </a:lnTo>
                        <a:lnTo>
                          <a:pt x="648" y="522"/>
                        </a:lnTo>
                        <a:lnTo>
                          <a:pt x="666" y="534"/>
                        </a:lnTo>
                        <a:lnTo>
                          <a:pt x="690" y="546"/>
                        </a:lnTo>
                        <a:lnTo>
                          <a:pt x="696" y="552"/>
                        </a:lnTo>
                        <a:lnTo>
                          <a:pt x="708" y="558"/>
                        </a:lnTo>
                        <a:lnTo>
                          <a:pt x="720" y="570"/>
                        </a:lnTo>
                        <a:lnTo>
                          <a:pt x="732" y="570"/>
                        </a:lnTo>
                        <a:lnTo>
                          <a:pt x="744" y="582"/>
                        </a:lnTo>
                        <a:lnTo>
                          <a:pt x="750" y="582"/>
                        </a:lnTo>
                        <a:lnTo>
                          <a:pt x="774" y="576"/>
                        </a:lnTo>
                        <a:lnTo>
                          <a:pt x="822" y="606"/>
                        </a:lnTo>
                        <a:lnTo>
                          <a:pt x="816" y="612"/>
                        </a:lnTo>
                        <a:lnTo>
                          <a:pt x="816" y="630"/>
                        </a:lnTo>
                        <a:lnTo>
                          <a:pt x="828" y="642"/>
                        </a:lnTo>
                        <a:lnTo>
                          <a:pt x="828" y="654"/>
                        </a:lnTo>
                        <a:lnTo>
                          <a:pt x="840" y="654"/>
                        </a:lnTo>
                        <a:lnTo>
                          <a:pt x="852" y="642"/>
                        </a:lnTo>
                        <a:lnTo>
                          <a:pt x="870" y="666"/>
                        </a:lnTo>
                        <a:lnTo>
                          <a:pt x="882" y="660"/>
                        </a:lnTo>
                        <a:lnTo>
                          <a:pt x="894" y="660"/>
                        </a:lnTo>
                        <a:lnTo>
                          <a:pt x="900" y="666"/>
                        </a:lnTo>
                        <a:lnTo>
                          <a:pt x="906" y="666"/>
                        </a:lnTo>
                        <a:lnTo>
                          <a:pt x="900" y="666"/>
                        </a:lnTo>
                        <a:lnTo>
                          <a:pt x="900" y="642"/>
                        </a:lnTo>
                        <a:lnTo>
                          <a:pt x="906" y="636"/>
                        </a:lnTo>
                        <a:lnTo>
                          <a:pt x="912" y="624"/>
                        </a:lnTo>
                        <a:lnTo>
                          <a:pt x="924" y="618"/>
                        </a:lnTo>
                        <a:lnTo>
                          <a:pt x="930" y="606"/>
                        </a:lnTo>
                        <a:lnTo>
                          <a:pt x="930" y="588"/>
                        </a:lnTo>
                        <a:lnTo>
                          <a:pt x="918" y="576"/>
                        </a:lnTo>
                        <a:lnTo>
                          <a:pt x="906" y="570"/>
                        </a:lnTo>
                        <a:lnTo>
                          <a:pt x="900" y="564"/>
                        </a:lnTo>
                        <a:lnTo>
                          <a:pt x="900" y="546"/>
                        </a:lnTo>
                        <a:lnTo>
                          <a:pt x="906" y="540"/>
                        </a:lnTo>
                        <a:lnTo>
                          <a:pt x="906" y="534"/>
                        </a:lnTo>
                        <a:lnTo>
                          <a:pt x="894" y="522"/>
                        </a:lnTo>
                        <a:lnTo>
                          <a:pt x="882" y="522"/>
                        </a:lnTo>
                        <a:lnTo>
                          <a:pt x="876" y="516"/>
                        </a:lnTo>
                        <a:lnTo>
                          <a:pt x="870" y="516"/>
                        </a:lnTo>
                        <a:lnTo>
                          <a:pt x="858" y="504"/>
                        </a:lnTo>
                        <a:lnTo>
                          <a:pt x="840" y="504"/>
                        </a:lnTo>
                        <a:lnTo>
                          <a:pt x="840" y="486"/>
                        </a:lnTo>
                        <a:lnTo>
                          <a:pt x="846" y="480"/>
                        </a:lnTo>
                        <a:lnTo>
                          <a:pt x="894" y="480"/>
                        </a:lnTo>
                        <a:lnTo>
                          <a:pt x="918" y="468"/>
                        </a:lnTo>
                        <a:lnTo>
                          <a:pt x="918" y="456"/>
                        </a:lnTo>
                        <a:lnTo>
                          <a:pt x="912" y="456"/>
                        </a:lnTo>
                        <a:lnTo>
                          <a:pt x="930" y="444"/>
                        </a:lnTo>
                        <a:lnTo>
                          <a:pt x="906" y="420"/>
                        </a:lnTo>
                        <a:lnTo>
                          <a:pt x="948" y="420"/>
                        </a:lnTo>
                        <a:lnTo>
                          <a:pt x="948" y="414"/>
                        </a:lnTo>
                        <a:lnTo>
                          <a:pt x="936" y="402"/>
                        </a:lnTo>
                        <a:lnTo>
                          <a:pt x="936" y="390"/>
                        </a:lnTo>
                        <a:lnTo>
                          <a:pt x="942" y="384"/>
                        </a:lnTo>
                        <a:lnTo>
                          <a:pt x="942" y="372"/>
                        </a:lnTo>
                        <a:lnTo>
                          <a:pt x="954" y="372"/>
                        </a:lnTo>
                        <a:lnTo>
                          <a:pt x="972" y="390"/>
                        </a:lnTo>
                        <a:lnTo>
                          <a:pt x="978" y="390"/>
                        </a:lnTo>
                        <a:lnTo>
                          <a:pt x="984" y="378"/>
                        </a:lnTo>
                        <a:lnTo>
                          <a:pt x="996" y="372"/>
                        </a:lnTo>
                        <a:lnTo>
                          <a:pt x="1002" y="360"/>
                        </a:lnTo>
                        <a:lnTo>
                          <a:pt x="1020" y="360"/>
                        </a:lnTo>
                        <a:lnTo>
                          <a:pt x="1032" y="366"/>
                        </a:lnTo>
                        <a:lnTo>
                          <a:pt x="1038" y="372"/>
                        </a:lnTo>
                        <a:lnTo>
                          <a:pt x="1014" y="408"/>
                        </a:lnTo>
                        <a:lnTo>
                          <a:pt x="1026" y="408"/>
                        </a:lnTo>
                        <a:lnTo>
                          <a:pt x="1032" y="414"/>
                        </a:lnTo>
                        <a:lnTo>
                          <a:pt x="1044" y="414"/>
                        </a:lnTo>
                        <a:lnTo>
                          <a:pt x="1050" y="420"/>
                        </a:lnTo>
                        <a:lnTo>
                          <a:pt x="1056" y="420"/>
                        </a:lnTo>
                        <a:lnTo>
                          <a:pt x="1068" y="414"/>
                        </a:lnTo>
                        <a:lnTo>
                          <a:pt x="1086" y="414"/>
                        </a:lnTo>
                        <a:lnTo>
                          <a:pt x="1092" y="420"/>
                        </a:lnTo>
                        <a:lnTo>
                          <a:pt x="1098" y="420"/>
                        </a:lnTo>
                        <a:lnTo>
                          <a:pt x="1104" y="426"/>
                        </a:lnTo>
                        <a:lnTo>
                          <a:pt x="1110" y="426"/>
                        </a:lnTo>
                        <a:lnTo>
                          <a:pt x="1128" y="408"/>
                        </a:lnTo>
                        <a:lnTo>
                          <a:pt x="1146" y="402"/>
                        </a:lnTo>
                        <a:lnTo>
                          <a:pt x="1146" y="396"/>
                        </a:lnTo>
                        <a:lnTo>
                          <a:pt x="1158" y="396"/>
                        </a:lnTo>
                        <a:lnTo>
                          <a:pt x="1170" y="390"/>
                        </a:lnTo>
                        <a:lnTo>
                          <a:pt x="1182" y="378"/>
                        </a:lnTo>
                        <a:lnTo>
                          <a:pt x="1182" y="366"/>
                        </a:lnTo>
                        <a:lnTo>
                          <a:pt x="1170" y="366"/>
                        </a:lnTo>
                        <a:lnTo>
                          <a:pt x="1158" y="372"/>
                        </a:lnTo>
                        <a:lnTo>
                          <a:pt x="1152" y="3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87" name="Vietnam"/>
                  <p:cNvSpPr>
                    <a:spLocks/>
                  </p:cNvSpPr>
                  <p:nvPr/>
                </p:nvSpPr>
                <p:spPr bwMode="gray">
                  <a:xfrm>
                    <a:off x="4478" y="1828"/>
                    <a:ext cx="155" cy="305"/>
                  </a:xfrm>
                  <a:custGeom>
                    <a:avLst/>
                    <a:gdLst>
                      <a:gd name="T0" fmla="*/ 2147483647 w 606"/>
                      <a:gd name="T1" fmla="*/ 2147483647 h 1194"/>
                      <a:gd name="T2" fmla="*/ 2147483647 w 606"/>
                      <a:gd name="T3" fmla="*/ 2147483647 h 1194"/>
                      <a:gd name="T4" fmla="*/ 2147483647 w 606"/>
                      <a:gd name="T5" fmla="*/ 2147483647 h 1194"/>
                      <a:gd name="T6" fmla="*/ 2147483647 w 606"/>
                      <a:gd name="T7" fmla="*/ 2147483647 h 1194"/>
                      <a:gd name="T8" fmla="*/ 2147483647 w 606"/>
                      <a:gd name="T9" fmla="*/ 2147483647 h 1194"/>
                      <a:gd name="T10" fmla="*/ 2147483647 w 606"/>
                      <a:gd name="T11" fmla="*/ 2147483647 h 1194"/>
                      <a:gd name="T12" fmla="*/ 2147483647 w 606"/>
                      <a:gd name="T13" fmla="*/ 2147483647 h 1194"/>
                      <a:gd name="T14" fmla="*/ 2147483647 w 606"/>
                      <a:gd name="T15" fmla="*/ 2147483647 h 1194"/>
                      <a:gd name="T16" fmla="*/ 2147483647 w 606"/>
                      <a:gd name="T17" fmla="*/ 2147483647 h 1194"/>
                      <a:gd name="T18" fmla="*/ 2147483647 w 606"/>
                      <a:gd name="T19" fmla="*/ 2147483647 h 1194"/>
                      <a:gd name="T20" fmla="*/ 2147483647 w 606"/>
                      <a:gd name="T21" fmla="*/ 2147483647 h 1194"/>
                      <a:gd name="T22" fmla="*/ 2147483647 w 606"/>
                      <a:gd name="T23" fmla="*/ 2147483647 h 1194"/>
                      <a:gd name="T24" fmla="*/ 2147483647 w 606"/>
                      <a:gd name="T25" fmla="*/ 2147483647 h 1194"/>
                      <a:gd name="T26" fmla="*/ 2147483647 w 606"/>
                      <a:gd name="T27" fmla="*/ 2147483647 h 1194"/>
                      <a:gd name="T28" fmla="*/ 2147483647 w 606"/>
                      <a:gd name="T29" fmla="*/ 2147483647 h 1194"/>
                      <a:gd name="T30" fmla="*/ 2147483647 w 606"/>
                      <a:gd name="T31" fmla="*/ 2147483647 h 1194"/>
                      <a:gd name="T32" fmla="*/ 2147483647 w 606"/>
                      <a:gd name="T33" fmla="*/ 2147483647 h 1194"/>
                      <a:gd name="T34" fmla="*/ 2147483647 w 606"/>
                      <a:gd name="T35" fmla="*/ 2147483647 h 1194"/>
                      <a:gd name="T36" fmla="*/ 2147483647 w 606"/>
                      <a:gd name="T37" fmla="*/ 2147483647 h 1194"/>
                      <a:gd name="T38" fmla="*/ 2147483647 w 606"/>
                      <a:gd name="T39" fmla="*/ 2147483647 h 1194"/>
                      <a:gd name="T40" fmla="*/ 2147483647 w 606"/>
                      <a:gd name="T41" fmla="*/ 2147483647 h 1194"/>
                      <a:gd name="T42" fmla="*/ 2147483647 w 606"/>
                      <a:gd name="T43" fmla="*/ 2147483647 h 1194"/>
                      <a:gd name="T44" fmla="*/ 2147483647 w 606"/>
                      <a:gd name="T45" fmla="*/ 2147483647 h 1194"/>
                      <a:gd name="T46" fmla="*/ 2147483647 w 606"/>
                      <a:gd name="T47" fmla="*/ 2147483647 h 1194"/>
                      <a:gd name="T48" fmla="*/ 2147483647 w 606"/>
                      <a:gd name="T49" fmla="*/ 2147483647 h 1194"/>
                      <a:gd name="T50" fmla="*/ 2147483647 w 606"/>
                      <a:gd name="T51" fmla="*/ 2147483647 h 1194"/>
                      <a:gd name="T52" fmla="*/ 2147483647 w 606"/>
                      <a:gd name="T53" fmla="*/ 2147483647 h 1194"/>
                      <a:gd name="T54" fmla="*/ 2147483647 w 606"/>
                      <a:gd name="T55" fmla="*/ 2147483647 h 1194"/>
                      <a:gd name="T56" fmla="*/ 2147483647 w 606"/>
                      <a:gd name="T57" fmla="*/ 2147483647 h 1194"/>
                      <a:gd name="T58" fmla="*/ 2147483647 w 606"/>
                      <a:gd name="T59" fmla="*/ 2147483647 h 1194"/>
                      <a:gd name="T60" fmla="*/ 2147483647 w 606"/>
                      <a:gd name="T61" fmla="*/ 2147483647 h 1194"/>
                      <a:gd name="T62" fmla="*/ 2147483647 w 606"/>
                      <a:gd name="T63" fmla="*/ 2147483647 h 1194"/>
                      <a:gd name="T64" fmla="*/ 2147483647 w 606"/>
                      <a:gd name="T65" fmla="*/ 2147483647 h 1194"/>
                      <a:gd name="T66" fmla="*/ 2147483647 w 606"/>
                      <a:gd name="T67" fmla="*/ 2147483647 h 1194"/>
                      <a:gd name="T68" fmla="*/ 2147483647 w 606"/>
                      <a:gd name="T69" fmla="*/ 2147483647 h 1194"/>
                      <a:gd name="T70" fmla="*/ 2147483647 w 606"/>
                      <a:gd name="T71" fmla="*/ 2147483647 h 1194"/>
                      <a:gd name="T72" fmla="*/ 2147483647 w 606"/>
                      <a:gd name="T73" fmla="*/ 2147483647 h 1194"/>
                      <a:gd name="T74" fmla="*/ 2147483647 w 606"/>
                      <a:gd name="T75" fmla="*/ 2147483647 h 1194"/>
                      <a:gd name="T76" fmla="*/ 2147483647 w 606"/>
                      <a:gd name="T77" fmla="*/ 2147483647 h 1194"/>
                      <a:gd name="T78" fmla="*/ 2147483647 w 606"/>
                      <a:gd name="T79" fmla="*/ 2147483647 h 1194"/>
                      <a:gd name="T80" fmla="*/ 2147483647 w 606"/>
                      <a:gd name="T81" fmla="*/ 2147483647 h 1194"/>
                      <a:gd name="T82" fmla="*/ 2147483647 w 606"/>
                      <a:gd name="T83" fmla="*/ 2147483647 h 1194"/>
                      <a:gd name="T84" fmla="*/ 2147483647 w 606"/>
                      <a:gd name="T85" fmla="*/ 2147483647 h 1194"/>
                      <a:gd name="T86" fmla="*/ 2147483647 w 606"/>
                      <a:gd name="T87" fmla="*/ 2147483647 h 1194"/>
                      <a:gd name="T88" fmla="*/ 2147483647 w 606"/>
                      <a:gd name="T89" fmla="*/ 2147483647 h 1194"/>
                      <a:gd name="T90" fmla="*/ 2147483647 w 606"/>
                      <a:gd name="T91" fmla="*/ 2147483647 h 1194"/>
                      <a:gd name="T92" fmla="*/ 2147483647 w 606"/>
                      <a:gd name="T93" fmla="*/ 2147483647 h 1194"/>
                      <a:gd name="T94" fmla="*/ 2147483647 w 606"/>
                      <a:gd name="T95" fmla="*/ 2147483647 h 1194"/>
                      <a:gd name="T96" fmla="*/ 2147483647 w 606"/>
                      <a:gd name="T97" fmla="*/ 2147483647 h 1194"/>
                      <a:gd name="T98" fmla="*/ 2147483647 w 606"/>
                      <a:gd name="T99" fmla="*/ 2147483647 h 1194"/>
                      <a:gd name="T100" fmla="*/ 2147483647 w 606"/>
                      <a:gd name="T101" fmla="*/ 2147483647 h 1194"/>
                      <a:gd name="T102" fmla="*/ 2147483647 w 606"/>
                      <a:gd name="T103" fmla="*/ 2147483647 h 1194"/>
                      <a:gd name="T104" fmla="*/ 2147483647 w 606"/>
                      <a:gd name="T105" fmla="*/ 2147483647 h 1194"/>
                      <a:gd name="T106" fmla="*/ 2147483647 w 606"/>
                      <a:gd name="T107" fmla="*/ 2147483647 h 1194"/>
                      <a:gd name="T108" fmla="*/ 2147483647 w 606"/>
                      <a:gd name="T109" fmla="*/ 2147483647 h 1194"/>
                      <a:gd name="T110" fmla="*/ 2147483647 w 606"/>
                      <a:gd name="T111" fmla="*/ 2147483647 h 1194"/>
                      <a:gd name="T112" fmla="*/ 2147483647 w 606"/>
                      <a:gd name="T113" fmla="*/ 2147483647 h 1194"/>
                      <a:gd name="T114" fmla="*/ 2147483647 w 606"/>
                      <a:gd name="T115" fmla="*/ 2147483647 h 1194"/>
                      <a:gd name="T116" fmla="*/ 2147483647 w 606"/>
                      <a:gd name="T117" fmla="*/ 2147483647 h 1194"/>
                      <a:gd name="T118" fmla="*/ 2147483647 w 606"/>
                      <a:gd name="T119" fmla="*/ 2147483647 h 1194"/>
                      <a:gd name="T120" fmla="*/ 2147483647 w 606"/>
                      <a:gd name="T121" fmla="*/ 2147483647 h 1194"/>
                      <a:gd name="T122" fmla="*/ 2147483647 w 606"/>
                      <a:gd name="T123" fmla="*/ 2147483647 h 119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606"/>
                      <a:gd name="T187" fmla="*/ 0 h 1194"/>
                      <a:gd name="T188" fmla="*/ 606 w 606"/>
                      <a:gd name="T189" fmla="*/ 1194 h 119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606" h="1194">
                        <a:moveTo>
                          <a:pt x="6" y="48"/>
                        </a:moveTo>
                        <a:lnTo>
                          <a:pt x="0" y="60"/>
                        </a:lnTo>
                        <a:lnTo>
                          <a:pt x="0" y="72"/>
                        </a:lnTo>
                        <a:lnTo>
                          <a:pt x="12" y="96"/>
                        </a:lnTo>
                        <a:lnTo>
                          <a:pt x="18" y="102"/>
                        </a:lnTo>
                        <a:lnTo>
                          <a:pt x="24" y="114"/>
                        </a:lnTo>
                        <a:lnTo>
                          <a:pt x="36" y="120"/>
                        </a:lnTo>
                        <a:lnTo>
                          <a:pt x="42" y="132"/>
                        </a:lnTo>
                        <a:lnTo>
                          <a:pt x="48" y="126"/>
                        </a:lnTo>
                        <a:lnTo>
                          <a:pt x="54" y="126"/>
                        </a:lnTo>
                        <a:lnTo>
                          <a:pt x="54" y="156"/>
                        </a:lnTo>
                        <a:lnTo>
                          <a:pt x="66" y="180"/>
                        </a:lnTo>
                        <a:lnTo>
                          <a:pt x="84" y="198"/>
                        </a:lnTo>
                        <a:lnTo>
                          <a:pt x="90" y="210"/>
                        </a:lnTo>
                        <a:lnTo>
                          <a:pt x="108" y="210"/>
                        </a:lnTo>
                        <a:lnTo>
                          <a:pt x="108" y="216"/>
                        </a:lnTo>
                        <a:lnTo>
                          <a:pt x="120" y="228"/>
                        </a:lnTo>
                        <a:lnTo>
                          <a:pt x="126" y="222"/>
                        </a:lnTo>
                        <a:lnTo>
                          <a:pt x="132" y="210"/>
                        </a:lnTo>
                        <a:lnTo>
                          <a:pt x="132" y="204"/>
                        </a:lnTo>
                        <a:lnTo>
                          <a:pt x="138" y="192"/>
                        </a:lnTo>
                        <a:lnTo>
                          <a:pt x="150" y="192"/>
                        </a:lnTo>
                        <a:lnTo>
                          <a:pt x="162" y="198"/>
                        </a:lnTo>
                        <a:lnTo>
                          <a:pt x="186" y="222"/>
                        </a:lnTo>
                        <a:lnTo>
                          <a:pt x="180" y="222"/>
                        </a:lnTo>
                        <a:lnTo>
                          <a:pt x="174" y="228"/>
                        </a:lnTo>
                        <a:lnTo>
                          <a:pt x="174" y="234"/>
                        </a:lnTo>
                        <a:lnTo>
                          <a:pt x="198" y="246"/>
                        </a:lnTo>
                        <a:lnTo>
                          <a:pt x="216" y="252"/>
                        </a:lnTo>
                        <a:lnTo>
                          <a:pt x="228" y="258"/>
                        </a:lnTo>
                        <a:lnTo>
                          <a:pt x="228" y="270"/>
                        </a:lnTo>
                        <a:lnTo>
                          <a:pt x="222" y="282"/>
                        </a:lnTo>
                        <a:lnTo>
                          <a:pt x="210" y="288"/>
                        </a:lnTo>
                        <a:lnTo>
                          <a:pt x="204" y="300"/>
                        </a:lnTo>
                        <a:lnTo>
                          <a:pt x="198" y="306"/>
                        </a:lnTo>
                        <a:lnTo>
                          <a:pt x="180" y="306"/>
                        </a:lnTo>
                        <a:lnTo>
                          <a:pt x="174" y="300"/>
                        </a:lnTo>
                        <a:lnTo>
                          <a:pt x="150" y="300"/>
                        </a:lnTo>
                        <a:lnTo>
                          <a:pt x="156" y="306"/>
                        </a:lnTo>
                        <a:lnTo>
                          <a:pt x="156" y="324"/>
                        </a:lnTo>
                        <a:lnTo>
                          <a:pt x="168" y="330"/>
                        </a:lnTo>
                        <a:lnTo>
                          <a:pt x="174" y="336"/>
                        </a:lnTo>
                        <a:lnTo>
                          <a:pt x="210" y="354"/>
                        </a:lnTo>
                        <a:lnTo>
                          <a:pt x="222" y="366"/>
                        </a:lnTo>
                        <a:lnTo>
                          <a:pt x="234" y="372"/>
                        </a:lnTo>
                        <a:lnTo>
                          <a:pt x="240" y="378"/>
                        </a:lnTo>
                        <a:lnTo>
                          <a:pt x="252" y="378"/>
                        </a:lnTo>
                        <a:lnTo>
                          <a:pt x="252" y="408"/>
                        </a:lnTo>
                        <a:lnTo>
                          <a:pt x="258" y="414"/>
                        </a:lnTo>
                        <a:lnTo>
                          <a:pt x="270" y="414"/>
                        </a:lnTo>
                        <a:lnTo>
                          <a:pt x="282" y="420"/>
                        </a:lnTo>
                        <a:lnTo>
                          <a:pt x="288" y="426"/>
                        </a:lnTo>
                        <a:lnTo>
                          <a:pt x="294" y="426"/>
                        </a:lnTo>
                        <a:lnTo>
                          <a:pt x="294" y="450"/>
                        </a:lnTo>
                        <a:lnTo>
                          <a:pt x="306" y="474"/>
                        </a:lnTo>
                        <a:lnTo>
                          <a:pt x="324" y="486"/>
                        </a:lnTo>
                        <a:lnTo>
                          <a:pt x="342" y="504"/>
                        </a:lnTo>
                        <a:lnTo>
                          <a:pt x="348" y="522"/>
                        </a:lnTo>
                        <a:lnTo>
                          <a:pt x="366" y="522"/>
                        </a:lnTo>
                        <a:lnTo>
                          <a:pt x="366" y="528"/>
                        </a:lnTo>
                        <a:lnTo>
                          <a:pt x="372" y="534"/>
                        </a:lnTo>
                        <a:lnTo>
                          <a:pt x="384" y="558"/>
                        </a:lnTo>
                        <a:lnTo>
                          <a:pt x="396" y="570"/>
                        </a:lnTo>
                        <a:lnTo>
                          <a:pt x="408" y="570"/>
                        </a:lnTo>
                        <a:lnTo>
                          <a:pt x="414" y="576"/>
                        </a:lnTo>
                        <a:lnTo>
                          <a:pt x="426" y="582"/>
                        </a:lnTo>
                        <a:lnTo>
                          <a:pt x="432" y="588"/>
                        </a:lnTo>
                        <a:lnTo>
                          <a:pt x="432" y="600"/>
                        </a:lnTo>
                        <a:lnTo>
                          <a:pt x="426" y="606"/>
                        </a:lnTo>
                        <a:lnTo>
                          <a:pt x="420" y="606"/>
                        </a:lnTo>
                        <a:lnTo>
                          <a:pt x="414" y="612"/>
                        </a:lnTo>
                        <a:lnTo>
                          <a:pt x="408" y="612"/>
                        </a:lnTo>
                        <a:lnTo>
                          <a:pt x="432" y="636"/>
                        </a:lnTo>
                        <a:lnTo>
                          <a:pt x="456" y="648"/>
                        </a:lnTo>
                        <a:lnTo>
                          <a:pt x="462" y="654"/>
                        </a:lnTo>
                        <a:lnTo>
                          <a:pt x="468" y="654"/>
                        </a:lnTo>
                        <a:lnTo>
                          <a:pt x="450" y="690"/>
                        </a:lnTo>
                        <a:lnTo>
                          <a:pt x="456" y="690"/>
                        </a:lnTo>
                        <a:lnTo>
                          <a:pt x="468" y="702"/>
                        </a:lnTo>
                        <a:lnTo>
                          <a:pt x="468" y="708"/>
                        </a:lnTo>
                        <a:lnTo>
                          <a:pt x="456" y="720"/>
                        </a:lnTo>
                        <a:lnTo>
                          <a:pt x="450" y="720"/>
                        </a:lnTo>
                        <a:lnTo>
                          <a:pt x="450" y="762"/>
                        </a:lnTo>
                        <a:lnTo>
                          <a:pt x="456" y="762"/>
                        </a:lnTo>
                        <a:lnTo>
                          <a:pt x="468" y="774"/>
                        </a:lnTo>
                        <a:lnTo>
                          <a:pt x="480" y="798"/>
                        </a:lnTo>
                        <a:lnTo>
                          <a:pt x="480" y="804"/>
                        </a:lnTo>
                        <a:lnTo>
                          <a:pt x="468" y="816"/>
                        </a:lnTo>
                        <a:lnTo>
                          <a:pt x="462" y="816"/>
                        </a:lnTo>
                        <a:lnTo>
                          <a:pt x="462" y="828"/>
                        </a:lnTo>
                        <a:lnTo>
                          <a:pt x="468" y="834"/>
                        </a:lnTo>
                        <a:lnTo>
                          <a:pt x="468" y="864"/>
                        </a:lnTo>
                        <a:lnTo>
                          <a:pt x="474" y="870"/>
                        </a:lnTo>
                        <a:lnTo>
                          <a:pt x="474" y="900"/>
                        </a:lnTo>
                        <a:lnTo>
                          <a:pt x="462" y="894"/>
                        </a:lnTo>
                        <a:lnTo>
                          <a:pt x="444" y="894"/>
                        </a:lnTo>
                        <a:lnTo>
                          <a:pt x="438" y="900"/>
                        </a:lnTo>
                        <a:lnTo>
                          <a:pt x="438" y="918"/>
                        </a:lnTo>
                        <a:lnTo>
                          <a:pt x="408" y="918"/>
                        </a:lnTo>
                        <a:lnTo>
                          <a:pt x="408" y="942"/>
                        </a:lnTo>
                        <a:lnTo>
                          <a:pt x="366" y="942"/>
                        </a:lnTo>
                        <a:lnTo>
                          <a:pt x="366" y="966"/>
                        </a:lnTo>
                        <a:lnTo>
                          <a:pt x="378" y="990"/>
                        </a:lnTo>
                        <a:lnTo>
                          <a:pt x="396" y="1008"/>
                        </a:lnTo>
                        <a:lnTo>
                          <a:pt x="396" y="1020"/>
                        </a:lnTo>
                        <a:lnTo>
                          <a:pt x="390" y="1014"/>
                        </a:lnTo>
                        <a:lnTo>
                          <a:pt x="378" y="1008"/>
                        </a:lnTo>
                        <a:lnTo>
                          <a:pt x="372" y="1002"/>
                        </a:lnTo>
                        <a:lnTo>
                          <a:pt x="360" y="996"/>
                        </a:lnTo>
                        <a:lnTo>
                          <a:pt x="348" y="996"/>
                        </a:lnTo>
                        <a:lnTo>
                          <a:pt x="342" y="1002"/>
                        </a:lnTo>
                        <a:lnTo>
                          <a:pt x="342" y="1008"/>
                        </a:lnTo>
                        <a:lnTo>
                          <a:pt x="306" y="1008"/>
                        </a:lnTo>
                        <a:lnTo>
                          <a:pt x="312" y="1014"/>
                        </a:lnTo>
                        <a:lnTo>
                          <a:pt x="318" y="1014"/>
                        </a:lnTo>
                        <a:lnTo>
                          <a:pt x="324" y="1020"/>
                        </a:lnTo>
                        <a:lnTo>
                          <a:pt x="324" y="1026"/>
                        </a:lnTo>
                        <a:lnTo>
                          <a:pt x="312" y="1032"/>
                        </a:lnTo>
                        <a:lnTo>
                          <a:pt x="294" y="1032"/>
                        </a:lnTo>
                        <a:lnTo>
                          <a:pt x="276" y="1038"/>
                        </a:lnTo>
                        <a:lnTo>
                          <a:pt x="270" y="1050"/>
                        </a:lnTo>
                        <a:lnTo>
                          <a:pt x="270" y="1056"/>
                        </a:lnTo>
                        <a:lnTo>
                          <a:pt x="288" y="1074"/>
                        </a:lnTo>
                        <a:lnTo>
                          <a:pt x="300" y="1080"/>
                        </a:lnTo>
                        <a:lnTo>
                          <a:pt x="306" y="1086"/>
                        </a:lnTo>
                        <a:lnTo>
                          <a:pt x="312" y="1086"/>
                        </a:lnTo>
                        <a:lnTo>
                          <a:pt x="294" y="1104"/>
                        </a:lnTo>
                        <a:lnTo>
                          <a:pt x="294" y="1110"/>
                        </a:lnTo>
                        <a:lnTo>
                          <a:pt x="300" y="1116"/>
                        </a:lnTo>
                        <a:lnTo>
                          <a:pt x="300" y="1128"/>
                        </a:lnTo>
                        <a:lnTo>
                          <a:pt x="306" y="1140"/>
                        </a:lnTo>
                        <a:lnTo>
                          <a:pt x="306" y="1152"/>
                        </a:lnTo>
                        <a:lnTo>
                          <a:pt x="312" y="1158"/>
                        </a:lnTo>
                        <a:lnTo>
                          <a:pt x="294" y="1176"/>
                        </a:lnTo>
                        <a:lnTo>
                          <a:pt x="294" y="1188"/>
                        </a:lnTo>
                        <a:lnTo>
                          <a:pt x="306" y="1194"/>
                        </a:lnTo>
                        <a:lnTo>
                          <a:pt x="318" y="1194"/>
                        </a:lnTo>
                        <a:lnTo>
                          <a:pt x="330" y="1188"/>
                        </a:lnTo>
                        <a:lnTo>
                          <a:pt x="354" y="1164"/>
                        </a:lnTo>
                        <a:lnTo>
                          <a:pt x="366" y="1158"/>
                        </a:lnTo>
                        <a:lnTo>
                          <a:pt x="378" y="1158"/>
                        </a:lnTo>
                        <a:lnTo>
                          <a:pt x="384" y="1134"/>
                        </a:lnTo>
                        <a:lnTo>
                          <a:pt x="384" y="1110"/>
                        </a:lnTo>
                        <a:lnTo>
                          <a:pt x="396" y="1110"/>
                        </a:lnTo>
                        <a:lnTo>
                          <a:pt x="402" y="1116"/>
                        </a:lnTo>
                        <a:lnTo>
                          <a:pt x="414" y="1116"/>
                        </a:lnTo>
                        <a:lnTo>
                          <a:pt x="426" y="1104"/>
                        </a:lnTo>
                        <a:lnTo>
                          <a:pt x="426" y="1092"/>
                        </a:lnTo>
                        <a:lnTo>
                          <a:pt x="420" y="1086"/>
                        </a:lnTo>
                        <a:lnTo>
                          <a:pt x="414" y="1074"/>
                        </a:lnTo>
                        <a:lnTo>
                          <a:pt x="408" y="1068"/>
                        </a:lnTo>
                        <a:lnTo>
                          <a:pt x="408" y="1062"/>
                        </a:lnTo>
                        <a:lnTo>
                          <a:pt x="414" y="1056"/>
                        </a:lnTo>
                        <a:lnTo>
                          <a:pt x="426" y="1056"/>
                        </a:lnTo>
                        <a:lnTo>
                          <a:pt x="438" y="1050"/>
                        </a:lnTo>
                        <a:lnTo>
                          <a:pt x="444" y="1044"/>
                        </a:lnTo>
                        <a:lnTo>
                          <a:pt x="450" y="1044"/>
                        </a:lnTo>
                        <a:lnTo>
                          <a:pt x="456" y="1050"/>
                        </a:lnTo>
                        <a:lnTo>
                          <a:pt x="468" y="1050"/>
                        </a:lnTo>
                        <a:lnTo>
                          <a:pt x="480" y="1044"/>
                        </a:lnTo>
                        <a:lnTo>
                          <a:pt x="498" y="1038"/>
                        </a:lnTo>
                        <a:lnTo>
                          <a:pt x="546" y="1014"/>
                        </a:lnTo>
                        <a:lnTo>
                          <a:pt x="582" y="978"/>
                        </a:lnTo>
                        <a:lnTo>
                          <a:pt x="588" y="960"/>
                        </a:lnTo>
                        <a:lnTo>
                          <a:pt x="594" y="936"/>
                        </a:lnTo>
                        <a:lnTo>
                          <a:pt x="606" y="876"/>
                        </a:lnTo>
                        <a:lnTo>
                          <a:pt x="606" y="846"/>
                        </a:lnTo>
                        <a:lnTo>
                          <a:pt x="600" y="834"/>
                        </a:lnTo>
                        <a:lnTo>
                          <a:pt x="576" y="810"/>
                        </a:lnTo>
                        <a:lnTo>
                          <a:pt x="594" y="804"/>
                        </a:lnTo>
                        <a:lnTo>
                          <a:pt x="594" y="774"/>
                        </a:lnTo>
                        <a:lnTo>
                          <a:pt x="588" y="756"/>
                        </a:lnTo>
                        <a:lnTo>
                          <a:pt x="588" y="744"/>
                        </a:lnTo>
                        <a:lnTo>
                          <a:pt x="570" y="708"/>
                        </a:lnTo>
                        <a:lnTo>
                          <a:pt x="564" y="690"/>
                        </a:lnTo>
                        <a:lnTo>
                          <a:pt x="558" y="684"/>
                        </a:lnTo>
                        <a:lnTo>
                          <a:pt x="552" y="672"/>
                        </a:lnTo>
                        <a:lnTo>
                          <a:pt x="558" y="666"/>
                        </a:lnTo>
                        <a:lnTo>
                          <a:pt x="558" y="642"/>
                        </a:lnTo>
                        <a:lnTo>
                          <a:pt x="522" y="606"/>
                        </a:lnTo>
                        <a:lnTo>
                          <a:pt x="486" y="576"/>
                        </a:lnTo>
                        <a:lnTo>
                          <a:pt x="456" y="552"/>
                        </a:lnTo>
                        <a:lnTo>
                          <a:pt x="432" y="534"/>
                        </a:lnTo>
                        <a:lnTo>
                          <a:pt x="420" y="528"/>
                        </a:lnTo>
                        <a:lnTo>
                          <a:pt x="402" y="516"/>
                        </a:lnTo>
                        <a:lnTo>
                          <a:pt x="390" y="510"/>
                        </a:lnTo>
                        <a:lnTo>
                          <a:pt x="384" y="504"/>
                        </a:lnTo>
                        <a:lnTo>
                          <a:pt x="384" y="468"/>
                        </a:lnTo>
                        <a:lnTo>
                          <a:pt x="336" y="420"/>
                        </a:lnTo>
                        <a:lnTo>
                          <a:pt x="306" y="384"/>
                        </a:lnTo>
                        <a:lnTo>
                          <a:pt x="288" y="354"/>
                        </a:lnTo>
                        <a:lnTo>
                          <a:pt x="282" y="336"/>
                        </a:lnTo>
                        <a:lnTo>
                          <a:pt x="282" y="318"/>
                        </a:lnTo>
                        <a:lnTo>
                          <a:pt x="276" y="306"/>
                        </a:lnTo>
                        <a:lnTo>
                          <a:pt x="276" y="282"/>
                        </a:lnTo>
                        <a:lnTo>
                          <a:pt x="282" y="276"/>
                        </a:lnTo>
                        <a:lnTo>
                          <a:pt x="294" y="252"/>
                        </a:lnTo>
                        <a:lnTo>
                          <a:pt x="294" y="240"/>
                        </a:lnTo>
                        <a:lnTo>
                          <a:pt x="300" y="240"/>
                        </a:lnTo>
                        <a:lnTo>
                          <a:pt x="312" y="228"/>
                        </a:lnTo>
                        <a:lnTo>
                          <a:pt x="324" y="222"/>
                        </a:lnTo>
                        <a:lnTo>
                          <a:pt x="336" y="210"/>
                        </a:lnTo>
                        <a:lnTo>
                          <a:pt x="336" y="204"/>
                        </a:lnTo>
                        <a:lnTo>
                          <a:pt x="342" y="198"/>
                        </a:lnTo>
                        <a:lnTo>
                          <a:pt x="372" y="198"/>
                        </a:lnTo>
                        <a:lnTo>
                          <a:pt x="384" y="186"/>
                        </a:lnTo>
                        <a:lnTo>
                          <a:pt x="390" y="174"/>
                        </a:lnTo>
                        <a:lnTo>
                          <a:pt x="390" y="156"/>
                        </a:lnTo>
                        <a:lnTo>
                          <a:pt x="396" y="144"/>
                        </a:lnTo>
                        <a:lnTo>
                          <a:pt x="390" y="144"/>
                        </a:lnTo>
                        <a:lnTo>
                          <a:pt x="384" y="138"/>
                        </a:lnTo>
                        <a:lnTo>
                          <a:pt x="354" y="138"/>
                        </a:lnTo>
                        <a:lnTo>
                          <a:pt x="342" y="132"/>
                        </a:lnTo>
                        <a:lnTo>
                          <a:pt x="336" y="120"/>
                        </a:lnTo>
                        <a:lnTo>
                          <a:pt x="330" y="114"/>
                        </a:lnTo>
                        <a:lnTo>
                          <a:pt x="312" y="114"/>
                        </a:lnTo>
                        <a:lnTo>
                          <a:pt x="312" y="96"/>
                        </a:lnTo>
                        <a:lnTo>
                          <a:pt x="300" y="90"/>
                        </a:lnTo>
                        <a:lnTo>
                          <a:pt x="294" y="72"/>
                        </a:lnTo>
                        <a:lnTo>
                          <a:pt x="312" y="54"/>
                        </a:lnTo>
                        <a:lnTo>
                          <a:pt x="312" y="48"/>
                        </a:lnTo>
                        <a:lnTo>
                          <a:pt x="306" y="42"/>
                        </a:lnTo>
                        <a:lnTo>
                          <a:pt x="276" y="42"/>
                        </a:lnTo>
                        <a:lnTo>
                          <a:pt x="264" y="30"/>
                        </a:lnTo>
                        <a:lnTo>
                          <a:pt x="234" y="36"/>
                        </a:lnTo>
                        <a:lnTo>
                          <a:pt x="204" y="0"/>
                        </a:lnTo>
                        <a:lnTo>
                          <a:pt x="198" y="0"/>
                        </a:lnTo>
                        <a:lnTo>
                          <a:pt x="192" y="6"/>
                        </a:lnTo>
                        <a:lnTo>
                          <a:pt x="180" y="12"/>
                        </a:lnTo>
                        <a:lnTo>
                          <a:pt x="174" y="18"/>
                        </a:lnTo>
                        <a:lnTo>
                          <a:pt x="174" y="30"/>
                        </a:lnTo>
                        <a:lnTo>
                          <a:pt x="168" y="42"/>
                        </a:lnTo>
                        <a:lnTo>
                          <a:pt x="168" y="48"/>
                        </a:lnTo>
                        <a:lnTo>
                          <a:pt x="150" y="48"/>
                        </a:lnTo>
                        <a:lnTo>
                          <a:pt x="144" y="54"/>
                        </a:lnTo>
                        <a:lnTo>
                          <a:pt x="138" y="48"/>
                        </a:lnTo>
                        <a:lnTo>
                          <a:pt x="120" y="48"/>
                        </a:lnTo>
                        <a:lnTo>
                          <a:pt x="132" y="60"/>
                        </a:lnTo>
                        <a:lnTo>
                          <a:pt x="132" y="72"/>
                        </a:lnTo>
                        <a:lnTo>
                          <a:pt x="114" y="72"/>
                        </a:lnTo>
                        <a:lnTo>
                          <a:pt x="108" y="66"/>
                        </a:lnTo>
                        <a:lnTo>
                          <a:pt x="96" y="48"/>
                        </a:lnTo>
                        <a:lnTo>
                          <a:pt x="90" y="48"/>
                        </a:lnTo>
                        <a:lnTo>
                          <a:pt x="90" y="66"/>
                        </a:lnTo>
                        <a:lnTo>
                          <a:pt x="72" y="48"/>
                        </a:lnTo>
                        <a:lnTo>
                          <a:pt x="66" y="54"/>
                        </a:lnTo>
                        <a:lnTo>
                          <a:pt x="60" y="66"/>
                        </a:lnTo>
                        <a:lnTo>
                          <a:pt x="54" y="72"/>
                        </a:lnTo>
                        <a:lnTo>
                          <a:pt x="42" y="72"/>
                        </a:lnTo>
                        <a:lnTo>
                          <a:pt x="18" y="48"/>
                        </a:lnTo>
                        <a:lnTo>
                          <a:pt x="6"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88" name="Venezuela"/>
                  <p:cNvSpPr>
                    <a:spLocks noEditPoints="1"/>
                  </p:cNvSpPr>
                  <p:nvPr/>
                </p:nvSpPr>
                <p:spPr bwMode="gray">
                  <a:xfrm>
                    <a:off x="1323" y="2059"/>
                    <a:ext cx="244" cy="238"/>
                  </a:xfrm>
                  <a:custGeom>
                    <a:avLst/>
                    <a:gdLst>
                      <a:gd name="T0" fmla="*/ 2147483647 w 954"/>
                      <a:gd name="T1" fmla="*/ 2147483647 h 930"/>
                      <a:gd name="T2" fmla="*/ 2147483647 w 954"/>
                      <a:gd name="T3" fmla="*/ 2147483647 h 930"/>
                      <a:gd name="T4" fmla="*/ 2147483647 w 954"/>
                      <a:gd name="T5" fmla="*/ 2147483647 h 930"/>
                      <a:gd name="T6" fmla="*/ 2147483647 w 954"/>
                      <a:gd name="T7" fmla="*/ 2147483647 h 930"/>
                      <a:gd name="T8" fmla="*/ 2147483647 w 954"/>
                      <a:gd name="T9" fmla="*/ 2147483647 h 930"/>
                      <a:gd name="T10" fmla="*/ 2147483647 w 954"/>
                      <a:gd name="T11" fmla="*/ 2147483647 h 930"/>
                      <a:gd name="T12" fmla="*/ 2147483647 w 954"/>
                      <a:gd name="T13" fmla="*/ 2147483647 h 930"/>
                      <a:gd name="T14" fmla="*/ 2147483647 w 954"/>
                      <a:gd name="T15" fmla="*/ 2147483647 h 930"/>
                      <a:gd name="T16" fmla="*/ 2147483647 w 954"/>
                      <a:gd name="T17" fmla="*/ 2147483647 h 930"/>
                      <a:gd name="T18" fmla="*/ 2147483647 w 954"/>
                      <a:gd name="T19" fmla="*/ 2147483647 h 930"/>
                      <a:gd name="T20" fmla="*/ 2147483647 w 954"/>
                      <a:gd name="T21" fmla="*/ 2147483647 h 930"/>
                      <a:gd name="T22" fmla="*/ 2147483647 w 954"/>
                      <a:gd name="T23" fmla="*/ 2147483647 h 930"/>
                      <a:gd name="T24" fmla="*/ 2147483647 w 954"/>
                      <a:gd name="T25" fmla="*/ 2147483647 h 930"/>
                      <a:gd name="T26" fmla="*/ 2147483647 w 954"/>
                      <a:gd name="T27" fmla="*/ 2147483647 h 930"/>
                      <a:gd name="T28" fmla="*/ 2147483647 w 954"/>
                      <a:gd name="T29" fmla="*/ 2147483647 h 930"/>
                      <a:gd name="T30" fmla="*/ 2147483647 w 954"/>
                      <a:gd name="T31" fmla="*/ 2147483647 h 930"/>
                      <a:gd name="T32" fmla="*/ 2147483647 w 954"/>
                      <a:gd name="T33" fmla="*/ 2147483647 h 930"/>
                      <a:gd name="T34" fmla="*/ 2147483647 w 954"/>
                      <a:gd name="T35" fmla="*/ 2147483647 h 930"/>
                      <a:gd name="T36" fmla="*/ 2147483647 w 954"/>
                      <a:gd name="T37" fmla="*/ 2147483647 h 930"/>
                      <a:gd name="T38" fmla="*/ 2147483647 w 954"/>
                      <a:gd name="T39" fmla="*/ 2147483647 h 930"/>
                      <a:gd name="T40" fmla="*/ 2147483647 w 954"/>
                      <a:gd name="T41" fmla="*/ 2147483647 h 930"/>
                      <a:gd name="T42" fmla="*/ 2147483647 w 954"/>
                      <a:gd name="T43" fmla="*/ 2147483647 h 930"/>
                      <a:gd name="T44" fmla="*/ 2147483647 w 954"/>
                      <a:gd name="T45" fmla="*/ 2147483647 h 930"/>
                      <a:gd name="T46" fmla="*/ 2147483647 w 954"/>
                      <a:gd name="T47" fmla="*/ 2147483647 h 930"/>
                      <a:gd name="T48" fmla="*/ 2147483647 w 954"/>
                      <a:gd name="T49" fmla="*/ 2147483647 h 930"/>
                      <a:gd name="T50" fmla="*/ 0 w 954"/>
                      <a:gd name="T51" fmla="*/ 2147483647 h 930"/>
                      <a:gd name="T52" fmla="*/ 2147483647 w 954"/>
                      <a:gd name="T53" fmla="*/ 2147483647 h 930"/>
                      <a:gd name="T54" fmla="*/ 2147483647 w 954"/>
                      <a:gd name="T55" fmla="*/ 2147483647 h 930"/>
                      <a:gd name="T56" fmla="*/ 2147483647 w 954"/>
                      <a:gd name="T57" fmla="*/ 2147483647 h 930"/>
                      <a:gd name="T58" fmla="*/ 2147483647 w 954"/>
                      <a:gd name="T59" fmla="*/ 2147483647 h 930"/>
                      <a:gd name="T60" fmla="*/ 2147483647 w 954"/>
                      <a:gd name="T61" fmla="*/ 2147483647 h 930"/>
                      <a:gd name="T62" fmla="*/ 2147483647 w 954"/>
                      <a:gd name="T63" fmla="*/ 2147483647 h 930"/>
                      <a:gd name="T64" fmla="*/ 2147483647 w 954"/>
                      <a:gd name="T65" fmla="*/ 2147483647 h 930"/>
                      <a:gd name="T66" fmla="*/ 2147483647 w 954"/>
                      <a:gd name="T67" fmla="*/ 2147483647 h 930"/>
                      <a:gd name="T68" fmla="*/ 2147483647 w 954"/>
                      <a:gd name="T69" fmla="*/ 2147483647 h 930"/>
                      <a:gd name="T70" fmla="*/ 2147483647 w 954"/>
                      <a:gd name="T71" fmla="*/ 2147483647 h 930"/>
                      <a:gd name="T72" fmla="*/ 2147483647 w 954"/>
                      <a:gd name="T73" fmla="*/ 2147483647 h 930"/>
                      <a:gd name="T74" fmla="*/ 2147483647 w 954"/>
                      <a:gd name="T75" fmla="*/ 2147483647 h 930"/>
                      <a:gd name="T76" fmla="*/ 2147483647 w 954"/>
                      <a:gd name="T77" fmla="*/ 2147483647 h 930"/>
                      <a:gd name="T78" fmla="*/ 2147483647 w 954"/>
                      <a:gd name="T79" fmla="*/ 2147483647 h 930"/>
                      <a:gd name="T80" fmla="*/ 2147483647 w 954"/>
                      <a:gd name="T81" fmla="*/ 2147483647 h 930"/>
                      <a:gd name="T82" fmla="*/ 2147483647 w 954"/>
                      <a:gd name="T83" fmla="*/ 2147483647 h 930"/>
                      <a:gd name="T84" fmla="*/ 2147483647 w 954"/>
                      <a:gd name="T85" fmla="*/ 2147483647 h 930"/>
                      <a:gd name="T86" fmla="*/ 2147483647 w 954"/>
                      <a:gd name="T87" fmla="*/ 2147483647 h 930"/>
                      <a:gd name="T88" fmla="*/ 2147483647 w 954"/>
                      <a:gd name="T89" fmla="*/ 2147483647 h 930"/>
                      <a:gd name="T90" fmla="*/ 2147483647 w 954"/>
                      <a:gd name="T91" fmla="*/ 2147483647 h 930"/>
                      <a:gd name="T92" fmla="*/ 2147483647 w 954"/>
                      <a:gd name="T93" fmla="*/ 2147483647 h 930"/>
                      <a:gd name="T94" fmla="*/ 2147483647 w 954"/>
                      <a:gd name="T95" fmla="*/ 2147483647 h 930"/>
                      <a:gd name="T96" fmla="*/ 2147483647 w 954"/>
                      <a:gd name="T97" fmla="*/ 2147483647 h 930"/>
                      <a:gd name="T98" fmla="*/ 2147483647 w 954"/>
                      <a:gd name="T99" fmla="*/ 2147483647 h 930"/>
                      <a:gd name="T100" fmla="*/ 2147483647 w 954"/>
                      <a:gd name="T101" fmla="*/ 2147483647 h 930"/>
                      <a:gd name="T102" fmla="*/ 2147483647 w 954"/>
                      <a:gd name="T103" fmla="*/ 2147483647 h 930"/>
                      <a:gd name="T104" fmla="*/ 2147483647 w 954"/>
                      <a:gd name="T105" fmla="*/ 2147483647 h 930"/>
                      <a:gd name="T106" fmla="*/ 2147483647 w 954"/>
                      <a:gd name="T107" fmla="*/ 2147483647 h 930"/>
                      <a:gd name="T108" fmla="*/ 2147483647 w 954"/>
                      <a:gd name="T109" fmla="*/ 2147483647 h 930"/>
                      <a:gd name="T110" fmla="*/ 2147483647 w 954"/>
                      <a:gd name="T111" fmla="*/ 2147483647 h 930"/>
                      <a:gd name="T112" fmla="*/ 2147483647 w 954"/>
                      <a:gd name="T113" fmla="*/ 2147483647 h 930"/>
                      <a:gd name="T114" fmla="*/ 2147483647 w 954"/>
                      <a:gd name="T115" fmla="*/ 2147483647 h 930"/>
                      <a:gd name="T116" fmla="*/ 2147483647 w 954"/>
                      <a:gd name="T117" fmla="*/ 2147483647 h 930"/>
                      <a:gd name="T118" fmla="*/ 2147483647 w 954"/>
                      <a:gd name="T119" fmla="*/ 2147483647 h 93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30"/>
                      <a:gd name="T182" fmla="*/ 954 w 954"/>
                      <a:gd name="T183" fmla="*/ 930 h 93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30">
                        <a:moveTo>
                          <a:pt x="264" y="42"/>
                        </a:moveTo>
                        <a:lnTo>
                          <a:pt x="264" y="12"/>
                        </a:lnTo>
                        <a:lnTo>
                          <a:pt x="252" y="0"/>
                        </a:lnTo>
                        <a:lnTo>
                          <a:pt x="234" y="0"/>
                        </a:lnTo>
                        <a:lnTo>
                          <a:pt x="228" y="6"/>
                        </a:lnTo>
                        <a:lnTo>
                          <a:pt x="228" y="18"/>
                        </a:lnTo>
                        <a:lnTo>
                          <a:pt x="234" y="24"/>
                        </a:lnTo>
                        <a:lnTo>
                          <a:pt x="234" y="36"/>
                        </a:lnTo>
                        <a:lnTo>
                          <a:pt x="240" y="42"/>
                        </a:lnTo>
                        <a:lnTo>
                          <a:pt x="264" y="42"/>
                        </a:lnTo>
                        <a:close/>
                        <a:moveTo>
                          <a:pt x="936" y="276"/>
                        </a:moveTo>
                        <a:lnTo>
                          <a:pt x="930" y="276"/>
                        </a:lnTo>
                        <a:lnTo>
                          <a:pt x="924" y="282"/>
                        </a:lnTo>
                        <a:lnTo>
                          <a:pt x="912" y="288"/>
                        </a:lnTo>
                        <a:lnTo>
                          <a:pt x="906" y="294"/>
                        </a:lnTo>
                        <a:lnTo>
                          <a:pt x="900" y="288"/>
                        </a:lnTo>
                        <a:lnTo>
                          <a:pt x="888" y="288"/>
                        </a:lnTo>
                        <a:lnTo>
                          <a:pt x="882" y="282"/>
                        </a:lnTo>
                        <a:lnTo>
                          <a:pt x="876" y="282"/>
                        </a:lnTo>
                        <a:lnTo>
                          <a:pt x="852" y="306"/>
                        </a:lnTo>
                        <a:lnTo>
                          <a:pt x="822" y="282"/>
                        </a:lnTo>
                        <a:lnTo>
                          <a:pt x="846" y="282"/>
                        </a:lnTo>
                        <a:lnTo>
                          <a:pt x="858" y="276"/>
                        </a:lnTo>
                        <a:lnTo>
                          <a:pt x="864" y="276"/>
                        </a:lnTo>
                        <a:lnTo>
                          <a:pt x="870" y="264"/>
                        </a:lnTo>
                        <a:lnTo>
                          <a:pt x="870" y="246"/>
                        </a:lnTo>
                        <a:lnTo>
                          <a:pt x="882" y="234"/>
                        </a:lnTo>
                        <a:lnTo>
                          <a:pt x="888" y="222"/>
                        </a:lnTo>
                        <a:lnTo>
                          <a:pt x="876" y="210"/>
                        </a:lnTo>
                        <a:lnTo>
                          <a:pt x="846" y="210"/>
                        </a:lnTo>
                        <a:lnTo>
                          <a:pt x="846" y="204"/>
                        </a:lnTo>
                        <a:lnTo>
                          <a:pt x="840" y="198"/>
                        </a:lnTo>
                        <a:lnTo>
                          <a:pt x="840" y="192"/>
                        </a:lnTo>
                        <a:lnTo>
                          <a:pt x="834" y="186"/>
                        </a:lnTo>
                        <a:lnTo>
                          <a:pt x="828" y="186"/>
                        </a:lnTo>
                        <a:lnTo>
                          <a:pt x="822" y="192"/>
                        </a:lnTo>
                        <a:lnTo>
                          <a:pt x="822" y="210"/>
                        </a:lnTo>
                        <a:lnTo>
                          <a:pt x="816" y="198"/>
                        </a:lnTo>
                        <a:lnTo>
                          <a:pt x="816" y="180"/>
                        </a:lnTo>
                        <a:lnTo>
                          <a:pt x="792" y="180"/>
                        </a:lnTo>
                        <a:lnTo>
                          <a:pt x="786" y="210"/>
                        </a:lnTo>
                        <a:lnTo>
                          <a:pt x="780" y="204"/>
                        </a:lnTo>
                        <a:lnTo>
                          <a:pt x="774" y="192"/>
                        </a:lnTo>
                        <a:lnTo>
                          <a:pt x="774" y="186"/>
                        </a:lnTo>
                        <a:lnTo>
                          <a:pt x="768" y="180"/>
                        </a:lnTo>
                        <a:lnTo>
                          <a:pt x="768" y="156"/>
                        </a:lnTo>
                        <a:lnTo>
                          <a:pt x="738" y="168"/>
                        </a:lnTo>
                        <a:lnTo>
                          <a:pt x="744" y="162"/>
                        </a:lnTo>
                        <a:lnTo>
                          <a:pt x="756" y="156"/>
                        </a:lnTo>
                        <a:lnTo>
                          <a:pt x="762" y="156"/>
                        </a:lnTo>
                        <a:lnTo>
                          <a:pt x="762" y="144"/>
                        </a:lnTo>
                        <a:lnTo>
                          <a:pt x="750" y="138"/>
                        </a:lnTo>
                        <a:lnTo>
                          <a:pt x="744" y="138"/>
                        </a:lnTo>
                        <a:lnTo>
                          <a:pt x="744" y="132"/>
                        </a:lnTo>
                        <a:lnTo>
                          <a:pt x="750" y="132"/>
                        </a:lnTo>
                        <a:lnTo>
                          <a:pt x="762" y="126"/>
                        </a:lnTo>
                        <a:lnTo>
                          <a:pt x="774" y="126"/>
                        </a:lnTo>
                        <a:lnTo>
                          <a:pt x="792" y="120"/>
                        </a:lnTo>
                        <a:lnTo>
                          <a:pt x="804" y="120"/>
                        </a:lnTo>
                        <a:lnTo>
                          <a:pt x="810" y="114"/>
                        </a:lnTo>
                        <a:lnTo>
                          <a:pt x="726" y="114"/>
                        </a:lnTo>
                        <a:lnTo>
                          <a:pt x="690" y="120"/>
                        </a:lnTo>
                        <a:lnTo>
                          <a:pt x="678" y="120"/>
                        </a:lnTo>
                        <a:lnTo>
                          <a:pt x="690" y="132"/>
                        </a:lnTo>
                        <a:lnTo>
                          <a:pt x="678" y="132"/>
                        </a:lnTo>
                        <a:lnTo>
                          <a:pt x="666" y="138"/>
                        </a:lnTo>
                        <a:lnTo>
                          <a:pt x="654" y="138"/>
                        </a:lnTo>
                        <a:lnTo>
                          <a:pt x="642" y="144"/>
                        </a:lnTo>
                        <a:lnTo>
                          <a:pt x="636" y="144"/>
                        </a:lnTo>
                        <a:lnTo>
                          <a:pt x="624" y="150"/>
                        </a:lnTo>
                        <a:lnTo>
                          <a:pt x="606" y="168"/>
                        </a:lnTo>
                        <a:lnTo>
                          <a:pt x="594" y="174"/>
                        </a:lnTo>
                        <a:lnTo>
                          <a:pt x="576" y="174"/>
                        </a:lnTo>
                        <a:lnTo>
                          <a:pt x="564" y="162"/>
                        </a:lnTo>
                        <a:lnTo>
                          <a:pt x="546" y="156"/>
                        </a:lnTo>
                        <a:lnTo>
                          <a:pt x="534" y="144"/>
                        </a:lnTo>
                        <a:lnTo>
                          <a:pt x="522" y="138"/>
                        </a:lnTo>
                        <a:lnTo>
                          <a:pt x="510" y="126"/>
                        </a:lnTo>
                        <a:lnTo>
                          <a:pt x="492" y="126"/>
                        </a:lnTo>
                        <a:lnTo>
                          <a:pt x="450" y="132"/>
                        </a:lnTo>
                        <a:lnTo>
                          <a:pt x="372" y="132"/>
                        </a:lnTo>
                        <a:lnTo>
                          <a:pt x="360" y="120"/>
                        </a:lnTo>
                        <a:lnTo>
                          <a:pt x="354" y="108"/>
                        </a:lnTo>
                        <a:lnTo>
                          <a:pt x="354" y="84"/>
                        </a:lnTo>
                        <a:lnTo>
                          <a:pt x="348" y="72"/>
                        </a:lnTo>
                        <a:lnTo>
                          <a:pt x="336" y="60"/>
                        </a:lnTo>
                        <a:lnTo>
                          <a:pt x="324" y="54"/>
                        </a:lnTo>
                        <a:lnTo>
                          <a:pt x="276" y="54"/>
                        </a:lnTo>
                        <a:lnTo>
                          <a:pt x="240" y="60"/>
                        </a:lnTo>
                        <a:lnTo>
                          <a:pt x="222" y="72"/>
                        </a:lnTo>
                        <a:lnTo>
                          <a:pt x="210" y="78"/>
                        </a:lnTo>
                        <a:lnTo>
                          <a:pt x="204" y="78"/>
                        </a:lnTo>
                        <a:lnTo>
                          <a:pt x="180" y="90"/>
                        </a:lnTo>
                        <a:lnTo>
                          <a:pt x="162" y="96"/>
                        </a:lnTo>
                        <a:lnTo>
                          <a:pt x="144" y="108"/>
                        </a:lnTo>
                        <a:lnTo>
                          <a:pt x="138" y="120"/>
                        </a:lnTo>
                        <a:lnTo>
                          <a:pt x="138" y="144"/>
                        </a:lnTo>
                        <a:lnTo>
                          <a:pt x="150" y="168"/>
                        </a:lnTo>
                        <a:lnTo>
                          <a:pt x="156" y="186"/>
                        </a:lnTo>
                        <a:lnTo>
                          <a:pt x="162" y="198"/>
                        </a:lnTo>
                        <a:lnTo>
                          <a:pt x="156" y="210"/>
                        </a:lnTo>
                        <a:lnTo>
                          <a:pt x="150" y="228"/>
                        </a:lnTo>
                        <a:lnTo>
                          <a:pt x="138" y="234"/>
                        </a:lnTo>
                        <a:lnTo>
                          <a:pt x="132" y="246"/>
                        </a:lnTo>
                        <a:lnTo>
                          <a:pt x="126" y="252"/>
                        </a:lnTo>
                        <a:lnTo>
                          <a:pt x="120" y="252"/>
                        </a:lnTo>
                        <a:lnTo>
                          <a:pt x="126" y="222"/>
                        </a:lnTo>
                        <a:lnTo>
                          <a:pt x="114" y="222"/>
                        </a:lnTo>
                        <a:lnTo>
                          <a:pt x="108" y="216"/>
                        </a:lnTo>
                        <a:lnTo>
                          <a:pt x="96" y="210"/>
                        </a:lnTo>
                        <a:lnTo>
                          <a:pt x="90" y="204"/>
                        </a:lnTo>
                        <a:lnTo>
                          <a:pt x="84" y="192"/>
                        </a:lnTo>
                        <a:lnTo>
                          <a:pt x="96" y="168"/>
                        </a:lnTo>
                        <a:lnTo>
                          <a:pt x="108" y="156"/>
                        </a:lnTo>
                        <a:lnTo>
                          <a:pt x="120" y="132"/>
                        </a:lnTo>
                        <a:lnTo>
                          <a:pt x="120" y="78"/>
                        </a:lnTo>
                        <a:lnTo>
                          <a:pt x="114" y="66"/>
                        </a:lnTo>
                        <a:lnTo>
                          <a:pt x="114" y="54"/>
                        </a:lnTo>
                        <a:lnTo>
                          <a:pt x="108" y="48"/>
                        </a:lnTo>
                        <a:lnTo>
                          <a:pt x="108" y="54"/>
                        </a:lnTo>
                        <a:lnTo>
                          <a:pt x="102" y="66"/>
                        </a:lnTo>
                        <a:lnTo>
                          <a:pt x="90" y="78"/>
                        </a:lnTo>
                        <a:lnTo>
                          <a:pt x="72" y="84"/>
                        </a:lnTo>
                        <a:lnTo>
                          <a:pt x="48" y="108"/>
                        </a:lnTo>
                        <a:lnTo>
                          <a:pt x="36" y="144"/>
                        </a:lnTo>
                        <a:lnTo>
                          <a:pt x="36" y="162"/>
                        </a:lnTo>
                        <a:lnTo>
                          <a:pt x="30" y="168"/>
                        </a:lnTo>
                        <a:lnTo>
                          <a:pt x="30" y="192"/>
                        </a:lnTo>
                        <a:lnTo>
                          <a:pt x="6" y="216"/>
                        </a:lnTo>
                        <a:lnTo>
                          <a:pt x="0" y="228"/>
                        </a:lnTo>
                        <a:lnTo>
                          <a:pt x="0" y="240"/>
                        </a:lnTo>
                        <a:lnTo>
                          <a:pt x="6" y="246"/>
                        </a:lnTo>
                        <a:lnTo>
                          <a:pt x="6" y="240"/>
                        </a:lnTo>
                        <a:lnTo>
                          <a:pt x="18" y="228"/>
                        </a:lnTo>
                        <a:lnTo>
                          <a:pt x="24" y="228"/>
                        </a:lnTo>
                        <a:lnTo>
                          <a:pt x="36" y="240"/>
                        </a:lnTo>
                        <a:lnTo>
                          <a:pt x="42" y="252"/>
                        </a:lnTo>
                        <a:lnTo>
                          <a:pt x="42" y="288"/>
                        </a:lnTo>
                        <a:lnTo>
                          <a:pt x="48" y="294"/>
                        </a:lnTo>
                        <a:lnTo>
                          <a:pt x="60" y="300"/>
                        </a:lnTo>
                        <a:lnTo>
                          <a:pt x="66" y="306"/>
                        </a:lnTo>
                        <a:lnTo>
                          <a:pt x="66" y="318"/>
                        </a:lnTo>
                        <a:lnTo>
                          <a:pt x="54" y="342"/>
                        </a:lnTo>
                        <a:lnTo>
                          <a:pt x="54" y="384"/>
                        </a:lnTo>
                        <a:lnTo>
                          <a:pt x="66" y="384"/>
                        </a:lnTo>
                        <a:lnTo>
                          <a:pt x="66" y="396"/>
                        </a:lnTo>
                        <a:lnTo>
                          <a:pt x="72" y="408"/>
                        </a:lnTo>
                        <a:lnTo>
                          <a:pt x="78" y="414"/>
                        </a:lnTo>
                        <a:lnTo>
                          <a:pt x="102" y="414"/>
                        </a:lnTo>
                        <a:lnTo>
                          <a:pt x="108" y="408"/>
                        </a:lnTo>
                        <a:lnTo>
                          <a:pt x="120" y="408"/>
                        </a:lnTo>
                        <a:lnTo>
                          <a:pt x="132" y="414"/>
                        </a:lnTo>
                        <a:lnTo>
                          <a:pt x="138" y="414"/>
                        </a:lnTo>
                        <a:lnTo>
                          <a:pt x="150" y="420"/>
                        </a:lnTo>
                        <a:lnTo>
                          <a:pt x="162" y="420"/>
                        </a:lnTo>
                        <a:lnTo>
                          <a:pt x="168" y="414"/>
                        </a:lnTo>
                        <a:lnTo>
                          <a:pt x="168" y="408"/>
                        </a:lnTo>
                        <a:lnTo>
                          <a:pt x="180" y="408"/>
                        </a:lnTo>
                        <a:lnTo>
                          <a:pt x="186" y="414"/>
                        </a:lnTo>
                        <a:lnTo>
                          <a:pt x="198" y="420"/>
                        </a:lnTo>
                        <a:lnTo>
                          <a:pt x="222" y="420"/>
                        </a:lnTo>
                        <a:lnTo>
                          <a:pt x="222" y="426"/>
                        </a:lnTo>
                        <a:lnTo>
                          <a:pt x="228" y="432"/>
                        </a:lnTo>
                        <a:lnTo>
                          <a:pt x="234" y="444"/>
                        </a:lnTo>
                        <a:lnTo>
                          <a:pt x="240" y="462"/>
                        </a:lnTo>
                        <a:lnTo>
                          <a:pt x="264" y="486"/>
                        </a:lnTo>
                        <a:lnTo>
                          <a:pt x="288" y="486"/>
                        </a:lnTo>
                        <a:lnTo>
                          <a:pt x="288" y="480"/>
                        </a:lnTo>
                        <a:lnTo>
                          <a:pt x="306" y="480"/>
                        </a:lnTo>
                        <a:lnTo>
                          <a:pt x="312" y="486"/>
                        </a:lnTo>
                        <a:lnTo>
                          <a:pt x="336" y="486"/>
                        </a:lnTo>
                        <a:lnTo>
                          <a:pt x="342" y="480"/>
                        </a:lnTo>
                        <a:lnTo>
                          <a:pt x="366" y="486"/>
                        </a:lnTo>
                        <a:lnTo>
                          <a:pt x="372" y="480"/>
                        </a:lnTo>
                        <a:lnTo>
                          <a:pt x="384" y="474"/>
                        </a:lnTo>
                        <a:lnTo>
                          <a:pt x="402" y="474"/>
                        </a:lnTo>
                        <a:lnTo>
                          <a:pt x="408" y="480"/>
                        </a:lnTo>
                        <a:lnTo>
                          <a:pt x="408" y="492"/>
                        </a:lnTo>
                        <a:lnTo>
                          <a:pt x="390" y="510"/>
                        </a:lnTo>
                        <a:lnTo>
                          <a:pt x="390" y="534"/>
                        </a:lnTo>
                        <a:lnTo>
                          <a:pt x="384" y="540"/>
                        </a:lnTo>
                        <a:lnTo>
                          <a:pt x="378" y="540"/>
                        </a:lnTo>
                        <a:lnTo>
                          <a:pt x="366" y="552"/>
                        </a:lnTo>
                        <a:lnTo>
                          <a:pt x="366" y="576"/>
                        </a:lnTo>
                        <a:lnTo>
                          <a:pt x="372" y="588"/>
                        </a:lnTo>
                        <a:lnTo>
                          <a:pt x="372" y="618"/>
                        </a:lnTo>
                        <a:lnTo>
                          <a:pt x="366" y="630"/>
                        </a:lnTo>
                        <a:lnTo>
                          <a:pt x="366" y="642"/>
                        </a:lnTo>
                        <a:lnTo>
                          <a:pt x="372" y="648"/>
                        </a:lnTo>
                        <a:lnTo>
                          <a:pt x="384" y="648"/>
                        </a:lnTo>
                        <a:lnTo>
                          <a:pt x="384" y="672"/>
                        </a:lnTo>
                        <a:lnTo>
                          <a:pt x="390" y="684"/>
                        </a:lnTo>
                        <a:lnTo>
                          <a:pt x="402" y="690"/>
                        </a:lnTo>
                        <a:lnTo>
                          <a:pt x="408" y="702"/>
                        </a:lnTo>
                        <a:lnTo>
                          <a:pt x="408" y="708"/>
                        </a:lnTo>
                        <a:lnTo>
                          <a:pt x="402" y="720"/>
                        </a:lnTo>
                        <a:lnTo>
                          <a:pt x="372" y="750"/>
                        </a:lnTo>
                        <a:lnTo>
                          <a:pt x="366" y="750"/>
                        </a:lnTo>
                        <a:lnTo>
                          <a:pt x="390" y="762"/>
                        </a:lnTo>
                        <a:lnTo>
                          <a:pt x="402" y="774"/>
                        </a:lnTo>
                        <a:lnTo>
                          <a:pt x="414" y="774"/>
                        </a:lnTo>
                        <a:lnTo>
                          <a:pt x="414" y="798"/>
                        </a:lnTo>
                        <a:lnTo>
                          <a:pt x="420" y="804"/>
                        </a:lnTo>
                        <a:lnTo>
                          <a:pt x="420" y="822"/>
                        </a:lnTo>
                        <a:lnTo>
                          <a:pt x="426" y="828"/>
                        </a:lnTo>
                        <a:lnTo>
                          <a:pt x="426" y="846"/>
                        </a:lnTo>
                        <a:lnTo>
                          <a:pt x="432" y="858"/>
                        </a:lnTo>
                        <a:lnTo>
                          <a:pt x="432" y="876"/>
                        </a:lnTo>
                        <a:lnTo>
                          <a:pt x="444" y="888"/>
                        </a:lnTo>
                        <a:lnTo>
                          <a:pt x="450" y="900"/>
                        </a:lnTo>
                        <a:lnTo>
                          <a:pt x="450" y="906"/>
                        </a:lnTo>
                        <a:lnTo>
                          <a:pt x="462" y="918"/>
                        </a:lnTo>
                        <a:lnTo>
                          <a:pt x="468" y="918"/>
                        </a:lnTo>
                        <a:lnTo>
                          <a:pt x="480" y="924"/>
                        </a:lnTo>
                        <a:lnTo>
                          <a:pt x="486" y="924"/>
                        </a:lnTo>
                        <a:lnTo>
                          <a:pt x="498" y="918"/>
                        </a:lnTo>
                        <a:lnTo>
                          <a:pt x="504" y="912"/>
                        </a:lnTo>
                        <a:lnTo>
                          <a:pt x="516" y="906"/>
                        </a:lnTo>
                        <a:lnTo>
                          <a:pt x="522" y="900"/>
                        </a:lnTo>
                        <a:lnTo>
                          <a:pt x="528" y="906"/>
                        </a:lnTo>
                        <a:lnTo>
                          <a:pt x="528" y="930"/>
                        </a:lnTo>
                        <a:lnTo>
                          <a:pt x="534" y="930"/>
                        </a:lnTo>
                        <a:lnTo>
                          <a:pt x="546" y="918"/>
                        </a:lnTo>
                        <a:lnTo>
                          <a:pt x="558" y="894"/>
                        </a:lnTo>
                        <a:lnTo>
                          <a:pt x="570" y="882"/>
                        </a:lnTo>
                        <a:lnTo>
                          <a:pt x="588" y="882"/>
                        </a:lnTo>
                        <a:lnTo>
                          <a:pt x="594" y="876"/>
                        </a:lnTo>
                        <a:lnTo>
                          <a:pt x="630" y="858"/>
                        </a:lnTo>
                        <a:lnTo>
                          <a:pt x="636" y="846"/>
                        </a:lnTo>
                        <a:lnTo>
                          <a:pt x="636" y="816"/>
                        </a:lnTo>
                        <a:lnTo>
                          <a:pt x="678" y="816"/>
                        </a:lnTo>
                        <a:lnTo>
                          <a:pt x="684" y="810"/>
                        </a:lnTo>
                        <a:lnTo>
                          <a:pt x="690" y="798"/>
                        </a:lnTo>
                        <a:lnTo>
                          <a:pt x="690" y="792"/>
                        </a:lnTo>
                        <a:lnTo>
                          <a:pt x="684" y="786"/>
                        </a:lnTo>
                        <a:lnTo>
                          <a:pt x="636" y="780"/>
                        </a:lnTo>
                        <a:lnTo>
                          <a:pt x="636" y="750"/>
                        </a:lnTo>
                        <a:lnTo>
                          <a:pt x="630" y="738"/>
                        </a:lnTo>
                        <a:lnTo>
                          <a:pt x="618" y="726"/>
                        </a:lnTo>
                        <a:lnTo>
                          <a:pt x="624" y="720"/>
                        </a:lnTo>
                        <a:lnTo>
                          <a:pt x="624" y="690"/>
                        </a:lnTo>
                        <a:lnTo>
                          <a:pt x="618" y="684"/>
                        </a:lnTo>
                        <a:lnTo>
                          <a:pt x="606" y="678"/>
                        </a:lnTo>
                        <a:lnTo>
                          <a:pt x="588" y="660"/>
                        </a:lnTo>
                        <a:lnTo>
                          <a:pt x="588" y="630"/>
                        </a:lnTo>
                        <a:lnTo>
                          <a:pt x="594" y="636"/>
                        </a:lnTo>
                        <a:lnTo>
                          <a:pt x="594" y="642"/>
                        </a:lnTo>
                        <a:lnTo>
                          <a:pt x="636" y="642"/>
                        </a:lnTo>
                        <a:lnTo>
                          <a:pt x="642" y="648"/>
                        </a:lnTo>
                        <a:lnTo>
                          <a:pt x="642" y="666"/>
                        </a:lnTo>
                        <a:lnTo>
                          <a:pt x="654" y="666"/>
                        </a:lnTo>
                        <a:lnTo>
                          <a:pt x="666" y="660"/>
                        </a:lnTo>
                        <a:lnTo>
                          <a:pt x="678" y="666"/>
                        </a:lnTo>
                        <a:lnTo>
                          <a:pt x="684" y="660"/>
                        </a:lnTo>
                        <a:lnTo>
                          <a:pt x="696" y="660"/>
                        </a:lnTo>
                        <a:lnTo>
                          <a:pt x="702" y="666"/>
                        </a:lnTo>
                        <a:lnTo>
                          <a:pt x="708" y="678"/>
                        </a:lnTo>
                        <a:lnTo>
                          <a:pt x="720" y="690"/>
                        </a:lnTo>
                        <a:lnTo>
                          <a:pt x="732" y="696"/>
                        </a:lnTo>
                        <a:lnTo>
                          <a:pt x="738" y="690"/>
                        </a:lnTo>
                        <a:lnTo>
                          <a:pt x="738" y="672"/>
                        </a:lnTo>
                        <a:lnTo>
                          <a:pt x="744" y="660"/>
                        </a:lnTo>
                        <a:lnTo>
                          <a:pt x="744" y="648"/>
                        </a:lnTo>
                        <a:lnTo>
                          <a:pt x="750" y="642"/>
                        </a:lnTo>
                        <a:lnTo>
                          <a:pt x="768" y="642"/>
                        </a:lnTo>
                        <a:lnTo>
                          <a:pt x="774" y="648"/>
                        </a:lnTo>
                        <a:lnTo>
                          <a:pt x="792" y="648"/>
                        </a:lnTo>
                        <a:lnTo>
                          <a:pt x="804" y="642"/>
                        </a:lnTo>
                        <a:lnTo>
                          <a:pt x="828" y="618"/>
                        </a:lnTo>
                        <a:lnTo>
                          <a:pt x="840" y="612"/>
                        </a:lnTo>
                        <a:lnTo>
                          <a:pt x="864" y="612"/>
                        </a:lnTo>
                        <a:lnTo>
                          <a:pt x="864" y="600"/>
                        </a:lnTo>
                        <a:lnTo>
                          <a:pt x="876" y="600"/>
                        </a:lnTo>
                        <a:lnTo>
                          <a:pt x="882" y="594"/>
                        </a:lnTo>
                        <a:lnTo>
                          <a:pt x="882" y="558"/>
                        </a:lnTo>
                        <a:lnTo>
                          <a:pt x="846" y="522"/>
                        </a:lnTo>
                        <a:lnTo>
                          <a:pt x="840" y="510"/>
                        </a:lnTo>
                        <a:lnTo>
                          <a:pt x="834" y="504"/>
                        </a:lnTo>
                        <a:lnTo>
                          <a:pt x="834" y="492"/>
                        </a:lnTo>
                        <a:lnTo>
                          <a:pt x="846" y="486"/>
                        </a:lnTo>
                        <a:lnTo>
                          <a:pt x="852" y="486"/>
                        </a:lnTo>
                        <a:lnTo>
                          <a:pt x="864" y="480"/>
                        </a:lnTo>
                        <a:lnTo>
                          <a:pt x="864" y="462"/>
                        </a:lnTo>
                        <a:lnTo>
                          <a:pt x="846" y="444"/>
                        </a:lnTo>
                        <a:lnTo>
                          <a:pt x="846" y="438"/>
                        </a:lnTo>
                        <a:lnTo>
                          <a:pt x="876" y="438"/>
                        </a:lnTo>
                        <a:lnTo>
                          <a:pt x="888" y="432"/>
                        </a:lnTo>
                        <a:lnTo>
                          <a:pt x="900" y="432"/>
                        </a:lnTo>
                        <a:lnTo>
                          <a:pt x="912" y="426"/>
                        </a:lnTo>
                        <a:lnTo>
                          <a:pt x="918" y="420"/>
                        </a:lnTo>
                        <a:lnTo>
                          <a:pt x="918" y="402"/>
                        </a:lnTo>
                        <a:lnTo>
                          <a:pt x="894" y="402"/>
                        </a:lnTo>
                        <a:lnTo>
                          <a:pt x="894" y="360"/>
                        </a:lnTo>
                        <a:lnTo>
                          <a:pt x="906" y="348"/>
                        </a:lnTo>
                        <a:lnTo>
                          <a:pt x="918" y="348"/>
                        </a:lnTo>
                        <a:lnTo>
                          <a:pt x="924" y="342"/>
                        </a:lnTo>
                        <a:lnTo>
                          <a:pt x="930" y="342"/>
                        </a:lnTo>
                        <a:lnTo>
                          <a:pt x="936" y="336"/>
                        </a:lnTo>
                        <a:lnTo>
                          <a:pt x="954" y="300"/>
                        </a:lnTo>
                        <a:lnTo>
                          <a:pt x="948" y="294"/>
                        </a:lnTo>
                        <a:lnTo>
                          <a:pt x="942" y="282"/>
                        </a:lnTo>
                        <a:lnTo>
                          <a:pt x="936" y="27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89" name="USA (Alaska)"/>
                  <p:cNvSpPr>
                    <a:spLocks noEditPoints="1"/>
                  </p:cNvSpPr>
                  <p:nvPr/>
                </p:nvSpPr>
                <p:spPr bwMode="gray">
                  <a:xfrm>
                    <a:off x="65" y="886"/>
                    <a:ext cx="786" cy="340"/>
                  </a:xfrm>
                  <a:custGeom>
                    <a:avLst/>
                    <a:gdLst>
                      <a:gd name="T0" fmla="*/ 2147483647 w 3072"/>
                      <a:gd name="T1" fmla="*/ 2147483647 h 1332"/>
                      <a:gd name="T2" fmla="*/ 2147483647 w 3072"/>
                      <a:gd name="T3" fmla="*/ 2147483647 h 1332"/>
                      <a:gd name="T4" fmla="*/ 2147483647 w 3072"/>
                      <a:gd name="T5" fmla="*/ 2147483647 h 1332"/>
                      <a:gd name="T6" fmla="*/ 2147483647 w 3072"/>
                      <a:gd name="T7" fmla="*/ 2147483647 h 1332"/>
                      <a:gd name="T8" fmla="*/ 2147483647 w 3072"/>
                      <a:gd name="T9" fmla="*/ 2147483647 h 1332"/>
                      <a:gd name="T10" fmla="*/ 2147483647 w 3072"/>
                      <a:gd name="T11" fmla="*/ 2147483647 h 1332"/>
                      <a:gd name="T12" fmla="*/ 2147483647 w 3072"/>
                      <a:gd name="T13" fmla="*/ 2147483647 h 1332"/>
                      <a:gd name="T14" fmla="*/ 2147483647 w 3072"/>
                      <a:gd name="T15" fmla="*/ 2147483647 h 1332"/>
                      <a:gd name="T16" fmla="*/ 2147483647 w 3072"/>
                      <a:gd name="T17" fmla="*/ 2147483647 h 1332"/>
                      <a:gd name="T18" fmla="*/ 2147483647 w 3072"/>
                      <a:gd name="T19" fmla="*/ 2147483647 h 1332"/>
                      <a:gd name="T20" fmla="*/ 2147483647 w 3072"/>
                      <a:gd name="T21" fmla="*/ 2147483647 h 1332"/>
                      <a:gd name="T22" fmla="*/ 2147483647 w 3072"/>
                      <a:gd name="T23" fmla="*/ 0 h 1332"/>
                      <a:gd name="T24" fmla="*/ 2147483647 w 3072"/>
                      <a:gd name="T25" fmla="*/ 2147483647 h 1332"/>
                      <a:gd name="T26" fmla="*/ 2147483647 w 3072"/>
                      <a:gd name="T27" fmla="*/ 2147483647 h 1332"/>
                      <a:gd name="T28" fmla="*/ 2147483647 w 3072"/>
                      <a:gd name="T29" fmla="*/ 2147483647 h 1332"/>
                      <a:gd name="T30" fmla="*/ 2147483647 w 3072"/>
                      <a:gd name="T31" fmla="*/ 2147483647 h 1332"/>
                      <a:gd name="T32" fmla="*/ 2147483647 w 3072"/>
                      <a:gd name="T33" fmla="*/ 2147483647 h 1332"/>
                      <a:gd name="T34" fmla="*/ 2147483647 w 3072"/>
                      <a:gd name="T35" fmla="*/ 2147483647 h 1332"/>
                      <a:gd name="T36" fmla="*/ 2147483647 w 3072"/>
                      <a:gd name="T37" fmla="*/ 2147483647 h 1332"/>
                      <a:gd name="T38" fmla="*/ 2147483647 w 3072"/>
                      <a:gd name="T39" fmla="*/ 2147483647 h 1332"/>
                      <a:gd name="T40" fmla="*/ 2147483647 w 3072"/>
                      <a:gd name="T41" fmla="*/ 2147483647 h 1332"/>
                      <a:gd name="T42" fmla="*/ 2147483647 w 3072"/>
                      <a:gd name="T43" fmla="*/ 2147483647 h 1332"/>
                      <a:gd name="T44" fmla="*/ 2147483647 w 3072"/>
                      <a:gd name="T45" fmla="*/ 2147483647 h 1332"/>
                      <a:gd name="T46" fmla="*/ 2147483647 w 3072"/>
                      <a:gd name="T47" fmla="*/ 2147483647 h 1332"/>
                      <a:gd name="T48" fmla="*/ 2147483647 w 3072"/>
                      <a:gd name="T49" fmla="*/ 2147483647 h 1332"/>
                      <a:gd name="T50" fmla="*/ 2147483647 w 3072"/>
                      <a:gd name="T51" fmla="*/ 2147483647 h 1332"/>
                      <a:gd name="T52" fmla="*/ 2147483647 w 3072"/>
                      <a:gd name="T53" fmla="*/ 2147483647 h 1332"/>
                      <a:gd name="T54" fmla="*/ 2147483647 w 3072"/>
                      <a:gd name="T55" fmla="*/ 2147483647 h 1332"/>
                      <a:gd name="T56" fmla="*/ 2147483647 w 3072"/>
                      <a:gd name="T57" fmla="*/ 2147483647 h 1332"/>
                      <a:gd name="T58" fmla="*/ 2147483647 w 3072"/>
                      <a:gd name="T59" fmla="*/ 2147483647 h 1332"/>
                      <a:gd name="T60" fmla="*/ 2147483647 w 3072"/>
                      <a:gd name="T61" fmla="*/ 2147483647 h 1332"/>
                      <a:gd name="T62" fmla="*/ 2147483647 w 3072"/>
                      <a:gd name="T63" fmla="*/ 2147483647 h 1332"/>
                      <a:gd name="T64" fmla="*/ 2147483647 w 3072"/>
                      <a:gd name="T65" fmla="*/ 2147483647 h 1332"/>
                      <a:gd name="T66" fmla="*/ 2147483647 w 3072"/>
                      <a:gd name="T67" fmla="*/ 2147483647 h 1332"/>
                      <a:gd name="T68" fmla="*/ 2147483647 w 3072"/>
                      <a:gd name="T69" fmla="*/ 2147483647 h 1332"/>
                      <a:gd name="T70" fmla="*/ 2147483647 w 3072"/>
                      <a:gd name="T71" fmla="*/ 2147483647 h 1332"/>
                      <a:gd name="T72" fmla="*/ 2147483647 w 3072"/>
                      <a:gd name="T73" fmla="*/ 2147483647 h 1332"/>
                      <a:gd name="T74" fmla="*/ 2147483647 w 3072"/>
                      <a:gd name="T75" fmla="*/ 2147483647 h 1332"/>
                      <a:gd name="T76" fmla="*/ 2147483647 w 3072"/>
                      <a:gd name="T77" fmla="*/ 2147483647 h 1332"/>
                      <a:gd name="T78" fmla="*/ 2147483647 w 3072"/>
                      <a:gd name="T79" fmla="*/ 2147483647 h 1332"/>
                      <a:gd name="T80" fmla="*/ 2147483647 w 3072"/>
                      <a:gd name="T81" fmla="*/ 2147483647 h 1332"/>
                      <a:gd name="T82" fmla="*/ 2147483647 w 3072"/>
                      <a:gd name="T83" fmla="*/ 2147483647 h 1332"/>
                      <a:gd name="T84" fmla="*/ 2147483647 w 3072"/>
                      <a:gd name="T85" fmla="*/ 2147483647 h 1332"/>
                      <a:gd name="T86" fmla="*/ 2147483647 w 3072"/>
                      <a:gd name="T87" fmla="*/ 2147483647 h 1332"/>
                      <a:gd name="T88" fmla="*/ 2147483647 w 3072"/>
                      <a:gd name="T89" fmla="*/ 2147483647 h 1332"/>
                      <a:gd name="T90" fmla="*/ 2147483647 w 3072"/>
                      <a:gd name="T91" fmla="*/ 2147483647 h 1332"/>
                      <a:gd name="T92" fmla="*/ 2147483647 w 3072"/>
                      <a:gd name="T93" fmla="*/ 2147483647 h 1332"/>
                      <a:gd name="T94" fmla="*/ 2147483647 w 3072"/>
                      <a:gd name="T95" fmla="*/ 2147483647 h 1332"/>
                      <a:gd name="T96" fmla="*/ 2147483647 w 3072"/>
                      <a:gd name="T97" fmla="*/ 2147483647 h 1332"/>
                      <a:gd name="T98" fmla="*/ 2147483647 w 3072"/>
                      <a:gd name="T99" fmla="*/ 2147483647 h 1332"/>
                      <a:gd name="T100" fmla="*/ 2147483647 w 3072"/>
                      <a:gd name="T101" fmla="*/ 2147483647 h 1332"/>
                      <a:gd name="T102" fmla="*/ 2147483647 w 3072"/>
                      <a:gd name="T103" fmla="*/ 2147483647 h 1332"/>
                      <a:gd name="T104" fmla="*/ 2147483647 w 3072"/>
                      <a:gd name="T105" fmla="*/ 2147483647 h 1332"/>
                      <a:gd name="T106" fmla="*/ 2147483647 w 3072"/>
                      <a:gd name="T107" fmla="*/ 2147483647 h 1332"/>
                      <a:gd name="T108" fmla="*/ 2147483647 w 3072"/>
                      <a:gd name="T109" fmla="*/ 2147483647 h 1332"/>
                      <a:gd name="T110" fmla="*/ 2147483647 w 3072"/>
                      <a:gd name="T111" fmla="*/ 2147483647 h 1332"/>
                      <a:gd name="T112" fmla="*/ 2147483647 w 3072"/>
                      <a:gd name="T113" fmla="*/ 2147483647 h 1332"/>
                      <a:gd name="T114" fmla="*/ 2147483647 w 3072"/>
                      <a:gd name="T115" fmla="*/ 2147483647 h 1332"/>
                      <a:gd name="T116" fmla="*/ 2147483647 w 3072"/>
                      <a:gd name="T117" fmla="*/ 2147483647 h 1332"/>
                      <a:gd name="T118" fmla="*/ 2147483647 w 3072"/>
                      <a:gd name="T119" fmla="*/ 2147483647 h 1332"/>
                      <a:gd name="T120" fmla="*/ 2147483647 w 3072"/>
                      <a:gd name="T121" fmla="*/ 2147483647 h 133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72"/>
                      <a:gd name="T184" fmla="*/ 0 h 1332"/>
                      <a:gd name="T185" fmla="*/ 3072 w 3072"/>
                      <a:gd name="T186" fmla="*/ 1332 h 133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72" h="1332">
                        <a:moveTo>
                          <a:pt x="2454" y="930"/>
                        </a:moveTo>
                        <a:lnTo>
                          <a:pt x="2418" y="966"/>
                        </a:lnTo>
                        <a:lnTo>
                          <a:pt x="2400" y="1002"/>
                        </a:lnTo>
                        <a:lnTo>
                          <a:pt x="2412" y="1002"/>
                        </a:lnTo>
                        <a:lnTo>
                          <a:pt x="2448" y="984"/>
                        </a:lnTo>
                        <a:lnTo>
                          <a:pt x="2460" y="972"/>
                        </a:lnTo>
                        <a:lnTo>
                          <a:pt x="2460" y="954"/>
                        </a:lnTo>
                        <a:lnTo>
                          <a:pt x="2472" y="942"/>
                        </a:lnTo>
                        <a:lnTo>
                          <a:pt x="2460" y="930"/>
                        </a:lnTo>
                        <a:lnTo>
                          <a:pt x="2454" y="930"/>
                        </a:lnTo>
                        <a:close/>
                        <a:moveTo>
                          <a:pt x="2400" y="930"/>
                        </a:moveTo>
                        <a:lnTo>
                          <a:pt x="2388" y="930"/>
                        </a:lnTo>
                        <a:lnTo>
                          <a:pt x="2376" y="936"/>
                        </a:lnTo>
                        <a:lnTo>
                          <a:pt x="2364" y="948"/>
                        </a:lnTo>
                        <a:lnTo>
                          <a:pt x="2364" y="954"/>
                        </a:lnTo>
                        <a:lnTo>
                          <a:pt x="2370" y="966"/>
                        </a:lnTo>
                        <a:lnTo>
                          <a:pt x="2376" y="972"/>
                        </a:lnTo>
                        <a:lnTo>
                          <a:pt x="2406" y="972"/>
                        </a:lnTo>
                        <a:lnTo>
                          <a:pt x="2412" y="960"/>
                        </a:lnTo>
                        <a:lnTo>
                          <a:pt x="2418" y="954"/>
                        </a:lnTo>
                        <a:lnTo>
                          <a:pt x="2418" y="942"/>
                        </a:lnTo>
                        <a:lnTo>
                          <a:pt x="2406" y="936"/>
                        </a:lnTo>
                        <a:lnTo>
                          <a:pt x="2400" y="930"/>
                        </a:lnTo>
                        <a:close/>
                        <a:moveTo>
                          <a:pt x="2316" y="1188"/>
                        </a:moveTo>
                        <a:lnTo>
                          <a:pt x="2328" y="1188"/>
                        </a:lnTo>
                        <a:lnTo>
                          <a:pt x="2340" y="1152"/>
                        </a:lnTo>
                        <a:lnTo>
                          <a:pt x="2322" y="1158"/>
                        </a:lnTo>
                        <a:lnTo>
                          <a:pt x="2316" y="1188"/>
                        </a:lnTo>
                        <a:close/>
                        <a:moveTo>
                          <a:pt x="2388" y="1074"/>
                        </a:moveTo>
                        <a:lnTo>
                          <a:pt x="2370" y="1086"/>
                        </a:lnTo>
                        <a:lnTo>
                          <a:pt x="2382" y="1098"/>
                        </a:lnTo>
                        <a:lnTo>
                          <a:pt x="2388" y="1098"/>
                        </a:lnTo>
                        <a:lnTo>
                          <a:pt x="2382" y="1104"/>
                        </a:lnTo>
                        <a:lnTo>
                          <a:pt x="2376" y="1104"/>
                        </a:lnTo>
                        <a:lnTo>
                          <a:pt x="2364" y="1116"/>
                        </a:lnTo>
                        <a:lnTo>
                          <a:pt x="2358" y="1116"/>
                        </a:lnTo>
                        <a:lnTo>
                          <a:pt x="2352" y="1122"/>
                        </a:lnTo>
                        <a:lnTo>
                          <a:pt x="2352" y="1152"/>
                        </a:lnTo>
                        <a:lnTo>
                          <a:pt x="2358" y="1164"/>
                        </a:lnTo>
                        <a:lnTo>
                          <a:pt x="2358" y="1188"/>
                        </a:lnTo>
                        <a:lnTo>
                          <a:pt x="2370" y="1182"/>
                        </a:lnTo>
                        <a:lnTo>
                          <a:pt x="2376" y="1170"/>
                        </a:lnTo>
                        <a:lnTo>
                          <a:pt x="2388" y="1164"/>
                        </a:lnTo>
                        <a:lnTo>
                          <a:pt x="2394" y="1158"/>
                        </a:lnTo>
                        <a:lnTo>
                          <a:pt x="2394" y="1146"/>
                        </a:lnTo>
                        <a:lnTo>
                          <a:pt x="2382" y="1134"/>
                        </a:lnTo>
                        <a:lnTo>
                          <a:pt x="2394" y="1134"/>
                        </a:lnTo>
                        <a:lnTo>
                          <a:pt x="2412" y="1116"/>
                        </a:lnTo>
                        <a:lnTo>
                          <a:pt x="2412" y="1098"/>
                        </a:lnTo>
                        <a:lnTo>
                          <a:pt x="2388" y="1074"/>
                        </a:lnTo>
                        <a:close/>
                        <a:moveTo>
                          <a:pt x="2562" y="1080"/>
                        </a:moveTo>
                        <a:lnTo>
                          <a:pt x="2550" y="1080"/>
                        </a:lnTo>
                        <a:lnTo>
                          <a:pt x="2550" y="1074"/>
                        </a:lnTo>
                        <a:lnTo>
                          <a:pt x="2544" y="1068"/>
                        </a:lnTo>
                        <a:lnTo>
                          <a:pt x="2538" y="1068"/>
                        </a:lnTo>
                        <a:lnTo>
                          <a:pt x="2532" y="1062"/>
                        </a:lnTo>
                        <a:lnTo>
                          <a:pt x="2520" y="1056"/>
                        </a:lnTo>
                        <a:lnTo>
                          <a:pt x="2514" y="1050"/>
                        </a:lnTo>
                        <a:lnTo>
                          <a:pt x="2514" y="1044"/>
                        </a:lnTo>
                        <a:lnTo>
                          <a:pt x="2520" y="1032"/>
                        </a:lnTo>
                        <a:lnTo>
                          <a:pt x="2520" y="1020"/>
                        </a:lnTo>
                        <a:lnTo>
                          <a:pt x="2526" y="1008"/>
                        </a:lnTo>
                        <a:lnTo>
                          <a:pt x="2532" y="1002"/>
                        </a:lnTo>
                        <a:lnTo>
                          <a:pt x="2532" y="960"/>
                        </a:lnTo>
                        <a:lnTo>
                          <a:pt x="2550" y="924"/>
                        </a:lnTo>
                        <a:lnTo>
                          <a:pt x="2550" y="906"/>
                        </a:lnTo>
                        <a:lnTo>
                          <a:pt x="2544" y="894"/>
                        </a:lnTo>
                        <a:lnTo>
                          <a:pt x="2526" y="876"/>
                        </a:lnTo>
                        <a:lnTo>
                          <a:pt x="2538" y="864"/>
                        </a:lnTo>
                        <a:lnTo>
                          <a:pt x="2538" y="834"/>
                        </a:lnTo>
                        <a:lnTo>
                          <a:pt x="2544" y="828"/>
                        </a:lnTo>
                        <a:lnTo>
                          <a:pt x="2550" y="828"/>
                        </a:lnTo>
                        <a:lnTo>
                          <a:pt x="2556" y="822"/>
                        </a:lnTo>
                        <a:lnTo>
                          <a:pt x="2550" y="816"/>
                        </a:lnTo>
                        <a:lnTo>
                          <a:pt x="2532" y="810"/>
                        </a:lnTo>
                        <a:lnTo>
                          <a:pt x="2520" y="810"/>
                        </a:lnTo>
                        <a:lnTo>
                          <a:pt x="2502" y="816"/>
                        </a:lnTo>
                        <a:lnTo>
                          <a:pt x="2490" y="816"/>
                        </a:lnTo>
                        <a:lnTo>
                          <a:pt x="2484" y="822"/>
                        </a:lnTo>
                        <a:lnTo>
                          <a:pt x="2478" y="822"/>
                        </a:lnTo>
                        <a:lnTo>
                          <a:pt x="2478" y="834"/>
                        </a:lnTo>
                        <a:lnTo>
                          <a:pt x="2460" y="834"/>
                        </a:lnTo>
                        <a:lnTo>
                          <a:pt x="2454" y="840"/>
                        </a:lnTo>
                        <a:lnTo>
                          <a:pt x="2442" y="846"/>
                        </a:lnTo>
                        <a:lnTo>
                          <a:pt x="2430" y="846"/>
                        </a:lnTo>
                        <a:lnTo>
                          <a:pt x="2418" y="852"/>
                        </a:lnTo>
                        <a:lnTo>
                          <a:pt x="2406" y="852"/>
                        </a:lnTo>
                        <a:lnTo>
                          <a:pt x="2400" y="858"/>
                        </a:lnTo>
                        <a:lnTo>
                          <a:pt x="2394" y="858"/>
                        </a:lnTo>
                        <a:lnTo>
                          <a:pt x="2388" y="864"/>
                        </a:lnTo>
                        <a:lnTo>
                          <a:pt x="2376" y="870"/>
                        </a:lnTo>
                        <a:lnTo>
                          <a:pt x="2370" y="876"/>
                        </a:lnTo>
                        <a:lnTo>
                          <a:pt x="2364" y="876"/>
                        </a:lnTo>
                        <a:lnTo>
                          <a:pt x="2364" y="864"/>
                        </a:lnTo>
                        <a:lnTo>
                          <a:pt x="2382" y="846"/>
                        </a:lnTo>
                        <a:lnTo>
                          <a:pt x="2376" y="840"/>
                        </a:lnTo>
                        <a:lnTo>
                          <a:pt x="2364" y="834"/>
                        </a:lnTo>
                        <a:lnTo>
                          <a:pt x="2358" y="828"/>
                        </a:lnTo>
                        <a:lnTo>
                          <a:pt x="2358" y="810"/>
                        </a:lnTo>
                        <a:lnTo>
                          <a:pt x="2352" y="798"/>
                        </a:lnTo>
                        <a:lnTo>
                          <a:pt x="2352" y="792"/>
                        </a:lnTo>
                        <a:lnTo>
                          <a:pt x="2376" y="768"/>
                        </a:lnTo>
                        <a:lnTo>
                          <a:pt x="2340" y="768"/>
                        </a:lnTo>
                        <a:lnTo>
                          <a:pt x="2328" y="780"/>
                        </a:lnTo>
                        <a:lnTo>
                          <a:pt x="2274" y="780"/>
                        </a:lnTo>
                        <a:lnTo>
                          <a:pt x="2274" y="768"/>
                        </a:lnTo>
                        <a:lnTo>
                          <a:pt x="2280" y="756"/>
                        </a:lnTo>
                        <a:lnTo>
                          <a:pt x="2292" y="750"/>
                        </a:lnTo>
                        <a:lnTo>
                          <a:pt x="2298" y="744"/>
                        </a:lnTo>
                        <a:lnTo>
                          <a:pt x="3072" y="108"/>
                        </a:lnTo>
                        <a:lnTo>
                          <a:pt x="3054" y="108"/>
                        </a:lnTo>
                        <a:lnTo>
                          <a:pt x="3054" y="102"/>
                        </a:lnTo>
                        <a:lnTo>
                          <a:pt x="3048" y="90"/>
                        </a:lnTo>
                        <a:lnTo>
                          <a:pt x="3036" y="84"/>
                        </a:lnTo>
                        <a:lnTo>
                          <a:pt x="3030" y="78"/>
                        </a:lnTo>
                        <a:lnTo>
                          <a:pt x="3012" y="78"/>
                        </a:lnTo>
                        <a:lnTo>
                          <a:pt x="2988" y="84"/>
                        </a:lnTo>
                        <a:lnTo>
                          <a:pt x="2964" y="84"/>
                        </a:lnTo>
                        <a:lnTo>
                          <a:pt x="2928" y="96"/>
                        </a:lnTo>
                        <a:lnTo>
                          <a:pt x="2916" y="96"/>
                        </a:lnTo>
                        <a:lnTo>
                          <a:pt x="2892" y="84"/>
                        </a:lnTo>
                        <a:lnTo>
                          <a:pt x="2886" y="78"/>
                        </a:lnTo>
                        <a:lnTo>
                          <a:pt x="2874" y="72"/>
                        </a:lnTo>
                        <a:lnTo>
                          <a:pt x="2784" y="72"/>
                        </a:lnTo>
                        <a:lnTo>
                          <a:pt x="2772" y="66"/>
                        </a:lnTo>
                        <a:lnTo>
                          <a:pt x="2766" y="60"/>
                        </a:lnTo>
                        <a:lnTo>
                          <a:pt x="2748" y="60"/>
                        </a:lnTo>
                        <a:lnTo>
                          <a:pt x="2736" y="54"/>
                        </a:lnTo>
                        <a:lnTo>
                          <a:pt x="2598" y="54"/>
                        </a:lnTo>
                        <a:lnTo>
                          <a:pt x="2598" y="42"/>
                        </a:lnTo>
                        <a:lnTo>
                          <a:pt x="2604" y="36"/>
                        </a:lnTo>
                        <a:lnTo>
                          <a:pt x="2592" y="36"/>
                        </a:lnTo>
                        <a:lnTo>
                          <a:pt x="2574" y="30"/>
                        </a:lnTo>
                        <a:lnTo>
                          <a:pt x="2562" y="30"/>
                        </a:lnTo>
                        <a:lnTo>
                          <a:pt x="2550" y="24"/>
                        </a:lnTo>
                        <a:lnTo>
                          <a:pt x="2532" y="24"/>
                        </a:lnTo>
                        <a:lnTo>
                          <a:pt x="2520" y="30"/>
                        </a:lnTo>
                        <a:lnTo>
                          <a:pt x="2496" y="30"/>
                        </a:lnTo>
                        <a:lnTo>
                          <a:pt x="2490" y="36"/>
                        </a:lnTo>
                        <a:lnTo>
                          <a:pt x="2484" y="36"/>
                        </a:lnTo>
                        <a:lnTo>
                          <a:pt x="2514" y="0"/>
                        </a:lnTo>
                        <a:lnTo>
                          <a:pt x="2430" y="36"/>
                        </a:lnTo>
                        <a:lnTo>
                          <a:pt x="2460" y="0"/>
                        </a:lnTo>
                        <a:lnTo>
                          <a:pt x="2430" y="0"/>
                        </a:lnTo>
                        <a:lnTo>
                          <a:pt x="2418" y="6"/>
                        </a:lnTo>
                        <a:lnTo>
                          <a:pt x="2412" y="12"/>
                        </a:lnTo>
                        <a:lnTo>
                          <a:pt x="2358" y="30"/>
                        </a:lnTo>
                        <a:lnTo>
                          <a:pt x="2232" y="30"/>
                        </a:lnTo>
                        <a:lnTo>
                          <a:pt x="2214" y="36"/>
                        </a:lnTo>
                        <a:lnTo>
                          <a:pt x="2208" y="42"/>
                        </a:lnTo>
                        <a:lnTo>
                          <a:pt x="2184" y="54"/>
                        </a:lnTo>
                        <a:lnTo>
                          <a:pt x="2172" y="54"/>
                        </a:lnTo>
                        <a:lnTo>
                          <a:pt x="2166" y="60"/>
                        </a:lnTo>
                        <a:lnTo>
                          <a:pt x="2046" y="60"/>
                        </a:lnTo>
                        <a:lnTo>
                          <a:pt x="2004" y="72"/>
                        </a:lnTo>
                        <a:lnTo>
                          <a:pt x="1956" y="102"/>
                        </a:lnTo>
                        <a:lnTo>
                          <a:pt x="1902" y="132"/>
                        </a:lnTo>
                        <a:lnTo>
                          <a:pt x="1854" y="144"/>
                        </a:lnTo>
                        <a:lnTo>
                          <a:pt x="1758" y="156"/>
                        </a:lnTo>
                        <a:lnTo>
                          <a:pt x="1722" y="162"/>
                        </a:lnTo>
                        <a:lnTo>
                          <a:pt x="1704" y="162"/>
                        </a:lnTo>
                        <a:lnTo>
                          <a:pt x="1698" y="168"/>
                        </a:lnTo>
                        <a:lnTo>
                          <a:pt x="1644" y="186"/>
                        </a:lnTo>
                        <a:lnTo>
                          <a:pt x="1632" y="192"/>
                        </a:lnTo>
                        <a:lnTo>
                          <a:pt x="1620" y="192"/>
                        </a:lnTo>
                        <a:lnTo>
                          <a:pt x="1620" y="198"/>
                        </a:lnTo>
                        <a:lnTo>
                          <a:pt x="1626" y="204"/>
                        </a:lnTo>
                        <a:lnTo>
                          <a:pt x="1638" y="210"/>
                        </a:lnTo>
                        <a:lnTo>
                          <a:pt x="1650" y="222"/>
                        </a:lnTo>
                        <a:lnTo>
                          <a:pt x="1656" y="222"/>
                        </a:lnTo>
                        <a:lnTo>
                          <a:pt x="1662" y="234"/>
                        </a:lnTo>
                        <a:lnTo>
                          <a:pt x="1662" y="240"/>
                        </a:lnTo>
                        <a:lnTo>
                          <a:pt x="1668" y="252"/>
                        </a:lnTo>
                        <a:lnTo>
                          <a:pt x="1668" y="264"/>
                        </a:lnTo>
                        <a:lnTo>
                          <a:pt x="1662" y="264"/>
                        </a:lnTo>
                        <a:lnTo>
                          <a:pt x="1650" y="270"/>
                        </a:lnTo>
                        <a:lnTo>
                          <a:pt x="1644" y="282"/>
                        </a:lnTo>
                        <a:lnTo>
                          <a:pt x="1734" y="282"/>
                        </a:lnTo>
                        <a:lnTo>
                          <a:pt x="1704" y="318"/>
                        </a:lnTo>
                        <a:lnTo>
                          <a:pt x="1770" y="318"/>
                        </a:lnTo>
                        <a:lnTo>
                          <a:pt x="1764" y="336"/>
                        </a:lnTo>
                        <a:lnTo>
                          <a:pt x="1710" y="336"/>
                        </a:lnTo>
                        <a:lnTo>
                          <a:pt x="1698" y="348"/>
                        </a:lnTo>
                        <a:lnTo>
                          <a:pt x="1632" y="348"/>
                        </a:lnTo>
                        <a:lnTo>
                          <a:pt x="1614" y="354"/>
                        </a:lnTo>
                        <a:lnTo>
                          <a:pt x="1560" y="354"/>
                        </a:lnTo>
                        <a:lnTo>
                          <a:pt x="1554" y="348"/>
                        </a:lnTo>
                        <a:lnTo>
                          <a:pt x="1548" y="348"/>
                        </a:lnTo>
                        <a:lnTo>
                          <a:pt x="1554" y="342"/>
                        </a:lnTo>
                        <a:lnTo>
                          <a:pt x="1560" y="342"/>
                        </a:lnTo>
                        <a:lnTo>
                          <a:pt x="1572" y="330"/>
                        </a:lnTo>
                        <a:lnTo>
                          <a:pt x="1566" y="324"/>
                        </a:lnTo>
                        <a:lnTo>
                          <a:pt x="1458" y="324"/>
                        </a:lnTo>
                        <a:lnTo>
                          <a:pt x="1452" y="330"/>
                        </a:lnTo>
                        <a:lnTo>
                          <a:pt x="1452" y="348"/>
                        </a:lnTo>
                        <a:lnTo>
                          <a:pt x="1434" y="348"/>
                        </a:lnTo>
                        <a:lnTo>
                          <a:pt x="1422" y="354"/>
                        </a:lnTo>
                        <a:lnTo>
                          <a:pt x="1404" y="354"/>
                        </a:lnTo>
                        <a:lnTo>
                          <a:pt x="1386" y="360"/>
                        </a:lnTo>
                        <a:lnTo>
                          <a:pt x="1338" y="360"/>
                        </a:lnTo>
                        <a:lnTo>
                          <a:pt x="1308" y="366"/>
                        </a:lnTo>
                        <a:lnTo>
                          <a:pt x="1254" y="384"/>
                        </a:lnTo>
                        <a:lnTo>
                          <a:pt x="1254" y="390"/>
                        </a:lnTo>
                        <a:lnTo>
                          <a:pt x="1272" y="396"/>
                        </a:lnTo>
                        <a:lnTo>
                          <a:pt x="1284" y="402"/>
                        </a:lnTo>
                        <a:lnTo>
                          <a:pt x="1314" y="402"/>
                        </a:lnTo>
                        <a:lnTo>
                          <a:pt x="1272" y="420"/>
                        </a:lnTo>
                        <a:lnTo>
                          <a:pt x="1260" y="462"/>
                        </a:lnTo>
                        <a:lnTo>
                          <a:pt x="1272" y="462"/>
                        </a:lnTo>
                        <a:lnTo>
                          <a:pt x="1290" y="468"/>
                        </a:lnTo>
                        <a:lnTo>
                          <a:pt x="1338" y="468"/>
                        </a:lnTo>
                        <a:lnTo>
                          <a:pt x="1350" y="462"/>
                        </a:lnTo>
                        <a:lnTo>
                          <a:pt x="1362" y="462"/>
                        </a:lnTo>
                        <a:lnTo>
                          <a:pt x="1410" y="474"/>
                        </a:lnTo>
                        <a:lnTo>
                          <a:pt x="1422" y="456"/>
                        </a:lnTo>
                        <a:lnTo>
                          <a:pt x="1434" y="474"/>
                        </a:lnTo>
                        <a:lnTo>
                          <a:pt x="1446" y="468"/>
                        </a:lnTo>
                        <a:lnTo>
                          <a:pt x="1452" y="462"/>
                        </a:lnTo>
                        <a:lnTo>
                          <a:pt x="1476" y="450"/>
                        </a:lnTo>
                        <a:lnTo>
                          <a:pt x="1482" y="444"/>
                        </a:lnTo>
                        <a:lnTo>
                          <a:pt x="1494" y="444"/>
                        </a:lnTo>
                        <a:lnTo>
                          <a:pt x="1506" y="450"/>
                        </a:lnTo>
                        <a:lnTo>
                          <a:pt x="1524" y="450"/>
                        </a:lnTo>
                        <a:lnTo>
                          <a:pt x="1536" y="444"/>
                        </a:lnTo>
                        <a:lnTo>
                          <a:pt x="1542" y="438"/>
                        </a:lnTo>
                        <a:lnTo>
                          <a:pt x="1554" y="432"/>
                        </a:lnTo>
                        <a:lnTo>
                          <a:pt x="1560" y="432"/>
                        </a:lnTo>
                        <a:lnTo>
                          <a:pt x="1566" y="426"/>
                        </a:lnTo>
                        <a:lnTo>
                          <a:pt x="1566" y="450"/>
                        </a:lnTo>
                        <a:lnTo>
                          <a:pt x="1560" y="462"/>
                        </a:lnTo>
                        <a:lnTo>
                          <a:pt x="1554" y="468"/>
                        </a:lnTo>
                        <a:lnTo>
                          <a:pt x="1500" y="468"/>
                        </a:lnTo>
                        <a:lnTo>
                          <a:pt x="1506" y="498"/>
                        </a:lnTo>
                        <a:lnTo>
                          <a:pt x="1494" y="504"/>
                        </a:lnTo>
                        <a:lnTo>
                          <a:pt x="1488" y="516"/>
                        </a:lnTo>
                        <a:lnTo>
                          <a:pt x="1476" y="522"/>
                        </a:lnTo>
                        <a:lnTo>
                          <a:pt x="1464" y="534"/>
                        </a:lnTo>
                        <a:lnTo>
                          <a:pt x="1446" y="540"/>
                        </a:lnTo>
                        <a:lnTo>
                          <a:pt x="1380" y="540"/>
                        </a:lnTo>
                        <a:lnTo>
                          <a:pt x="1362" y="522"/>
                        </a:lnTo>
                        <a:lnTo>
                          <a:pt x="1344" y="534"/>
                        </a:lnTo>
                        <a:lnTo>
                          <a:pt x="1344" y="546"/>
                        </a:lnTo>
                        <a:lnTo>
                          <a:pt x="1338" y="546"/>
                        </a:lnTo>
                        <a:lnTo>
                          <a:pt x="1332" y="552"/>
                        </a:lnTo>
                        <a:lnTo>
                          <a:pt x="1320" y="558"/>
                        </a:lnTo>
                        <a:lnTo>
                          <a:pt x="1302" y="564"/>
                        </a:lnTo>
                        <a:lnTo>
                          <a:pt x="1290" y="570"/>
                        </a:lnTo>
                        <a:lnTo>
                          <a:pt x="1266" y="570"/>
                        </a:lnTo>
                        <a:lnTo>
                          <a:pt x="1242" y="558"/>
                        </a:lnTo>
                        <a:lnTo>
                          <a:pt x="1236" y="558"/>
                        </a:lnTo>
                        <a:lnTo>
                          <a:pt x="1140" y="606"/>
                        </a:lnTo>
                        <a:lnTo>
                          <a:pt x="1122" y="624"/>
                        </a:lnTo>
                        <a:lnTo>
                          <a:pt x="1116" y="606"/>
                        </a:lnTo>
                        <a:lnTo>
                          <a:pt x="1080" y="624"/>
                        </a:lnTo>
                        <a:lnTo>
                          <a:pt x="1068" y="624"/>
                        </a:lnTo>
                        <a:lnTo>
                          <a:pt x="1044" y="636"/>
                        </a:lnTo>
                        <a:lnTo>
                          <a:pt x="1020" y="660"/>
                        </a:lnTo>
                        <a:lnTo>
                          <a:pt x="990" y="648"/>
                        </a:lnTo>
                        <a:lnTo>
                          <a:pt x="990" y="672"/>
                        </a:lnTo>
                        <a:lnTo>
                          <a:pt x="984" y="666"/>
                        </a:lnTo>
                        <a:lnTo>
                          <a:pt x="972" y="666"/>
                        </a:lnTo>
                        <a:lnTo>
                          <a:pt x="966" y="672"/>
                        </a:lnTo>
                        <a:lnTo>
                          <a:pt x="966" y="690"/>
                        </a:lnTo>
                        <a:lnTo>
                          <a:pt x="954" y="708"/>
                        </a:lnTo>
                        <a:lnTo>
                          <a:pt x="1014" y="684"/>
                        </a:lnTo>
                        <a:lnTo>
                          <a:pt x="990" y="702"/>
                        </a:lnTo>
                        <a:lnTo>
                          <a:pt x="990" y="714"/>
                        </a:lnTo>
                        <a:lnTo>
                          <a:pt x="972" y="726"/>
                        </a:lnTo>
                        <a:lnTo>
                          <a:pt x="1026" y="726"/>
                        </a:lnTo>
                        <a:lnTo>
                          <a:pt x="1032" y="732"/>
                        </a:lnTo>
                        <a:lnTo>
                          <a:pt x="1032" y="738"/>
                        </a:lnTo>
                        <a:lnTo>
                          <a:pt x="1020" y="744"/>
                        </a:lnTo>
                        <a:lnTo>
                          <a:pt x="984" y="744"/>
                        </a:lnTo>
                        <a:lnTo>
                          <a:pt x="960" y="750"/>
                        </a:lnTo>
                        <a:lnTo>
                          <a:pt x="972" y="738"/>
                        </a:lnTo>
                        <a:lnTo>
                          <a:pt x="960" y="732"/>
                        </a:lnTo>
                        <a:lnTo>
                          <a:pt x="954" y="732"/>
                        </a:lnTo>
                        <a:lnTo>
                          <a:pt x="948" y="738"/>
                        </a:lnTo>
                        <a:lnTo>
                          <a:pt x="936" y="744"/>
                        </a:lnTo>
                        <a:lnTo>
                          <a:pt x="930" y="750"/>
                        </a:lnTo>
                        <a:lnTo>
                          <a:pt x="924" y="750"/>
                        </a:lnTo>
                        <a:lnTo>
                          <a:pt x="918" y="756"/>
                        </a:lnTo>
                        <a:lnTo>
                          <a:pt x="924" y="756"/>
                        </a:lnTo>
                        <a:lnTo>
                          <a:pt x="930" y="762"/>
                        </a:lnTo>
                        <a:lnTo>
                          <a:pt x="930" y="768"/>
                        </a:lnTo>
                        <a:lnTo>
                          <a:pt x="924" y="774"/>
                        </a:lnTo>
                        <a:lnTo>
                          <a:pt x="924" y="780"/>
                        </a:lnTo>
                        <a:lnTo>
                          <a:pt x="918" y="792"/>
                        </a:lnTo>
                        <a:lnTo>
                          <a:pt x="918" y="804"/>
                        </a:lnTo>
                        <a:lnTo>
                          <a:pt x="990" y="804"/>
                        </a:lnTo>
                        <a:lnTo>
                          <a:pt x="1038" y="774"/>
                        </a:lnTo>
                        <a:lnTo>
                          <a:pt x="1104" y="750"/>
                        </a:lnTo>
                        <a:lnTo>
                          <a:pt x="1098" y="750"/>
                        </a:lnTo>
                        <a:lnTo>
                          <a:pt x="1092" y="756"/>
                        </a:lnTo>
                        <a:lnTo>
                          <a:pt x="1080" y="762"/>
                        </a:lnTo>
                        <a:lnTo>
                          <a:pt x="1062" y="768"/>
                        </a:lnTo>
                        <a:lnTo>
                          <a:pt x="1050" y="780"/>
                        </a:lnTo>
                        <a:lnTo>
                          <a:pt x="1038" y="786"/>
                        </a:lnTo>
                        <a:lnTo>
                          <a:pt x="1026" y="798"/>
                        </a:lnTo>
                        <a:lnTo>
                          <a:pt x="1026" y="816"/>
                        </a:lnTo>
                        <a:lnTo>
                          <a:pt x="1020" y="828"/>
                        </a:lnTo>
                        <a:lnTo>
                          <a:pt x="990" y="828"/>
                        </a:lnTo>
                        <a:lnTo>
                          <a:pt x="978" y="834"/>
                        </a:lnTo>
                        <a:lnTo>
                          <a:pt x="972" y="852"/>
                        </a:lnTo>
                        <a:lnTo>
                          <a:pt x="966" y="864"/>
                        </a:lnTo>
                        <a:lnTo>
                          <a:pt x="954" y="870"/>
                        </a:lnTo>
                        <a:lnTo>
                          <a:pt x="942" y="882"/>
                        </a:lnTo>
                        <a:lnTo>
                          <a:pt x="930" y="888"/>
                        </a:lnTo>
                        <a:lnTo>
                          <a:pt x="924" y="894"/>
                        </a:lnTo>
                        <a:lnTo>
                          <a:pt x="978" y="888"/>
                        </a:lnTo>
                        <a:lnTo>
                          <a:pt x="972" y="906"/>
                        </a:lnTo>
                        <a:lnTo>
                          <a:pt x="978" y="894"/>
                        </a:lnTo>
                        <a:lnTo>
                          <a:pt x="990" y="888"/>
                        </a:lnTo>
                        <a:lnTo>
                          <a:pt x="1002" y="876"/>
                        </a:lnTo>
                        <a:lnTo>
                          <a:pt x="1026" y="864"/>
                        </a:lnTo>
                        <a:lnTo>
                          <a:pt x="1038" y="864"/>
                        </a:lnTo>
                        <a:lnTo>
                          <a:pt x="1050" y="870"/>
                        </a:lnTo>
                        <a:lnTo>
                          <a:pt x="1056" y="870"/>
                        </a:lnTo>
                        <a:lnTo>
                          <a:pt x="1056" y="876"/>
                        </a:lnTo>
                        <a:lnTo>
                          <a:pt x="1050" y="876"/>
                        </a:lnTo>
                        <a:lnTo>
                          <a:pt x="1074" y="870"/>
                        </a:lnTo>
                        <a:lnTo>
                          <a:pt x="1068" y="876"/>
                        </a:lnTo>
                        <a:lnTo>
                          <a:pt x="1068" y="906"/>
                        </a:lnTo>
                        <a:lnTo>
                          <a:pt x="1074" y="912"/>
                        </a:lnTo>
                        <a:lnTo>
                          <a:pt x="1092" y="912"/>
                        </a:lnTo>
                        <a:lnTo>
                          <a:pt x="1098" y="900"/>
                        </a:lnTo>
                        <a:lnTo>
                          <a:pt x="1110" y="894"/>
                        </a:lnTo>
                        <a:lnTo>
                          <a:pt x="1116" y="888"/>
                        </a:lnTo>
                        <a:lnTo>
                          <a:pt x="1122" y="876"/>
                        </a:lnTo>
                        <a:lnTo>
                          <a:pt x="1164" y="858"/>
                        </a:lnTo>
                        <a:lnTo>
                          <a:pt x="1176" y="870"/>
                        </a:lnTo>
                        <a:lnTo>
                          <a:pt x="1146" y="870"/>
                        </a:lnTo>
                        <a:lnTo>
                          <a:pt x="1140" y="876"/>
                        </a:lnTo>
                        <a:lnTo>
                          <a:pt x="1140" y="882"/>
                        </a:lnTo>
                        <a:lnTo>
                          <a:pt x="1134" y="888"/>
                        </a:lnTo>
                        <a:lnTo>
                          <a:pt x="1134" y="894"/>
                        </a:lnTo>
                        <a:lnTo>
                          <a:pt x="1152" y="894"/>
                        </a:lnTo>
                        <a:lnTo>
                          <a:pt x="1164" y="888"/>
                        </a:lnTo>
                        <a:lnTo>
                          <a:pt x="1182" y="888"/>
                        </a:lnTo>
                        <a:lnTo>
                          <a:pt x="1200" y="882"/>
                        </a:lnTo>
                        <a:lnTo>
                          <a:pt x="1218" y="882"/>
                        </a:lnTo>
                        <a:lnTo>
                          <a:pt x="1224" y="876"/>
                        </a:lnTo>
                        <a:lnTo>
                          <a:pt x="1230" y="876"/>
                        </a:lnTo>
                        <a:lnTo>
                          <a:pt x="1272" y="858"/>
                        </a:lnTo>
                        <a:lnTo>
                          <a:pt x="1224" y="882"/>
                        </a:lnTo>
                        <a:lnTo>
                          <a:pt x="1224" y="894"/>
                        </a:lnTo>
                        <a:lnTo>
                          <a:pt x="1212" y="894"/>
                        </a:lnTo>
                        <a:lnTo>
                          <a:pt x="1200" y="900"/>
                        </a:lnTo>
                        <a:lnTo>
                          <a:pt x="1188" y="900"/>
                        </a:lnTo>
                        <a:lnTo>
                          <a:pt x="1176" y="906"/>
                        </a:lnTo>
                        <a:lnTo>
                          <a:pt x="1170" y="912"/>
                        </a:lnTo>
                        <a:lnTo>
                          <a:pt x="1158" y="918"/>
                        </a:lnTo>
                        <a:lnTo>
                          <a:pt x="1152" y="930"/>
                        </a:lnTo>
                        <a:lnTo>
                          <a:pt x="1122" y="930"/>
                        </a:lnTo>
                        <a:lnTo>
                          <a:pt x="1086" y="960"/>
                        </a:lnTo>
                        <a:lnTo>
                          <a:pt x="1086" y="978"/>
                        </a:lnTo>
                        <a:lnTo>
                          <a:pt x="1038" y="978"/>
                        </a:lnTo>
                        <a:lnTo>
                          <a:pt x="1032" y="984"/>
                        </a:lnTo>
                        <a:lnTo>
                          <a:pt x="1020" y="984"/>
                        </a:lnTo>
                        <a:lnTo>
                          <a:pt x="1002" y="990"/>
                        </a:lnTo>
                        <a:lnTo>
                          <a:pt x="990" y="996"/>
                        </a:lnTo>
                        <a:lnTo>
                          <a:pt x="978" y="996"/>
                        </a:lnTo>
                        <a:lnTo>
                          <a:pt x="966" y="1008"/>
                        </a:lnTo>
                        <a:lnTo>
                          <a:pt x="966" y="1020"/>
                        </a:lnTo>
                        <a:lnTo>
                          <a:pt x="960" y="1026"/>
                        </a:lnTo>
                        <a:lnTo>
                          <a:pt x="960" y="1038"/>
                        </a:lnTo>
                        <a:lnTo>
                          <a:pt x="876" y="1038"/>
                        </a:lnTo>
                        <a:lnTo>
                          <a:pt x="858" y="1044"/>
                        </a:lnTo>
                        <a:lnTo>
                          <a:pt x="828" y="1062"/>
                        </a:lnTo>
                        <a:lnTo>
                          <a:pt x="804" y="1080"/>
                        </a:lnTo>
                        <a:lnTo>
                          <a:pt x="780" y="1092"/>
                        </a:lnTo>
                        <a:lnTo>
                          <a:pt x="774" y="1098"/>
                        </a:lnTo>
                        <a:lnTo>
                          <a:pt x="750" y="1104"/>
                        </a:lnTo>
                        <a:lnTo>
                          <a:pt x="738" y="1122"/>
                        </a:lnTo>
                        <a:lnTo>
                          <a:pt x="732" y="1104"/>
                        </a:lnTo>
                        <a:lnTo>
                          <a:pt x="672" y="1104"/>
                        </a:lnTo>
                        <a:lnTo>
                          <a:pt x="648" y="1116"/>
                        </a:lnTo>
                        <a:lnTo>
                          <a:pt x="630" y="1122"/>
                        </a:lnTo>
                        <a:lnTo>
                          <a:pt x="624" y="1128"/>
                        </a:lnTo>
                        <a:lnTo>
                          <a:pt x="606" y="1128"/>
                        </a:lnTo>
                        <a:lnTo>
                          <a:pt x="606" y="1140"/>
                        </a:lnTo>
                        <a:lnTo>
                          <a:pt x="576" y="1146"/>
                        </a:lnTo>
                        <a:lnTo>
                          <a:pt x="564" y="1152"/>
                        </a:lnTo>
                        <a:lnTo>
                          <a:pt x="540" y="1152"/>
                        </a:lnTo>
                        <a:lnTo>
                          <a:pt x="516" y="1170"/>
                        </a:lnTo>
                        <a:lnTo>
                          <a:pt x="522" y="1182"/>
                        </a:lnTo>
                        <a:lnTo>
                          <a:pt x="540" y="1164"/>
                        </a:lnTo>
                        <a:lnTo>
                          <a:pt x="558" y="1176"/>
                        </a:lnTo>
                        <a:lnTo>
                          <a:pt x="582" y="1158"/>
                        </a:lnTo>
                        <a:lnTo>
                          <a:pt x="582" y="1170"/>
                        </a:lnTo>
                        <a:lnTo>
                          <a:pt x="594" y="1170"/>
                        </a:lnTo>
                        <a:lnTo>
                          <a:pt x="606" y="1164"/>
                        </a:lnTo>
                        <a:lnTo>
                          <a:pt x="618" y="1164"/>
                        </a:lnTo>
                        <a:lnTo>
                          <a:pt x="642" y="1140"/>
                        </a:lnTo>
                        <a:lnTo>
                          <a:pt x="654" y="1134"/>
                        </a:lnTo>
                        <a:lnTo>
                          <a:pt x="666" y="1122"/>
                        </a:lnTo>
                        <a:lnTo>
                          <a:pt x="684" y="1122"/>
                        </a:lnTo>
                        <a:lnTo>
                          <a:pt x="684" y="1134"/>
                        </a:lnTo>
                        <a:lnTo>
                          <a:pt x="690" y="1140"/>
                        </a:lnTo>
                        <a:lnTo>
                          <a:pt x="708" y="1140"/>
                        </a:lnTo>
                        <a:lnTo>
                          <a:pt x="732" y="1128"/>
                        </a:lnTo>
                        <a:lnTo>
                          <a:pt x="744" y="1128"/>
                        </a:lnTo>
                        <a:lnTo>
                          <a:pt x="756" y="1122"/>
                        </a:lnTo>
                        <a:lnTo>
                          <a:pt x="762" y="1116"/>
                        </a:lnTo>
                        <a:lnTo>
                          <a:pt x="768" y="1116"/>
                        </a:lnTo>
                        <a:lnTo>
                          <a:pt x="804" y="1128"/>
                        </a:lnTo>
                        <a:lnTo>
                          <a:pt x="822" y="1110"/>
                        </a:lnTo>
                        <a:lnTo>
                          <a:pt x="834" y="1110"/>
                        </a:lnTo>
                        <a:lnTo>
                          <a:pt x="852" y="1104"/>
                        </a:lnTo>
                        <a:lnTo>
                          <a:pt x="870" y="1104"/>
                        </a:lnTo>
                        <a:lnTo>
                          <a:pt x="894" y="1092"/>
                        </a:lnTo>
                        <a:lnTo>
                          <a:pt x="918" y="1068"/>
                        </a:lnTo>
                        <a:lnTo>
                          <a:pt x="942" y="1056"/>
                        </a:lnTo>
                        <a:lnTo>
                          <a:pt x="972" y="1056"/>
                        </a:lnTo>
                        <a:lnTo>
                          <a:pt x="978" y="1044"/>
                        </a:lnTo>
                        <a:lnTo>
                          <a:pt x="1014" y="1044"/>
                        </a:lnTo>
                        <a:lnTo>
                          <a:pt x="1026" y="1038"/>
                        </a:lnTo>
                        <a:lnTo>
                          <a:pt x="1032" y="1038"/>
                        </a:lnTo>
                        <a:lnTo>
                          <a:pt x="1038" y="1032"/>
                        </a:lnTo>
                        <a:lnTo>
                          <a:pt x="1050" y="1032"/>
                        </a:lnTo>
                        <a:lnTo>
                          <a:pt x="1086" y="1020"/>
                        </a:lnTo>
                        <a:lnTo>
                          <a:pt x="1110" y="1008"/>
                        </a:lnTo>
                        <a:lnTo>
                          <a:pt x="1122" y="996"/>
                        </a:lnTo>
                        <a:lnTo>
                          <a:pt x="1134" y="990"/>
                        </a:lnTo>
                        <a:lnTo>
                          <a:pt x="1140" y="984"/>
                        </a:lnTo>
                        <a:lnTo>
                          <a:pt x="1206" y="972"/>
                        </a:lnTo>
                        <a:lnTo>
                          <a:pt x="1260" y="942"/>
                        </a:lnTo>
                        <a:lnTo>
                          <a:pt x="1296" y="942"/>
                        </a:lnTo>
                        <a:lnTo>
                          <a:pt x="1314" y="936"/>
                        </a:lnTo>
                        <a:lnTo>
                          <a:pt x="1326" y="936"/>
                        </a:lnTo>
                        <a:lnTo>
                          <a:pt x="1338" y="930"/>
                        </a:lnTo>
                        <a:lnTo>
                          <a:pt x="1368" y="900"/>
                        </a:lnTo>
                        <a:lnTo>
                          <a:pt x="1380" y="900"/>
                        </a:lnTo>
                        <a:lnTo>
                          <a:pt x="1404" y="888"/>
                        </a:lnTo>
                        <a:lnTo>
                          <a:pt x="1416" y="888"/>
                        </a:lnTo>
                        <a:lnTo>
                          <a:pt x="1428" y="882"/>
                        </a:lnTo>
                        <a:lnTo>
                          <a:pt x="1434" y="876"/>
                        </a:lnTo>
                        <a:lnTo>
                          <a:pt x="1434" y="864"/>
                        </a:lnTo>
                        <a:lnTo>
                          <a:pt x="1422" y="864"/>
                        </a:lnTo>
                        <a:lnTo>
                          <a:pt x="1428" y="858"/>
                        </a:lnTo>
                        <a:lnTo>
                          <a:pt x="1452" y="846"/>
                        </a:lnTo>
                        <a:lnTo>
                          <a:pt x="1458" y="840"/>
                        </a:lnTo>
                        <a:lnTo>
                          <a:pt x="1470" y="834"/>
                        </a:lnTo>
                        <a:lnTo>
                          <a:pt x="1476" y="828"/>
                        </a:lnTo>
                        <a:lnTo>
                          <a:pt x="1488" y="828"/>
                        </a:lnTo>
                        <a:lnTo>
                          <a:pt x="1500" y="822"/>
                        </a:lnTo>
                        <a:lnTo>
                          <a:pt x="1512" y="822"/>
                        </a:lnTo>
                        <a:lnTo>
                          <a:pt x="1518" y="816"/>
                        </a:lnTo>
                        <a:lnTo>
                          <a:pt x="1524" y="816"/>
                        </a:lnTo>
                        <a:lnTo>
                          <a:pt x="1596" y="786"/>
                        </a:lnTo>
                        <a:lnTo>
                          <a:pt x="1590" y="768"/>
                        </a:lnTo>
                        <a:lnTo>
                          <a:pt x="1602" y="768"/>
                        </a:lnTo>
                        <a:lnTo>
                          <a:pt x="1608" y="774"/>
                        </a:lnTo>
                        <a:lnTo>
                          <a:pt x="1626" y="774"/>
                        </a:lnTo>
                        <a:lnTo>
                          <a:pt x="1638" y="762"/>
                        </a:lnTo>
                        <a:lnTo>
                          <a:pt x="1650" y="762"/>
                        </a:lnTo>
                        <a:lnTo>
                          <a:pt x="1674" y="750"/>
                        </a:lnTo>
                        <a:lnTo>
                          <a:pt x="1680" y="744"/>
                        </a:lnTo>
                        <a:lnTo>
                          <a:pt x="1704" y="732"/>
                        </a:lnTo>
                        <a:lnTo>
                          <a:pt x="1740" y="720"/>
                        </a:lnTo>
                        <a:lnTo>
                          <a:pt x="1770" y="708"/>
                        </a:lnTo>
                        <a:lnTo>
                          <a:pt x="1794" y="702"/>
                        </a:lnTo>
                        <a:lnTo>
                          <a:pt x="1812" y="702"/>
                        </a:lnTo>
                        <a:lnTo>
                          <a:pt x="1818" y="708"/>
                        </a:lnTo>
                        <a:lnTo>
                          <a:pt x="1842" y="720"/>
                        </a:lnTo>
                        <a:lnTo>
                          <a:pt x="1848" y="726"/>
                        </a:lnTo>
                        <a:lnTo>
                          <a:pt x="1812" y="726"/>
                        </a:lnTo>
                        <a:lnTo>
                          <a:pt x="1794" y="714"/>
                        </a:lnTo>
                        <a:lnTo>
                          <a:pt x="1758" y="738"/>
                        </a:lnTo>
                        <a:lnTo>
                          <a:pt x="1728" y="738"/>
                        </a:lnTo>
                        <a:lnTo>
                          <a:pt x="1722" y="744"/>
                        </a:lnTo>
                        <a:lnTo>
                          <a:pt x="1710" y="750"/>
                        </a:lnTo>
                        <a:lnTo>
                          <a:pt x="1704" y="762"/>
                        </a:lnTo>
                        <a:lnTo>
                          <a:pt x="1692" y="768"/>
                        </a:lnTo>
                        <a:lnTo>
                          <a:pt x="1686" y="774"/>
                        </a:lnTo>
                        <a:lnTo>
                          <a:pt x="1680" y="774"/>
                        </a:lnTo>
                        <a:lnTo>
                          <a:pt x="1668" y="780"/>
                        </a:lnTo>
                        <a:lnTo>
                          <a:pt x="1656" y="780"/>
                        </a:lnTo>
                        <a:lnTo>
                          <a:pt x="1638" y="786"/>
                        </a:lnTo>
                        <a:lnTo>
                          <a:pt x="1614" y="798"/>
                        </a:lnTo>
                        <a:lnTo>
                          <a:pt x="1614" y="804"/>
                        </a:lnTo>
                        <a:lnTo>
                          <a:pt x="1620" y="810"/>
                        </a:lnTo>
                        <a:lnTo>
                          <a:pt x="1632" y="816"/>
                        </a:lnTo>
                        <a:lnTo>
                          <a:pt x="1650" y="816"/>
                        </a:lnTo>
                        <a:lnTo>
                          <a:pt x="1644" y="816"/>
                        </a:lnTo>
                        <a:lnTo>
                          <a:pt x="1638" y="822"/>
                        </a:lnTo>
                        <a:lnTo>
                          <a:pt x="1632" y="822"/>
                        </a:lnTo>
                        <a:lnTo>
                          <a:pt x="1620" y="828"/>
                        </a:lnTo>
                        <a:lnTo>
                          <a:pt x="1572" y="828"/>
                        </a:lnTo>
                        <a:lnTo>
                          <a:pt x="1566" y="834"/>
                        </a:lnTo>
                        <a:lnTo>
                          <a:pt x="1560" y="834"/>
                        </a:lnTo>
                        <a:lnTo>
                          <a:pt x="1560" y="846"/>
                        </a:lnTo>
                        <a:lnTo>
                          <a:pt x="1572" y="858"/>
                        </a:lnTo>
                        <a:lnTo>
                          <a:pt x="1584" y="858"/>
                        </a:lnTo>
                        <a:lnTo>
                          <a:pt x="1596" y="852"/>
                        </a:lnTo>
                        <a:lnTo>
                          <a:pt x="1638" y="834"/>
                        </a:lnTo>
                        <a:lnTo>
                          <a:pt x="1680" y="810"/>
                        </a:lnTo>
                        <a:lnTo>
                          <a:pt x="1722" y="798"/>
                        </a:lnTo>
                        <a:lnTo>
                          <a:pt x="1788" y="798"/>
                        </a:lnTo>
                        <a:lnTo>
                          <a:pt x="1818" y="792"/>
                        </a:lnTo>
                        <a:lnTo>
                          <a:pt x="1824" y="786"/>
                        </a:lnTo>
                        <a:lnTo>
                          <a:pt x="1848" y="774"/>
                        </a:lnTo>
                        <a:lnTo>
                          <a:pt x="1854" y="762"/>
                        </a:lnTo>
                        <a:lnTo>
                          <a:pt x="1866" y="756"/>
                        </a:lnTo>
                        <a:lnTo>
                          <a:pt x="1872" y="750"/>
                        </a:lnTo>
                        <a:lnTo>
                          <a:pt x="1866" y="738"/>
                        </a:lnTo>
                        <a:lnTo>
                          <a:pt x="1878" y="732"/>
                        </a:lnTo>
                        <a:lnTo>
                          <a:pt x="1908" y="720"/>
                        </a:lnTo>
                        <a:lnTo>
                          <a:pt x="1944" y="714"/>
                        </a:lnTo>
                        <a:lnTo>
                          <a:pt x="1962" y="708"/>
                        </a:lnTo>
                        <a:lnTo>
                          <a:pt x="1968" y="708"/>
                        </a:lnTo>
                        <a:lnTo>
                          <a:pt x="1980" y="720"/>
                        </a:lnTo>
                        <a:lnTo>
                          <a:pt x="1980" y="726"/>
                        </a:lnTo>
                        <a:lnTo>
                          <a:pt x="2046" y="702"/>
                        </a:lnTo>
                        <a:lnTo>
                          <a:pt x="2004" y="738"/>
                        </a:lnTo>
                        <a:lnTo>
                          <a:pt x="2022" y="744"/>
                        </a:lnTo>
                        <a:lnTo>
                          <a:pt x="2022" y="762"/>
                        </a:lnTo>
                        <a:lnTo>
                          <a:pt x="2028" y="762"/>
                        </a:lnTo>
                        <a:lnTo>
                          <a:pt x="2034" y="756"/>
                        </a:lnTo>
                        <a:lnTo>
                          <a:pt x="2094" y="726"/>
                        </a:lnTo>
                        <a:lnTo>
                          <a:pt x="2082" y="732"/>
                        </a:lnTo>
                        <a:lnTo>
                          <a:pt x="2076" y="744"/>
                        </a:lnTo>
                        <a:lnTo>
                          <a:pt x="2064" y="750"/>
                        </a:lnTo>
                        <a:lnTo>
                          <a:pt x="2058" y="762"/>
                        </a:lnTo>
                        <a:lnTo>
                          <a:pt x="2046" y="774"/>
                        </a:lnTo>
                        <a:lnTo>
                          <a:pt x="2052" y="780"/>
                        </a:lnTo>
                        <a:lnTo>
                          <a:pt x="2064" y="780"/>
                        </a:lnTo>
                        <a:lnTo>
                          <a:pt x="2076" y="786"/>
                        </a:lnTo>
                        <a:lnTo>
                          <a:pt x="2106" y="786"/>
                        </a:lnTo>
                        <a:lnTo>
                          <a:pt x="2208" y="798"/>
                        </a:lnTo>
                        <a:lnTo>
                          <a:pt x="2238" y="780"/>
                        </a:lnTo>
                        <a:lnTo>
                          <a:pt x="2232" y="786"/>
                        </a:lnTo>
                        <a:lnTo>
                          <a:pt x="2232" y="810"/>
                        </a:lnTo>
                        <a:lnTo>
                          <a:pt x="2298" y="810"/>
                        </a:lnTo>
                        <a:lnTo>
                          <a:pt x="2334" y="804"/>
                        </a:lnTo>
                        <a:lnTo>
                          <a:pt x="2328" y="804"/>
                        </a:lnTo>
                        <a:lnTo>
                          <a:pt x="2322" y="810"/>
                        </a:lnTo>
                        <a:lnTo>
                          <a:pt x="2310" y="810"/>
                        </a:lnTo>
                        <a:lnTo>
                          <a:pt x="2286" y="822"/>
                        </a:lnTo>
                        <a:lnTo>
                          <a:pt x="2280" y="828"/>
                        </a:lnTo>
                        <a:lnTo>
                          <a:pt x="2280" y="834"/>
                        </a:lnTo>
                        <a:lnTo>
                          <a:pt x="2292" y="846"/>
                        </a:lnTo>
                        <a:lnTo>
                          <a:pt x="2304" y="852"/>
                        </a:lnTo>
                        <a:lnTo>
                          <a:pt x="2310" y="858"/>
                        </a:lnTo>
                        <a:lnTo>
                          <a:pt x="2310" y="882"/>
                        </a:lnTo>
                        <a:lnTo>
                          <a:pt x="2316" y="888"/>
                        </a:lnTo>
                        <a:lnTo>
                          <a:pt x="2316" y="900"/>
                        </a:lnTo>
                        <a:lnTo>
                          <a:pt x="2322" y="912"/>
                        </a:lnTo>
                        <a:lnTo>
                          <a:pt x="2358" y="912"/>
                        </a:lnTo>
                        <a:lnTo>
                          <a:pt x="2370" y="906"/>
                        </a:lnTo>
                        <a:lnTo>
                          <a:pt x="2388" y="906"/>
                        </a:lnTo>
                        <a:lnTo>
                          <a:pt x="2382" y="876"/>
                        </a:lnTo>
                        <a:lnTo>
                          <a:pt x="2400" y="870"/>
                        </a:lnTo>
                        <a:lnTo>
                          <a:pt x="2412" y="888"/>
                        </a:lnTo>
                        <a:lnTo>
                          <a:pt x="2442" y="876"/>
                        </a:lnTo>
                        <a:lnTo>
                          <a:pt x="2430" y="888"/>
                        </a:lnTo>
                        <a:lnTo>
                          <a:pt x="2430" y="900"/>
                        </a:lnTo>
                        <a:lnTo>
                          <a:pt x="2424" y="906"/>
                        </a:lnTo>
                        <a:lnTo>
                          <a:pt x="2424" y="912"/>
                        </a:lnTo>
                        <a:lnTo>
                          <a:pt x="2430" y="918"/>
                        </a:lnTo>
                        <a:lnTo>
                          <a:pt x="2436" y="918"/>
                        </a:lnTo>
                        <a:lnTo>
                          <a:pt x="2448" y="912"/>
                        </a:lnTo>
                        <a:lnTo>
                          <a:pt x="2454" y="906"/>
                        </a:lnTo>
                        <a:lnTo>
                          <a:pt x="2460" y="894"/>
                        </a:lnTo>
                        <a:lnTo>
                          <a:pt x="2466" y="888"/>
                        </a:lnTo>
                        <a:lnTo>
                          <a:pt x="2472" y="876"/>
                        </a:lnTo>
                        <a:lnTo>
                          <a:pt x="2502" y="834"/>
                        </a:lnTo>
                        <a:lnTo>
                          <a:pt x="2478" y="900"/>
                        </a:lnTo>
                        <a:lnTo>
                          <a:pt x="2484" y="924"/>
                        </a:lnTo>
                        <a:lnTo>
                          <a:pt x="2520" y="912"/>
                        </a:lnTo>
                        <a:lnTo>
                          <a:pt x="2496" y="936"/>
                        </a:lnTo>
                        <a:lnTo>
                          <a:pt x="2520" y="954"/>
                        </a:lnTo>
                        <a:lnTo>
                          <a:pt x="2502" y="954"/>
                        </a:lnTo>
                        <a:lnTo>
                          <a:pt x="2502" y="972"/>
                        </a:lnTo>
                        <a:lnTo>
                          <a:pt x="2472" y="990"/>
                        </a:lnTo>
                        <a:lnTo>
                          <a:pt x="2454" y="1002"/>
                        </a:lnTo>
                        <a:lnTo>
                          <a:pt x="2484" y="1020"/>
                        </a:lnTo>
                        <a:lnTo>
                          <a:pt x="2478" y="1050"/>
                        </a:lnTo>
                        <a:lnTo>
                          <a:pt x="2460" y="1068"/>
                        </a:lnTo>
                        <a:lnTo>
                          <a:pt x="2478" y="1080"/>
                        </a:lnTo>
                        <a:lnTo>
                          <a:pt x="2460" y="1098"/>
                        </a:lnTo>
                        <a:lnTo>
                          <a:pt x="2490" y="1098"/>
                        </a:lnTo>
                        <a:lnTo>
                          <a:pt x="2526" y="1086"/>
                        </a:lnTo>
                        <a:lnTo>
                          <a:pt x="2496" y="1122"/>
                        </a:lnTo>
                        <a:lnTo>
                          <a:pt x="2478" y="1140"/>
                        </a:lnTo>
                        <a:lnTo>
                          <a:pt x="2502" y="1146"/>
                        </a:lnTo>
                        <a:lnTo>
                          <a:pt x="2454" y="1164"/>
                        </a:lnTo>
                        <a:lnTo>
                          <a:pt x="2436" y="1176"/>
                        </a:lnTo>
                        <a:lnTo>
                          <a:pt x="2454" y="1188"/>
                        </a:lnTo>
                        <a:lnTo>
                          <a:pt x="2454" y="1200"/>
                        </a:lnTo>
                        <a:lnTo>
                          <a:pt x="2472" y="1188"/>
                        </a:lnTo>
                        <a:lnTo>
                          <a:pt x="2490" y="1182"/>
                        </a:lnTo>
                        <a:lnTo>
                          <a:pt x="2502" y="1170"/>
                        </a:lnTo>
                        <a:lnTo>
                          <a:pt x="2514" y="1164"/>
                        </a:lnTo>
                        <a:lnTo>
                          <a:pt x="2532" y="1146"/>
                        </a:lnTo>
                        <a:lnTo>
                          <a:pt x="2538" y="1134"/>
                        </a:lnTo>
                        <a:lnTo>
                          <a:pt x="2538" y="1122"/>
                        </a:lnTo>
                        <a:lnTo>
                          <a:pt x="2550" y="1116"/>
                        </a:lnTo>
                        <a:lnTo>
                          <a:pt x="2562" y="1104"/>
                        </a:lnTo>
                        <a:lnTo>
                          <a:pt x="2574" y="1098"/>
                        </a:lnTo>
                        <a:lnTo>
                          <a:pt x="2574" y="1086"/>
                        </a:lnTo>
                        <a:lnTo>
                          <a:pt x="2568" y="1080"/>
                        </a:lnTo>
                        <a:lnTo>
                          <a:pt x="2562" y="1080"/>
                        </a:lnTo>
                        <a:close/>
                        <a:moveTo>
                          <a:pt x="2394" y="1056"/>
                        </a:moveTo>
                        <a:lnTo>
                          <a:pt x="2400" y="1062"/>
                        </a:lnTo>
                        <a:lnTo>
                          <a:pt x="2418" y="1062"/>
                        </a:lnTo>
                        <a:lnTo>
                          <a:pt x="2436" y="1044"/>
                        </a:lnTo>
                        <a:lnTo>
                          <a:pt x="2460" y="1038"/>
                        </a:lnTo>
                        <a:lnTo>
                          <a:pt x="2454" y="1020"/>
                        </a:lnTo>
                        <a:lnTo>
                          <a:pt x="2430" y="1020"/>
                        </a:lnTo>
                        <a:lnTo>
                          <a:pt x="2418" y="1026"/>
                        </a:lnTo>
                        <a:lnTo>
                          <a:pt x="2412" y="1032"/>
                        </a:lnTo>
                        <a:lnTo>
                          <a:pt x="2406" y="1044"/>
                        </a:lnTo>
                        <a:lnTo>
                          <a:pt x="2394" y="1050"/>
                        </a:lnTo>
                        <a:lnTo>
                          <a:pt x="2394" y="1056"/>
                        </a:lnTo>
                        <a:close/>
                        <a:moveTo>
                          <a:pt x="2376" y="984"/>
                        </a:moveTo>
                        <a:lnTo>
                          <a:pt x="2358" y="984"/>
                        </a:lnTo>
                        <a:lnTo>
                          <a:pt x="2346" y="990"/>
                        </a:lnTo>
                        <a:lnTo>
                          <a:pt x="2334" y="1002"/>
                        </a:lnTo>
                        <a:lnTo>
                          <a:pt x="2334" y="1014"/>
                        </a:lnTo>
                        <a:lnTo>
                          <a:pt x="2322" y="1026"/>
                        </a:lnTo>
                        <a:lnTo>
                          <a:pt x="2322" y="1044"/>
                        </a:lnTo>
                        <a:lnTo>
                          <a:pt x="2310" y="1056"/>
                        </a:lnTo>
                        <a:lnTo>
                          <a:pt x="2310" y="1074"/>
                        </a:lnTo>
                        <a:lnTo>
                          <a:pt x="2316" y="1080"/>
                        </a:lnTo>
                        <a:lnTo>
                          <a:pt x="2322" y="1074"/>
                        </a:lnTo>
                        <a:lnTo>
                          <a:pt x="2328" y="1062"/>
                        </a:lnTo>
                        <a:lnTo>
                          <a:pt x="2340" y="1050"/>
                        </a:lnTo>
                        <a:lnTo>
                          <a:pt x="2352" y="1044"/>
                        </a:lnTo>
                        <a:lnTo>
                          <a:pt x="2376" y="1020"/>
                        </a:lnTo>
                        <a:lnTo>
                          <a:pt x="2382" y="1008"/>
                        </a:lnTo>
                        <a:lnTo>
                          <a:pt x="2382" y="990"/>
                        </a:lnTo>
                        <a:lnTo>
                          <a:pt x="2376" y="984"/>
                        </a:lnTo>
                        <a:close/>
                        <a:moveTo>
                          <a:pt x="786" y="810"/>
                        </a:moveTo>
                        <a:lnTo>
                          <a:pt x="798" y="810"/>
                        </a:lnTo>
                        <a:lnTo>
                          <a:pt x="834" y="798"/>
                        </a:lnTo>
                        <a:lnTo>
                          <a:pt x="858" y="786"/>
                        </a:lnTo>
                        <a:lnTo>
                          <a:pt x="864" y="780"/>
                        </a:lnTo>
                        <a:lnTo>
                          <a:pt x="870" y="780"/>
                        </a:lnTo>
                        <a:lnTo>
                          <a:pt x="864" y="774"/>
                        </a:lnTo>
                        <a:lnTo>
                          <a:pt x="828" y="762"/>
                        </a:lnTo>
                        <a:lnTo>
                          <a:pt x="810" y="762"/>
                        </a:lnTo>
                        <a:lnTo>
                          <a:pt x="798" y="768"/>
                        </a:lnTo>
                        <a:lnTo>
                          <a:pt x="792" y="774"/>
                        </a:lnTo>
                        <a:lnTo>
                          <a:pt x="786" y="768"/>
                        </a:lnTo>
                        <a:lnTo>
                          <a:pt x="774" y="768"/>
                        </a:lnTo>
                        <a:lnTo>
                          <a:pt x="768" y="774"/>
                        </a:lnTo>
                        <a:lnTo>
                          <a:pt x="768" y="804"/>
                        </a:lnTo>
                        <a:lnTo>
                          <a:pt x="774" y="810"/>
                        </a:lnTo>
                        <a:lnTo>
                          <a:pt x="786" y="810"/>
                        </a:lnTo>
                        <a:close/>
                        <a:moveTo>
                          <a:pt x="0" y="1332"/>
                        </a:moveTo>
                        <a:lnTo>
                          <a:pt x="60" y="1320"/>
                        </a:lnTo>
                        <a:lnTo>
                          <a:pt x="72" y="1302"/>
                        </a:lnTo>
                        <a:lnTo>
                          <a:pt x="132" y="1296"/>
                        </a:lnTo>
                        <a:lnTo>
                          <a:pt x="114" y="1272"/>
                        </a:lnTo>
                        <a:lnTo>
                          <a:pt x="0" y="1332"/>
                        </a:lnTo>
                        <a:close/>
                        <a:moveTo>
                          <a:pt x="1362" y="954"/>
                        </a:moveTo>
                        <a:lnTo>
                          <a:pt x="1350" y="954"/>
                        </a:lnTo>
                        <a:lnTo>
                          <a:pt x="1338" y="960"/>
                        </a:lnTo>
                        <a:lnTo>
                          <a:pt x="1332" y="954"/>
                        </a:lnTo>
                        <a:lnTo>
                          <a:pt x="1314" y="954"/>
                        </a:lnTo>
                        <a:lnTo>
                          <a:pt x="1314" y="978"/>
                        </a:lnTo>
                        <a:lnTo>
                          <a:pt x="1290" y="996"/>
                        </a:lnTo>
                        <a:lnTo>
                          <a:pt x="1290" y="972"/>
                        </a:lnTo>
                        <a:lnTo>
                          <a:pt x="1278" y="966"/>
                        </a:lnTo>
                        <a:lnTo>
                          <a:pt x="1272" y="966"/>
                        </a:lnTo>
                        <a:lnTo>
                          <a:pt x="1248" y="978"/>
                        </a:lnTo>
                        <a:lnTo>
                          <a:pt x="1242" y="978"/>
                        </a:lnTo>
                        <a:lnTo>
                          <a:pt x="1230" y="990"/>
                        </a:lnTo>
                        <a:lnTo>
                          <a:pt x="1224" y="1002"/>
                        </a:lnTo>
                        <a:lnTo>
                          <a:pt x="1218" y="1008"/>
                        </a:lnTo>
                        <a:lnTo>
                          <a:pt x="1218" y="1014"/>
                        </a:lnTo>
                        <a:lnTo>
                          <a:pt x="1224" y="1014"/>
                        </a:lnTo>
                        <a:lnTo>
                          <a:pt x="1230" y="1020"/>
                        </a:lnTo>
                        <a:lnTo>
                          <a:pt x="1278" y="1020"/>
                        </a:lnTo>
                        <a:lnTo>
                          <a:pt x="1296" y="1014"/>
                        </a:lnTo>
                        <a:lnTo>
                          <a:pt x="1308" y="1014"/>
                        </a:lnTo>
                        <a:lnTo>
                          <a:pt x="1320" y="1008"/>
                        </a:lnTo>
                        <a:lnTo>
                          <a:pt x="1320" y="996"/>
                        </a:lnTo>
                        <a:lnTo>
                          <a:pt x="1350" y="990"/>
                        </a:lnTo>
                        <a:lnTo>
                          <a:pt x="1350" y="984"/>
                        </a:lnTo>
                        <a:lnTo>
                          <a:pt x="1386" y="978"/>
                        </a:lnTo>
                        <a:lnTo>
                          <a:pt x="1398" y="954"/>
                        </a:lnTo>
                        <a:lnTo>
                          <a:pt x="1380" y="960"/>
                        </a:lnTo>
                        <a:lnTo>
                          <a:pt x="1374" y="954"/>
                        </a:lnTo>
                        <a:lnTo>
                          <a:pt x="1362" y="954"/>
                        </a:lnTo>
                        <a:close/>
                        <a:moveTo>
                          <a:pt x="162" y="1290"/>
                        </a:moveTo>
                        <a:lnTo>
                          <a:pt x="204" y="1290"/>
                        </a:lnTo>
                        <a:lnTo>
                          <a:pt x="240" y="1260"/>
                        </a:lnTo>
                        <a:lnTo>
                          <a:pt x="228" y="1242"/>
                        </a:lnTo>
                        <a:lnTo>
                          <a:pt x="162" y="1290"/>
                        </a:lnTo>
                        <a:close/>
                        <a:moveTo>
                          <a:pt x="2466" y="1140"/>
                        </a:moveTo>
                        <a:lnTo>
                          <a:pt x="2472" y="1128"/>
                        </a:lnTo>
                        <a:lnTo>
                          <a:pt x="2454" y="1110"/>
                        </a:lnTo>
                        <a:lnTo>
                          <a:pt x="2448" y="1110"/>
                        </a:lnTo>
                        <a:lnTo>
                          <a:pt x="2436" y="1122"/>
                        </a:lnTo>
                        <a:lnTo>
                          <a:pt x="2430" y="1134"/>
                        </a:lnTo>
                        <a:lnTo>
                          <a:pt x="2424" y="1152"/>
                        </a:lnTo>
                        <a:lnTo>
                          <a:pt x="2418" y="1164"/>
                        </a:lnTo>
                        <a:lnTo>
                          <a:pt x="2418" y="1176"/>
                        </a:lnTo>
                        <a:lnTo>
                          <a:pt x="2436" y="1158"/>
                        </a:lnTo>
                        <a:lnTo>
                          <a:pt x="2454" y="1158"/>
                        </a:lnTo>
                        <a:lnTo>
                          <a:pt x="2460" y="1152"/>
                        </a:lnTo>
                        <a:lnTo>
                          <a:pt x="2466" y="1140"/>
                        </a:lnTo>
                        <a:close/>
                        <a:moveTo>
                          <a:pt x="1428" y="912"/>
                        </a:moveTo>
                        <a:lnTo>
                          <a:pt x="1404" y="924"/>
                        </a:lnTo>
                        <a:lnTo>
                          <a:pt x="1386" y="942"/>
                        </a:lnTo>
                        <a:lnTo>
                          <a:pt x="1386" y="948"/>
                        </a:lnTo>
                        <a:lnTo>
                          <a:pt x="1398" y="954"/>
                        </a:lnTo>
                        <a:lnTo>
                          <a:pt x="1410" y="954"/>
                        </a:lnTo>
                        <a:lnTo>
                          <a:pt x="1422" y="948"/>
                        </a:lnTo>
                        <a:lnTo>
                          <a:pt x="1428" y="948"/>
                        </a:lnTo>
                        <a:lnTo>
                          <a:pt x="1440" y="942"/>
                        </a:lnTo>
                        <a:lnTo>
                          <a:pt x="1446" y="930"/>
                        </a:lnTo>
                        <a:lnTo>
                          <a:pt x="1470" y="930"/>
                        </a:lnTo>
                        <a:lnTo>
                          <a:pt x="1470" y="924"/>
                        </a:lnTo>
                        <a:lnTo>
                          <a:pt x="1458" y="912"/>
                        </a:lnTo>
                        <a:lnTo>
                          <a:pt x="1452" y="912"/>
                        </a:lnTo>
                        <a:lnTo>
                          <a:pt x="1440" y="906"/>
                        </a:lnTo>
                        <a:lnTo>
                          <a:pt x="1428" y="912"/>
                        </a:lnTo>
                        <a:close/>
                        <a:moveTo>
                          <a:pt x="498" y="1164"/>
                        </a:moveTo>
                        <a:lnTo>
                          <a:pt x="486" y="1164"/>
                        </a:lnTo>
                        <a:lnTo>
                          <a:pt x="474" y="1170"/>
                        </a:lnTo>
                        <a:lnTo>
                          <a:pt x="462" y="1170"/>
                        </a:lnTo>
                        <a:lnTo>
                          <a:pt x="450" y="1176"/>
                        </a:lnTo>
                        <a:lnTo>
                          <a:pt x="444" y="1182"/>
                        </a:lnTo>
                        <a:lnTo>
                          <a:pt x="432" y="1182"/>
                        </a:lnTo>
                        <a:lnTo>
                          <a:pt x="426" y="1188"/>
                        </a:lnTo>
                        <a:lnTo>
                          <a:pt x="414" y="1188"/>
                        </a:lnTo>
                        <a:lnTo>
                          <a:pt x="390" y="1200"/>
                        </a:lnTo>
                        <a:lnTo>
                          <a:pt x="384" y="1206"/>
                        </a:lnTo>
                        <a:lnTo>
                          <a:pt x="384" y="1218"/>
                        </a:lnTo>
                        <a:lnTo>
                          <a:pt x="402" y="1218"/>
                        </a:lnTo>
                        <a:lnTo>
                          <a:pt x="420" y="1212"/>
                        </a:lnTo>
                        <a:lnTo>
                          <a:pt x="432" y="1206"/>
                        </a:lnTo>
                        <a:lnTo>
                          <a:pt x="504" y="1206"/>
                        </a:lnTo>
                        <a:lnTo>
                          <a:pt x="510" y="1200"/>
                        </a:lnTo>
                        <a:lnTo>
                          <a:pt x="510" y="1176"/>
                        </a:lnTo>
                        <a:lnTo>
                          <a:pt x="498" y="1164"/>
                        </a:lnTo>
                        <a:close/>
                        <a:moveTo>
                          <a:pt x="330" y="1242"/>
                        </a:moveTo>
                        <a:lnTo>
                          <a:pt x="330" y="1224"/>
                        </a:lnTo>
                        <a:lnTo>
                          <a:pt x="276" y="1242"/>
                        </a:lnTo>
                        <a:lnTo>
                          <a:pt x="330" y="124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91" name="USA"/>
                  <p:cNvSpPr>
                    <a:spLocks noEditPoints="1"/>
                  </p:cNvSpPr>
                  <p:nvPr/>
                </p:nvSpPr>
                <p:spPr bwMode="gray">
                  <a:xfrm>
                    <a:off x="579" y="1295"/>
                    <a:ext cx="1002" cy="497"/>
                  </a:xfrm>
                  <a:custGeom>
                    <a:avLst/>
                    <a:gdLst>
                      <a:gd name="T0" fmla="*/ 2147483647 w 3918"/>
                      <a:gd name="T1" fmla="*/ 2147483647 h 1944"/>
                      <a:gd name="T2" fmla="*/ 2147483647 w 3918"/>
                      <a:gd name="T3" fmla="*/ 2147483647 h 1944"/>
                      <a:gd name="T4" fmla="*/ 2147483647 w 3918"/>
                      <a:gd name="T5" fmla="*/ 2147483647 h 1944"/>
                      <a:gd name="T6" fmla="*/ 2147483647 w 3918"/>
                      <a:gd name="T7" fmla="*/ 2147483647 h 1944"/>
                      <a:gd name="T8" fmla="*/ 2147483647 w 3918"/>
                      <a:gd name="T9" fmla="*/ 2147483647 h 1944"/>
                      <a:gd name="T10" fmla="*/ 2147483647 w 3918"/>
                      <a:gd name="T11" fmla="*/ 2147483647 h 1944"/>
                      <a:gd name="T12" fmla="*/ 2147483647 w 3918"/>
                      <a:gd name="T13" fmla="*/ 2147483647 h 1944"/>
                      <a:gd name="T14" fmla="*/ 2147483647 w 3918"/>
                      <a:gd name="T15" fmla="*/ 2147483647 h 1944"/>
                      <a:gd name="T16" fmla="*/ 2147483647 w 3918"/>
                      <a:gd name="T17" fmla="*/ 2147483647 h 1944"/>
                      <a:gd name="T18" fmla="*/ 2147483647 w 3918"/>
                      <a:gd name="T19" fmla="*/ 2147483647 h 1944"/>
                      <a:gd name="T20" fmla="*/ 2147483647 w 3918"/>
                      <a:gd name="T21" fmla="*/ 2147483647 h 1944"/>
                      <a:gd name="T22" fmla="*/ 2147483647 w 3918"/>
                      <a:gd name="T23" fmla="*/ 2147483647 h 1944"/>
                      <a:gd name="T24" fmla="*/ 2147483647 w 3918"/>
                      <a:gd name="T25" fmla="*/ 2147483647 h 1944"/>
                      <a:gd name="T26" fmla="*/ 2147483647 w 3918"/>
                      <a:gd name="T27" fmla="*/ 2147483647 h 1944"/>
                      <a:gd name="T28" fmla="*/ 2147483647 w 3918"/>
                      <a:gd name="T29" fmla="*/ 2147483647 h 1944"/>
                      <a:gd name="T30" fmla="*/ 2147483647 w 3918"/>
                      <a:gd name="T31" fmla="*/ 2147483647 h 1944"/>
                      <a:gd name="T32" fmla="*/ 2147483647 w 3918"/>
                      <a:gd name="T33" fmla="*/ 2147483647 h 1944"/>
                      <a:gd name="T34" fmla="*/ 2147483647 w 3918"/>
                      <a:gd name="T35" fmla="*/ 2147483647 h 1944"/>
                      <a:gd name="T36" fmla="*/ 2147483647 w 3918"/>
                      <a:gd name="T37" fmla="*/ 2147483647 h 1944"/>
                      <a:gd name="T38" fmla="*/ 2147483647 w 3918"/>
                      <a:gd name="T39" fmla="*/ 2147483647 h 1944"/>
                      <a:gd name="T40" fmla="*/ 2147483647 w 3918"/>
                      <a:gd name="T41" fmla="*/ 2147483647 h 1944"/>
                      <a:gd name="T42" fmla="*/ 2147483647 w 3918"/>
                      <a:gd name="T43" fmla="*/ 2147483647 h 1944"/>
                      <a:gd name="T44" fmla="*/ 2147483647 w 3918"/>
                      <a:gd name="T45" fmla="*/ 2147483647 h 1944"/>
                      <a:gd name="T46" fmla="*/ 2147483647 w 3918"/>
                      <a:gd name="T47" fmla="*/ 2147483647 h 1944"/>
                      <a:gd name="T48" fmla="*/ 2147483647 w 3918"/>
                      <a:gd name="T49" fmla="*/ 2147483647 h 1944"/>
                      <a:gd name="T50" fmla="*/ 2147483647 w 3918"/>
                      <a:gd name="T51" fmla="*/ 2147483647 h 1944"/>
                      <a:gd name="T52" fmla="*/ 2147483647 w 3918"/>
                      <a:gd name="T53" fmla="*/ 2147483647 h 1944"/>
                      <a:gd name="T54" fmla="*/ 2147483647 w 3918"/>
                      <a:gd name="T55" fmla="*/ 2147483647 h 1944"/>
                      <a:gd name="T56" fmla="*/ 2147483647 w 3918"/>
                      <a:gd name="T57" fmla="*/ 2147483647 h 1944"/>
                      <a:gd name="T58" fmla="*/ 2147483647 w 3918"/>
                      <a:gd name="T59" fmla="*/ 2147483647 h 1944"/>
                      <a:gd name="T60" fmla="*/ 2147483647 w 3918"/>
                      <a:gd name="T61" fmla="*/ 2147483647 h 1944"/>
                      <a:gd name="T62" fmla="*/ 2147483647 w 3918"/>
                      <a:gd name="T63" fmla="*/ 2147483647 h 1944"/>
                      <a:gd name="T64" fmla="*/ 2147483647 w 3918"/>
                      <a:gd name="T65" fmla="*/ 2147483647 h 1944"/>
                      <a:gd name="T66" fmla="*/ 2147483647 w 3918"/>
                      <a:gd name="T67" fmla="*/ 2147483647 h 1944"/>
                      <a:gd name="T68" fmla="*/ 2147483647 w 3918"/>
                      <a:gd name="T69" fmla="*/ 2147483647 h 1944"/>
                      <a:gd name="T70" fmla="*/ 2147483647 w 3918"/>
                      <a:gd name="T71" fmla="*/ 2147483647 h 1944"/>
                      <a:gd name="T72" fmla="*/ 2147483647 w 3918"/>
                      <a:gd name="T73" fmla="*/ 2147483647 h 1944"/>
                      <a:gd name="T74" fmla="*/ 2147483647 w 3918"/>
                      <a:gd name="T75" fmla="*/ 2147483647 h 1944"/>
                      <a:gd name="T76" fmla="*/ 2147483647 w 3918"/>
                      <a:gd name="T77" fmla="*/ 2147483647 h 1944"/>
                      <a:gd name="T78" fmla="*/ 2147483647 w 3918"/>
                      <a:gd name="T79" fmla="*/ 2147483647 h 1944"/>
                      <a:gd name="T80" fmla="*/ 2147483647 w 3918"/>
                      <a:gd name="T81" fmla="*/ 2147483647 h 1944"/>
                      <a:gd name="T82" fmla="*/ 2147483647 w 3918"/>
                      <a:gd name="T83" fmla="*/ 2147483647 h 1944"/>
                      <a:gd name="T84" fmla="*/ 2147483647 w 3918"/>
                      <a:gd name="T85" fmla="*/ 2147483647 h 1944"/>
                      <a:gd name="T86" fmla="*/ 2147483647 w 3918"/>
                      <a:gd name="T87" fmla="*/ 2147483647 h 1944"/>
                      <a:gd name="T88" fmla="*/ 2147483647 w 3918"/>
                      <a:gd name="T89" fmla="*/ 2147483647 h 1944"/>
                      <a:gd name="T90" fmla="*/ 2147483647 w 3918"/>
                      <a:gd name="T91" fmla="*/ 2147483647 h 1944"/>
                      <a:gd name="T92" fmla="*/ 2147483647 w 3918"/>
                      <a:gd name="T93" fmla="*/ 2147483647 h 1944"/>
                      <a:gd name="T94" fmla="*/ 2147483647 w 3918"/>
                      <a:gd name="T95" fmla="*/ 2147483647 h 1944"/>
                      <a:gd name="T96" fmla="*/ 2147483647 w 3918"/>
                      <a:gd name="T97" fmla="*/ 2147483647 h 1944"/>
                      <a:gd name="T98" fmla="*/ 2147483647 w 3918"/>
                      <a:gd name="T99" fmla="*/ 2147483647 h 1944"/>
                      <a:gd name="T100" fmla="*/ 2147483647 w 3918"/>
                      <a:gd name="T101" fmla="*/ 2147483647 h 1944"/>
                      <a:gd name="T102" fmla="*/ 2147483647 w 3918"/>
                      <a:gd name="T103" fmla="*/ 2147483647 h 1944"/>
                      <a:gd name="T104" fmla="*/ 2147483647 w 3918"/>
                      <a:gd name="T105" fmla="*/ 2147483647 h 1944"/>
                      <a:gd name="T106" fmla="*/ 2147483647 w 3918"/>
                      <a:gd name="T107" fmla="*/ 2147483647 h 1944"/>
                      <a:gd name="T108" fmla="*/ 2147483647 w 3918"/>
                      <a:gd name="T109" fmla="*/ 2147483647 h 1944"/>
                      <a:gd name="T110" fmla="*/ 2147483647 w 3918"/>
                      <a:gd name="T111" fmla="*/ 2147483647 h 1944"/>
                      <a:gd name="T112" fmla="*/ 2147483647 w 3918"/>
                      <a:gd name="T113" fmla="*/ 2147483647 h 1944"/>
                      <a:gd name="T114" fmla="*/ 2147483647 w 3918"/>
                      <a:gd name="T115" fmla="*/ 2147483647 h 1944"/>
                      <a:gd name="T116" fmla="*/ 2147483647 w 3918"/>
                      <a:gd name="T117" fmla="*/ 2147483647 h 1944"/>
                      <a:gd name="T118" fmla="*/ 2147483647 w 3918"/>
                      <a:gd name="T119" fmla="*/ 2147483647 h 1944"/>
                      <a:gd name="T120" fmla="*/ 2147483647 w 3918"/>
                      <a:gd name="T121" fmla="*/ 2147483647 h 1944"/>
                      <a:gd name="T122" fmla="*/ 2147483647 w 3918"/>
                      <a:gd name="T123" fmla="*/ 2147483647 h 1944"/>
                      <a:gd name="T124" fmla="*/ 2147483647 w 3918"/>
                      <a:gd name="T125" fmla="*/ 2147483647 h 19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918"/>
                      <a:gd name="T190" fmla="*/ 0 h 1944"/>
                      <a:gd name="T191" fmla="*/ 3918 w 3918"/>
                      <a:gd name="T192" fmla="*/ 1944 h 194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918" h="1944">
                        <a:moveTo>
                          <a:pt x="3858" y="168"/>
                        </a:moveTo>
                        <a:lnTo>
                          <a:pt x="3852" y="168"/>
                        </a:lnTo>
                        <a:lnTo>
                          <a:pt x="3846" y="162"/>
                        </a:lnTo>
                        <a:lnTo>
                          <a:pt x="3846" y="156"/>
                        </a:lnTo>
                        <a:lnTo>
                          <a:pt x="3840" y="150"/>
                        </a:lnTo>
                        <a:lnTo>
                          <a:pt x="3828" y="150"/>
                        </a:lnTo>
                        <a:lnTo>
                          <a:pt x="3804" y="174"/>
                        </a:lnTo>
                        <a:lnTo>
                          <a:pt x="3798" y="186"/>
                        </a:lnTo>
                        <a:lnTo>
                          <a:pt x="3756" y="210"/>
                        </a:lnTo>
                        <a:lnTo>
                          <a:pt x="3756" y="234"/>
                        </a:lnTo>
                        <a:lnTo>
                          <a:pt x="3744" y="246"/>
                        </a:lnTo>
                        <a:lnTo>
                          <a:pt x="3738" y="246"/>
                        </a:lnTo>
                        <a:lnTo>
                          <a:pt x="3726" y="258"/>
                        </a:lnTo>
                        <a:lnTo>
                          <a:pt x="3720" y="270"/>
                        </a:lnTo>
                        <a:lnTo>
                          <a:pt x="3720" y="294"/>
                        </a:lnTo>
                        <a:lnTo>
                          <a:pt x="3714" y="294"/>
                        </a:lnTo>
                        <a:lnTo>
                          <a:pt x="3708" y="288"/>
                        </a:lnTo>
                        <a:lnTo>
                          <a:pt x="3696" y="288"/>
                        </a:lnTo>
                        <a:lnTo>
                          <a:pt x="3690" y="294"/>
                        </a:lnTo>
                        <a:lnTo>
                          <a:pt x="3678" y="300"/>
                        </a:lnTo>
                        <a:lnTo>
                          <a:pt x="3666" y="312"/>
                        </a:lnTo>
                        <a:lnTo>
                          <a:pt x="3666" y="318"/>
                        </a:lnTo>
                        <a:lnTo>
                          <a:pt x="3660" y="318"/>
                        </a:lnTo>
                        <a:lnTo>
                          <a:pt x="3648" y="324"/>
                        </a:lnTo>
                        <a:lnTo>
                          <a:pt x="3630" y="324"/>
                        </a:lnTo>
                        <a:lnTo>
                          <a:pt x="3618" y="336"/>
                        </a:lnTo>
                        <a:lnTo>
                          <a:pt x="3618" y="342"/>
                        </a:lnTo>
                        <a:lnTo>
                          <a:pt x="3384" y="342"/>
                        </a:lnTo>
                        <a:lnTo>
                          <a:pt x="3372" y="354"/>
                        </a:lnTo>
                        <a:lnTo>
                          <a:pt x="3360" y="360"/>
                        </a:lnTo>
                        <a:lnTo>
                          <a:pt x="3336" y="384"/>
                        </a:lnTo>
                        <a:lnTo>
                          <a:pt x="3324" y="390"/>
                        </a:lnTo>
                        <a:lnTo>
                          <a:pt x="3312" y="402"/>
                        </a:lnTo>
                        <a:lnTo>
                          <a:pt x="3282" y="402"/>
                        </a:lnTo>
                        <a:lnTo>
                          <a:pt x="3282" y="408"/>
                        </a:lnTo>
                        <a:lnTo>
                          <a:pt x="3276" y="408"/>
                        </a:lnTo>
                        <a:lnTo>
                          <a:pt x="3282" y="414"/>
                        </a:lnTo>
                        <a:lnTo>
                          <a:pt x="3282" y="420"/>
                        </a:lnTo>
                        <a:lnTo>
                          <a:pt x="3288" y="426"/>
                        </a:lnTo>
                        <a:lnTo>
                          <a:pt x="3282" y="432"/>
                        </a:lnTo>
                        <a:lnTo>
                          <a:pt x="3282" y="438"/>
                        </a:lnTo>
                        <a:lnTo>
                          <a:pt x="3276" y="444"/>
                        </a:lnTo>
                        <a:lnTo>
                          <a:pt x="3270" y="456"/>
                        </a:lnTo>
                        <a:lnTo>
                          <a:pt x="3264" y="462"/>
                        </a:lnTo>
                        <a:lnTo>
                          <a:pt x="3264" y="468"/>
                        </a:lnTo>
                        <a:lnTo>
                          <a:pt x="3246" y="468"/>
                        </a:lnTo>
                        <a:lnTo>
                          <a:pt x="3246" y="474"/>
                        </a:lnTo>
                        <a:lnTo>
                          <a:pt x="3240" y="474"/>
                        </a:lnTo>
                        <a:lnTo>
                          <a:pt x="3228" y="480"/>
                        </a:lnTo>
                        <a:lnTo>
                          <a:pt x="3204" y="480"/>
                        </a:lnTo>
                        <a:lnTo>
                          <a:pt x="3198" y="474"/>
                        </a:lnTo>
                        <a:lnTo>
                          <a:pt x="3186" y="486"/>
                        </a:lnTo>
                        <a:lnTo>
                          <a:pt x="3162" y="486"/>
                        </a:lnTo>
                        <a:lnTo>
                          <a:pt x="3150" y="480"/>
                        </a:lnTo>
                        <a:lnTo>
                          <a:pt x="3144" y="474"/>
                        </a:lnTo>
                        <a:lnTo>
                          <a:pt x="3114" y="474"/>
                        </a:lnTo>
                        <a:lnTo>
                          <a:pt x="3096" y="486"/>
                        </a:lnTo>
                        <a:lnTo>
                          <a:pt x="3078" y="492"/>
                        </a:lnTo>
                        <a:lnTo>
                          <a:pt x="3072" y="492"/>
                        </a:lnTo>
                        <a:lnTo>
                          <a:pt x="3072" y="516"/>
                        </a:lnTo>
                        <a:lnTo>
                          <a:pt x="3066" y="522"/>
                        </a:lnTo>
                        <a:lnTo>
                          <a:pt x="3078" y="522"/>
                        </a:lnTo>
                        <a:lnTo>
                          <a:pt x="3066" y="528"/>
                        </a:lnTo>
                        <a:lnTo>
                          <a:pt x="3036" y="546"/>
                        </a:lnTo>
                        <a:lnTo>
                          <a:pt x="3000" y="564"/>
                        </a:lnTo>
                        <a:lnTo>
                          <a:pt x="2964" y="576"/>
                        </a:lnTo>
                        <a:lnTo>
                          <a:pt x="2946" y="588"/>
                        </a:lnTo>
                        <a:lnTo>
                          <a:pt x="2934" y="594"/>
                        </a:lnTo>
                        <a:lnTo>
                          <a:pt x="2928" y="594"/>
                        </a:lnTo>
                        <a:lnTo>
                          <a:pt x="2856" y="618"/>
                        </a:lnTo>
                        <a:lnTo>
                          <a:pt x="2850" y="624"/>
                        </a:lnTo>
                        <a:lnTo>
                          <a:pt x="2838" y="624"/>
                        </a:lnTo>
                        <a:lnTo>
                          <a:pt x="2826" y="630"/>
                        </a:lnTo>
                        <a:lnTo>
                          <a:pt x="2808" y="630"/>
                        </a:lnTo>
                        <a:lnTo>
                          <a:pt x="2802" y="636"/>
                        </a:lnTo>
                        <a:lnTo>
                          <a:pt x="2778" y="636"/>
                        </a:lnTo>
                        <a:lnTo>
                          <a:pt x="2772" y="630"/>
                        </a:lnTo>
                        <a:lnTo>
                          <a:pt x="2772" y="624"/>
                        </a:lnTo>
                        <a:lnTo>
                          <a:pt x="2760" y="624"/>
                        </a:lnTo>
                        <a:lnTo>
                          <a:pt x="2748" y="618"/>
                        </a:lnTo>
                        <a:lnTo>
                          <a:pt x="2736" y="606"/>
                        </a:lnTo>
                        <a:lnTo>
                          <a:pt x="2742" y="606"/>
                        </a:lnTo>
                        <a:lnTo>
                          <a:pt x="2748" y="600"/>
                        </a:lnTo>
                        <a:lnTo>
                          <a:pt x="2772" y="588"/>
                        </a:lnTo>
                        <a:lnTo>
                          <a:pt x="2772" y="582"/>
                        </a:lnTo>
                        <a:lnTo>
                          <a:pt x="2796" y="558"/>
                        </a:lnTo>
                        <a:lnTo>
                          <a:pt x="2832" y="540"/>
                        </a:lnTo>
                        <a:lnTo>
                          <a:pt x="2838" y="540"/>
                        </a:lnTo>
                        <a:lnTo>
                          <a:pt x="2844" y="534"/>
                        </a:lnTo>
                        <a:lnTo>
                          <a:pt x="2844" y="510"/>
                        </a:lnTo>
                        <a:lnTo>
                          <a:pt x="2850" y="504"/>
                        </a:lnTo>
                        <a:lnTo>
                          <a:pt x="2856" y="492"/>
                        </a:lnTo>
                        <a:lnTo>
                          <a:pt x="2850" y="486"/>
                        </a:lnTo>
                        <a:lnTo>
                          <a:pt x="2850" y="480"/>
                        </a:lnTo>
                        <a:lnTo>
                          <a:pt x="2856" y="468"/>
                        </a:lnTo>
                        <a:lnTo>
                          <a:pt x="2856" y="444"/>
                        </a:lnTo>
                        <a:lnTo>
                          <a:pt x="2862" y="432"/>
                        </a:lnTo>
                        <a:lnTo>
                          <a:pt x="2862" y="426"/>
                        </a:lnTo>
                        <a:lnTo>
                          <a:pt x="2856" y="420"/>
                        </a:lnTo>
                        <a:lnTo>
                          <a:pt x="2850" y="420"/>
                        </a:lnTo>
                        <a:lnTo>
                          <a:pt x="2844" y="426"/>
                        </a:lnTo>
                        <a:lnTo>
                          <a:pt x="2832" y="426"/>
                        </a:lnTo>
                        <a:lnTo>
                          <a:pt x="2814" y="444"/>
                        </a:lnTo>
                        <a:lnTo>
                          <a:pt x="2802" y="450"/>
                        </a:lnTo>
                        <a:lnTo>
                          <a:pt x="2796" y="456"/>
                        </a:lnTo>
                        <a:lnTo>
                          <a:pt x="2778" y="456"/>
                        </a:lnTo>
                        <a:lnTo>
                          <a:pt x="2772" y="450"/>
                        </a:lnTo>
                        <a:lnTo>
                          <a:pt x="2778" y="444"/>
                        </a:lnTo>
                        <a:lnTo>
                          <a:pt x="2784" y="432"/>
                        </a:lnTo>
                        <a:lnTo>
                          <a:pt x="2808" y="420"/>
                        </a:lnTo>
                        <a:lnTo>
                          <a:pt x="2826" y="402"/>
                        </a:lnTo>
                        <a:lnTo>
                          <a:pt x="2850" y="390"/>
                        </a:lnTo>
                        <a:lnTo>
                          <a:pt x="2856" y="384"/>
                        </a:lnTo>
                        <a:lnTo>
                          <a:pt x="2856" y="366"/>
                        </a:lnTo>
                        <a:lnTo>
                          <a:pt x="2850" y="360"/>
                        </a:lnTo>
                        <a:lnTo>
                          <a:pt x="2850" y="348"/>
                        </a:lnTo>
                        <a:lnTo>
                          <a:pt x="2856" y="348"/>
                        </a:lnTo>
                        <a:lnTo>
                          <a:pt x="2862" y="342"/>
                        </a:lnTo>
                        <a:lnTo>
                          <a:pt x="2868" y="330"/>
                        </a:lnTo>
                        <a:lnTo>
                          <a:pt x="2868" y="318"/>
                        </a:lnTo>
                        <a:lnTo>
                          <a:pt x="2862" y="312"/>
                        </a:lnTo>
                        <a:lnTo>
                          <a:pt x="2850" y="312"/>
                        </a:lnTo>
                        <a:lnTo>
                          <a:pt x="2838" y="306"/>
                        </a:lnTo>
                        <a:lnTo>
                          <a:pt x="2832" y="306"/>
                        </a:lnTo>
                        <a:lnTo>
                          <a:pt x="2826" y="294"/>
                        </a:lnTo>
                        <a:lnTo>
                          <a:pt x="2820" y="288"/>
                        </a:lnTo>
                        <a:lnTo>
                          <a:pt x="2820" y="282"/>
                        </a:lnTo>
                        <a:lnTo>
                          <a:pt x="2814" y="288"/>
                        </a:lnTo>
                        <a:lnTo>
                          <a:pt x="2808" y="288"/>
                        </a:lnTo>
                        <a:lnTo>
                          <a:pt x="2808" y="264"/>
                        </a:lnTo>
                        <a:lnTo>
                          <a:pt x="2844" y="270"/>
                        </a:lnTo>
                        <a:lnTo>
                          <a:pt x="2850" y="264"/>
                        </a:lnTo>
                        <a:lnTo>
                          <a:pt x="2850" y="246"/>
                        </a:lnTo>
                        <a:lnTo>
                          <a:pt x="2862" y="246"/>
                        </a:lnTo>
                        <a:lnTo>
                          <a:pt x="2868" y="228"/>
                        </a:lnTo>
                        <a:lnTo>
                          <a:pt x="2850" y="228"/>
                        </a:lnTo>
                        <a:lnTo>
                          <a:pt x="2844" y="240"/>
                        </a:lnTo>
                        <a:lnTo>
                          <a:pt x="2820" y="228"/>
                        </a:lnTo>
                        <a:lnTo>
                          <a:pt x="2820" y="210"/>
                        </a:lnTo>
                        <a:lnTo>
                          <a:pt x="2802" y="210"/>
                        </a:lnTo>
                        <a:lnTo>
                          <a:pt x="2790" y="216"/>
                        </a:lnTo>
                        <a:lnTo>
                          <a:pt x="2736" y="216"/>
                        </a:lnTo>
                        <a:lnTo>
                          <a:pt x="2724" y="222"/>
                        </a:lnTo>
                        <a:lnTo>
                          <a:pt x="2712" y="222"/>
                        </a:lnTo>
                        <a:lnTo>
                          <a:pt x="2700" y="228"/>
                        </a:lnTo>
                        <a:lnTo>
                          <a:pt x="2682" y="228"/>
                        </a:lnTo>
                        <a:lnTo>
                          <a:pt x="2658" y="216"/>
                        </a:lnTo>
                        <a:lnTo>
                          <a:pt x="2658" y="210"/>
                        </a:lnTo>
                        <a:lnTo>
                          <a:pt x="2652" y="204"/>
                        </a:lnTo>
                        <a:lnTo>
                          <a:pt x="2652" y="198"/>
                        </a:lnTo>
                        <a:lnTo>
                          <a:pt x="2646" y="192"/>
                        </a:lnTo>
                        <a:lnTo>
                          <a:pt x="2628" y="192"/>
                        </a:lnTo>
                        <a:lnTo>
                          <a:pt x="2622" y="198"/>
                        </a:lnTo>
                        <a:lnTo>
                          <a:pt x="2616" y="198"/>
                        </a:lnTo>
                        <a:lnTo>
                          <a:pt x="2610" y="192"/>
                        </a:lnTo>
                        <a:lnTo>
                          <a:pt x="2670" y="162"/>
                        </a:lnTo>
                        <a:lnTo>
                          <a:pt x="2658" y="150"/>
                        </a:lnTo>
                        <a:lnTo>
                          <a:pt x="2640" y="150"/>
                        </a:lnTo>
                        <a:lnTo>
                          <a:pt x="2628" y="162"/>
                        </a:lnTo>
                        <a:lnTo>
                          <a:pt x="2616" y="168"/>
                        </a:lnTo>
                        <a:lnTo>
                          <a:pt x="2610" y="174"/>
                        </a:lnTo>
                        <a:lnTo>
                          <a:pt x="2604" y="174"/>
                        </a:lnTo>
                        <a:lnTo>
                          <a:pt x="2580" y="186"/>
                        </a:lnTo>
                        <a:lnTo>
                          <a:pt x="2562" y="192"/>
                        </a:lnTo>
                        <a:lnTo>
                          <a:pt x="2538" y="204"/>
                        </a:lnTo>
                        <a:lnTo>
                          <a:pt x="2508" y="204"/>
                        </a:lnTo>
                        <a:lnTo>
                          <a:pt x="2496" y="216"/>
                        </a:lnTo>
                        <a:lnTo>
                          <a:pt x="2448" y="216"/>
                        </a:lnTo>
                        <a:lnTo>
                          <a:pt x="2448" y="210"/>
                        </a:lnTo>
                        <a:lnTo>
                          <a:pt x="2454" y="204"/>
                        </a:lnTo>
                        <a:lnTo>
                          <a:pt x="2460" y="204"/>
                        </a:lnTo>
                        <a:lnTo>
                          <a:pt x="2472" y="192"/>
                        </a:lnTo>
                        <a:lnTo>
                          <a:pt x="2460" y="192"/>
                        </a:lnTo>
                        <a:lnTo>
                          <a:pt x="2448" y="198"/>
                        </a:lnTo>
                        <a:lnTo>
                          <a:pt x="2412" y="198"/>
                        </a:lnTo>
                        <a:lnTo>
                          <a:pt x="2400" y="204"/>
                        </a:lnTo>
                        <a:lnTo>
                          <a:pt x="2394" y="210"/>
                        </a:lnTo>
                        <a:lnTo>
                          <a:pt x="2370" y="210"/>
                        </a:lnTo>
                        <a:lnTo>
                          <a:pt x="2370" y="198"/>
                        </a:lnTo>
                        <a:lnTo>
                          <a:pt x="2400" y="180"/>
                        </a:lnTo>
                        <a:lnTo>
                          <a:pt x="2442" y="168"/>
                        </a:lnTo>
                        <a:lnTo>
                          <a:pt x="2502" y="138"/>
                        </a:lnTo>
                        <a:lnTo>
                          <a:pt x="2520" y="126"/>
                        </a:lnTo>
                        <a:lnTo>
                          <a:pt x="2544" y="120"/>
                        </a:lnTo>
                        <a:lnTo>
                          <a:pt x="2574" y="114"/>
                        </a:lnTo>
                        <a:lnTo>
                          <a:pt x="2580" y="114"/>
                        </a:lnTo>
                        <a:lnTo>
                          <a:pt x="2592" y="108"/>
                        </a:lnTo>
                        <a:lnTo>
                          <a:pt x="2574" y="108"/>
                        </a:lnTo>
                        <a:lnTo>
                          <a:pt x="2562" y="102"/>
                        </a:lnTo>
                        <a:lnTo>
                          <a:pt x="2556" y="102"/>
                        </a:lnTo>
                        <a:lnTo>
                          <a:pt x="2556" y="96"/>
                        </a:lnTo>
                        <a:lnTo>
                          <a:pt x="2508" y="102"/>
                        </a:lnTo>
                        <a:lnTo>
                          <a:pt x="2508" y="84"/>
                        </a:lnTo>
                        <a:lnTo>
                          <a:pt x="2502" y="90"/>
                        </a:lnTo>
                        <a:lnTo>
                          <a:pt x="2490" y="96"/>
                        </a:lnTo>
                        <a:lnTo>
                          <a:pt x="2478" y="108"/>
                        </a:lnTo>
                        <a:lnTo>
                          <a:pt x="2466" y="108"/>
                        </a:lnTo>
                        <a:lnTo>
                          <a:pt x="2448" y="90"/>
                        </a:lnTo>
                        <a:lnTo>
                          <a:pt x="2418" y="90"/>
                        </a:lnTo>
                        <a:lnTo>
                          <a:pt x="2412" y="84"/>
                        </a:lnTo>
                        <a:lnTo>
                          <a:pt x="2412" y="78"/>
                        </a:lnTo>
                        <a:lnTo>
                          <a:pt x="2400" y="66"/>
                        </a:lnTo>
                        <a:lnTo>
                          <a:pt x="2388" y="60"/>
                        </a:lnTo>
                        <a:lnTo>
                          <a:pt x="2376" y="60"/>
                        </a:lnTo>
                        <a:lnTo>
                          <a:pt x="2364" y="72"/>
                        </a:lnTo>
                        <a:lnTo>
                          <a:pt x="2364" y="78"/>
                        </a:lnTo>
                        <a:lnTo>
                          <a:pt x="2352" y="78"/>
                        </a:lnTo>
                        <a:lnTo>
                          <a:pt x="2334" y="60"/>
                        </a:lnTo>
                        <a:lnTo>
                          <a:pt x="2322" y="60"/>
                        </a:lnTo>
                        <a:lnTo>
                          <a:pt x="2304" y="54"/>
                        </a:lnTo>
                        <a:lnTo>
                          <a:pt x="2292" y="48"/>
                        </a:lnTo>
                        <a:lnTo>
                          <a:pt x="2292" y="36"/>
                        </a:lnTo>
                        <a:lnTo>
                          <a:pt x="2298" y="24"/>
                        </a:lnTo>
                        <a:lnTo>
                          <a:pt x="2310" y="12"/>
                        </a:lnTo>
                        <a:lnTo>
                          <a:pt x="2298" y="0"/>
                        </a:lnTo>
                        <a:lnTo>
                          <a:pt x="2286" y="6"/>
                        </a:lnTo>
                        <a:lnTo>
                          <a:pt x="2280" y="12"/>
                        </a:lnTo>
                        <a:lnTo>
                          <a:pt x="2274" y="24"/>
                        </a:lnTo>
                        <a:lnTo>
                          <a:pt x="2274" y="30"/>
                        </a:lnTo>
                        <a:lnTo>
                          <a:pt x="2268" y="42"/>
                        </a:lnTo>
                        <a:lnTo>
                          <a:pt x="558" y="42"/>
                        </a:lnTo>
                        <a:lnTo>
                          <a:pt x="552" y="54"/>
                        </a:lnTo>
                        <a:lnTo>
                          <a:pt x="552" y="60"/>
                        </a:lnTo>
                        <a:lnTo>
                          <a:pt x="546" y="60"/>
                        </a:lnTo>
                        <a:lnTo>
                          <a:pt x="546" y="72"/>
                        </a:lnTo>
                        <a:lnTo>
                          <a:pt x="540" y="84"/>
                        </a:lnTo>
                        <a:lnTo>
                          <a:pt x="540" y="108"/>
                        </a:lnTo>
                        <a:lnTo>
                          <a:pt x="510" y="126"/>
                        </a:lnTo>
                        <a:lnTo>
                          <a:pt x="504" y="144"/>
                        </a:lnTo>
                        <a:lnTo>
                          <a:pt x="486" y="168"/>
                        </a:lnTo>
                        <a:lnTo>
                          <a:pt x="438" y="180"/>
                        </a:lnTo>
                        <a:lnTo>
                          <a:pt x="474" y="162"/>
                        </a:lnTo>
                        <a:lnTo>
                          <a:pt x="450" y="162"/>
                        </a:lnTo>
                        <a:lnTo>
                          <a:pt x="456" y="156"/>
                        </a:lnTo>
                        <a:lnTo>
                          <a:pt x="462" y="144"/>
                        </a:lnTo>
                        <a:lnTo>
                          <a:pt x="486" y="120"/>
                        </a:lnTo>
                        <a:lnTo>
                          <a:pt x="492" y="120"/>
                        </a:lnTo>
                        <a:lnTo>
                          <a:pt x="504" y="108"/>
                        </a:lnTo>
                        <a:lnTo>
                          <a:pt x="504" y="102"/>
                        </a:lnTo>
                        <a:lnTo>
                          <a:pt x="456" y="102"/>
                        </a:lnTo>
                        <a:lnTo>
                          <a:pt x="450" y="96"/>
                        </a:lnTo>
                        <a:lnTo>
                          <a:pt x="438" y="90"/>
                        </a:lnTo>
                        <a:lnTo>
                          <a:pt x="432" y="84"/>
                        </a:lnTo>
                        <a:lnTo>
                          <a:pt x="420" y="78"/>
                        </a:lnTo>
                        <a:lnTo>
                          <a:pt x="402" y="78"/>
                        </a:lnTo>
                        <a:lnTo>
                          <a:pt x="390" y="90"/>
                        </a:lnTo>
                        <a:lnTo>
                          <a:pt x="384" y="102"/>
                        </a:lnTo>
                        <a:lnTo>
                          <a:pt x="384" y="150"/>
                        </a:lnTo>
                        <a:lnTo>
                          <a:pt x="378" y="156"/>
                        </a:lnTo>
                        <a:lnTo>
                          <a:pt x="378" y="162"/>
                        </a:lnTo>
                        <a:lnTo>
                          <a:pt x="360" y="180"/>
                        </a:lnTo>
                        <a:lnTo>
                          <a:pt x="390" y="186"/>
                        </a:lnTo>
                        <a:lnTo>
                          <a:pt x="360" y="192"/>
                        </a:lnTo>
                        <a:lnTo>
                          <a:pt x="366" y="210"/>
                        </a:lnTo>
                        <a:lnTo>
                          <a:pt x="348" y="234"/>
                        </a:lnTo>
                        <a:lnTo>
                          <a:pt x="354" y="234"/>
                        </a:lnTo>
                        <a:lnTo>
                          <a:pt x="366" y="246"/>
                        </a:lnTo>
                        <a:lnTo>
                          <a:pt x="372" y="246"/>
                        </a:lnTo>
                        <a:lnTo>
                          <a:pt x="378" y="252"/>
                        </a:lnTo>
                        <a:lnTo>
                          <a:pt x="330" y="252"/>
                        </a:lnTo>
                        <a:lnTo>
                          <a:pt x="324" y="264"/>
                        </a:lnTo>
                        <a:lnTo>
                          <a:pt x="306" y="282"/>
                        </a:lnTo>
                        <a:lnTo>
                          <a:pt x="270" y="342"/>
                        </a:lnTo>
                        <a:lnTo>
                          <a:pt x="258" y="360"/>
                        </a:lnTo>
                        <a:lnTo>
                          <a:pt x="216" y="402"/>
                        </a:lnTo>
                        <a:lnTo>
                          <a:pt x="192" y="432"/>
                        </a:lnTo>
                        <a:lnTo>
                          <a:pt x="174" y="456"/>
                        </a:lnTo>
                        <a:lnTo>
                          <a:pt x="168" y="462"/>
                        </a:lnTo>
                        <a:lnTo>
                          <a:pt x="174" y="480"/>
                        </a:lnTo>
                        <a:lnTo>
                          <a:pt x="168" y="480"/>
                        </a:lnTo>
                        <a:lnTo>
                          <a:pt x="162" y="486"/>
                        </a:lnTo>
                        <a:lnTo>
                          <a:pt x="150" y="492"/>
                        </a:lnTo>
                        <a:lnTo>
                          <a:pt x="126" y="516"/>
                        </a:lnTo>
                        <a:lnTo>
                          <a:pt x="120" y="534"/>
                        </a:lnTo>
                        <a:lnTo>
                          <a:pt x="120" y="546"/>
                        </a:lnTo>
                        <a:lnTo>
                          <a:pt x="102" y="570"/>
                        </a:lnTo>
                        <a:lnTo>
                          <a:pt x="96" y="618"/>
                        </a:lnTo>
                        <a:lnTo>
                          <a:pt x="90" y="630"/>
                        </a:lnTo>
                        <a:lnTo>
                          <a:pt x="72" y="648"/>
                        </a:lnTo>
                        <a:lnTo>
                          <a:pt x="60" y="672"/>
                        </a:lnTo>
                        <a:lnTo>
                          <a:pt x="54" y="678"/>
                        </a:lnTo>
                        <a:lnTo>
                          <a:pt x="42" y="684"/>
                        </a:lnTo>
                        <a:lnTo>
                          <a:pt x="18" y="708"/>
                        </a:lnTo>
                        <a:lnTo>
                          <a:pt x="12" y="720"/>
                        </a:lnTo>
                        <a:lnTo>
                          <a:pt x="18" y="732"/>
                        </a:lnTo>
                        <a:lnTo>
                          <a:pt x="36" y="750"/>
                        </a:lnTo>
                        <a:lnTo>
                          <a:pt x="36" y="762"/>
                        </a:lnTo>
                        <a:lnTo>
                          <a:pt x="30" y="774"/>
                        </a:lnTo>
                        <a:lnTo>
                          <a:pt x="18" y="786"/>
                        </a:lnTo>
                        <a:lnTo>
                          <a:pt x="12" y="798"/>
                        </a:lnTo>
                        <a:lnTo>
                          <a:pt x="6" y="816"/>
                        </a:lnTo>
                        <a:lnTo>
                          <a:pt x="0" y="828"/>
                        </a:lnTo>
                        <a:lnTo>
                          <a:pt x="0" y="840"/>
                        </a:lnTo>
                        <a:lnTo>
                          <a:pt x="6" y="852"/>
                        </a:lnTo>
                        <a:lnTo>
                          <a:pt x="12" y="870"/>
                        </a:lnTo>
                        <a:lnTo>
                          <a:pt x="12" y="882"/>
                        </a:lnTo>
                        <a:lnTo>
                          <a:pt x="18" y="900"/>
                        </a:lnTo>
                        <a:lnTo>
                          <a:pt x="24" y="906"/>
                        </a:lnTo>
                        <a:lnTo>
                          <a:pt x="24" y="912"/>
                        </a:lnTo>
                        <a:lnTo>
                          <a:pt x="48" y="894"/>
                        </a:lnTo>
                        <a:lnTo>
                          <a:pt x="114" y="900"/>
                        </a:lnTo>
                        <a:lnTo>
                          <a:pt x="78" y="900"/>
                        </a:lnTo>
                        <a:lnTo>
                          <a:pt x="66" y="906"/>
                        </a:lnTo>
                        <a:lnTo>
                          <a:pt x="60" y="906"/>
                        </a:lnTo>
                        <a:lnTo>
                          <a:pt x="48" y="918"/>
                        </a:lnTo>
                        <a:lnTo>
                          <a:pt x="48" y="942"/>
                        </a:lnTo>
                        <a:lnTo>
                          <a:pt x="30" y="924"/>
                        </a:lnTo>
                        <a:lnTo>
                          <a:pt x="24" y="924"/>
                        </a:lnTo>
                        <a:lnTo>
                          <a:pt x="18" y="936"/>
                        </a:lnTo>
                        <a:lnTo>
                          <a:pt x="18" y="942"/>
                        </a:lnTo>
                        <a:lnTo>
                          <a:pt x="12" y="960"/>
                        </a:lnTo>
                        <a:lnTo>
                          <a:pt x="12" y="978"/>
                        </a:lnTo>
                        <a:lnTo>
                          <a:pt x="18" y="984"/>
                        </a:lnTo>
                        <a:lnTo>
                          <a:pt x="30" y="990"/>
                        </a:lnTo>
                        <a:lnTo>
                          <a:pt x="42" y="990"/>
                        </a:lnTo>
                        <a:lnTo>
                          <a:pt x="42" y="1002"/>
                        </a:lnTo>
                        <a:lnTo>
                          <a:pt x="36" y="1008"/>
                        </a:lnTo>
                        <a:lnTo>
                          <a:pt x="36" y="1014"/>
                        </a:lnTo>
                        <a:lnTo>
                          <a:pt x="18" y="1032"/>
                        </a:lnTo>
                        <a:lnTo>
                          <a:pt x="12" y="1044"/>
                        </a:lnTo>
                        <a:lnTo>
                          <a:pt x="12" y="1056"/>
                        </a:lnTo>
                        <a:lnTo>
                          <a:pt x="18" y="1068"/>
                        </a:lnTo>
                        <a:lnTo>
                          <a:pt x="24" y="1074"/>
                        </a:lnTo>
                        <a:lnTo>
                          <a:pt x="36" y="1098"/>
                        </a:lnTo>
                        <a:lnTo>
                          <a:pt x="42" y="1104"/>
                        </a:lnTo>
                        <a:lnTo>
                          <a:pt x="54" y="1128"/>
                        </a:lnTo>
                        <a:lnTo>
                          <a:pt x="60" y="1134"/>
                        </a:lnTo>
                        <a:lnTo>
                          <a:pt x="60" y="1146"/>
                        </a:lnTo>
                        <a:lnTo>
                          <a:pt x="54" y="1152"/>
                        </a:lnTo>
                        <a:lnTo>
                          <a:pt x="42" y="1176"/>
                        </a:lnTo>
                        <a:lnTo>
                          <a:pt x="36" y="1182"/>
                        </a:lnTo>
                        <a:lnTo>
                          <a:pt x="36" y="1188"/>
                        </a:lnTo>
                        <a:lnTo>
                          <a:pt x="42" y="1194"/>
                        </a:lnTo>
                        <a:lnTo>
                          <a:pt x="54" y="1194"/>
                        </a:lnTo>
                        <a:lnTo>
                          <a:pt x="72" y="1200"/>
                        </a:lnTo>
                        <a:lnTo>
                          <a:pt x="102" y="1200"/>
                        </a:lnTo>
                        <a:lnTo>
                          <a:pt x="102" y="1212"/>
                        </a:lnTo>
                        <a:lnTo>
                          <a:pt x="120" y="1230"/>
                        </a:lnTo>
                        <a:lnTo>
                          <a:pt x="132" y="1230"/>
                        </a:lnTo>
                        <a:lnTo>
                          <a:pt x="144" y="1224"/>
                        </a:lnTo>
                        <a:lnTo>
                          <a:pt x="150" y="1224"/>
                        </a:lnTo>
                        <a:lnTo>
                          <a:pt x="162" y="1218"/>
                        </a:lnTo>
                        <a:lnTo>
                          <a:pt x="168" y="1248"/>
                        </a:lnTo>
                        <a:lnTo>
                          <a:pt x="174" y="1248"/>
                        </a:lnTo>
                        <a:lnTo>
                          <a:pt x="180" y="1254"/>
                        </a:lnTo>
                        <a:lnTo>
                          <a:pt x="204" y="1266"/>
                        </a:lnTo>
                        <a:lnTo>
                          <a:pt x="216" y="1290"/>
                        </a:lnTo>
                        <a:lnTo>
                          <a:pt x="216" y="1314"/>
                        </a:lnTo>
                        <a:lnTo>
                          <a:pt x="210" y="1338"/>
                        </a:lnTo>
                        <a:lnTo>
                          <a:pt x="216" y="1344"/>
                        </a:lnTo>
                        <a:lnTo>
                          <a:pt x="360" y="1338"/>
                        </a:lnTo>
                        <a:lnTo>
                          <a:pt x="354" y="1344"/>
                        </a:lnTo>
                        <a:lnTo>
                          <a:pt x="354" y="1350"/>
                        </a:lnTo>
                        <a:lnTo>
                          <a:pt x="360" y="1350"/>
                        </a:lnTo>
                        <a:lnTo>
                          <a:pt x="570" y="1446"/>
                        </a:lnTo>
                        <a:lnTo>
                          <a:pt x="774" y="1446"/>
                        </a:lnTo>
                        <a:lnTo>
                          <a:pt x="774" y="1440"/>
                        </a:lnTo>
                        <a:lnTo>
                          <a:pt x="780" y="1428"/>
                        </a:lnTo>
                        <a:lnTo>
                          <a:pt x="780" y="1410"/>
                        </a:lnTo>
                        <a:lnTo>
                          <a:pt x="786" y="1404"/>
                        </a:lnTo>
                        <a:lnTo>
                          <a:pt x="900" y="1404"/>
                        </a:lnTo>
                        <a:lnTo>
                          <a:pt x="912" y="1416"/>
                        </a:lnTo>
                        <a:lnTo>
                          <a:pt x="912" y="1440"/>
                        </a:lnTo>
                        <a:lnTo>
                          <a:pt x="942" y="1452"/>
                        </a:lnTo>
                        <a:lnTo>
                          <a:pt x="948" y="1482"/>
                        </a:lnTo>
                        <a:lnTo>
                          <a:pt x="960" y="1482"/>
                        </a:lnTo>
                        <a:lnTo>
                          <a:pt x="972" y="1488"/>
                        </a:lnTo>
                        <a:lnTo>
                          <a:pt x="984" y="1500"/>
                        </a:lnTo>
                        <a:lnTo>
                          <a:pt x="990" y="1512"/>
                        </a:lnTo>
                        <a:lnTo>
                          <a:pt x="990" y="1554"/>
                        </a:lnTo>
                        <a:lnTo>
                          <a:pt x="984" y="1566"/>
                        </a:lnTo>
                        <a:lnTo>
                          <a:pt x="984" y="1578"/>
                        </a:lnTo>
                        <a:lnTo>
                          <a:pt x="1014" y="1608"/>
                        </a:lnTo>
                        <a:lnTo>
                          <a:pt x="1026" y="1614"/>
                        </a:lnTo>
                        <a:lnTo>
                          <a:pt x="1044" y="1626"/>
                        </a:lnTo>
                        <a:lnTo>
                          <a:pt x="1056" y="1626"/>
                        </a:lnTo>
                        <a:lnTo>
                          <a:pt x="1080" y="1614"/>
                        </a:lnTo>
                        <a:lnTo>
                          <a:pt x="1092" y="1602"/>
                        </a:lnTo>
                        <a:lnTo>
                          <a:pt x="1104" y="1578"/>
                        </a:lnTo>
                        <a:lnTo>
                          <a:pt x="1116" y="1566"/>
                        </a:lnTo>
                        <a:lnTo>
                          <a:pt x="1134" y="1566"/>
                        </a:lnTo>
                        <a:lnTo>
                          <a:pt x="1134" y="1560"/>
                        </a:lnTo>
                        <a:lnTo>
                          <a:pt x="1152" y="1566"/>
                        </a:lnTo>
                        <a:lnTo>
                          <a:pt x="1194" y="1566"/>
                        </a:lnTo>
                        <a:lnTo>
                          <a:pt x="1200" y="1578"/>
                        </a:lnTo>
                        <a:lnTo>
                          <a:pt x="1206" y="1584"/>
                        </a:lnTo>
                        <a:lnTo>
                          <a:pt x="1212" y="1596"/>
                        </a:lnTo>
                        <a:lnTo>
                          <a:pt x="1224" y="1608"/>
                        </a:lnTo>
                        <a:lnTo>
                          <a:pt x="1230" y="1620"/>
                        </a:lnTo>
                        <a:lnTo>
                          <a:pt x="1242" y="1632"/>
                        </a:lnTo>
                        <a:lnTo>
                          <a:pt x="1242" y="1656"/>
                        </a:lnTo>
                        <a:lnTo>
                          <a:pt x="1236" y="1668"/>
                        </a:lnTo>
                        <a:lnTo>
                          <a:pt x="1236" y="1680"/>
                        </a:lnTo>
                        <a:lnTo>
                          <a:pt x="1242" y="1692"/>
                        </a:lnTo>
                        <a:lnTo>
                          <a:pt x="1254" y="1698"/>
                        </a:lnTo>
                        <a:lnTo>
                          <a:pt x="1254" y="1722"/>
                        </a:lnTo>
                        <a:lnTo>
                          <a:pt x="1260" y="1728"/>
                        </a:lnTo>
                        <a:lnTo>
                          <a:pt x="1272" y="1734"/>
                        </a:lnTo>
                        <a:lnTo>
                          <a:pt x="1284" y="1746"/>
                        </a:lnTo>
                        <a:lnTo>
                          <a:pt x="1284" y="1752"/>
                        </a:lnTo>
                        <a:lnTo>
                          <a:pt x="1278" y="1758"/>
                        </a:lnTo>
                        <a:lnTo>
                          <a:pt x="1272" y="1758"/>
                        </a:lnTo>
                        <a:lnTo>
                          <a:pt x="1272" y="1794"/>
                        </a:lnTo>
                        <a:lnTo>
                          <a:pt x="1284" y="1806"/>
                        </a:lnTo>
                        <a:lnTo>
                          <a:pt x="1284" y="1836"/>
                        </a:lnTo>
                        <a:lnTo>
                          <a:pt x="1296" y="1848"/>
                        </a:lnTo>
                        <a:lnTo>
                          <a:pt x="1314" y="1854"/>
                        </a:lnTo>
                        <a:lnTo>
                          <a:pt x="1326" y="1854"/>
                        </a:lnTo>
                        <a:lnTo>
                          <a:pt x="1338" y="1866"/>
                        </a:lnTo>
                        <a:lnTo>
                          <a:pt x="1380" y="1866"/>
                        </a:lnTo>
                        <a:lnTo>
                          <a:pt x="1380" y="1872"/>
                        </a:lnTo>
                        <a:lnTo>
                          <a:pt x="1386" y="1884"/>
                        </a:lnTo>
                        <a:lnTo>
                          <a:pt x="1410" y="1884"/>
                        </a:lnTo>
                        <a:lnTo>
                          <a:pt x="1410" y="1878"/>
                        </a:lnTo>
                        <a:lnTo>
                          <a:pt x="1398" y="1806"/>
                        </a:lnTo>
                        <a:lnTo>
                          <a:pt x="1416" y="1788"/>
                        </a:lnTo>
                        <a:lnTo>
                          <a:pt x="1398" y="1776"/>
                        </a:lnTo>
                        <a:lnTo>
                          <a:pt x="1398" y="1758"/>
                        </a:lnTo>
                        <a:lnTo>
                          <a:pt x="1404" y="1764"/>
                        </a:lnTo>
                        <a:lnTo>
                          <a:pt x="1422" y="1764"/>
                        </a:lnTo>
                        <a:lnTo>
                          <a:pt x="1428" y="1758"/>
                        </a:lnTo>
                        <a:lnTo>
                          <a:pt x="1428" y="1728"/>
                        </a:lnTo>
                        <a:lnTo>
                          <a:pt x="1452" y="1722"/>
                        </a:lnTo>
                        <a:lnTo>
                          <a:pt x="1458" y="1698"/>
                        </a:lnTo>
                        <a:lnTo>
                          <a:pt x="1476" y="1704"/>
                        </a:lnTo>
                        <a:lnTo>
                          <a:pt x="1494" y="1692"/>
                        </a:lnTo>
                        <a:lnTo>
                          <a:pt x="1488" y="1668"/>
                        </a:lnTo>
                        <a:lnTo>
                          <a:pt x="1500" y="1680"/>
                        </a:lnTo>
                        <a:lnTo>
                          <a:pt x="1500" y="1668"/>
                        </a:lnTo>
                        <a:lnTo>
                          <a:pt x="1506" y="1656"/>
                        </a:lnTo>
                        <a:lnTo>
                          <a:pt x="1512" y="1650"/>
                        </a:lnTo>
                        <a:lnTo>
                          <a:pt x="1518" y="1650"/>
                        </a:lnTo>
                        <a:lnTo>
                          <a:pt x="1524" y="1656"/>
                        </a:lnTo>
                        <a:lnTo>
                          <a:pt x="1524" y="1668"/>
                        </a:lnTo>
                        <a:lnTo>
                          <a:pt x="1542" y="1668"/>
                        </a:lnTo>
                        <a:lnTo>
                          <a:pt x="1554" y="1662"/>
                        </a:lnTo>
                        <a:lnTo>
                          <a:pt x="1572" y="1656"/>
                        </a:lnTo>
                        <a:lnTo>
                          <a:pt x="1596" y="1644"/>
                        </a:lnTo>
                        <a:lnTo>
                          <a:pt x="1602" y="1638"/>
                        </a:lnTo>
                        <a:lnTo>
                          <a:pt x="1608" y="1626"/>
                        </a:lnTo>
                        <a:lnTo>
                          <a:pt x="1620" y="1620"/>
                        </a:lnTo>
                        <a:lnTo>
                          <a:pt x="1626" y="1608"/>
                        </a:lnTo>
                        <a:lnTo>
                          <a:pt x="1632" y="1602"/>
                        </a:lnTo>
                        <a:lnTo>
                          <a:pt x="1632" y="1590"/>
                        </a:lnTo>
                        <a:lnTo>
                          <a:pt x="1626" y="1584"/>
                        </a:lnTo>
                        <a:lnTo>
                          <a:pt x="1626" y="1566"/>
                        </a:lnTo>
                        <a:lnTo>
                          <a:pt x="1632" y="1566"/>
                        </a:lnTo>
                        <a:lnTo>
                          <a:pt x="1656" y="1578"/>
                        </a:lnTo>
                        <a:lnTo>
                          <a:pt x="1662" y="1584"/>
                        </a:lnTo>
                        <a:lnTo>
                          <a:pt x="1674" y="1590"/>
                        </a:lnTo>
                        <a:lnTo>
                          <a:pt x="1686" y="1590"/>
                        </a:lnTo>
                        <a:lnTo>
                          <a:pt x="1692" y="1584"/>
                        </a:lnTo>
                        <a:lnTo>
                          <a:pt x="1710" y="1548"/>
                        </a:lnTo>
                        <a:lnTo>
                          <a:pt x="1716" y="1548"/>
                        </a:lnTo>
                        <a:lnTo>
                          <a:pt x="1734" y="1566"/>
                        </a:lnTo>
                        <a:lnTo>
                          <a:pt x="1746" y="1566"/>
                        </a:lnTo>
                        <a:lnTo>
                          <a:pt x="1752" y="1560"/>
                        </a:lnTo>
                        <a:lnTo>
                          <a:pt x="1758" y="1548"/>
                        </a:lnTo>
                        <a:lnTo>
                          <a:pt x="1764" y="1542"/>
                        </a:lnTo>
                        <a:lnTo>
                          <a:pt x="1770" y="1554"/>
                        </a:lnTo>
                        <a:lnTo>
                          <a:pt x="1776" y="1560"/>
                        </a:lnTo>
                        <a:lnTo>
                          <a:pt x="1782" y="1572"/>
                        </a:lnTo>
                        <a:lnTo>
                          <a:pt x="1794" y="1578"/>
                        </a:lnTo>
                        <a:lnTo>
                          <a:pt x="1800" y="1584"/>
                        </a:lnTo>
                        <a:lnTo>
                          <a:pt x="1818" y="1584"/>
                        </a:lnTo>
                        <a:lnTo>
                          <a:pt x="1824" y="1578"/>
                        </a:lnTo>
                        <a:lnTo>
                          <a:pt x="1830" y="1566"/>
                        </a:lnTo>
                        <a:lnTo>
                          <a:pt x="1842" y="1554"/>
                        </a:lnTo>
                        <a:lnTo>
                          <a:pt x="1848" y="1554"/>
                        </a:lnTo>
                        <a:lnTo>
                          <a:pt x="1860" y="1560"/>
                        </a:lnTo>
                        <a:lnTo>
                          <a:pt x="1872" y="1572"/>
                        </a:lnTo>
                        <a:lnTo>
                          <a:pt x="1872" y="1584"/>
                        </a:lnTo>
                        <a:lnTo>
                          <a:pt x="1878" y="1596"/>
                        </a:lnTo>
                        <a:lnTo>
                          <a:pt x="1878" y="1614"/>
                        </a:lnTo>
                        <a:lnTo>
                          <a:pt x="1914" y="1614"/>
                        </a:lnTo>
                        <a:lnTo>
                          <a:pt x="1920" y="1620"/>
                        </a:lnTo>
                        <a:lnTo>
                          <a:pt x="1926" y="1620"/>
                        </a:lnTo>
                        <a:lnTo>
                          <a:pt x="1926" y="1608"/>
                        </a:lnTo>
                        <a:lnTo>
                          <a:pt x="1932" y="1602"/>
                        </a:lnTo>
                        <a:lnTo>
                          <a:pt x="1932" y="1608"/>
                        </a:lnTo>
                        <a:lnTo>
                          <a:pt x="1956" y="1632"/>
                        </a:lnTo>
                        <a:lnTo>
                          <a:pt x="1962" y="1626"/>
                        </a:lnTo>
                        <a:lnTo>
                          <a:pt x="1968" y="1614"/>
                        </a:lnTo>
                        <a:lnTo>
                          <a:pt x="1968" y="1596"/>
                        </a:lnTo>
                        <a:lnTo>
                          <a:pt x="1962" y="1584"/>
                        </a:lnTo>
                        <a:lnTo>
                          <a:pt x="1980" y="1590"/>
                        </a:lnTo>
                        <a:lnTo>
                          <a:pt x="1992" y="1608"/>
                        </a:lnTo>
                        <a:lnTo>
                          <a:pt x="2004" y="1614"/>
                        </a:lnTo>
                        <a:lnTo>
                          <a:pt x="2004" y="1626"/>
                        </a:lnTo>
                        <a:lnTo>
                          <a:pt x="2010" y="1626"/>
                        </a:lnTo>
                        <a:lnTo>
                          <a:pt x="2016" y="1632"/>
                        </a:lnTo>
                        <a:lnTo>
                          <a:pt x="2028" y="1632"/>
                        </a:lnTo>
                        <a:lnTo>
                          <a:pt x="2034" y="1626"/>
                        </a:lnTo>
                        <a:lnTo>
                          <a:pt x="2034" y="1620"/>
                        </a:lnTo>
                        <a:lnTo>
                          <a:pt x="2028" y="1608"/>
                        </a:lnTo>
                        <a:lnTo>
                          <a:pt x="2022" y="1602"/>
                        </a:lnTo>
                        <a:lnTo>
                          <a:pt x="2010" y="1596"/>
                        </a:lnTo>
                        <a:lnTo>
                          <a:pt x="2004" y="1590"/>
                        </a:lnTo>
                        <a:lnTo>
                          <a:pt x="1998" y="1578"/>
                        </a:lnTo>
                        <a:lnTo>
                          <a:pt x="2010" y="1578"/>
                        </a:lnTo>
                        <a:lnTo>
                          <a:pt x="2022" y="1566"/>
                        </a:lnTo>
                        <a:lnTo>
                          <a:pt x="2022" y="1554"/>
                        </a:lnTo>
                        <a:lnTo>
                          <a:pt x="2016" y="1548"/>
                        </a:lnTo>
                        <a:lnTo>
                          <a:pt x="1968" y="1548"/>
                        </a:lnTo>
                        <a:lnTo>
                          <a:pt x="1962" y="1542"/>
                        </a:lnTo>
                        <a:lnTo>
                          <a:pt x="1962" y="1530"/>
                        </a:lnTo>
                        <a:lnTo>
                          <a:pt x="1968" y="1524"/>
                        </a:lnTo>
                        <a:lnTo>
                          <a:pt x="1986" y="1524"/>
                        </a:lnTo>
                        <a:lnTo>
                          <a:pt x="1998" y="1530"/>
                        </a:lnTo>
                        <a:lnTo>
                          <a:pt x="2004" y="1530"/>
                        </a:lnTo>
                        <a:lnTo>
                          <a:pt x="2016" y="1536"/>
                        </a:lnTo>
                        <a:lnTo>
                          <a:pt x="2028" y="1536"/>
                        </a:lnTo>
                        <a:lnTo>
                          <a:pt x="2064" y="1518"/>
                        </a:lnTo>
                        <a:lnTo>
                          <a:pt x="2070" y="1512"/>
                        </a:lnTo>
                        <a:lnTo>
                          <a:pt x="2082" y="1512"/>
                        </a:lnTo>
                        <a:lnTo>
                          <a:pt x="2082" y="1518"/>
                        </a:lnTo>
                        <a:lnTo>
                          <a:pt x="2106" y="1518"/>
                        </a:lnTo>
                        <a:lnTo>
                          <a:pt x="2118" y="1512"/>
                        </a:lnTo>
                        <a:lnTo>
                          <a:pt x="2124" y="1512"/>
                        </a:lnTo>
                        <a:lnTo>
                          <a:pt x="2130" y="1506"/>
                        </a:lnTo>
                        <a:lnTo>
                          <a:pt x="2130" y="1500"/>
                        </a:lnTo>
                        <a:lnTo>
                          <a:pt x="2136" y="1488"/>
                        </a:lnTo>
                        <a:lnTo>
                          <a:pt x="2136" y="1482"/>
                        </a:lnTo>
                        <a:lnTo>
                          <a:pt x="2142" y="1482"/>
                        </a:lnTo>
                        <a:lnTo>
                          <a:pt x="2142" y="1488"/>
                        </a:lnTo>
                        <a:lnTo>
                          <a:pt x="2148" y="1500"/>
                        </a:lnTo>
                        <a:lnTo>
                          <a:pt x="2148" y="1524"/>
                        </a:lnTo>
                        <a:lnTo>
                          <a:pt x="2154" y="1524"/>
                        </a:lnTo>
                        <a:lnTo>
                          <a:pt x="2160" y="1518"/>
                        </a:lnTo>
                        <a:lnTo>
                          <a:pt x="2172" y="1512"/>
                        </a:lnTo>
                        <a:lnTo>
                          <a:pt x="2190" y="1512"/>
                        </a:lnTo>
                        <a:lnTo>
                          <a:pt x="2202" y="1506"/>
                        </a:lnTo>
                        <a:lnTo>
                          <a:pt x="2214" y="1506"/>
                        </a:lnTo>
                        <a:lnTo>
                          <a:pt x="2226" y="1512"/>
                        </a:lnTo>
                        <a:lnTo>
                          <a:pt x="2232" y="1524"/>
                        </a:lnTo>
                        <a:lnTo>
                          <a:pt x="2232" y="1506"/>
                        </a:lnTo>
                        <a:lnTo>
                          <a:pt x="2244" y="1506"/>
                        </a:lnTo>
                        <a:lnTo>
                          <a:pt x="2256" y="1518"/>
                        </a:lnTo>
                        <a:lnTo>
                          <a:pt x="2256" y="1530"/>
                        </a:lnTo>
                        <a:lnTo>
                          <a:pt x="2286" y="1524"/>
                        </a:lnTo>
                        <a:lnTo>
                          <a:pt x="2280" y="1536"/>
                        </a:lnTo>
                        <a:lnTo>
                          <a:pt x="2280" y="1548"/>
                        </a:lnTo>
                        <a:lnTo>
                          <a:pt x="2286" y="1554"/>
                        </a:lnTo>
                        <a:lnTo>
                          <a:pt x="2286" y="1566"/>
                        </a:lnTo>
                        <a:lnTo>
                          <a:pt x="2298" y="1578"/>
                        </a:lnTo>
                        <a:lnTo>
                          <a:pt x="2310" y="1578"/>
                        </a:lnTo>
                        <a:lnTo>
                          <a:pt x="2328" y="1572"/>
                        </a:lnTo>
                        <a:lnTo>
                          <a:pt x="2352" y="1548"/>
                        </a:lnTo>
                        <a:lnTo>
                          <a:pt x="2370" y="1542"/>
                        </a:lnTo>
                        <a:lnTo>
                          <a:pt x="2382" y="1542"/>
                        </a:lnTo>
                        <a:lnTo>
                          <a:pt x="2394" y="1548"/>
                        </a:lnTo>
                        <a:lnTo>
                          <a:pt x="2400" y="1554"/>
                        </a:lnTo>
                        <a:lnTo>
                          <a:pt x="2418" y="1590"/>
                        </a:lnTo>
                        <a:lnTo>
                          <a:pt x="2418" y="1602"/>
                        </a:lnTo>
                        <a:lnTo>
                          <a:pt x="2424" y="1608"/>
                        </a:lnTo>
                        <a:lnTo>
                          <a:pt x="2436" y="1614"/>
                        </a:lnTo>
                        <a:lnTo>
                          <a:pt x="2466" y="1614"/>
                        </a:lnTo>
                        <a:lnTo>
                          <a:pt x="2460" y="1656"/>
                        </a:lnTo>
                        <a:lnTo>
                          <a:pt x="2460" y="1662"/>
                        </a:lnTo>
                        <a:lnTo>
                          <a:pt x="2454" y="1668"/>
                        </a:lnTo>
                        <a:lnTo>
                          <a:pt x="2436" y="1704"/>
                        </a:lnTo>
                        <a:lnTo>
                          <a:pt x="2436" y="1710"/>
                        </a:lnTo>
                        <a:lnTo>
                          <a:pt x="2448" y="1722"/>
                        </a:lnTo>
                        <a:lnTo>
                          <a:pt x="2454" y="1722"/>
                        </a:lnTo>
                        <a:lnTo>
                          <a:pt x="2460" y="1734"/>
                        </a:lnTo>
                        <a:lnTo>
                          <a:pt x="2436" y="1758"/>
                        </a:lnTo>
                        <a:lnTo>
                          <a:pt x="2454" y="1806"/>
                        </a:lnTo>
                        <a:lnTo>
                          <a:pt x="2472" y="1788"/>
                        </a:lnTo>
                        <a:lnTo>
                          <a:pt x="2478" y="1788"/>
                        </a:lnTo>
                        <a:lnTo>
                          <a:pt x="2478" y="1794"/>
                        </a:lnTo>
                        <a:lnTo>
                          <a:pt x="2472" y="1800"/>
                        </a:lnTo>
                        <a:lnTo>
                          <a:pt x="2466" y="1812"/>
                        </a:lnTo>
                        <a:lnTo>
                          <a:pt x="2466" y="1818"/>
                        </a:lnTo>
                        <a:lnTo>
                          <a:pt x="2460" y="1830"/>
                        </a:lnTo>
                        <a:lnTo>
                          <a:pt x="2478" y="1830"/>
                        </a:lnTo>
                        <a:lnTo>
                          <a:pt x="2478" y="1878"/>
                        </a:lnTo>
                        <a:lnTo>
                          <a:pt x="2496" y="1878"/>
                        </a:lnTo>
                        <a:lnTo>
                          <a:pt x="2502" y="1884"/>
                        </a:lnTo>
                        <a:lnTo>
                          <a:pt x="2508" y="1884"/>
                        </a:lnTo>
                        <a:lnTo>
                          <a:pt x="2508" y="1896"/>
                        </a:lnTo>
                        <a:lnTo>
                          <a:pt x="2502" y="1908"/>
                        </a:lnTo>
                        <a:lnTo>
                          <a:pt x="2502" y="1920"/>
                        </a:lnTo>
                        <a:lnTo>
                          <a:pt x="2526" y="1944"/>
                        </a:lnTo>
                        <a:lnTo>
                          <a:pt x="2532" y="1944"/>
                        </a:lnTo>
                        <a:lnTo>
                          <a:pt x="2538" y="1938"/>
                        </a:lnTo>
                        <a:lnTo>
                          <a:pt x="2550" y="1932"/>
                        </a:lnTo>
                        <a:lnTo>
                          <a:pt x="2556" y="1932"/>
                        </a:lnTo>
                        <a:lnTo>
                          <a:pt x="2562" y="1926"/>
                        </a:lnTo>
                        <a:lnTo>
                          <a:pt x="2568" y="1914"/>
                        </a:lnTo>
                        <a:lnTo>
                          <a:pt x="2568" y="1896"/>
                        </a:lnTo>
                        <a:lnTo>
                          <a:pt x="2586" y="1896"/>
                        </a:lnTo>
                        <a:lnTo>
                          <a:pt x="2586" y="1872"/>
                        </a:lnTo>
                        <a:lnTo>
                          <a:pt x="2604" y="1836"/>
                        </a:lnTo>
                        <a:lnTo>
                          <a:pt x="2604" y="1818"/>
                        </a:lnTo>
                        <a:lnTo>
                          <a:pt x="2610" y="1806"/>
                        </a:lnTo>
                        <a:lnTo>
                          <a:pt x="2610" y="1794"/>
                        </a:lnTo>
                        <a:lnTo>
                          <a:pt x="2604" y="1782"/>
                        </a:lnTo>
                        <a:lnTo>
                          <a:pt x="2604" y="1770"/>
                        </a:lnTo>
                        <a:lnTo>
                          <a:pt x="2598" y="1752"/>
                        </a:lnTo>
                        <a:lnTo>
                          <a:pt x="2592" y="1740"/>
                        </a:lnTo>
                        <a:lnTo>
                          <a:pt x="2586" y="1722"/>
                        </a:lnTo>
                        <a:lnTo>
                          <a:pt x="2586" y="1704"/>
                        </a:lnTo>
                        <a:lnTo>
                          <a:pt x="2592" y="1686"/>
                        </a:lnTo>
                        <a:lnTo>
                          <a:pt x="2598" y="1674"/>
                        </a:lnTo>
                        <a:lnTo>
                          <a:pt x="2598" y="1644"/>
                        </a:lnTo>
                        <a:lnTo>
                          <a:pt x="2592" y="1626"/>
                        </a:lnTo>
                        <a:lnTo>
                          <a:pt x="2586" y="1614"/>
                        </a:lnTo>
                        <a:lnTo>
                          <a:pt x="2580" y="1596"/>
                        </a:lnTo>
                        <a:lnTo>
                          <a:pt x="2574" y="1584"/>
                        </a:lnTo>
                        <a:lnTo>
                          <a:pt x="2574" y="1518"/>
                        </a:lnTo>
                        <a:lnTo>
                          <a:pt x="2580" y="1488"/>
                        </a:lnTo>
                        <a:lnTo>
                          <a:pt x="2586" y="1470"/>
                        </a:lnTo>
                        <a:lnTo>
                          <a:pt x="2598" y="1452"/>
                        </a:lnTo>
                        <a:lnTo>
                          <a:pt x="2604" y="1440"/>
                        </a:lnTo>
                        <a:lnTo>
                          <a:pt x="2610" y="1422"/>
                        </a:lnTo>
                        <a:lnTo>
                          <a:pt x="2616" y="1416"/>
                        </a:lnTo>
                        <a:lnTo>
                          <a:pt x="2616" y="1410"/>
                        </a:lnTo>
                        <a:lnTo>
                          <a:pt x="2628" y="1398"/>
                        </a:lnTo>
                        <a:lnTo>
                          <a:pt x="2652" y="1380"/>
                        </a:lnTo>
                        <a:lnTo>
                          <a:pt x="2658" y="1356"/>
                        </a:lnTo>
                        <a:lnTo>
                          <a:pt x="2670" y="1368"/>
                        </a:lnTo>
                        <a:lnTo>
                          <a:pt x="2676" y="1344"/>
                        </a:lnTo>
                        <a:lnTo>
                          <a:pt x="2730" y="1344"/>
                        </a:lnTo>
                        <a:lnTo>
                          <a:pt x="2730" y="1314"/>
                        </a:lnTo>
                        <a:lnTo>
                          <a:pt x="2748" y="1320"/>
                        </a:lnTo>
                        <a:lnTo>
                          <a:pt x="2754" y="1308"/>
                        </a:lnTo>
                        <a:lnTo>
                          <a:pt x="2772" y="1308"/>
                        </a:lnTo>
                        <a:lnTo>
                          <a:pt x="2796" y="1278"/>
                        </a:lnTo>
                        <a:lnTo>
                          <a:pt x="2796" y="1272"/>
                        </a:lnTo>
                        <a:lnTo>
                          <a:pt x="2802" y="1266"/>
                        </a:lnTo>
                        <a:lnTo>
                          <a:pt x="2814" y="1242"/>
                        </a:lnTo>
                        <a:lnTo>
                          <a:pt x="2832" y="1236"/>
                        </a:lnTo>
                        <a:lnTo>
                          <a:pt x="2862" y="1236"/>
                        </a:lnTo>
                        <a:lnTo>
                          <a:pt x="2874" y="1242"/>
                        </a:lnTo>
                        <a:lnTo>
                          <a:pt x="2886" y="1242"/>
                        </a:lnTo>
                        <a:lnTo>
                          <a:pt x="2892" y="1236"/>
                        </a:lnTo>
                        <a:lnTo>
                          <a:pt x="2904" y="1212"/>
                        </a:lnTo>
                        <a:lnTo>
                          <a:pt x="2910" y="1206"/>
                        </a:lnTo>
                        <a:lnTo>
                          <a:pt x="2916" y="1194"/>
                        </a:lnTo>
                        <a:lnTo>
                          <a:pt x="2928" y="1200"/>
                        </a:lnTo>
                        <a:lnTo>
                          <a:pt x="2934" y="1176"/>
                        </a:lnTo>
                        <a:lnTo>
                          <a:pt x="3018" y="1170"/>
                        </a:lnTo>
                        <a:lnTo>
                          <a:pt x="3024" y="1146"/>
                        </a:lnTo>
                        <a:lnTo>
                          <a:pt x="2982" y="1152"/>
                        </a:lnTo>
                        <a:lnTo>
                          <a:pt x="2988" y="1146"/>
                        </a:lnTo>
                        <a:lnTo>
                          <a:pt x="3000" y="1140"/>
                        </a:lnTo>
                        <a:lnTo>
                          <a:pt x="3006" y="1140"/>
                        </a:lnTo>
                        <a:lnTo>
                          <a:pt x="3006" y="1134"/>
                        </a:lnTo>
                        <a:lnTo>
                          <a:pt x="3000" y="1128"/>
                        </a:lnTo>
                        <a:lnTo>
                          <a:pt x="2994" y="1116"/>
                        </a:lnTo>
                        <a:lnTo>
                          <a:pt x="2988" y="1110"/>
                        </a:lnTo>
                        <a:lnTo>
                          <a:pt x="3024" y="1104"/>
                        </a:lnTo>
                        <a:lnTo>
                          <a:pt x="3048" y="1116"/>
                        </a:lnTo>
                        <a:lnTo>
                          <a:pt x="3078" y="1080"/>
                        </a:lnTo>
                        <a:lnTo>
                          <a:pt x="3024" y="1074"/>
                        </a:lnTo>
                        <a:lnTo>
                          <a:pt x="3024" y="1050"/>
                        </a:lnTo>
                        <a:lnTo>
                          <a:pt x="3036" y="1062"/>
                        </a:lnTo>
                        <a:lnTo>
                          <a:pt x="3078" y="1050"/>
                        </a:lnTo>
                        <a:lnTo>
                          <a:pt x="3084" y="990"/>
                        </a:lnTo>
                        <a:lnTo>
                          <a:pt x="3054" y="1002"/>
                        </a:lnTo>
                        <a:lnTo>
                          <a:pt x="3048" y="972"/>
                        </a:lnTo>
                        <a:lnTo>
                          <a:pt x="3024" y="960"/>
                        </a:lnTo>
                        <a:lnTo>
                          <a:pt x="3072" y="978"/>
                        </a:lnTo>
                        <a:lnTo>
                          <a:pt x="3078" y="972"/>
                        </a:lnTo>
                        <a:lnTo>
                          <a:pt x="3060" y="954"/>
                        </a:lnTo>
                        <a:lnTo>
                          <a:pt x="3090" y="954"/>
                        </a:lnTo>
                        <a:lnTo>
                          <a:pt x="3084" y="948"/>
                        </a:lnTo>
                        <a:lnTo>
                          <a:pt x="3078" y="936"/>
                        </a:lnTo>
                        <a:lnTo>
                          <a:pt x="3060" y="918"/>
                        </a:lnTo>
                        <a:lnTo>
                          <a:pt x="3054" y="906"/>
                        </a:lnTo>
                        <a:lnTo>
                          <a:pt x="3054" y="894"/>
                        </a:lnTo>
                        <a:lnTo>
                          <a:pt x="3060" y="888"/>
                        </a:lnTo>
                        <a:lnTo>
                          <a:pt x="3042" y="870"/>
                        </a:lnTo>
                        <a:lnTo>
                          <a:pt x="3042" y="864"/>
                        </a:lnTo>
                        <a:lnTo>
                          <a:pt x="3048" y="864"/>
                        </a:lnTo>
                        <a:lnTo>
                          <a:pt x="3066" y="846"/>
                        </a:lnTo>
                        <a:lnTo>
                          <a:pt x="3072" y="846"/>
                        </a:lnTo>
                        <a:lnTo>
                          <a:pt x="3066" y="870"/>
                        </a:lnTo>
                        <a:lnTo>
                          <a:pt x="3096" y="894"/>
                        </a:lnTo>
                        <a:lnTo>
                          <a:pt x="3096" y="888"/>
                        </a:lnTo>
                        <a:lnTo>
                          <a:pt x="3102" y="882"/>
                        </a:lnTo>
                        <a:lnTo>
                          <a:pt x="3102" y="864"/>
                        </a:lnTo>
                        <a:lnTo>
                          <a:pt x="3108" y="852"/>
                        </a:lnTo>
                        <a:lnTo>
                          <a:pt x="3108" y="834"/>
                        </a:lnTo>
                        <a:lnTo>
                          <a:pt x="3114" y="822"/>
                        </a:lnTo>
                        <a:lnTo>
                          <a:pt x="3144" y="792"/>
                        </a:lnTo>
                        <a:lnTo>
                          <a:pt x="3156" y="786"/>
                        </a:lnTo>
                        <a:lnTo>
                          <a:pt x="3162" y="786"/>
                        </a:lnTo>
                        <a:lnTo>
                          <a:pt x="3162" y="792"/>
                        </a:lnTo>
                        <a:lnTo>
                          <a:pt x="3150" y="816"/>
                        </a:lnTo>
                        <a:lnTo>
                          <a:pt x="3132" y="834"/>
                        </a:lnTo>
                        <a:lnTo>
                          <a:pt x="3126" y="846"/>
                        </a:lnTo>
                        <a:lnTo>
                          <a:pt x="3120" y="882"/>
                        </a:lnTo>
                        <a:lnTo>
                          <a:pt x="3138" y="882"/>
                        </a:lnTo>
                        <a:lnTo>
                          <a:pt x="3138" y="894"/>
                        </a:lnTo>
                        <a:lnTo>
                          <a:pt x="3132" y="906"/>
                        </a:lnTo>
                        <a:lnTo>
                          <a:pt x="3132" y="918"/>
                        </a:lnTo>
                        <a:lnTo>
                          <a:pt x="3114" y="936"/>
                        </a:lnTo>
                        <a:lnTo>
                          <a:pt x="3102" y="960"/>
                        </a:lnTo>
                        <a:lnTo>
                          <a:pt x="3102" y="978"/>
                        </a:lnTo>
                        <a:lnTo>
                          <a:pt x="3126" y="954"/>
                        </a:lnTo>
                        <a:lnTo>
                          <a:pt x="3132" y="942"/>
                        </a:lnTo>
                        <a:lnTo>
                          <a:pt x="3144" y="930"/>
                        </a:lnTo>
                        <a:lnTo>
                          <a:pt x="3168" y="918"/>
                        </a:lnTo>
                        <a:lnTo>
                          <a:pt x="3180" y="906"/>
                        </a:lnTo>
                        <a:lnTo>
                          <a:pt x="3192" y="882"/>
                        </a:lnTo>
                        <a:lnTo>
                          <a:pt x="3192" y="798"/>
                        </a:lnTo>
                        <a:lnTo>
                          <a:pt x="3198" y="780"/>
                        </a:lnTo>
                        <a:lnTo>
                          <a:pt x="3198" y="768"/>
                        </a:lnTo>
                        <a:lnTo>
                          <a:pt x="3204" y="756"/>
                        </a:lnTo>
                        <a:lnTo>
                          <a:pt x="3210" y="756"/>
                        </a:lnTo>
                        <a:lnTo>
                          <a:pt x="3210" y="768"/>
                        </a:lnTo>
                        <a:lnTo>
                          <a:pt x="3204" y="780"/>
                        </a:lnTo>
                        <a:lnTo>
                          <a:pt x="3204" y="798"/>
                        </a:lnTo>
                        <a:lnTo>
                          <a:pt x="3210" y="798"/>
                        </a:lnTo>
                        <a:lnTo>
                          <a:pt x="3216" y="804"/>
                        </a:lnTo>
                        <a:lnTo>
                          <a:pt x="3216" y="840"/>
                        </a:lnTo>
                        <a:lnTo>
                          <a:pt x="3234" y="822"/>
                        </a:lnTo>
                        <a:lnTo>
                          <a:pt x="3240" y="810"/>
                        </a:lnTo>
                        <a:lnTo>
                          <a:pt x="3288" y="762"/>
                        </a:lnTo>
                        <a:lnTo>
                          <a:pt x="3300" y="756"/>
                        </a:lnTo>
                        <a:lnTo>
                          <a:pt x="3324" y="732"/>
                        </a:lnTo>
                        <a:lnTo>
                          <a:pt x="3324" y="726"/>
                        </a:lnTo>
                        <a:lnTo>
                          <a:pt x="3318" y="720"/>
                        </a:lnTo>
                        <a:lnTo>
                          <a:pt x="3312" y="720"/>
                        </a:lnTo>
                        <a:lnTo>
                          <a:pt x="3306" y="714"/>
                        </a:lnTo>
                        <a:lnTo>
                          <a:pt x="3306" y="702"/>
                        </a:lnTo>
                        <a:lnTo>
                          <a:pt x="3312" y="696"/>
                        </a:lnTo>
                        <a:lnTo>
                          <a:pt x="3324" y="696"/>
                        </a:lnTo>
                        <a:lnTo>
                          <a:pt x="3330" y="702"/>
                        </a:lnTo>
                        <a:lnTo>
                          <a:pt x="3360" y="702"/>
                        </a:lnTo>
                        <a:lnTo>
                          <a:pt x="3390" y="696"/>
                        </a:lnTo>
                        <a:lnTo>
                          <a:pt x="3450" y="672"/>
                        </a:lnTo>
                        <a:lnTo>
                          <a:pt x="3462" y="666"/>
                        </a:lnTo>
                        <a:lnTo>
                          <a:pt x="3444" y="660"/>
                        </a:lnTo>
                        <a:lnTo>
                          <a:pt x="3438" y="660"/>
                        </a:lnTo>
                        <a:lnTo>
                          <a:pt x="3432" y="666"/>
                        </a:lnTo>
                        <a:lnTo>
                          <a:pt x="3414" y="672"/>
                        </a:lnTo>
                        <a:lnTo>
                          <a:pt x="3402" y="672"/>
                        </a:lnTo>
                        <a:lnTo>
                          <a:pt x="3390" y="678"/>
                        </a:lnTo>
                        <a:lnTo>
                          <a:pt x="3372" y="678"/>
                        </a:lnTo>
                        <a:lnTo>
                          <a:pt x="3360" y="684"/>
                        </a:lnTo>
                        <a:lnTo>
                          <a:pt x="3348" y="684"/>
                        </a:lnTo>
                        <a:lnTo>
                          <a:pt x="3342" y="678"/>
                        </a:lnTo>
                        <a:lnTo>
                          <a:pt x="3342" y="672"/>
                        </a:lnTo>
                        <a:lnTo>
                          <a:pt x="3348" y="666"/>
                        </a:lnTo>
                        <a:lnTo>
                          <a:pt x="3354" y="654"/>
                        </a:lnTo>
                        <a:lnTo>
                          <a:pt x="3366" y="654"/>
                        </a:lnTo>
                        <a:lnTo>
                          <a:pt x="3378" y="648"/>
                        </a:lnTo>
                        <a:lnTo>
                          <a:pt x="3402" y="648"/>
                        </a:lnTo>
                        <a:lnTo>
                          <a:pt x="3492" y="642"/>
                        </a:lnTo>
                        <a:lnTo>
                          <a:pt x="3534" y="606"/>
                        </a:lnTo>
                        <a:lnTo>
                          <a:pt x="3546" y="618"/>
                        </a:lnTo>
                        <a:lnTo>
                          <a:pt x="3570" y="606"/>
                        </a:lnTo>
                        <a:lnTo>
                          <a:pt x="3570" y="642"/>
                        </a:lnTo>
                        <a:lnTo>
                          <a:pt x="3600" y="618"/>
                        </a:lnTo>
                        <a:lnTo>
                          <a:pt x="3624" y="612"/>
                        </a:lnTo>
                        <a:lnTo>
                          <a:pt x="3630" y="582"/>
                        </a:lnTo>
                        <a:lnTo>
                          <a:pt x="3618" y="570"/>
                        </a:lnTo>
                        <a:lnTo>
                          <a:pt x="3612" y="600"/>
                        </a:lnTo>
                        <a:lnTo>
                          <a:pt x="3588" y="600"/>
                        </a:lnTo>
                        <a:lnTo>
                          <a:pt x="3588" y="576"/>
                        </a:lnTo>
                        <a:lnTo>
                          <a:pt x="3570" y="552"/>
                        </a:lnTo>
                        <a:lnTo>
                          <a:pt x="3594" y="540"/>
                        </a:lnTo>
                        <a:lnTo>
                          <a:pt x="3600" y="504"/>
                        </a:lnTo>
                        <a:lnTo>
                          <a:pt x="3612" y="498"/>
                        </a:lnTo>
                        <a:lnTo>
                          <a:pt x="3618" y="486"/>
                        </a:lnTo>
                        <a:lnTo>
                          <a:pt x="3630" y="480"/>
                        </a:lnTo>
                        <a:lnTo>
                          <a:pt x="3636" y="474"/>
                        </a:lnTo>
                        <a:lnTo>
                          <a:pt x="3648" y="468"/>
                        </a:lnTo>
                        <a:lnTo>
                          <a:pt x="3654" y="456"/>
                        </a:lnTo>
                        <a:lnTo>
                          <a:pt x="3654" y="450"/>
                        </a:lnTo>
                        <a:lnTo>
                          <a:pt x="3660" y="444"/>
                        </a:lnTo>
                        <a:lnTo>
                          <a:pt x="3660" y="438"/>
                        </a:lnTo>
                        <a:lnTo>
                          <a:pt x="3690" y="444"/>
                        </a:lnTo>
                        <a:lnTo>
                          <a:pt x="3702" y="426"/>
                        </a:lnTo>
                        <a:lnTo>
                          <a:pt x="3708" y="432"/>
                        </a:lnTo>
                        <a:lnTo>
                          <a:pt x="3720" y="432"/>
                        </a:lnTo>
                        <a:lnTo>
                          <a:pt x="3726" y="426"/>
                        </a:lnTo>
                        <a:lnTo>
                          <a:pt x="3738" y="420"/>
                        </a:lnTo>
                        <a:lnTo>
                          <a:pt x="3744" y="408"/>
                        </a:lnTo>
                        <a:lnTo>
                          <a:pt x="3756" y="402"/>
                        </a:lnTo>
                        <a:lnTo>
                          <a:pt x="3774" y="384"/>
                        </a:lnTo>
                        <a:lnTo>
                          <a:pt x="3774" y="414"/>
                        </a:lnTo>
                        <a:lnTo>
                          <a:pt x="3786" y="408"/>
                        </a:lnTo>
                        <a:lnTo>
                          <a:pt x="3792" y="402"/>
                        </a:lnTo>
                        <a:lnTo>
                          <a:pt x="3828" y="384"/>
                        </a:lnTo>
                        <a:lnTo>
                          <a:pt x="3834" y="378"/>
                        </a:lnTo>
                        <a:lnTo>
                          <a:pt x="3846" y="378"/>
                        </a:lnTo>
                        <a:lnTo>
                          <a:pt x="3858" y="372"/>
                        </a:lnTo>
                        <a:lnTo>
                          <a:pt x="3876" y="372"/>
                        </a:lnTo>
                        <a:lnTo>
                          <a:pt x="3888" y="366"/>
                        </a:lnTo>
                        <a:lnTo>
                          <a:pt x="3900" y="366"/>
                        </a:lnTo>
                        <a:lnTo>
                          <a:pt x="3900" y="330"/>
                        </a:lnTo>
                        <a:lnTo>
                          <a:pt x="3876" y="330"/>
                        </a:lnTo>
                        <a:lnTo>
                          <a:pt x="3876" y="324"/>
                        </a:lnTo>
                        <a:lnTo>
                          <a:pt x="3882" y="312"/>
                        </a:lnTo>
                        <a:lnTo>
                          <a:pt x="3894" y="300"/>
                        </a:lnTo>
                        <a:lnTo>
                          <a:pt x="3888" y="294"/>
                        </a:lnTo>
                        <a:lnTo>
                          <a:pt x="3882" y="294"/>
                        </a:lnTo>
                        <a:lnTo>
                          <a:pt x="3876" y="288"/>
                        </a:lnTo>
                        <a:lnTo>
                          <a:pt x="3876" y="276"/>
                        </a:lnTo>
                        <a:lnTo>
                          <a:pt x="3888" y="252"/>
                        </a:lnTo>
                        <a:lnTo>
                          <a:pt x="3900" y="222"/>
                        </a:lnTo>
                        <a:lnTo>
                          <a:pt x="3912" y="198"/>
                        </a:lnTo>
                        <a:lnTo>
                          <a:pt x="3918" y="174"/>
                        </a:lnTo>
                        <a:lnTo>
                          <a:pt x="3918" y="168"/>
                        </a:lnTo>
                        <a:lnTo>
                          <a:pt x="3912" y="162"/>
                        </a:lnTo>
                        <a:lnTo>
                          <a:pt x="3876" y="162"/>
                        </a:lnTo>
                        <a:lnTo>
                          <a:pt x="3864" y="168"/>
                        </a:lnTo>
                        <a:lnTo>
                          <a:pt x="3858" y="168"/>
                        </a:lnTo>
                        <a:close/>
                        <a:moveTo>
                          <a:pt x="2718" y="366"/>
                        </a:moveTo>
                        <a:lnTo>
                          <a:pt x="2712" y="366"/>
                        </a:lnTo>
                        <a:lnTo>
                          <a:pt x="2712" y="354"/>
                        </a:lnTo>
                        <a:lnTo>
                          <a:pt x="2718" y="348"/>
                        </a:lnTo>
                        <a:lnTo>
                          <a:pt x="2718" y="336"/>
                        </a:lnTo>
                        <a:lnTo>
                          <a:pt x="2712" y="336"/>
                        </a:lnTo>
                        <a:lnTo>
                          <a:pt x="2700" y="342"/>
                        </a:lnTo>
                        <a:lnTo>
                          <a:pt x="2694" y="348"/>
                        </a:lnTo>
                        <a:lnTo>
                          <a:pt x="2682" y="354"/>
                        </a:lnTo>
                        <a:lnTo>
                          <a:pt x="2676" y="372"/>
                        </a:lnTo>
                        <a:lnTo>
                          <a:pt x="2664" y="366"/>
                        </a:lnTo>
                        <a:lnTo>
                          <a:pt x="2664" y="378"/>
                        </a:lnTo>
                        <a:lnTo>
                          <a:pt x="2652" y="402"/>
                        </a:lnTo>
                        <a:lnTo>
                          <a:pt x="2628" y="414"/>
                        </a:lnTo>
                        <a:lnTo>
                          <a:pt x="2628" y="426"/>
                        </a:lnTo>
                        <a:lnTo>
                          <a:pt x="2634" y="432"/>
                        </a:lnTo>
                        <a:lnTo>
                          <a:pt x="2628" y="432"/>
                        </a:lnTo>
                        <a:lnTo>
                          <a:pt x="2598" y="462"/>
                        </a:lnTo>
                        <a:lnTo>
                          <a:pt x="2598" y="468"/>
                        </a:lnTo>
                        <a:lnTo>
                          <a:pt x="2604" y="474"/>
                        </a:lnTo>
                        <a:lnTo>
                          <a:pt x="2610" y="474"/>
                        </a:lnTo>
                        <a:lnTo>
                          <a:pt x="2616" y="480"/>
                        </a:lnTo>
                        <a:lnTo>
                          <a:pt x="2616" y="492"/>
                        </a:lnTo>
                        <a:lnTo>
                          <a:pt x="2610" y="498"/>
                        </a:lnTo>
                        <a:lnTo>
                          <a:pt x="2604" y="498"/>
                        </a:lnTo>
                        <a:lnTo>
                          <a:pt x="2604" y="510"/>
                        </a:lnTo>
                        <a:lnTo>
                          <a:pt x="2592" y="534"/>
                        </a:lnTo>
                        <a:lnTo>
                          <a:pt x="2580" y="552"/>
                        </a:lnTo>
                        <a:lnTo>
                          <a:pt x="2550" y="582"/>
                        </a:lnTo>
                        <a:lnTo>
                          <a:pt x="2478" y="618"/>
                        </a:lnTo>
                        <a:lnTo>
                          <a:pt x="2484" y="588"/>
                        </a:lnTo>
                        <a:lnTo>
                          <a:pt x="2478" y="582"/>
                        </a:lnTo>
                        <a:lnTo>
                          <a:pt x="2478" y="576"/>
                        </a:lnTo>
                        <a:lnTo>
                          <a:pt x="2472" y="570"/>
                        </a:lnTo>
                        <a:lnTo>
                          <a:pt x="2472" y="564"/>
                        </a:lnTo>
                        <a:lnTo>
                          <a:pt x="2478" y="552"/>
                        </a:lnTo>
                        <a:lnTo>
                          <a:pt x="2496" y="534"/>
                        </a:lnTo>
                        <a:lnTo>
                          <a:pt x="2502" y="522"/>
                        </a:lnTo>
                        <a:lnTo>
                          <a:pt x="2502" y="516"/>
                        </a:lnTo>
                        <a:lnTo>
                          <a:pt x="2496" y="510"/>
                        </a:lnTo>
                        <a:lnTo>
                          <a:pt x="2496" y="492"/>
                        </a:lnTo>
                        <a:lnTo>
                          <a:pt x="2502" y="480"/>
                        </a:lnTo>
                        <a:lnTo>
                          <a:pt x="2508" y="474"/>
                        </a:lnTo>
                        <a:lnTo>
                          <a:pt x="2514" y="462"/>
                        </a:lnTo>
                        <a:lnTo>
                          <a:pt x="2526" y="456"/>
                        </a:lnTo>
                        <a:lnTo>
                          <a:pt x="2532" y="450"/>
                        </a:lnTo>
                        <a:lnTo>
                          <a:pt x="2532" y="432"/>
                        </a:lnTo>
                        <a:lnTo>
                          <a:pt x="2538" y="432"/>
                        </a:lnTo>
                        <a:lnTo>
                          <a:pt x="2622" y="348"/>
                        </a:lnTo>
                        <a:lnTo>
                          <a:pt x="2592" y="354"/>
                        </a:lnTo>
                        <a:lnTo>
                          <a:pt x="2580" y="360"/>
                        </a:lnTo>
                        <a:lnTo>
                          <a:pt x="2574" y="366"/>
                        </a:lnTo>
                        <a:lnTo>
                          <a:pt x="2562" y="372"/>
                        </a:lnTo>
                        <a:lnTo>
                          <a:pt x="2556" y="378"/>
                        </a:lnTo>
                        <a:lnTo>
                          <a:pt x="2550" y="378"/>
                        </a:lnTo>
                        <a:lnTo>
                          <a:pt x="2550" y="372"/>
                        </a:lnTo>
                        <a:lnTo>
                          <a:pt x="2556" y="366"/>
                        </a:lnTo>
                        <a:lnTo>
                          <a:pt x="2568" y="360"/>
                        </a:lnTo>
                        <a:lnTo>
                          <a:pt x="2592" y="336"/>
                        </a:lnTo>
                        <a:lnTo>
                          <a:pt x="2604" y="330"/>
                        </a:lnTo>
                        <a:lnTo>
                          <a:pt x="2658" y="276"/>
                        </a:lnTo>
                        <a:lnTo>
                          <a:pt x="2670" y="288"/>
                        </a:lnTo>
                        <a:lnTo>
                          <a:pt x="2682" y="276"/>
                        </a:lnTo>
                        <a:lnTo>
                          <a:pt x="2682" y="288"/>
                        </a:lnTo>
                        <a:lnTo>
                          <a:pt x="2694" y="288"/>
                        </a:lnTo>
                        <a:lnTo>
                          <a:pt x="2700" y="282"/>
                        </a:lnTo>
                        <a:lnTo>
                          <a:pt x="2700" y="270"/>
                        </a:lnTo>
                        <a:lnTo>
                          <a:pt x="2724" y="276"/>
                        </a:lnTo>
                        <a:lnTo>
                          <a:pt x="2736" y="270"/>
                        </a:lnTo>
                        <a:lnTo>
                          <a:pt x="2742" y="270"/>
                        </a:lnTo>
                        <a:lnTo>
                          <a:pt x="2754" y="264"/>
                        </a:lnTo>
                        <a:lnTo>
                          <a:pt x="2772" y="264"/>
                        </a:lnTo>
                        <a:lnTo>
                          <a:pt x="2784" y="270"/>
                        </a:lnTo>
                        <a:lnTo>
                          <a:pt x="2790" y="276"/>
                        </a:lnTo>
                        <a:lnTo>
                          <a:pt x="2796" y="288"/>
                        </a:lnTo>
                        <a:lnTo>
                          <a:pt x="2772" y="294"/>
                        </a:lnTo>
                        <a:lnTo>
                          <a:pt x="2772" y="318"/>
                        </a:lnTo>
                        <a:lnTo>
                          <a:pt x="2742" y="318"/>
                        </a:lnTo>
                        <a:lnTo>
                          <a:pt x="2736" y="324"/>
                        </a:lnTo>
                        <a:lnTo>
                          <a:pt x="2736" y="360"/>
                        </a:lnTo>
                        <a:lnTo>
                          <a:pt x="2730" y="366"/>
                        </a:lnTo>
                        <a:lnTo>
                          <a:pt x="2718" y="366"/>
                        </a:lnTo>
                        <a:close/>
                      </a:path>
                    </a:pathLst>
                  </a:custGeom>
                  <a:solidFill>
                    <a:schemeClr val="accent1"/>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306" name="Uruguay"/>
                  <p:cNvSpPr>
                    <a:spLocks/>
                  </p:cNvSpPr>
                  <p:nvPr/>
                </p:nvSpPr>
                <p:spPr bwMode="gray">
                  <a:xfrm>
                    <a:off x="1648" y="2931"/>
                    <a:ext cx="94" cy="98"/>
                  </a:xfrm>
                  <a:custGeom>
                    <a:avLst/>
                    <a:gdLst>
                      <a:gd name="T0" fmla="*/ 2147483647 w 366"/>
                      <a:gd name="T1" fmla="*/ 2147483647 h 384"/>
                      <a:gd name="T2" fmla="*/ 2147483647 w 366"/>
                      <a:gd name="T3" fmla="*/ 2147483647 h 384"/>
                      <a:gd name="T4" fmla="*/ 2147483647 w 366"/>
                      <a:gd name="T5" fmla="*/ 2147483647 h 384"/>
                      <a:gd name="T6" fmla="*/ 2147483647 w 366"/>
                      <a:gd name="T7" fmla="*/ 2147483647 h 384"/>
                      <a:gd name="T8" fmla="*/ 2147483647 w 366"/>
                      <a:gd name="T9" fmla="*/ 2147483647 h 384"/>
                      <a:gd name="T10" fmla="*/ 2147483647 w 366"/>
                      <a:gd name="T11" fmla="*/ 2147483647 h 384"/>
                      <a:gd name="T12" fmla="*/ 2147483647 w 366"/>
                      <a:gd name="T13" fmla="*/ 2147483647 h 384"/>
                      <a:gd name="T14" fmla="*/ 2147483647 w 366"/>
                      <a:gd name="T15" fmla="*/ 2147483647 h 384"/>
                      <a:gd name="T16" fmla="*/ 2147483647 w 366"/>
                      <a:gd name="T17" fmla="*/ 2147483647 h 384"/>
                      <a:gd name="T18" fmla="*/ 2147483647 w 366"/>
                      <a:gd name="T19" fmla="*/ 2147483647 h 384"/>
                      <a:gd name="T20" fmla="*/ 2147483647 w 366"/>
                      <a:gd name="T21" fmla="*/ 2147483647 h 384"/>
                      <a:gd name="T22" fmla="*/ 2147483647 w 366"/>
                      <a:gd name="T23" fmla="*/ 2147483647 h 384"/>
                      <a:gd name="T24" fmla="*/ 2147483647 w 366"/>
                      <a:gd name="T25" fmla="*/ 2147483647 h 384"/>
                      <a:gd name="T26" fmla="*/ 2147483647 w 366"/>
                      <a:gd name="T27" fmla="*/ 2147483647 h 384"/>
                      <a:gd name="T28" fmla="*/ 2147483647 w 366"/>
                      <a:gd name="T29" fmla="*/ 2147483647 h 384"/>
                      <a:gd name="T30" fmla="*/ 2147483647 w 366"/>
                      <a:gd name="T31" fmla="*/ 2147483647 h 384"/>
                      <a:gd name="T32" fmla="*/ 2147483647 w 366"/>
                      <a:gd name="T33" fmla="*/ 2147483647 h 384"/>
                      <a:gd name="T34" fmla="*/ 2147483647 w 366"/>
                      <a:gd name="T35" fmla="*/ 2147483647 h 384"/>
                      <a:gd name="T36" fmla="*/ 2147483647 w 366"/>
                      <a:gd name="T37" fmla="*/ 2147483647 h 384"/>
                      <a:gd name="T38" fmla="*/ 2147483647 w 366"/>
                      <a:gd name="T39" fmla="*/ 2147483647 h 384"/>
                      <a:gd name="T40" fmla="*/ 2147483647 w 366"/>
                      <a:gd name="T41" fmla="*/ 2147483647 h 384"/>
                      <a:gd name="T42" fmla="*/ 2147483647 w 366"/>
                      <a:gd name="T43" fmla="*/ 2147483647 h 384"/>
                      <a:gd name="T44" fmla="*/ 2147483647 w 366"/>
                      <a:gd name="T45" fmla="*/ 0 h 384"/>
                      <a:gd name="T46" fmla="*/ 2147483647 w 366"/>
                      <a:gd name="T47" fmla="*/ 2147483647 h 384"/>
                      <a:gd name="T48" fmla="*/ 2147483647 w 366"/>
                      <a:gd name="T49" fmla="*/ 2147483647 h 384"/>
                      <a:gd name="T50" fmla="*/ 0 w 366"/>
                      <a:gd name="T51" fmla="*/ 2147483647 h 384"/>
                      <a:gd name="T52" fmla="*/ 2147483647 w 366"/>
                      <a:gd name="T53" fmla="*/ 2147483647 h 384"/>
                      <a:gd name="T54" fmla="*/ 2147483647 w 366"/>
                      <a:gd name="T55" fmla="*/ 2147483647 h 384"/>
                      <a:gd name="T56" fmla="*/ 2147483647 w 366"/>
                      <a:gd name="T57" fmla="*/ 2147483647 h 384"/>
                      <a:gd name="T58" fmla="*/ 2147483647 w 366"/>
                      <a:gd name="T59" fmla="*/ 2147483647 h 384"/>
                      <a:gd name="T60" fmla="*/ 2147483647 w 366"/>
                      <a:gd name="T61" fmla="*/ 2147483647 h 384"/>
                      <a:gd name="T62" fmla="*/ 2147483647 w 366"/>
                      <a:gd name="T63" fmla="*/ 2147483647 h 384"/>
                      <a:gd name="T64" fmla="*/ 2147483647 w 366"/>
                      <a:gd name="T65" fmla="*/ 2147483647 h 384"/>
                      <a:gd name="T66" fmla="*/ 2147483647 w 366"/>
                      <a:gd name="T67" fmla="*/ 2147483647 h 384"/>
                      <a:gd name="T68" fmla="*/ 2147483647 w 366"/>
                      <a:gd name="T69" fmla="*/ 2147483647 h 384"/>
                      <a:gd name="T70" fmla="*/ 2147483647 w 366"/>
                      <a:gd name="T71" fmla="*/ 2147483647 h 384"/>
                      <a:gd name="T72" fmla="*/ 2147483647 w 366"/>
                      <a:gd name="T73" fmla="*/ 2147483647 h 384"/>
                      <a:gd name="T74" fmla="*/ 2147483647 w 366"/>
                      <a:gd name="T75" fmla="*/ 2147483647 h 384"/>
                      <a:gd name="T76" fmla="*/ 2147483647 w 366"/>
                      <a:gd name="T77" fmla="*/ 2147483647 h 38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366"/>
                      <a:gd name="T118" fmla="*/ 0 h 384"/>
                      <a:gd name="T119" fmla="*/ 366 w 366"/>
                      <a:gd name="T120" fmla="*/ 384 h 384"/>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366" h="384">
                        <a:moveTo>
                          <a:pt x="138" y="372"/>
                        </a:moveTo>
                        <a:lnTo>
                          <a:pt x="174" y="372"/>
                        </a:lnTo>
                        <a:lnTo>
                          <a:pt x="198" y="378"/>
                        </a:lnTo>
                        <a:lnTo>
                          <a:pt x="228" y="378"/>
                        </a:lnTo>
                        <a:lnTo>
                          <a:pt x="288" y="384"/>
                        </a:lnTo>
                        <a:lnTo>
                          <a:pt x="330" y="366"/>
                        </a:lnTo>
                        <a:lnTo>
                          <a:pt x="342" y="354"/>
                        </a:lnTo>
                        <a:lnTo>
                          <a:pt x="360" y="300"/>
                        </a:lnTo>
                        <a:lnTo>
                          <a:pt x="366" y="294"/>
                        </a:lnTo>
                        <a:lnTo>
                          <a:pt x="348" y="294"/>
                        </a:lnTo>
                        <a:lnTo>
                          <a:pt x="348" y="264"/>
                        </a:lnTo>
                        <a:lnTo>
                          <a:pt x="342" y="264"/>
                        </a:lnTo>
                        <a:lnTo>
                          <a:pt x="342" y="240"/>
                        </a:lnTo>
                        <a:lnTo>
                          <a:pt x="348" y="234"/>
                        </a:lnTo>
                        <a:lnTo>
                          <a:pt x="360" y="210"/>
                        </a:lnTo>
                        <a:lnTo>
                          <a:pt x="360" y="198"/>
                        </a:lnTo>
                        <a:lnTo>
                          <a:pt x="354" y="198"/>
                        </a:lnTo>
                        <a:lnTo>
                          <a:pt x="342" y="192"/>
                        </a:lnTo>
                        <a:lnTo>
                          <a:pt x="336" y="192"/>
                        </a:lnTo>
                        <a:lnTo>
                          <a:pt x="318" y="174"/>
                        </a:lnTo>
                        <a:lnTo>
                          <a:pt x="312" y="162"/>
                        </a:lnTo>
                        <a:lnTo>
                          <a:pt x="306" y="156"/>
                        </a:lnTo>
                        <a:lnTo>
                          <a:pt x="300" y="144"/>
                        </a:lnTo>
                        <a:lnTo>
                          <a:pt x="288" y="144"/>
                        </a:lnTo>
                        <a:lnTo>
                          <a:pt x="270" y="138"/>
                        </a:lnTo>
                        <a:lnTo>
                          <a:pt x="258" y="132"/>
                        </a:lnTo>
                        <a:lnTo>
                          <a:pt x="252" y="126"/>
                        </a:lnTo>
                        <a:lnTo>
                          <a:pt x="252" y="114"/>
                        </a:lnTo>
                        <a:lnTo>
                          <a:pt x="246" y="114"/>
                        </a:lnTo>
                        <a:lnTo>
                          <a:pt x="228" y="96"/>
                        </a:lnTo>
                        <a:lnTo>
                          <a:pt x="210" y="96"/>
                        </a:lnTo>
                        <a:lnTo>
                          <a:pt x="192" y="78"/>
                        </a:lnTo>
                        <a:lnTo>
                          <a:pt x="186" y="66"/>
                        </a:lnTo>
                        <a:lnTo>
                          <a:pt x="174" y="60"/>
                        </a:lnTo>
                        <a:lnTo>
                          <a:pt x="168" y="60"/>
                        </a:lnTo>
                        <a:lnTo>
                          <a:pt x="156" y="72"/>
                        </a:lnTo>
                        <a:lnTo>
                          <a:pt x="156" y="78"/>
                        </a:lnTo>
                        <a:lnTo>
                          <a:pt x="144" y="78"/>
                        </a:lnTo>
                        <a:lnTo>
                          <a:pt x="144" y="66"/>
                        </a:lnTo>
                        <a:lnTo>
                          <a:pt x="132" y="54"/>
                        </a:lnTo>
                        <a:lnTo>
                          <a:pt x="126" y="42"/>
                        </a:lnTo>
                        <a:lnTo>
                          <a:pt x="120" y="36"/>
                        </a:lnTo>
                        <a:lnTo>
                          <a:pt x="108" y="30"/>
                        </a:lnTo>
                        <a:lnTo>
                          <a:pt x="102" y="18"/>
                        </a:lnTo>
                        <a:lnTo>
                          <a:pt x="78" y="6"/>
                        </a:lnTo>
                        <a:lnTo>
                          <a:pt x="72" y="0"/>
                        </a:lnTo>
                        <a:lnTo>
                          <a:pt x="60" y="0"/>
                        </a:lnTo>
                        <a:lnTo>
                          <a:pt x="48" y="6"/>
                        </a:lnTo>
                        <a:lnTo>
                          <a:pt x="42" y="12"/>
                        </a:lnTo>
                        <a:lnTo>
                          <a:pt x="18" y="12"/>
                        </a:lnTo>
                        <a:lnTo>
                          <a:pt x="0" y="30"/>
                        </a:lnTo>
                        <a:lnTo>
                          <a:pt x="0" y="36"/>
                        </a:lnTo>
                        <a:lnTo>
                          <a:pt x="24" y="60"/>
                        </a:lnTo>
                        <a:lnTo>
                          <a:pt x="30" y="60"/>
                        </a:lnTo>
                        <a:lnTo>
                          <a:pt x="6" y="72"/>
                        </a:lnTo>
                        <a:lnTo>
                          <a:pt x="6" y="108"/>
                        </a:lnTo>
                        <a:lnTo>
                          <a:pt x="30" y="126"/>
                        </a:lnTo>
                        <a:lnTo>
                          <a:pt x="12" y="126"/>
                        </a:lnTo>
                        <a:lnTo>
                          <a:pt x="0" y="138"/>
                        </a:lnTo>
                        <a:lnTo>
                          <a:pt x="6" y="144"/>
                        </a:lnTo>
                        <a:lnTo>
                          <a:pt x="12" y="156"/>
                        </a:lnTo>
                        <a:lnTo>
                          <a:pt x="24" y="168"/>
                        </a:lnTo>
                        <a:lnTo>
                          <a:pt x="12" y="186"/>
                        </a:lnTo>
                        <a:lnTo>
                          <a:pt x="18" y="192"/>
                        </a:lnTo>
                        <a:lnTo>
                          <a:pt x="24" y="204"/>
                        </a:lnTo>
                        <a:lnTo>
                          <a:pt x="36" y="210"/>
                        </a:lnTo>
                        <a:lnTo>
                          <a:pt x="42" y="222"/>
                        </a:lnTo>
                        <a:lnTo>
                          <a:pt x="42" y="228"/>
                        </a:lnTo>
                        <a:lnTo>
                          <a:pt x="36" y="228"/>
                        </a:lnTo>
                        <a:lnTo>
                          <a:pt x="30" y="234"/>
                        </a:lnTo>
                        <a:lnTo>
                          <a:pt x="6" y="234"/>
                        </a:lnTo>
                        <a:lnTo>
                          <a:pt x="6" y="282"/>
                        </a:lnTo>
                        <a:lnTo>
                          <a:pt x="36" y="318"/>
                        </a:lnTo>
                        <a:lnTo>
                          <a:pt x="42" y="318"/>
                        </a:lnTo>
                        <a:lnTo>
                          <a:pt x="54" y="324"/>
                        </a:lnTo>
                        <a:lnTo>
                          <a:pt x="78" y="348"/>
                        </a:lnTo>
                        <a:lnTo>
                          <a:pt x="90" y="354"/>
                        </a:lnTo>
                        <a:lnTo>
                          <a:pt x="126" y="354"/>
                        </a:lnTo>
                        <a:lnTo>
                          <a:pt x="138" y="3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308" name="United Kingdom"/>
                  <p:cNvSpPr>
                    <a:spLocks noEditPoints="1"/>
                  </p:cNvSpPr>
                  <p:nvPr/>
                </p:nvSpPr>
                <p:spPr bwMode="gray">
                  <a:xfrm>
                    <a:off x="2558" y="1074"/>
                    <a:ext cx="148" cy="211"/>
                  </a:xfrm>
                  <a:custGeom>
                    <a:avLst/>
                    <a:gdLst>
                      <a:gd name="T0" fmla="*/ 2147483647 w 576"/>
                      <a:gd name="T1" fmla="*/ 2147483647 h 822"/>
                      <a:gd name="T2" fmla="*/ 2147483647 w 576"/>
                      <a:gd name="T3" fmla="*/ 2147483647 h 822"/>
                      <a:gd name="T4" fmla="*/ 2147483647 w 576"/>
                      <a:gd name="T5" fmla="*/ 2147483647 h 822"/>
                      <a:gd name="T6" fmla="*/ 2147483647 w 576"/>
                      <a:gd name="T7" fmla="*/ 2147483647 h 822"/>
                      <a:gd name="T8" fmla="*/ 2147483647 w 576"/>
                      <a:gd name="T9" fmla="*/ 2147483647 h 822"/>
                      <a:gd name="T10" fmla="*/ 2147483647 w 576"/>
                      <a:gd name="T11" fmla="*/ 2147483647 h 822"/>
                      <a:gd name="T12" fmla="*/ 2147483647 w 576"/>
                      <a:gd name="T13" fmla="*/ 2147483647 h 822"/>
                      <a:gd name="T14" fmla="*/ 2147483647 w 576"/>
                      <a:gd name="T15" fmla="*/ 0 h 822"/>
                      <a:gd name="T16" fmla="*/ 2147483647 w 576"/>
                      <a:gd name="T17" fmla="*/ 0 h 822"/>
                      <a:gd name="T18" fmla="*/ 2147483647 w 576"/>
                      <a:gd name="T19" fmla="*/ 2147483647 h 822"/>
                      <a:gd name="T20" fmla="*/ 2147483647 w 576"/>
                      <a:gd name="T21" fmla="*/ 2147483647 h 822"/>
                      <a:gd name="T22" fmla="*/ 2147483647 w 576"/>
                      <a:gd name="T23" fmla="*/ 2147483647 h 822"/>
                      <a:gd name="T24" fmla="*/ 2147483647 w 576"/>
                      <a:gd name="T25" fmla="*/ 2147483647 h 822"/>
                      <a:gd name="T26" fmla="*/ 2147483647 w 576"/>
                      <a:gd name="T27" fmla="*/ 2147483647 h 822"/>
                      <a:gd name="T28" fmla="*/ 2147483647 w 576"/>
                      <a:gd name="T29" fmla="*/ 2147483647 h 822"/>
                      <a:gd name="T30" fmla="*/ 2147483647 w 576"/>
                      <a:gd name="T31" fmla="*/ 2147483647 h 822"/>
                      <a:gd name="T32" fmla="*/ 2147483647 w 576"/>
                      <a:gd name="T33" fmla="*/ 2147483647 h 822"/>
                      <a:gd name="T34" fmla="*/ 2147483647 w 576"/>
                      <a:gd name="T35" fmla="*/ 2147483647 h 822"/>
                      <a:gd name="T36" fmla="*/ 2147483647 w 576"/>
                      <a:gd name="T37" fmla="*/ 2147483647 h 822"/>
                      <a:gd name="T38" fmla="*/ 2147483647 w 576"/>
                      <a:gd name="T39" fmla="*/ 2147483647 h 822"/>
                      <a:gd name="T40" fmla="*/ 2147483647 w 576"/>
                      <a:gd name="T41" fmla="*/ 2147483647 h 822"/>
                      <a:gd name="T42" fmla="*/ 2147483647 w 576"/>
                      <a:gd name="T43" fmla="*/ 2147483647 h 822"/>
                      <a:gd name="T44" fmla="*/ 2147483647 w 576"/>
                      <a:gd name="T45" fmla="*/ 2147483647 h 822"/>
                      <a:gd name="T46" fmla="*/ 2147483647 w 576"/>
                      <a:gd name="T47" fmla="*/ 2147483647 h 822"/>
                      <a:gd name="T48" fmla="*/ 2147483647 w 576"/>
                      <a:gd name="T49" fmla="*/ 2147483647 h 822"/>
                      <a:gd name="T50" fmla="*/ 2147483647 w 576"/>
                      <a:gd name="T51" fmla="*/ 2147483647 h 822"/>
                      <a:gd name="T52" fmla="*/ 2147483647 w 576"/>
                      <a:gd name="T53" fmla="*/ 2147483647 h 822"/>
                      <a:gd name="T54" fmla="*/ 2147483647 w 576"/>
                      <a:gd name="T55" fmla="*/ 2147483647 h 822"/>
                      <a:gd name="T56" fmla="*/ 2147483647 w 576"/>
                      <a:gd name="T57" fmla="*/ 2147483647 h 822"/>
                      <a:gd name="T58" fmla="*/ 2147483647 w 576"/>
                      <a:gd name="T59" fmla="*/ 2147483647 h 822"/>
                      <a:gd name="T60" fmla="*/ 2147483647 w 576"/>
                      <a:gd name="T61" fmla="*/ 2147483647 h 822"/>
                      <a:gd name="T62" fmla="*/ 2147483647 w 576"/>
                      <a:gd name="T63" fmla="*/ 2147483647 h 822"/>
                      <a:gd name="T64" fmla="*/ 2147483647 w 576"/>
                      <a:gd name="T65" fmla="*/ 2147483647 h 822"/>
                      <a:gd name="T66" fmla="*/ 2147483647 w 576"/>
                      <a:gd name="T67" fmla="*/ 2147483647 h 822"/>
                      <a:gd name="T68" fmla="*/ 2147483647 w 576"/>
                      <a:gd name="T69" fmla="*/ 2147483647 h 822"/>
                      <a:gd name="T70" fmla="*/ 2147483647 w 576"/>
                      <a:gd name="T71" fmla="*/ 2147483647 h 822"/>
                      <a:gd name="T72" fmla="*/ 2147483647 w 576"/>
                      <a:gd name="T73" fmla="*/ 2147483647 h 822"/>
                      <a:gd name="T74" fmla="*/ 2147483647 w 576"/>
                      <a:gd name="T75" fmla="*/ 2147483647 h 822"/>
                      <a:gd name="T76" fmla="*/ 2147483647 w 576"/>
                      <a:gd name="T77" fmla="*/ 2147483647 h 822"/>
                      <a:gd name="T78" fmla="*/ 2147483647 w 576"/>
                      <a:gd name="T79" fmla="*/ 2147483647 h 822"/>
                      <a:gd name="T80" fmla="*/ 2147483647 w 576"/>
                      <a:gd name="T81" fmla="*/ 2147483647 h 822"/>
                      <a:gd name="T82" fmla="*/ 2147483647 w 576"/>
                      <a:gd name="T83" fmla="*/ 2147483647 h 822"/>
                      <a:gd name="T84" fmla="*/ 2147483647 w 576"/>
                      <a:gd name="T85" fmla="*/ 2147483647 h 822"/>
                      <a:gd name="T86" fmla="*/ 2147483647 w 576"/>
                      <a:gd name="T87" fmla="*/ 2147483647 h 822"/>
                      <a:gd name="T88" fmla="*/ 2147483647 w 576"/>
                      <a:gd name="T89" fmla="*/ 2147483647 h 822"/>
                      <a:gd name="T90" fmla="*/ 2147483647 w 576"/>
                      <a:gd name="T91" fmla="*/ 2147483647 h 822"/>
                      <a:gd name="T92" fmla="*/ 2147483647 w 576"/>
                      <a:gd name="T93" fmla="*/ 2147483647 h 822"/>
                      <a:gd name="T94" fmla="*/ 2147483647 w 576"/>
                      <a:gd name="T95" fmla="*/ 2147483647 h 822"/>
                      <a:gd name="T96" fmla="*/ 2147483647 w 576"/>
                      <a:gd name="T97" fmla="*/ 2147483647 h 822"/>
                      <a:gd name="T98" fmla="*/ 2147483647 w 576"/>
                      <a:gd name="T99" fmla="*/ 2147483647 h 822"/>
                      <a:gd name="T100" fmla="*/ 2147483647 w 576"/>
                      <a:gd name="T101" fmla="*/ 2147483647 h 822"/>
                      <a:gd name="T102" fmla="*/ 2147483647 w 576"/>
                      <a:gd name="T103" fmla="*/ 2147483647 h 822"/>
                      <a:gd name="T104" fmla="*/ 2147483647 w 576"/>
                      <a:gd name="T105" fmla="*/ 2147483647 h 822"/>
                      <a:gd name="T106" fmla="*/ 2147483647 w 576"/>
                      <a:gd name="T107" fmla="*/ 2147483647 h 822"/>
                      <a:gd name="T108" fmla="*/ 2147483647 w 576"/>
                      <a:gd name="T109" fmla="*/ 2147483647 h 822"/>
                      <a:gd name="T110" fmla="*/ 2147483647 w 576"/>
                      <a:gd name="T111" fmla="*/ 2147483647 h 822"/>
                      <a:gd name="T112" fmla="*/ 2147483647 w 576"/>
                      <a:gd name="T113" fmla="*/ 2147483647 h 822"/>
                      <a:gd name="T114" fmla="*/ 2147483647 w 576"/>
                      <a:gd name="T115" fmla="*/ 2147483647 h 822"/>
                      <a:gd name="T116" fmla="*/ 2147483647 w 576"/>
                      <a:gd name="T117" fmla="*/ 2147483647 h 822"/>
                      <a:gd name="T118" fmla="*/ 2147483647 w 576"/>
                      <a:gd name="T119" fmla="*/ 2147483647 h 822"/>
                      <a:gd name="T120" fmla="*/ 2147483647 w 576"/>
                      <a:gd name="T121" fmla="*/ 2147483647 h 822"/>
                      <a:gd name="T122" fmla="*/ 2147483647 w 576"/>
                      <a:gd name="T123" fmla="*/ 2147483647 h 82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576"/>
                      <a:gd name="T187" fmla="*/ 0 h 822"/>
                      <a:gd name="T188" fmla="*/ 576 w 576"/>
                      <a:gd name="T189" fmla="*/ 822 h 822"/>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576" h="822">
                        <a:moveTo>
                          <a:pt x="162" y="378"/>
                        </a:moveTo>
                        <a:lnTo>
                          <a:pt x="156" y="378"/>
                        </a:lnTo>
                        <a:lnTo>
                          <a:pt x="150" y="384"/>
                        </a:lnTo>
                        <a:lnTo>
                          <a:pt x="150" y="396"/>
                        </a:lnTo>
                        <a:lnTo>
                          <a:pt x="144" y="414"/>
                        </a:lnTo>
                        <a:lnTo>
                          <a:pt x="156" y="402"/>
                        </a:lnTo>
                        <a:lnTo>
                          <a:pt x="162" y="390"/>
                        </a:lnTo>
                        <a:lnTo>
                          <a:pt x="162" y="378"/>
                        </a:lnTo>
                        <a:close/>
                        <a:moveTo>
                          <a:pt x="132" y="312"/>
                        </a:moveTo>
                        <a:lnTo>
                          <a:pt x="126" y="312"/>
                        </a:lnTo>
                        <a:lnTo>
                          <a:pt x="126" y="336"/>
                        </a:lnTo>
                        <a:lnTo>
                          <a:pt x="132" y="336"/>
                        </a:lnTo>
                        <a:lnTo>
                          <a:pt x="138" y="330"/>
                        </a:lnTo>
                        <a:lnTo>
                          <a:pt x="150" y="330"/>
                        </a:lnTo>
                        <a:lnTo>
                          <a:pt x="144" y="318"/>
                        </a:lnTo>
                        <a:lnTo>
                          <a:pt x="138" y="312"/>
                        </a:lnTo>
                        <a:lnTo>
                          <a:pt x="132" y="312"/>
                        </a:lnTo>
                        <a:close/>
                        <a:moveTo>
                          <a:pt x="114" y="390"/>
                        </a:moveTo>
                        <a:lnTo>
                          <a:pt x="126" y="390"/>
                        </a:lnTo>
                        <a:lnTo>
                          <a:pt x="138" y="384"/>
                        </a:lnTo>
                        <a:lnTo>
                          <a:pt x="138" y="372"/>
                        </a:lnTo>
                        <a:lnTo>
                          <a:pt x="132" y="366"/>
                        </a:lnTo>
                        <a:lnTo>
                          <a:pt x="120" y="366"/>
                        </a:lnTo>
                        <a:lnTo>
                          <a:pt x="114" y="372"/>
                        </a:lnTo>
                        <a:lnTo>
                          <a:pt x="108" y="384"/>
                        </a:lnTo>
                        <a:lnTo>
                          <a:pt x="108" y="390"/>
                        </a:lnTo>
                        <a:lnTo>
                          <a:pt x="114" y="390"/>
                        </a:lnTo>
                        <a:close/>
                        <a:moveTo>
                          <a:pt x="330" y="120"/>
                        </a:moveTo>
                        <a:lnTo>
                          <a:pt x="324" y="120"/>
                        </a:lnTo>
                        <a:lnTo>
                          <a:pt x="318" y="126"/>
                        </a:lnTo>
                        <a:lnTo>
                          <a:pt x="318" y="138"/>
                        </a:lnTo>
                        <a:lnTo>
                          <a:pt x="330" y="138"/>
                        </a:lnTo>
                        <a:lnTo>
                          <a:pt x="336" y="126"/>
                        </a:lnTo>
                        <a:lnTo>
                          <a:pt x="330" y="120"/>
                        </a:lnTo>
                        <a:close/>
                        <a:moveTo>
                          <a:pt x="138" y="258"/>
                        </a:moveTo>
                        <a:lnTo>
                          <a:pt x="138" y="234"/>
                        </a:lnTo>
                        <a:lnTo>
                          <a:pt x="126" y="234"/>
                        </a:lnTo>
                        <a:lnTo>
                          <a:pt x="120" y="240"/>
                        </a:lnTo>
                        <a:lnTo>
                          <a:pt x="120" y="246"/>
                        </a:lnTo>
                        <a:lnTo>
                          <a:pt x="126" y="252"/>
                        </a:lnTo>
                        <a:lnTo>
                          <a:pt x="108" y="252"/>
                        </a:lnTo>
                        <a:lnTo>
                          <a:pt x="108" y="258"/>
                        </a:lnTo>
                        <a:lnTo>
                          <a:pt x="114" y="264"/>
                        </a:lnTo>
                        <a:lnTo>
                          <a:pt x="120" y="264"/>
                        </a:lnTo>
                        <a:lnTo>
                          <a:pt x="126" y="270"/>
                        </a:lnTo>
                        <a:lnTo>
                          <a:pt x="150" y="270"/>
                        </a:lnTo>
                        <a:lnTo>
                          <a:pt x="138" y="258"/>
                        </a:lnTo>
                        <a:close/>
                        <a:moveTo>
                          <a:pt x="474" y="0"/>
                        </a:moveTo>
                        <a:lnTo>
                          <a:pt x="468" y="0"/>
                        </a:lnTo>
                        <a:lnTo>
                          <a:pt x="456" y="12"/>
                        </a:lnTo>
                        <a:lnTo>
                          <a:pt x="474" y="12"/>
                        </a:lnTo>
                        <a:lnTo>
                          <a:pt x="474" y="6"/>
                        </a:lnTo>
                        <a:lnTo>
                          <a:pt x="480" y="0"/>
                        </a:lnTo>
                        <a:lnTo>
                          <a:pt x="474" y="0"/>
                        </a:lnTo>
                        <a:close/>
                        <a:moveTo>
                          <a:pt x="432" y="48"/>
                        </a:moveTo>
                        <a:lnTo>
                          <a:pt x="432" y="66"/>
                        </a:lnTo>
                        <a:lnTo>
                          <a:pt x="438" y="66"/>
                        </a:lnTo>
                        <a:lnTo>
                          <a:pt x="444" y="60"/>
                        </a:lnTo>
                        <a:lnTo>
                          <a:pt x="450" y="48"/>
                        </a:lnTo>
                        <a:lnTo>
                          <a:pt x="450" y="24"/>
                        </a:lnTo>
                        <a:lnTo>
                          <a:pt x="438" y="12"/>
                        </a:lnTo>
                        <a:lnTo>
                          <a:pt x="432" y="24"/>
                        </a:lnTo>
                        <a:lnTo>
                          <a:pt x="426" y="30"/>
                        </a:lnTo>
                        <a:lnTo>
                          <a:pt x="420" y="30"/>
                        </a:lnTo>
                        <a:lnTo>
                          <a:pt x="420" y="42"/>
                        </a:lnTo>
                        <a:lnTo>
                          <a:pt x="426" y="42"/>
                        </a:lnTo>
                        <a:lnTo>
                          <a:pt x="432" y="48"/>
                        </a:lnTo>
                        <a:close/>
                        <a:moveTo>
                          <a:pt x="342" y="138"/>
                        </a:moveTo>
                        <a:lnTo>
                          <a:pt x="342" y="150"/>
                        </a:lnTo>
                        <a:lnTo>
                          <a:pt x="354" y="138"/>
                        </a:lnTo>
                        <a:lnTo>
                          <a:pt x="342" y="138"/>
                        </a:lnTo>
                        <a:close/>
                        <a:moveTo>
                          <a:pt x="192" y="402"/>
                        </a:moveTo>
                        <a:lnTo>
                          <a:pt x="192" y="390"/>
                        </a:lnTo>
                        <a:lnTo>
                          <a:pt x="186" y="384"/>
                        </a:lnTo>
                        <a:lnTo>
                          <a:pt x="186" y="378"/>
                        </a:lnTo>
                        <a:lnTo>
                          <a:pt x="174" y="390"/>
                        </a:lnTo>
                        <a:lnTo>
                          <a:pt x="174" y="396"/>
                        </a:lnTo>
                        <a:lnTo>
                          <a:pt x="180" y="402"/>
                        </a:lnTo>
                        <a:lnTo>
                          <a:pt x="192" y="402"/>
                        </a:lnTo>
                        <a:close/>
                        <a:moveTo>
                          <a:pt x="504" y="588"/>
                        </a:moveTo>
                        <a:lnTo>
                          <a:pt x="498" y="594"/>
                        </a:lnTo>
                        <a:lnTo>
                          <a:pt x="498" y="600"/>
                        </a:lnTo>
                        <a:lnTo>
                          <a:pt x="480" y="600"/>
                        </a:lnTo>
                        <a:lnTo>
                          <a:pt x="480" y="588"/>
                        </a:lnTo>
                        <a:lnTo>
                          <a:pt x="486" y="576"/>
                        </a:lnTo>
                        <a:lnTo>
                          <a:pt x="498" y="564"/>
                        </a:lnTo>
                        <a:lnTo>
                          <a:pt x="492" y="558"/>
                        </a:lnTo>
                        <a:lnTo>
                          <a:pt x="456" y="540"/>
                        </a:lnTo>
                        <a:lnTo>
                          <a:pt x="450" y="540"/>
                        </a:lnTo>
                        <a:lnTo>
                          <a:pt x="444" y="534"/>
                        </a:lnTo>
                        <a:lnTo>
                          <a:pt x="450" y="534"/>
                        </a:lnTo>
                        <a:lnTo>
                          <a:pt x="456" y="528"/>
                        </a:lnTo>
                        <a:lnTo>
                          <a:pt x="480" y="528"/>
                        </a:lnTo>
                        <a:lnTo>
                          <a:pt x="468" y="516"/>
                        </a:lnTo>
                        <a:lnTo>
                          <a:pt x="468" y="510"/>
                        </a:lnTo>
                        <a:lnTo>
                          <a:pt x="456" y="498"/>
                        </a:lnTo>
                        <a:lnTo>
                          <a:pt x="450" y="486"/>
                        </a:lnTo>
                        <a:lnTo>
                          <a:pt x="432" y="468"/>
                        </a:lnTo>
                        <a:lnTo>
                          <a:pt x="420" y="468"/>
                        </a:lnTo>
                        <a:lnTo>
                          <a:pt x="414" y="456"/>
                        </a:lnTo>
                        <a:lnTo>
                          <a:pt x="402" y="450"/>
                        </a:lnTo>
                        <a:lnTo>
                          <a:pt x="390" y="438"/>
                        </a:lnTo>
                        <a:lnTo>
                          <a:pt x="390" y="414"/>
                        </a:lnTo>
                        <a:lnTo>
                          <a:pt x="396" y="402"/>
                        </a:lnTo>
                        <a:lnTo>
                          <a:pt x="396" y="390"/>
                        </a:lnTo>
                        <a:lnTo>
                          <a:pt x="384" y="390"/>
                        </a:lnTo>
                        <a:lnTo>
                          <a:pt x="378" y="384"/>
                        </a:lnTo>
                        <a:lnTo>
                          <a:pt x="372" y="372"/>
                        </a:lnTo>
                        <a:lnTo>
                          <a:pt x="360" y="360"/>
                        </a:lnTo>
                        <a:lnTo>
                          <a:pt x="342" y="354"/>
                        </a:lnTo>
                        <a:lnTo>
                          <a:pt x="324" y="354"/>
                        </a:lnTo>
                        <a:lnTo>
                          <a:pt x="306" y="360"/>
                        </a:lnTo>
                        <a:lnTo>
                          <a:pt x="294" y="366"/>
                        </a:lnTo>
                        <a:lnTo>
                          <a:pt x="288" y="366"/>
                        </a:lnTo>
                        <a:lnTo>
                          <a:pt x="270" y="348"/>
                        </a:lnTo>
                        <a:lnTo>
                          <a:pt x="282" y="348"/>
                        </a:lnTo>
                        <a:lnTo>
                          <a:pt x="294" y="354"/>
                        </a:lnTo>
                        <a:lnTo>
                          <a:pt x="306" y="354"/>
                        </a:lnTo>
                        <a:lnTo>
                          <a:pt x="330" y="342"/>
                        </a:lnTo>
                        <a:lnTo>
                          <a:pt x="336" y="336"/>
                        </a:lnTo>
                        <a:lnTo>
                          <a:pt x="330" y="336"/>
                        </a:lnTo>
                        <a:lnTo>
                          <a:pt x="324" y="330"/>
                        </a:lnTo>
                        <a:lnTo>
                          <a:pt x="306" y="330"/>
                        </a:lnTo>
                        <a:lnTo>
                          <a:pt x="330" y="324"/>
                        </a:lnTo>
                        <a:lnTo>
                          <a:pt x="336" y="318"/>
                        </a:lnTo>
                        <a:lnTo>
                          <a:pt x="348" y="312"/>
                        </a:lnTo>
                        <a:lnTo>
                          <a:pt x="360" y="300"/>
                        </a:lnTo>
                        <a:lnTo>
                          <a:pt x="360" y="288"/>
                        </a:lnTo>
                        <a:lnTo>
                          <a:pt x="366" y="276"/>
                        </a:lnTo>
                        <a:lnTo>
                          <a:pt x="372" y="270"/>
                        </a:lnTo>
                        <a:lnTo>
                          <a:pt x="378" y="258"/>
                        </a:lnTo>
                        <a:lnTo>
                          <a:pt x="384" y="252"/>
                        </a:lnTo>
                        <a:lnTo>
                          <a:pt x="396" y="246"/>
                        </a:lnTo>
                        <a:lnTo>
                          <a:pt x="402" y="246"/>
                        </a:lnTo>
                        <a:lnTo>
                          <a:pt x="402" y="240"/>
                        </a:lnTo>
                        <a:lnTo>
                          <a:pt x="396" y="234"/>
                        </a:lnTo>
                        <a:lnTo>
                          <a:pt x="318" y="234"/>
                        </a:lnTo>
                        <a:lnTo>
                          <a:pt x="318" y="228"/>
                        </a:lnTo>
                        <a:lnTo>
                          <a:pt x="288" y="228"/>
                        </a:lnTo>
                        <a:lnTo>
                          <a:pt x="276" y="234"/>
                        </a:lnTo>
                        <a:lnTo>
                          <a:pt x="264" y="234"/>
                        </a:lnTo>
                        <a:lnTo>
                          <a:pt x="258" y="240"/>
                        </a:lnTo>
                        <a:lnTo>
                          <a:pt x="252" y="240"/>
                        </a:lnTo>
                        <a:lnTo>
                          <a:pt x="264" y="228"/>
                        </a:lnTo>
                        <a:lnTo>
                          <a:pt x="252" y="216"/>
                        </a:lnTo>
                        <a:lnTo>
                          <a:pt x="270" y="210"/>
                        </a:lnTo>
                        <a:lnTo>
                          <a:pt x="300" y="192"/>
                        </a:lnTo>
                        <a:lnTo>
                          <a:pt x="312" y="186"/>
                        </a:lnTo>
                        <a:lnTo>
                          <a:pt x="324" y="162"/>
                        </a:lnTo>
                        <a:lnTo>
                          <a:pt x="318" y="156"/>
                        </a:lnTo>
                        <a:lnTo>
                          <a:pt x="288" y="156"/>
                        </a:lnTo>
                        <a:lnTo>
                          <a:pt x="276" y="162"/>
                        </a:lnTo>
                        <a:lnTo>
                          <a:pt x="258" y="168"/>
                        </a:lnTo>
                        <a:lnTo>
                          <a:pt x="240" y="168"/>
                        </a:lnTo>
                        <a:lnTo>
                          <a:pt x="228" y="162"/>
                        </a:lnTo>
                        <a:lnTo>
                          <a:pt x="216" y="162"/>
                        </a:lnTo>
                        <a:lnTo>
                          <a:pt x="210" y="168"/>
                        </a:lnTo>
                        <a:lnTo>
                          <a:pt x="210" y="174"/>
                        </a:lnTo>
                        <a:lnTo>
                          <a:pt x="216" y="180"/>
                        </a:lnTo>
                        <a:lnTo>
                          <a:pt x="204" y="180"/>
                        </a:lnTo>
                        <a:lnTo>
                          <a:pt x="192" y="192"/>
                        </a:lnTo>
                        <a:lnTo>
                          <a:pt x="192" y="210"/>
                        </a:lnTo>
                        <a:lnTo>
                          <a:pt x="198" y="216"/>
                        </a:lnTo>
                        <a:lnTo>
                          <a:pt x="156" y="222"/>
                        </a:lnTo>
                        <a:lnTo>
                          <a:pt x="156" y="234"/>
                        </a:lnTo>
                        <a:lnTo>
                          <a:pt x="168" y="240"/>
                        </a:lnTo>
                        <a:lnTo>
                          <a:pt x="180" y="264"/>
                        </a:lnTo>
                        <a:lnTo>
                          <a:pt x="162" y="282"/>
                        </a:lnTo>
                        <a:lnTo>
                          <a:pt x="162" y="294"/>
                        </a:lnTo>
                        <a:lnTo>
                          <a:pt x="144" y="300"/>
                        </a:lnTo>
                        <a:lnTo>
                          <a:pt x="156" y="312"/>
                        </a:lnTo>
                        <a:lnTo>
                          <a:pt x="168" y="312"/>
                        </a:lnTo>
                        <a:lnTo>
                          <a:pt x="180" y="306"/>
                        </a:lnTo>
                        <a:lnTo>
                          <a:pt x="186" y="300"/>
                        </a:lnTo>
                        <a:lnTo>
                          <a:pt x="186" y="318"/>
                        </a:lnTo>
                        <a:lnTo>
                          <a:pt x="180" y="318"/>
                        </a:lnTo>
                        <a:lnTo>
                          <a:pt x="168" y="330"/>
                        </a:lnTo>
                        <a:lnTo>
                          <a:pt x="156" y="336"/>
                        </a:lnTo>
                        <a:lnTo>
                          <a:pt x="156" y="360"/>
                        </a:lnTo>
                        <a:lnTo>
                          <a:pt x="162" y="372"/>
                        </a:lnTo>
                        <a:lnTo>
                          <a:pt x="168" y="366"/>
                        </a:lnTo>
                        <a:lnTo>
                          <a:pt x="198" y="366"/>
                        </a:lnTo>
                        <a:lnTo>
                          <a:pt x="210" y="360"/>
                        </a:lnTo>
                        <a:lnTo>
                          <a:pt x="216" y="354"/>
                        </a:lnTo>
                        <a:lnTo>
                          <a:pt x="198" y="372"/>
                        </a:lnTo>
                        <a:lnTo>
                          <a:pt x="210" y="402"/>
                        </a:lnTo>
                        <a:lnTo>
                          <a:pt x="204" y="408"/>
                        </a:lnTo>
                        <a:lnTo>
                          <a:pt x="198" y="420"/>
                        </a:lnTo>
                        <a:lnTo>
                          <a:pt x="186" y="426"/>
                        </a:lnTo>
                        <a:lnTo>
                          <a:pt x="180" y="438"/>
                        </a:lnTo>
                        <a:lnTo>
                          <a:pt x="180" y="450"/>
                        </a:lnTo>
                        <a:lnTo>
                          <a:pt x="186" y="456"/>
                        </a:lnTo>
                        <a:lnTo>
                          <a:pt x="204" y="456"/>
                        </a:lnTo>
                        <a:lnTo>
                          <a:pt x="216" y="450"/>
                        </a:lnTo>
                        <a:lnTo>
                          <a:pt x="240" y="450"/>
                        </a:lnTo>
                        <a:lnTo>
                          <a:pt x="252" y="444"/>
                        </a:lnTo>
                        <a:lnTo>
                          <a:pt x="258" y="438"/>
                        </a:lnTo>
                        <a:lnTo>
                          <a:pt x="270" y="432"/>
                        </a:lnTo>
                        <a:lnTo>
                          <a:pt x="300" y="438"/>
                        </a:lnTo>
                        <a:lnTo>
                          <a:pt x="288" y="444"/>
                        </a:lnTo>
                        <a:lnTo>
                          <a:pt x="264" y="468"/>
                        </a:lnTo>
                        <a:lnTo>
                          <a:pt x="264" y="474"/>
                        </a:lnTo>
                        <a:lnTo>
                          <a:pt x="282" y="492"/>
                        </a:lnTo>
                        <a:lnTo>
                          <a:pt x="294" y="492"/>
                        </a:lnTo>
                        <a:lnTo>
                          <a:pt x="300" y="498"/>
                        </a:lnTo>
                        <a:lnTo>
                          <a:pt x="306" y="498"/>
                        </a:lnTo>
                        <a:lnTo>
                          <a:pt x="312" y="516"/>
                        </a:lnTo>
                        <a:lnTo>
                          <a:pt x="294" y="534"/>
                        </a:lnTo>
                        <a:lnTo>
                          <a:pt x="294" y="564"/>
                        </a:lnTo>
                        <a:lnTo>
                          <a:pt x="222" y="564"/>
                        </a:lnTo>
                        <a:lnTo>
                          <a:pt x="216" y="558"/>
                        </a:lnTo>
                        <a:lnTo>
                          <a:pt x="198" y="558"/>
                        </a:lnTo>
                        <a:lnTo>
                          <a:pt x="192" y="564"/>
                        </a:lnTo>
                        <a:lnTo>
                          <a:pt x="210" y="582"/>
                        </a:lnTo>
                        <a:lnTo>
                          <a:pt x="186" y="600"/>
                        </a:lnTo>
                        <a:lnTo>
                          <a:pt x="228" y="594"/>
                        </a:lnTo>
                        <a:lnTo>
                          <a:pt x="228" y="618"/>
                        </a:lnTo>
                        <a:lnTo>
                          <a:pt x="216" y="642"/>
                        </a:lnTo>
                        <a:lnTo>
                          <a:pt x="210" y="648"/>
                        </a:lnTo>
                        <a:lnTo>
                          <a:pt x="198" y="654"/>
                        </a:lnTo>
                        <a:lnTo>
                          <a:pt x="180" y="660"/>
                        </a:lnTo>
                        <a:lnTo>
                          <a:pt x="168" y="666"/>
                        </a:lnTo>
                        <a:lnTo>
                          <a:pt x="162" y="666"/>
                        </a:lnTo>
                        <a:lnTo>
                          <a:pt x="162" y="690"/>
                        </a:lnTo>
                        <a:lnTo>
                          <a:pt x="168" y="696"/>
                        </a:lnTo>
                        <a:lnTo>
                          <a:pt x="174" y="696"/>
                        </a:lnTo>
                        <a:lnTo>
                          <a:pt x="180" y="690"/>
                        </a:lnTo>
                        <a:lnTo>
                          <a:pt x="192" y="684"/>
                        </a:lnTo>
                        <a:lnTo>
                          <a:pt x="198" y="678"/>
                        </a:lnTo>
                        <a:lnTo>
                          <a:pt x="204" y="684"/>
                        </a:lnTo>
                        <a:lnTo>
                          <a:pt x="204" y="690"/>
                        </a:lnTo>
                        <a:lnTo>
                          <a:pt x="210" y="696"/>
                        </a:lnTo>
                        <a:lnTo>
                          <a:pt x="234" y="696"/>
                        </a:lnTo>
                        <a:lnTo>
                          <a:pt x="240" y="702"/>
                        </a:lnTo>
                        <a:lnTo>
                          <a:pt x="252" y="708"/>
                        </a:lnTo>
                        <a:lnTo>
                          <a:pt x="258" y="708"/>
                        </a:lnTo>
                        <a:lnTo>
                          <a:pt x="276" y="702"/>
                        </a:lnTo>
                        <a:lnTo>
                          <a:pt x="288" y="696"/>
                        </a:lnTo>
                        <a:lnTo>
                          <a:pt x="294" y="690"/>
                        </a:lnTo>
                        <a:lnTo>
                          <a:pt x="318" y="690"/>
                        </a:lnTo>
                        <a:lnTo>
                          <a:pt x="312" y="696"/>
                        </a:lnTo>
                        <a:lnTo>
                          <a:pt x="300" y="702"/>
                        </a:lnTo>
                        <a:lnTo>
                          <a:pt x="294" y="714"/>
                        </a:lnTo>
                        <a:lnTo>
                          <a:pt x="282" y="720"/>
                        </a:lnTo>
                        <a:lnTo>
                          <a:pt x="276" y="726"/>
                        </a:lnTo>
                        <a:lnTo>
                          <a:pt x="210" y="726"/>
                        </a:lnTo>
                        <a:lnTo>
                          <a:pt x="210" y="738"/>
                        </a:lnTo>
                        <a:lnTo>
                          <a:pt x="198" y="738"/>
                        </a:lnTo>
                        <a:lnTo>
                          <a:pt x="186" y="744"/>
                        </a:lnTo>
                        <a:lnTo>
                          <a:pt x="180" y="750"/>
                        </a:lnTo>
                        <a:lnTo>
                          <a:pt x="180" y="768"/>
                        </a:lnTo>
                        <a:lnTo>
                          <a:pt x="174" y="774"/>
                        </a:lnTo>
                        <a:lnTo>
                          <a:pt x="144" y="774"/>
                        </a:lnTo>
                        <a:lnTo>
                          <a:pt x="144" y="780"/>
                        </a:lnTo>
                        <a:lnTo>
                          <a:pt x="138" y="786"/>
                        </a:lnTo>
                        <a:lnTo>
                          <a:pt x="138" y="792"/>
                        </a:lnTo>
                        <a:lnTo>
                          <a:pt x="126" y="804"/>
                        </a:lnTo>
                        <a:lnTo>
                          <a:pt x="114" y="810"/>
                        </a:lnTo>
                        <a:lnTo>
                          <a:pt x="108" y="810"/>
                        </a:lnTo>
                        <a:lnTo>
                          <a:pt x="108" y="816"/>
                        </a:lnTo>
                        <a:lnTo>
                          <a:pt x="114" y="816"/>
                        </a:lnTo>
                        <a:lnTo>
                          <a:pt x="120" y="822"/>
                        </a:lnTo>
                        <a:lnTo>
                          <a:pt x="150" y="822"/>
                        </a:lnTo>
                        <a:lnTo>
                          <a:pt x="156" y="810"/>
                        </a:lnTo>
                        <a:lnTo>
                          <a:pt x="174" y="792"/>
                        </a:lnTo>
                        <a:lnTo>
                          <a:pt x="210" y="792"/>
                        </a:lnTo>
                        <a:lnTo>
                          <a:pt x="216" y="798"/>
                        </a:lnTo>
                        <a:lnTo>
                          <a:pt x="228" y="804"/>
                        </a:lnTo>
                        <a:lnTo>
                          <a:pt x="240" y="804"/>
                        </a:lnTo>
                        <a:lnTo>
                          <a:pt x="246" y="792"/>
                        </a:lnTo>
                        <a:lnTo>
                          <a:pt x="252" y="786"/>
                        </a:lnTo>
                        <a:lnTo>
                          <a:pt x="258" y="774"/>
                        </a:lnTo>
                        <a:lnTo>
                          <a:pt x="270" y="762"/>
                        </a:lnTo>
                        <a:lnTo>
                          <a:pt x="288" y="762"/>
                        </a:lnTo>
                        <a:lnTo>
                          <a:pt x="300" y="774"/>
                        </a:lnTo>
                        <a:lnTo>
                          <a:pt x="330" y="774"/>
                        </a:lnTo>
                        <a:lnTo>
                          <a:pt x="354" y="762"/>
                        </a:lnTo>
                        <a:lnTo>
                          <a:pt x="360" y="762"/>
                        </a:lnTo>
                        <a:lnTo>
                          <a:pt x="366" y="768"/>
                        </a:lnTo>
                        <a:lnTo>
                          <a:pt x="378" y="768"/>
                        </a:lnTo>
                        <a:lnTo>
                          <a:pt x="390" y="774"/>
                        </a:lnTo>
                        <a:lnTo>
                          <a:pt x="396" y="774"/>
                        </a:lnTo>
                        <a:lnTo>
                          <a:pt x="396" y="768"/>
                        </a:lnTo>
                        <a:lnTo>
                          <a:pt x="390" y="762"/>
                        </a:lnTo>
                        <a:lnTo>
                          <a:pt x="390" y="750"/>
                        </a:lnTo>
                        <a:lnTo>
                          <a:pt x="396" y="750"/>
                        </a:lnTo>
                        <a:lnTo>
                          <a:pt x="408" y="756"/>
                        </a:lnTo>
                        <a:lnTo>
                          <a:pt x="414" y="762"/>
                        </a:lnTo>
                        <a:lnTo>
                          <a:pt x="426" y="756"/>
                        </a:lnTo>
                        <a:lnTo>
                          <a:pt x="498" y="756"/>
                        </a:lnTo>
                        <a:lnTo>
                          <a:pt x="522" y="750"/>
                        </a:lnTo>
                        <a:lnTo>
                          <a:pt x="534" y="744"/>
                        </a:lnTo>
                        <a:lnTo>
                          <a:pt x="540" y="732"/>
                        </a:lnTo>
                        <a:lnTo>
                          <a:pt x="546" y="726"/>
                        </a:lnTo>
                        <a:lnTo>
                          <a:pt x="552" y="714"/>
                        </a:lnTo>
                        <a:lnTo>
                          <a:pt x="498" y="708"/>
                        </a:lnTo>
                        <a:lnTo>
                          <a:pt x="522" y="702"/>
                        </a:lnTo>
                        <a:lnTo>
                          <a:pt x="516" y="684"/>
                        </a:lnTo>
                        <a:lnTo>
                          <a:pt x="528" y="672"/>
                        </a:lnTo>
                        <a:lnTo>
                          <a:pt x="540" y="666"/>
                        </a:lnTo>
                        <a:lnTo>
                          <a:pt x="546" y="666"/>
                        </a:lnTo>
                        <a:lnTo>
                          <a:pt x="558" y="660"/>
                        </a:lnTo>
                        <a:lnTo>
                          <a:pt x="564" y="654"/>
                        </a:lnTo>
                        <a:lnTo>
                          <a:pt x="576" y="618"/>
                        </a:lnTo>
                        <a:lnTo>
                          <a:pt x="570" y="606"/>
                        </a:lnTo>
                        <a:lnTo>
                          <a:pt x="564" y="600"/>
                        </a:lnTo>
                        <a:lnTo>
                          <a:pt x="552" y="594"/>
                        </a:lnTo>
                        <a:lnTo>
                          <a:pt x="540" y="594"/>
                        </a:lnTo>
                        <a:lnTo>
                          <a:pt x="528" y="588"/>
                        </a:lnTo>
                        <a:lnTo>
                          <a:pt x="504" y="588"/>
                        </a:lnTo>
                        <a:close/>
                        <a:moveTo>
                          <a:pt x="222" y="486"/>
                        </a:moveTo>
                        <a:lnTo>
                          <a:pt x="216" y="480"/>
                        </a:lnTo>
                        <a:lnTo>
                          <a:pt x="204" y="480"/>
                        </a:lnTo>
                        <a:lnTo>
                          <a:pt x="204" y="486"/>
                        </a:lnTo>
                        <a:lnTo>
                          <a:pt x="198" y="498"/>
                        </a:lnTo>
                        <a:lnTo>
                          <a:pt x="192" y="504"/>
                        </a:lnTo>
                        <a:lnTo>
                          <a:pt x="210" y="504"/>
                        </a:lnTo>
                        <a:lnTo>
                          <a:pt x="222" y="492"/>
                        </a:lnTo>
                        <a:lnTo>
                          <a:pt x="222" y="486"/>
                        </a:lnTo>
                        <a:close/>
                        <a:moveTo>
                          <a:pt x="126" y="504"/>
                        </a:moveTo>
                        <a:lnTo>
                          <a:pt x="132" y="498"/>
                        </a:lnTo>
                        <a:lnTo>
                          <a:pt x="132" y="492"/>
                        </a:lnTo>
                        <a:lnTo>
                          <a:pt x="144" y="492"/>
                        </a:lnTo>
                        <a:lnTo>
                          <a:pt x="150" y="480"/>
                        </a:lnTo>
                        <a:lnTo>
                          <a:pt x="156" y="474"/>
                        </a:lnTo>
                        <a:lnTo>
                          <a:pt x="156" y="462"/>
                        </a:lnTo>
                        <a:lnTo>
                          <a:pt x="138" y="444"/>
                        </a:lnTo>
                        <a:lnTo>
                          <a:pt x="138" y="432"/>
                        </a:lnTo>
                        <a:lnTo>
                          <a:pt x="132" y="438"/>
                        </a:lnTo>
                        <a:lnTo>
                          <a:pt x="126" y="426"/>
                        </a:lnTo>
                        <a:lnTo>
                          <a:pt x="120" y="420"/>
                        </a:lnTo>
                        <a:lnTo>
                          <a:pt x="78" y="420"/>
                        </a:lnTo>
                        <a:lnTo>
                          <a:pt x="72" y="426"/>
                        </a:lnTo>
                        <a:lnTo>
                          <a:pt x="30" y="450"/>
                        </a:lnTo>
                        <a:lnTo>
                          <a:pt x="30" y="462"/>
                        </a:lnTo>
                        <a:lnTo>
                          <a:pt x="24" y="462"/>
                        </a:lnTo>
                        <a:lnTo>
                          <a:pt x="18" y="468"/>
                        </a:lnTo>
                        <a:lnTo>
                          <a:pt x="12" y="468"/>
                        </a:lnTo>
                        <a:lnTo>
                          <a:pt x="0" y="480"/>
                        </a:lnTo>
                        <a:lnTo>
                          <a:pt x="6" y="486"/>
                        </a:lnTo>
                        <a:lnTo>
                          <a:pt x="30" y="498"/>
                        </a:lnTo>
                        <a:lnTo>
                          <a:pt x="42" y="498"/>
                        </a:lnTo>
                        <a:lnTo>
                          <a:pt x="66" y="474"/>
                        </a:lnTo>
                        <a:lnTo>
                          <a:pt x="84" y="498"/>
                        </a:lnTo>
                        <a:lnTo>
                          <a:pt x="120" y="504"/>
                        </a:lnTo>
                        <a:lnTo>
                          <a:pt x="126" y="504"/>
                        </a:lnTo>
                        <a:close/>
                        <a:moveTo>
                          <a:pt x="78" y="228"/>
                        </a:moveTo>
                        <a:lnTo>
                          <a:pt x="72" y="228"/>
                        </a:lnTo>
                        <a:lnTo>
                          <a:pt x="66" y="234"/>
                        </a:lnTo>
                        <a:lnTo>
                          <a:pt x="66" y="240"/>
                        </a:lnTo>
                        <a:lnTo>
                          <a:pt x="84" y="240"/>
                        </a:lnTo>
                        <a:lnTo>
                          <a:pt x="84" y="228"/>
                        </a:lnTo>
                        <a:lnTo>
                          <a:pt x="78" y="228"/>
                        </a:lnTo>
                        <a:close/>
                        <a:moveTo>
                          <a:pt x="108" y="210"/>
                        </a:moveTo>
                        <a:lnTo>
                          <a:pt x="126" y="210"/>
                        </a:lnTo>
                        <a:lnTo>
                          <a:pt x="132" y="204"/>
                        </a:lnTo>
                        <a:lnTo>
                          <a:pt x="132" y="198"/>
                        </a:lnTo>
                        <a:lnTo>
                          <a:pt x="138" y="186"/>
                        </a:lnTo>
                        <a:lnTo>
                          <a:pt x="150" y="174"/>
                        </a:lnTo>
                        <a:lnTo>
                          <a:pt x="150" y="168"/>
                        </a:lnTo>
                        <a:lnTo>
                          <a:pt x="138" y="174"/>
                        </a:lnTo>
                        <a:lnTo>
                          <a:pt x="132" y="174"/>
                        </a:lnTo>
                        <a:lnTo>
                          <a:pt x="114" y="192"/>
                        </a:lnTo>
                        <a:lnTo>
                          <a:pt x="108" y="186"/>
                        </a:lnTo>
                        <a:lnTo>
                          <a:pt x="96" y="186"/>
                        </a:lnTo>
                        <a:lnTo>
                          <a:pt x="90" y="192"/>
                        </a:lnTo>
                        <a:lnTo>
                          <a:pt x="90" y="210"/>
                        </a:lnTo>
                        <a:lnTo>
                          <a:pt x="96" y="216"/>
                        </a:lnTo>
                        <a:lnTo>
                          <a:pt x="96" y="228"/>
                        </a:lnTo>
                        <a:lnTo>
                          <a:pt x="108" y="210"/>
                        </a:lnTo>
                        <a:close/>
                        <a:moveTo>
                          <a:pt x="72" y="252"/>
                        </a:moveTo>
                        <a:lnTo>
                          <a:pt x="60" y="282"/>
                        </a:lnTo>
                        <a:lnTo>
                          <a:pt x="78" y="258"/>
                        </a:lnTo>
                        <a:lnTo>
                          <a:pt x="72" y="25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331" name="United Arab Emirates"/>
                  <p:cNvSpPr>
                    <a:spLocks/>
                  </p:cNvSpPr>
                  <p:nvPr/>
                </p:nvSpPr>
                <p:spPr bwMode="gray">
                  <a:xfrm>
                    <a:off x="3573" y="1763"/>
                    <a:ext cx="86" cy="82"/>
                  </a:xfrm>
                  <a:custGeom>
                    <a:avLst/>
                    <a:gdLst>
                      <a:gd name="T0" fmla="*/ 2147483647 w 336"/>
                      <a:gd name="T1" fmla="*/ 2147483647 h 318"/>
                      <a:gd name="T2" fmla="*/ 2147483647 w 336"/>
                      <a:gd name="T3" fmla="*/ 2147483647 h 318"/>
                      <a:gd name="T4" fmla="*/ 2147483647 w 336"/>
                      <a:gd name="T5" fmla="*/ 2147483647 h 318"/>
                      <a:gd name="T6" fmla="*/ 2147483647 w 336"/>
                      <a:gd name="T7" fmla="*/ 2147483647 h 318"/>
                      <a:gd name="T8" fmla="*/ 2147483647 w 336"/>
                      <a:gd name="T9" fmla="*/ 2147483647 h 318"/>
                      <a:gd name="T10" fmla="*/ 2147483647 w 336"/>
                      <a:gd name="T11" fmla="*/ 0 h 318"/>
                      <a:gd name="T12" fmla="*/ 2147483647 w 336"/>
                      <a:gd name="T13" fmla="*/ 2147483647 h 318"/>
                      <a:gd name="T14" fmla="*/ 2147483647 w 336"/>
                      <a:gd name="T15" fmla="*/ 2147483647 h 318"/>
                      <a:gd name="T16" fmla="*/ 2147483647 w 336"/>
                      <a:gd name="T17" fmla="*/ 2147483647 h 318"/>
                      <a:gd name="T18" fmla="*/ 2147483647 w 336"/>
                      <a:gd name="T19" fmla="*/ 2147483647 h 318"/>
                      <a:gd name="T20" fmla="*/ 2147483647 w 336"/>
                      <a:gd name="T21" fmla="*/ 2147483647 h 318"/>
                      <a:gd name="T22" fmla="*/ 2147483647 w 336"/>
                      <a:gd name="T23" fmla="*/ 2147483647 h 318"/>
                      <a:gd name="T24" fmla="*/ 2147483647 w 336"/>
                      <a:gd name="T25" fmla="*/ 2147483647 h 318"/>
                      <a:gd name="T26" fmla="*/ 2147483647 w 336"/>
                      <a:gd name="T27" fmla="*/ 2147483647 h 318"/>
                      <a:gd name="T28" fmla="*/ 2147483647 w 336"/>
                      <a:gd name="T29" fmla="*/ 2147483647 h 318"/>
                      <a:gd name="T30" fmla="*/ 2147483647 w 336"/>
                      <a:gd name="T31" fmla="*/ 2147483647 h 318"/>
                      <a:gd name="T32" fmla="*/ 2147483647 w 336"/>
                      <a:gd name="T33" fmla="*/ 2147483647 h 318"/>
                      <a:gd name="T34" fmla="*/ 2147483647 w 336"/>
                      <a:gd name="T35" fmla="*/ 2147483647 h 318"/>
                      <a:gd name="T36" fmla="*/ 0 w 336"/>
                      <a:gd name="T37" fmla="*/ 2147483647 h 318"/>
                      <a:gd name="T38" fmla="*/ 2147483647 w 336"/>
                      <a:gd name="T39" fmla="*/ 2147483647 h 318"/>
                      <a:gd name="T40" fmla="*/ 2147483647 w 336"/>
                      <a:gd name="T41" fmla="*/ 2147483647 h 318"/>
                      <a:gd name="T42" fmla="*/ 2147483647 w 336"/>
                      <a:gd name="T43" fmla="*/ 2147483647 h 318"/>
                      <a:gd name="T44" fmla="*/ 2147483647 w 336"/>
                      <a:gd name="T45" fmla="*/ 2147483647 h 318"/>
                      <a:gd name="T46" fmla="*/ 2147483647 w 336"/>
                      <a:gd name="T47" fmla="*/ 2147483647 h 318"/>
                      <a:gd name="T48" fmla="*/ 2147483647 w 336"/>
                      <a:gd name="T49" fmla="*/ 2147483647 h 318"/>
                      <a:gd name="T50" fmla="*/ 2147483647 w 336"/>
                      <a:gd name="T51" fmla="*/ 2147483647 h 318"/>
                      <a:gd name="T52" fmla="*/ 2147483647 w 336"/>
                      <a:gd name="T53" fmla="*/ 2147483647 h 318"/>
                      <a:gd name="T54" fmla="*/ 2147483647 w 336"/>
                      <a:gd name="T55" fmla="*/ 2147483647 h 318"/>
                      <a:gd name="T56" fmla="*/ 2147483647 w 336"/>
                      <a:gd name="T57" fmla="*/ 2147483647 h 318"/>
                      <a:gd name="T58" fmla="*/ 2147483647 w 336"/>
                      <a:gd name="T59" fmla="*/ 2147483647 h 318"/>
                      <a:gd name="T60" fmla="*/ 2147483647 w 336"/>
                      <a:gd name="T61" fmla="*/ 2147483647 h 318"/>
                      <a:gd name="T62" fmla="*/ 2147483647 w 336"/>
                      <a:gd name="T63" fmla="*/ 2147483647 h 318"/>
                      <a:gd name="T64" fmla="*/ 2147483647 w 336"/>
                      <a:gd name="T65" fmla="*/ 2147483647 h 318"/>
                      <a:gd name="T66" fmla="*/ 2147483647 w 336"/>
                      <a:gd name="T67" fmla="*/ 2147483647 h 318"/>
                      <a:gd name="T68" fmla="*/ 2147483647 w 336"/>
                      <a:gd name="T69" fmla="*/ 2147483647 h 31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36"/>
                      <a:gd name="T106" fmla="*/ 0 h 318"/>
                      <a:gd name="T107" fmla="*/ 336 w 336"/>
                      <a:gd name="T108" fmla="*/ 318 h 31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36" h="318">
                        <a:moveTo>
                          <a:pt x="300" y="120"/>
                        </a:moveTo>
                        <a:lnTo>
                          <a:pt x="306" y="120"/>
                        </a:lnTo>
                        <a:lnTo>
                          <a:pt x="306" y="126"/>
                        </a:lnTo>
                        <a:lnTo>
                          <a:pt x="312" y="138"/>
                        </a:lnTo>
                        <a:lnTo>
                          <a:pt x="336" y="132"/>
                        </a:lnTo>
                        <a:lnTo>
                          <a:pt x="330" y="120"/>
                        </a:lnTo>
                        <a:lnTo>
                          <a:pt x="324" y="102"/>
                        </a:lnTo>
                        <a:lnTo>
                          <a:pt x="324" y="60"/>
                        </a:lnTo>
                        <a:lnTo>
                          <a:pt x="330" y="42"/>
                        </a:lnTo>
                        <a:lnTo>
                          <a:pt x="330" y="6"/>
                        </a:lnTo>
                        <a:lnTo>
                          <a:pt x="324" y="0"/>
                        </a:lnTo>
                        <a:lnTo>
                          <a:pt x="318" y="0"/>
                        </a:lnTo>
                        <a:lnTo>
                          <a:pt x="312" y="6"/>
                        </a:lnTo>
                        <a:lnTo>
                          <a:pt x="306" y="18"/>
                        </a:lnTo>
                        <a:lnTo>
                          <a:pt x="300" y="36"/>
                        </a:lnTo>
                        <a:lnTo>
                          <a:pt x="288" y="60"/>
                        </a:lnTo>
                        <a:lnTo>
                          <a:pt x="282" y="66"/>
                        </a:lnTo>
                        <a:lnTo>
                          <a:pt x="282" y="72"/>
                        </a:lnTo>
                        <a:lnTo>
                          <a:pt x="276" y="72"/>
                        </a:lnTo>
                        <a:lnTo>
                          <a:pt x="264" y="78"/>
                        </a:lnTo>
                        <a:lnTo>
                          <a:pt x="234" y="108"/>
                        </a:lnTo>
                        <a:lnTo>
                          <a:pt x="228" y="120"/>
                        </a:lnTo>
                        <a:lnTo>
                          <a:pt x="216" y="132"/>
                        </a:lnTo>
                        <a:lnTo>
                          <a:pt x="204" y="138"/>
                        </a:lnTo>
                        <a:lnTo>
                          <a:pt x="198" y="150"/>
                        </a:lnTo>
                        <a:lnTo>
                          <a:pt x="198" y="168"/>
                        </a:lnTo>
                        <a:lnTo>
                          <a:pt x="192" y="180"/>
                        </a:lnTo>
                        <a:lnTo>
                          <a:pt x="192" y="186"/>
                        </a:lnTo>
                        <a:lnTo>
                          <a:pt x="186" y="192"/>
                        </a:lnTo>
                        <a:lnTo>
                          <a:pt x="150" y="192"/>
                        </a:lnTo>
                        <a:lnTo>
                          <a:pt x="132" y="186"/>
                        </a:lnTo>
                        <a:lnTo>
                          <a:pt x="90" y="186"/>
                        </a:lnTo>
                        <a:lnTo>
                          <a:pt x="72" y="192"/>
                        </a:lnTo>
                        <a:lnTo>
                          <a:pt x="48" y="204"/>
                        </a:lnTo>
                        <a:lnTo>
                          <a:pt x="24" y="204"/>
                        </a:lnTo>
                        <a:lnTo>
                          <a:pt x="12" y="192"/>
                        </a:lnTo>
                        <a:lnTo>
                          <a:pt x="0" y="186"/>
                        </a:lnTo>
                        <a:lnTo>
                          <a:pt x="0" y="198"/>
                        </a:lnTo>
                        <a:lnTo>
                          <a:pt x="18" y="216"/>
                        </a:lnTo>
                        <a:lnTo>
                          <a:pt x="30" y="240"/>
                        </a:lnTo>
                        <a:lnTo>
                          <a:pt x="54" y="264"/>
                        </a:lnTo>
                        <a:lnTo>
                          <a:pt x="60" y="276"/>
                        </a:lnTo>
                        <a:lnTo>
                          <a:pt x="72" y="282"/>
                        </a:lnTo>
                        <a:lnTo>
                          <a:pt x="78" y="294"/>
                        </a:lnTo>
                        <a:lnTo>
                          <a:pt x="96" y="294"/>
                        </a:lnTo>
                        <a:lnTo>
                          <a:pt x="132" y="300"/>
                        </a:lnTo>
                        <a:lnTo>
                          <a:pt x="228" y="312"/>
                        </a:lnTo>
                        <a:lnTo>
                          <a:pt x="270" y="318"/>
                        </a:lnTo>
                        <a:lnTo>
                          <a:pt x="264" y="306"/>
                        </a:lnTo>
                        <a:lnTo>
                          <a:pt x="258" y="300"/>
                        </a:lnTo>
                        <a:lnTo>
                          <a:pt x="252" y="288"/>
                        </a:lnTo>
                        <a:lnTo>
                          <a:pt x="252" y="276"/>
                        </a:lnTo>
                        <a:lnTo>
                          <a:pt x="258" y="270"/>
                        </a:lnTo>
                        <a:lnTo>
                          <a:pt x="264" y="258"/>
                        </a:lnTo>
                        <a:lnTo>
                          <a:pt x="270" y="252"/>
                        </a:lnTo>
                        <a:lnTo>
                          <a:pt x="276" y="240"/>
                        </a:lnTo>
                        <a:lnTo>
                          <a:pt x="276" y="228"/>
                        </a:lnTo>
                        <a:lnTo>
                          <a:pt x="282" y="216"/>
                        </a:lnTo>
                        <a:lnTo>
                          <a:pt x="282" y="204"/>
                        </a:lnTo>
                        <a:lnTo>
                          <a:pt x="288" y="198"/>
                        </a:lnTo>
                        <a:lnTo>
                          <a:pt x="288" y="192"/>
                        </a:lnTo>
                        <a:lnTo>
                          <a:pt x="300" y="192"/>
                        </a:lnTo>
                        <a:lnTo>
                          <a:pt x="300" y="198"/>
                        </a:lnTo>
                        <a:lnTo>
                          <a:pt x="306" y="198"/>
                        </a:lnTo>
                        <a:lnTo>
                          <a:pt x="306" y="192"/>
                        </a:lnTo>
                        <a:lnTo>
                          <a:pt x="288" y="174"/>
                        </a:lnTo>
                        <a:lnTo>
                          <a:pt x="288" y="144"/>
                        </a:lnTo>
                        <a:lnTo>
                          <a:pt x="294" y="132"/>
                        </a:lnTo>
                        <a:lnTo>
                          <a:pt x="294" y="126"/>
                        </a:lnTo>
                        <a:lnTo>
                          <a:pt x="300" y="1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34" name="Ukraine"/>
                  <p:cNvSpPr>
                    <a:spLocks/>
                  </p:cNvSpPr>
                  <p:nvPr/>
                </p:nvSpPr>
                <p:spPr bwMode="gray">
                  <a:xfrm>
                    <a:off x="3029" y="1237"/>
                    <a:ext cx="286" cy="160"/>
                  </a:xfrm>
                  <a:custGeom>
                    <a:avLst/>
                    <a:gdLst>
                      <a:gd name="T0" fmla="*/ 2147483647 w 1116"/>
                      <a:gd name="T1" fmla="*/ 2147483647 h 624"/>
                      <a:gd name="T2" fmla="*/ 2147483647 w 1116"/>
                      <a:gd name="T3" fmla="*/ 2147483647 h 624"/>
                      <a:gd name="T4" fmla="*/ 2147483647 w 1116"/>
                      <a:gd name="T5" fmla="*/ 2147483647 h 624"/>
                      <a:gd name="T6" fmla="*/ 2147483647 w 1116"/>
                      <a:gd name="T7" fmla="*/ 2147483647 h 624"/>
                      <a:gd name="T8" fmla="*/ 2147483647 w 1116"/>
                      <a:gd name="T9" fmla="*/ 2147483647 h 624"/>
                      <a:gd name="T10" fmla="*/ 2147483647 w 1116"/>
                      <a:gd name="T11" fmla="*/ 2147483647 h 624"/>
                      <a:gd name="T12" fmla="*/ 2147483647 w 1116"/>
                      <a:gd name="T13" fmla="*/ 2147483647 h 624"/>
                      <a:gd name="T14" fmla="*/ 2147483647 w 1116"/>
                      <a:gd name="T15" fmla="*/ 2147483647 h 624"/>
                      <a:gd name="T16" fmla="*/ 2147483647 w 1116"/>
                      <a:gd name="T17" fmla="*/ 2147483647 h 624"/>
                      <a:gd name="T18" fmla="*/ 2147483647 w 1116"/>
                      <a:gd name="T19" fmla="*/ 2147483647 h 624"/>
                      <a:gd name="T20" fmla="*/ 2147483647 w 1116"/>
                      <a:gd name="T21" fmla="*/ 2147483647 h 624"/>
                      <a:gd name="T22" fmla="*/ 2147483647 w 1116"/>
                      <a:gd name="T23" fmla="*/ 2147483647 h 624"/>
                      <a:gd name="T24" fmla="*/ 2147483647 w 1116"/>
                      <a:gd name="T25" fmla="*/ 2147483647 h 624"/>
                      <a:gd name="T26" fmla="*/ 2147483647 w 1116"/>
                      <a:gd name="T27" fmla="*/ 2147483647 h 624"/>
                      <a:gd name="T28" fmla="*/ 2147483647 w 1116"/>
                      <a:gd name="T29" fmla="*/ 2147483647 h 624"/>
                      <a:gd name="T30" fmla="*/ 2147483647 w 1116"/>
                      <a:gd name="T31" fmla="*/ 2147483647 h 624"/>
                      <a:gd name="T32" fmla="*/ 2147483647 w 1116"/>
                      <a:gd name="T33" fmla="*/ 2147483647 h 624"/>
                      <a:gd name="T34" fmla="*/ 2147483647 w 1116"/>
                      <a:gd name="T35" fmla="*/ 2147483647 h 624"/>
                      <a:gd name="T36" fmla="*/ 2147483647 w 1116"/>
                      <a:gd name="T37" fmla="*/ 2147483647 h 624"/>
                      <a:gd name="T38" fmla="*/ 2147483647 w 1116"/>
                      <a:gd name="T39" fmla="*/ 2147483647 h 624"/>
                      <a:gd name="T40" fmla="*/ 2147483647 w 1116"/>
                      <a:gd name="T41" fmla="*/ 2147483647 h 624"/>
                      <a:gd name="T42" fmla="*/ 2147483647 w 1116"/>
                      <a:gd name="T43" fmla="*/ 2147483647 h 624"/>
                      <a:gd name="T44" fmla="*/ 2147483647 w 1116"/>
                      <a:gd name="T45" fmla="*/ 2147483647 h 624"/>
                      <a:gd name="T46" fmla="*/ 2147483647 w 1116"/>
                      <a:gd name="T47" fmla="*/ 2147483647 h 624"/>
                      <a:gd name="T48" fmla="*/ 2147483647 w 1116"/>
                      <a:gd name="T49" fmla="*/ 2147483647 h 624"/>
                      <a:gd name="T50" fmla="*/ 2147483647 w 1116"/>
                      <a:gd name="T51" fmla="*/ 2147483647 h 624"/>
                      <a:gd name="T52" fmla="*/ 2147483647 w 1116"/>
                      <a:gd name="T53" fmla="*/ 2147483647 h 624"/>
                      <a:gd name="T54" fmla="*/ 2147483647 w 1116"/>
                      <a:gd name="T55" fmla="*/ 2147483647 h 624"/>
                      <a:gd name="T56" fmla="*/ 2147483647 w 1116"/>
                      <a:gd name="T57" fmla="*/ 2147483647 h 624"/>
                      <a:gd name="T58" fmla="*/ 2147483647 w 1116"/>
                      <a:gd name="T59" fmla="*/ 2147483647 h 624"/>
                      <a:gd name="T60" fmla="*/ 2147483647 w 1116"/>
                      <a:gd name="T61" fmla="*/ 2147483647 h 624"/>
                      <a:gd name="T62" fmla="*/ 2147483647 w 1116"/>
                      <a:gd name="T63" fmla="*/ 2147483647 h 624"/>
                      <a:gd name="T64" fmla="*/ 2147483647 w 1116"/>
                      <a:gd name="T65" fmla="*/ 2147483647 h 624"/>
                      <a:gd name="T66" fmla="*/ 2147483647 w 1116"/>
                      <a:gd name="T67" fmla="*/ 2147483647 h 624"/>
                      <a:gd name="T68" fmla="*/ 2147483647 w 1116"/>
                      <a:gd name="T69" fmla="*/ 2147483647 h 624"/>
                      <a:gd name="T70" fmla="*/ 2147483647 w 1116"/>
                      <a:gd name="T71" fmla="*/ 2147483647 h 624"/>
                      <a:gd name="T72" fmla="*/ 2147483647 w 1116"/>
                      <a:gd name="T73" fmla="*/ 2147483647 h 624"/>
                      <a:gd name="T74" fmla="*/ 2147483647 w 1116"/>
                      <a:gd name="T75" fmla="*/ 2147483647 h 624"/>
                      <a:gd name="T76" fmla="*/ 2147483647 w 1116"/>
                      <a:gd name="T77" fmla="*/ 2147483647 h 624"/>
                      <a:gd name="T78" fmla="*/ 2147483647 w 1116"/>
                      <a:gd name="T79" fmla="*/ 2147483647 h 624"/>
                      <a:gd name="T80" fmla="*/ 2147483647 w 1116"/>
                      <a:gd name="T81" fmla="*/ 2147483647 h 624"/>
                      <a:gd name="T82" fmla="*/ 2147483647 w 1116"/>
                      <a:gd name="T83" fmla="*/ 2147483647 h 624"/>
                      <a:gd name="T84" fmla="*/ 2147483647 w 1116"/>
                      <a:gd name="T85" fmla="*/ 2147483647 h 624"/>
                      <a:gd name="T86" fmla="*/ 2147483647 w 1116"/>
                      <a:gd name="T87" fmla="*/ 2147483647 h 624"/>
                      <a:gd name="T88" fmla="*/ 2147483647 w 1116"/>
                      <a:gd name="T89" fmla="*/ 0 h 624"/>
                      <a:gd name="T90" fmla="*/ 2147483647 w 1116"/>
                      <a:gd name="T91" fmla="*/ 2147483647 h 624"/>
                      <a:gd name="T92" fmla="*/ 2147483647 w 1116"/>
                      <a:gd name="T93" fmla="*/ 2147483647 h 624"/>
                      <a:gd name="T94" fmla="*/ 2147483647 w 1116"/>
                      <a:gd name="T95" fmla="*/ 2147483647 h 624"/>
                      <a:gd name="T96" fmla="*/ 2147483647 w 1116"/>
                      <a:gd name="T97" fmla="*/ 2147483647 h 624"/>
                      <a:gd name="T98" fmla="*/ 2147483647 w 1116"/>
                      <a:gd name="T99" fmla="*/ 2147483647 h 624"/>
                      <a:gd name="T100" fmla="*/ 2147483647 w 1116"/>
                      <a:gd name="T101" fmla="*/ 2147483647 h 624"/>
                      <a:gd name="T102" fmla="*/ 2147483647 w 1116"/>
                      <a:gd name="T103" fmla="*/ 2147483647 h 624"/>
                      <a:gd name="T104" fmla="*/ 2147483647 w 1116"/>
                      <a:gd name="T105" fmla="*/ 2147483647 h 624"/>
                      <a:gd name="T106" fmla="*/ 2147483647 w 1116"/>
                      <a:gd name="T107" fmla="*/ 2147483647 h 624"/>
                      <a:gd name="T108" fmla="*/ 2147483647 w 1116"/>
                      <a:gd name="T109" fmla="*/ 2147483647 h 624"/>
                      <a:gd name="T110" fmla="*/ 2147483647 w 1116"/>
                      <a:gd name="T111" fmla="*/ 2147483647 h 624"/>
                      <a:gd name="T112" fmla="*/ 2147483647 w 1116"/>
                      <a:gd name="T113" fmla="*/ 2147483647 h 624"/>
                      <a:gd name="T114" fmla="*/ 2147483647 w 1116"/>
                      <a:gd name="T115" fmla="*/ 2147483647 h 624"/>
                      <a:gd name="T116" fmla="*/ 2147483647 w 1116"/>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116"/>
                      <a:gd name="T178" fmla="*/ 0 h 624"/>
                      <a:gd name="T179" fmla="*/ 1116 w 1116"/>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116" h="624">
                        <a:moveTo>
                          <a:pt x="24" y="324"/>
                        </a:moveTo>
                        <a:lnTo>
                          <a:pt x="30" y="324"/>
                        </a:lnTo>
                        <a:lnTo>
                          <a:pt x="36" y="330"/>
                        </a:lnTo>
                        <a:lnTo>
                          <a:pt x="48" y="330"/>
                        </a:lnTo>
                        <a:lnTo>
                          <a:pt x="54" y="336"/>
                        </a:lnTo>
                        <a:lnTo>
                          <a:pt x="78" y="336"/>
                        </a:lnTo>
                        <a:lnTo>
                          <a:pt x="84" y="342"/>
                        </a:lnTo>
                        <a:lnTo>
                          <a:pt x="108" y="342"/>
                        </a:lnTo>
                        <a:lnTo>
                          <a:pt x="114" y="348"/>
                        </a:lnTo>
                        <a:lnTo>
                          <a:pt x="126" y="342"/>
                        </a:lnTo>
                        <a:lnTo>
                          <a:pt x="132" y="342"/>
                        </a:lnTo>
                        <a:lnTo>
                          <a:pt x="144" y="336"/>
                        </a:lnTo>
                        <a:lnTo>
                          <a:pt x="150" y="336"/>
                        </a:lnTo>
                        <a:lnTo>
                          <a:pt x="174" y="360"/>
                        </a:lnTo>
                        <a:lnTo>
                          <a:pt x="186" y="360"/>
                        </a:lnTo>
                        <a:lnTo>
                          <a:pt x="198" y="348"/>
                        </a:lnTo>
                        <a:lnTo>
                          <a:pt x="198" y="342"/>
                        </a:lnTo>
                        <a:lnTo>
                          <a:pt x="222" y="348"/>
                        </a:lnTo>
                        <a:lnTo>
                          <a:pt x="228" y="336"/>
                        </a:lnTo>
                        <a:lnTo>
                          <a:pt x="234" y="342"/>
                        </a:lnTo>
                        <a:lnTo>
                          <a:pt x="252" y="342"/>
                        </a:lnTo>
                        <a:lnTo>
                          <a:pt x="258" y="336"/>
                        </a:lnTo>
                        <a:lnTo>
                          <a:pt x="258" y="330"/>
                        </a:lnTo>
                        <a:lnTo>
                          <a:pt x="270" y="318"/>
                        </a:lnTo>
                        <a:lnTo>
                          <a:pt x="282" y="318"/>
                        </a:lnTo>
                        <a:lnTo>
                          <a:pt x="288" y="306"/>
                        </a:lnTo>
                        <a:lnTo>
                          <a:pt x="294" y="306"/>
                        </a:lnTo>
                        <a:lnTo>
                          <a:pt x="306" y="312"/>
                        </a:lnTo>
                        <a:lnTo>
                          <a:pt x="318" y="312"/>
                        </a:lnTo>
                        <a:lnTo>
                          <a:pt x="318" y="306"/>
                        </a:lnTo>
                        <a:lnTo>
                          <a:pt x="324" y="306"/>
                        </a:lnTo>
                        <a:lnTo>
                          <a:pt x="336" y="300"/>
                        </a:lnTo>
                        <a:lnTo>
                          <a:pt x="342" y="300"/>
                        </a:lnTo>
                        <a:lnTo>
                          <a:pt x="354" y="312"/>
                        </a:lnTo>
                        <a:lnTo>
                          <a:pt x="360" y="312"/>
                        </a:lnTo>
                        <a:lnTo>
                          <a:pt x="360" y="318"/>
                        </a:lnTo>
                        <a:lnTo>
                          <a:pt x="402" y="318"/>
                        </a:lnTo>
                        <a:lnTo>
                          <a:pt x="408" y="324"/>
                        </a:lnTo>
                        <a:lnTo>
                          <a:pt x="408" y="336"/>
                        </a:lnTo>
                        <a:lnTo>
                          <a:pt x="426" y="336"/>
                        </a:lnTo>
                        <a:lnTo>
                          <a:pt x="438" y="342"/>
                        </a:lnTo>
                        <a:lnTo>
                          <a:pt x="444" y="348"/>
                        </a:lnTo>
                        <a:lnTo>
                          <a:pt x="450" y="360"/>
                        </a:lnTo>
                        <a:lnTo>
                          <a:pt x="444" y="366"/>
                        </a:lnTo>
                        <a:lnTo>
                          <a:pt x="444" y="390"/>
                        </a:lnTo>
                        <a:lnTo>
                          <a:pt x="456" y="384"/>
                        </a:lnTo>
                        <a:lnTo>
                          <a:pt x="462" y="384"/>
                        </a:lnTo>
                        <a:lnTo>
                          <a:pt x="468" y="390"/>
                        </a:lnTo>
                        <a:lnTo>
                          <a:pt x="462" y="396"/>
                        </a:lnTo>
                        <a:lnTo>
                          <a:pt x="462" y="414"/>
                        </a:lnTo>
                        <a:lnTo>
                          <a:pt x="474" y="414"/>
                        </a:lnTo>
                        <a:lnTo>
                          <a:pt x="480" y="420"/>
                        </a:lnTo>
                        <a:lnTo>
                          <a:pt x="492" y="420"/>
                        </a:lnTo>
                        <a:lnTo>
                          <a:pt x="498" y="426"/>
                        </a:lnTo>
                        <a:lnTo>
                          <a:pt x="498" y="456"/>
                        </a:lnTo>
                        <a:lnTo>
                          <a:pt x="492" y="456"/>
                        </a:lnTo>
                        <a:lnTo>
                          <a:pt x="480" y="462"/>
                        </a:lnTo>
                        <a:lnTo>
                          <a:pt x="462" y="462"/>
                        </a:lnTo>
                        <a:lnTo>
                          <a:pt x="456" y="456"/>
                        </a:lnTo>
                        <a:lnTo>
                          <a:pt x="438" y="456"/>
                        </a:lnTo>
                        <a:lnTo>
                          <a:pt x="432" y="462"/>
                        </a:lnTo>
                        <a:lnTo>
                          <a:pt x="432" y="468"/>
                        </a:lnTo>
                        <a:lnTo>
                          <a:pt x="438" y="468"/>
                        </a:lnTo>
                        <a:lnTo>
                          <a:pt x="450" y="474"/>
                        </a:lnTo>
                        <a:lnTo>
                          <a:pt x="456" y="480"/>
                        </a:lnTo>
                        <a:lnTo>
                          <a:pt x="438" y="492"/>
                        </a:lnTo>
                        <a:lnTo>
                          <a:pt x="432" y="498"/>
                        </a:lnTo>
                        <a:lnTo>
                          <a:pt x="420" y="504"/>
                        </a:lnTo>
                        <a:lnTo>
                          <a:pt x="414" y="504"/>
                        </a:lnTo>
                        <a:lnTo>
                          <a:pt x="414" y="516"/>
                        </a:lnTo>
                        <a:lnTo>
                          <a:pt x="420" y="522"/>
                        </a:lnTo>
                        <a:lnTo>
                          <a:pt x="420" y="534"/>
                        </a:lnTo>
                        <a:lnTo>
                          <a:pt x="396" y="540"/>
                        </a:lnTo>
                        <a:lnTo>
                          <a:pt x="390" y="528"/>
                        </a:lnTo>
                        <a:lnTo>
                          <a:pt x="390" y="516"/>
                        </a:lnTo>
                        <a:lnTo>
                          <a:pt x="390" y="528"/>
                        </a:lnTo>
                        <a:lnTo>
                          <a:pt x="396" y="540"/>
                        </a:lnTo>
                        <a:lnTo>
                          <a:pt x="396" y="546"/>
                        </a:lnTo>
                        <a:lnTo>
                          <a:pt x="408" y="552"/>
                        </a:lnTo>
                        <a:lnTo>
                          <a:pt x="438" y="552"/>
                        </a:lnTo>
                        <a:lnTo>
                          <a:pt x="444" y="546"/>
                        </a:lnTo>
                        <a:lnTo>
                          <a:pt x="450" y="546"/>
                        </a:lnTo>
                        <a:lnTo>
                          <a:pt x="456" y="540"/>
                        </a:lnTo>
                        <a:lnTo>
                          <a:pt x="474" y="540"/>
                        </a:lnTo>
                        <a:lnTo>
                          <a:pt x="480" y="534"/>
                        </a:lnTo>
                        <a:lnTo>
                          <a:pt x="486" y="534"/>
                        </a:lnTo>
                        <a:lnTo>
                          <a:pt x="480" y="528"/>
                        </a:lnTo>
                        <a:lnTo>
                          <a:pt x="486" y="528"/>
                        </a:lnTo>
                        <a:lnTo>
                          <a:pt x="492" y="522"/>
                        </a:lnTo>
                        <a:lnTo>
                          <a:pt x="510" y="516"/>
                        </a:lnTo>
                        <a:lnTo>
                          <a:pt x="522" y="510"/>
                        </a:lnTo>
                        <a:lnTo>
                          <a:pt x="528" y="504"/>
                        </a:lnTo>
                        <a:lnTo>
                          <a:pt x="534" y="492"/>
                        </a:lnTo>
                        <a:lnTo>
                          <a:pt x="540" y="486"/>
                        </a:lnTo>
                        <a:lnTo>
                          <a:pt x="546" y="474"/>
                        </a:lnTo>
                        <a:lnTo>
                          <a:pt x="552" y="468"/>
                        </a:lnTo>
                        <a:lnTo>
                          <a:pt x="552" y="462"/>
                        </a:lnTo>
                        <a:lnTo>
                          <a:pt x="582" y="450"/>
                        </a:lnTo>
                        <a:lnTo>
                          <a:pt x="600" y="438"/>
                        </a:lnTo>
                        <a:lnTo>
                          <a:pt x="612" y="444"/>
                        </a:lnTo>
                        <a:lnTo>
                          <a:pt x="624" y="444"/>
                        </a:lnTo>
                        <a:lnTo>
                          <a:pt x="636" y="450"/>
                        </a:lnTo>
                        <a:lnTo>
                          <a:pt x="654" y="450"/>
                        </a:lnTo>
                        <a:lnTo>
                          <a:pt x="666" y="438"/>
                        </a:lnTo>
                        <a:lnTo>
                          <a:pt x="648" y="462"/>
                        </a:lnTo>
                        <a:lnTo>
                          <a:pt x="624" y="462"/>
                        </a:lnTo>
                        <a:lnTo>
                          <a:pt x="630" y="468"/>
                        </a:lnTo>
                        <a:lnTo>
                          <a:pt x="642" y="474"/>
                        </a:lnTo>
                        <a:lnTo>
                          <a:pt x="654" y="486"/>
                        </a:lnTo>
                        <a:lnTo>
                          <a:pt x="726" y="486"/>
                        </a:lnTo>
                        <a:lnTo>
                          <a:pt x="738" y="504"/>
                        </a:lnTo>
                        <a:lnTo>
                          <a:pt x="726" y="510"/>
                        </a:lnTo>
                        <a:lnTo>
                          <a:pt x="720" y="516"/>
                        </a:lnTo>
                        <a:lnTo>
                          <a:pt x="684" y="534"/>
                        </a:lnTo>
                        <a:lnTo>
                          <a:pt x="678" y="540"/>
                        </a:lnTo>
                        <a:lnTo>
                          <a:pt x="678" y="546"/>
                        </a:lnTo>
                        <a:lnTo>
                          <a:pt x="684" y="546"/>
                        </a:lnTo>
                        <a:lnTo>
                          <a:pt x="690" y="552"/>
                        </a:lnTo>
                        <a:lnTo>
                          <a:pt x="720" y="552"/>
                        </a:lnTo>
                        <a:lnTo>
                          <a:pt x="732" y="558"/>
                        </a:lnTo>
                        <a:lnTo>
                          <a:pt x="744" y="570"/>
                        </a:lnTo>
                        <a:lnTo>
                          <a:pt x="744" y="594"/>
                        </a:lnTo>
                        <a:lnTo>
                          <a:pt x="738" y="606"/>
                        </a:lnTo>
                        <a:lnTo>
                          <a:pt x="738" y="618"/>
                        </a:lnTo>
                        <a:lnTo>
                          <a:pt x="756" y="618"/>
                        </a:lnTo>
                        <a:lnTo>
                          <a:pt x="768" y="624"/>
                        </a:lnTo>
                        <a:lnTo>
                          <a:pt x="780" y="624"/>
                        </a:lnTo>
                        <a:lnTo>
                          <a:pt x="780" y="618"/>
                        </a:lnTo>
                        <a:lnTo>
                          <a:pt x="792" y="606"/>
                        </a:lnTo>
                        <a:lnTo>
                          <a:pt x="804" y="600"/>
                        </a:lnTo>
                        <a:lnTo>
                          <a:pt x="810" y="594"/>
                        </a:lnTo>
                        <a:lnTo>
                          <a:pt x="840" y="594"/>
                        </a:lnTo>
                        <a:lnTo>
                          <a:pt x="858" y="576"/>
                        </a:lnTo>
                        <a:lnTo>
                          <a:pt x="858" y="570"/>
                        </a:lnTo>
                        <a:lnTo>
                          <a:pt x="864" y="564"/>
                        </a:lnTo>
                        <a:lnTo>
                          <a:pt x="870" y="564"/>
                        </a:lnTo>
                        <a:lnTo>
                          <a:pt x="882" y="576"/>
                        </a:lnTo>
                        <a:lnTo>
                          <a:pt x="918" y="570"/>
                        </a:lnTo>
                        <a:lnTo>
                          <a:pt x="918" y="552"/>
                        </a:lnTo>
                        <a:lnTo>
                          <a:pt x="930" y="540"/>
                        </a:lnTo>
                        <a:lnTo>
                          <a:pt x="900" y="540"/>
                        </a:lnTo>
                        <a:lnTo>
                          <a:pt x="894" y="546"/>
                        </a:lnTo>
                        <a:lnTo>
                          <a:pt x="882" y="552"/>
                        </a:lnTo>
                        <a:lnTo>
                          <a:pt x="852" y="552"/>
                        </a:lnTo>
                        <a:lnTo>
                          <a:pt x="846" y="546"/>
                        </a:lnTo>
                        <a:lnTo>
                          <a:pt x="834" y="540"/>
                        </a:lnTo>
                        <a:lnTo>
                          <a:pt x="828" y="534"/>
                        </a:lnTo>
                        <a:lnTo>
                          <a:pt x="828" y="522"/>
                        </a:lnTo>
                        <a:lnTo>
                          <a:pt x="822" y="516"/>
                        </a:lnTo>
                        <a:lnTo>
                          <a:pt x="810" y="516"/>
                        </a:lnTo>
                        <a:lnTo>
                          <a:pt x="786" y="498"/>
                        </a:lnTo>
                        <a:lnTo>
                          <a:pt x="750" y="492"/>
                        </a:lnTo>
                        <a:lnTo>
                          <a:pt x="744" y="480"/>
                        </a:lnTo>
                        <a:lnTo>
                          <a:pt x="810" y="480"/>
                        </a:lnTo>
                        <a:lnTo>
                          <a:pt x="822" y="474"/>
                        </a:lnTo>
                        <a:lnTo>
                          <a:pt x="834" y="462"/>
                        </a:lnTo>
                        <a:lnTo>
                          <a:pt x="846" y="468"/>
                        </a:lnTo>
                        <a:lnTo>
                          <a:pt x="852" y="462"/>
                        </a:lnTo>
                        <a:lnTo>
                          <a:pt x="864" y="456"/>
                        </a:lnTo>
                        <a:lnTo>
                          <a:pt x="870" y="450"/>
                        </a:lnTo>
                        <a:lnTo>
                          <a:pt x="882" y="444"/>
                        </a:lnTo>
                        <a:lnTo>
                          <a:pt x="906" y="444"/>
                        </a:lnTo>
                        <a:lnTo>
                          <a:pt x="918" y="438"/>
                        </a:lnTo>
                        <a:lnTo>
                          <a:pt x="930" y="438"/>
                        </a:lnTo>
                        <a:lnTo>
                          <a:pt x="978" y="408"/>
                        </a:lnTo>
                        <a:lnTo>
                          <a:pt x="1014" y="408"/>
                        </a:lnTo>
                        <a:lnTo>
                          <a:pt x="1014" y="372"/>
                        </a:lnTo>
                        <a:lnTo>
                          <a:pt x="1032" y="372"/>
                        </a:lnTo>
                        <a:lnTo>
                          <a:pt x="1038" y="366"/>
                        </a:lnTo>
                        <a:lnTo>
                          <a:pt x="1038" y="360"/>
                        </a:lnTo>
                        <a:lnTo>
                          <a:pt x="1050" y="348"/>
                        </a:lnTo>
                        <a:lnTo>
                          <a:pt x="1080" y="348"/>
                        </a:lnTo>
                        <a:lnTo>
                          <a:pt x="1092" y="342"/>
                        </a:lnTo>
                        <a:lnTo>
                          <a:pt x="1104" y="342"/>
                        </a:lnTo>
                        <a:lnTo>
                          <a:pt x="1116" y="330"/>
                        </a:lnTo>
                        <a:lnTo>
                          <a:pt x="1116" y="324"/>
                        </a:lnTo>
                        <a:lnTo>
                          <a:pt x="1110" y="312"/>
                        </a:lnTo>
                        <a:lnTo>
                          <a:pt x="1110" y="300"/>
                        </a:lnTo>
                        <a:lnTo>
                          <a:pt x="1098" y="294"/>
                        </a:lnTo>
                        <a:lnTo>
                          <a:pt x="1086" y="282"/>
                        </a:lnTo>
                        <a:lnTo>
                          <a:pt x="1092" y="276"/>
                        </a:lnTo>
                        <a:lnTo>
                          <a:pt x="1110" y="276"/>
                        </a:lnTo>
                        <a:lnTo>
                          <a:pt x="1116" y="270"/>
                        </a:lnTo>
                        <a:lnTo>
                          <a:pt x="1110" y="264"/>
                        </a:lnTo>
                        <a:lnTo>
                          <a:pt x="1104" y="264"/>
                        </a:lnTo>
                        <a:lnTo>
                          <a:pt x="1098" y="258"/>
                        </a:lnTo>
                        <a:lnTo>
                          <a:pt x="1092" y="258"/>
                        </a:lnTo>
                        <a:lnTo>
                          <a:pt x="1110" y="246"/>
                        </a:lnTo>
                        <a:lnTo>
                          <a:pt x="1110" y="222"/>
                        </a:lnTo>
                        <a:lnTo>
                          <a:pt x="1104" y="216"/>
                        </a:lnTo>
                        <a:lnTo>
                          <a:pt x="1080" y="216"/>
                        </a:lnTo>
                        <a:lnTo>
                          <a:pt x="1062" y="204"/>
                        </a:lnTo>
                        <a:lnTo>
                          <a:pt x="1056" y="198"/>
                        </a:lnTo>
                        <a:lnTo>
                          <a:pt x="1056" y="192"/>
                        </a:lnTo>
                        <a:lnTo>
                          <a:pt x="1014" y="192"/>
                        </a:lnTo>
                        <a:lnTo>
                          <a:pt x="1002" y="186"/>
                        </a:lnTo>
                        <a:lnTo>
                          <a:pt x="996" y="180"/>
                        </a:lnTo>
                        <a:lnTo>
                          <a:pt x="978" y="180"/>
                        </a:lnTo>
                        <a:lnTo>
                          <a:pt x="966" y="186"/>
                        </a:lnTo>
                        <a:lnTo>
                          <a:pt x="942" y="162"/>
                        </a:lnTo>
                        <a:lnTo>
                          <a:pt x="936" y="150"/>
                        </a:lnTo>
                        <a:lnTo>
                          <a:pt x="924" y="150"/>
                        </a:lnTo>
                        <a:lnTo>
                          <a:pt x="918" y="156"/>
                        </a:lnTo>
                        <a:lnTo>
                          <a:pt x="918" y="162"/>
                        </a:lnTo>
                        <a:lnTo>
                          <a:pt x="912" y="156"/>
                        </a:lnTo>
                        <a:lnTo>
                          <a:pt x="864" y="156"/>
                        </a:lnTo>
                        <a:lnTo>
                          <a:pt x="858" y="150"/>
                        </a:lnTo>
                        <a:lnTo>
                          <a:pt x="846" y="150"/>
                        </a:lnTo>
                        <a:lnTo>
                          <a:pt x="840" y="144"/>
                        </a:lnTo>
                        <a:lnTo>
                          <a:pt x="816" y="150"/>
                        </a:lnTo>
                        <a:lnTo>
                          <a:pt x="810" y="150"/>
                        </a:lnTo>
                        <a:lnTo>
                          <a:pt x="798" y="102"/>
                        </a:lnTo>
                        <a:lnTo>
                          <a:pt x="756" y="84"/>
                        </a:lnTo>
                        <a:lnTo>
                          <a:pt x="720" y="84"/>
                        </a:lnTo>
                        <a:lnTo>
                          <a:pt x="720" y="66"/>
                        </a:lnTo>
                        <a:lnTo>
                          <a:pt x="714" y="48"/>
                        </a:lnTo>
                        <a:lnTo>
                          <a:pt x="720" y="48"/>
                        </a:lnTo>
                        <a:lnTo>
                          <a:pt x="726" y="42"/>
                        </a:lnTo>
                        <a:lnTo>
                          <a:pt x="726" y="30"/>
                        </a:lnTo>
                        <a:lnTo>
                          <a:pt x="720" y="30"/>
                        </a:lnTo>
                        <a:lnTo>
                          <a:pt x="708" y="24"/>
                        </a:lnTo>
                        <a:lnTo>
                          <a:pt x="702" y="18"/>
                        </a:lnTo>
                        <a:lnTo>
                          <a:pt x="696" y="18"/>
                        </a:lnTo>
                        <a:lnTo>
                          <a:pt x="690" y="0"/>
                        </a:lnTo>
                        <a:lnTo>
                          <a:pt x="642" y="0"/>
                        </a:lnTo>
                        <a:lnTo>
                          <a:pt x="630" y="6"/>
                        </a:lnTo>
                        <a:lnTo>
                          <a:pt x="600" y="6"/>
                        </a:lnTo>
                        <a:lnTo>
                          <a:pt x="600" y="18"/>
                        </a:lnTo>
                        <a:lnTo>
                          <a:pt x="594" y="24"/>
                        </a:lnTo>
                        <a:lnTo>
                          <a:pt x="558" y="24"/>
                        </a:lnTo>
                        <a:lnTo>
                          <a:pt x="546" y="18"/>
                        </a:lnTo>
                        <a:lnTo>
                          <a:pt x="516" y="18"/>
                        </a:lnTo>
                        <a:lnTo>
                          <a:pt x="510" y="30"/>
                        </a:lnTo>
                        <a:lnTo>
                          <a:pt x="498" y="36"/>
                        </a:lnTo>
                        <a:lnTo>
                          <a:pt x="492" y="42"/>
                        </a:lnTo>
                        <a:lnTo>
                          <a:pt x="486" y="54"/>
                        </a:lnTo>
                        <a:lnTo>
                          <a:pt x="492" y="60"/>
                        </a:lnTo>
                        <a:lnTo>
                          <a:pt x="492" y="72"/>
                        </a:lnTo>
                        <a:lnTo>
                          <a:pt x="486" y="78"/>
                        </a:lnTo>
                        <a:lnTo>
                          <a:pt x="468" y="78"/>
                        </a:lnTo>
                        <a:lnTo>
                          <a:pt x="462" y="72"/>
                        </a:lnTo>
                        <a:lnTo>
                          <a:pt x="438" y="72"/>
                        </a:lnTo>
                        <a:lnTo>
                          <a:pt x="426" y="78"/>
                        </a:lnTo>
                        <a:lnTo>
                          <a:pt x="420" y="78"/>
                        </a:lnTo>
                        <a:lnTo>
                          <a:pt x="420" y="66"/>
                        </a:lnTo>
                        <a:lnTo>
                          <a:pt x="414" y="60"/>
                        </a:lnTo>
                        <a:lnTo>
                          <a:pt x="396" y="60"/>
                        </a:lnTo>
                        <a:lnTo>
                          <a:pt x="390" y="66"/>
                        </a:lnTo>
                        <a:lnTo>
                          <a:pt x="390" y="72"/>
                        </a:lnTo>
                        <a:lnTo>
                          <a:pt x="378" y="60"/>
                        </a:lnTo>
                        <a:lnTo>
                          <a:pt x="366" y="66"/>
                        </a:lnTo>
                        <a:lnTo>
                          <a:pt x="360" y="60"/>
                        </a:lnTo>
                        <a:lnTo>
                          <a:pt x="342" y="66"/>
                        </a:lnTo>
                        <a:lnTo>
                          <a:pt x="336" y="54"/>
                        </a:lnTo>
                        <a:lnTo>
                          <a:pt x="324" y="66"/>
                        </a:lnTo>
                        <a:lnTo>
                          <a:pt x="306" y="54"/>
                        </a:lnTo>
                        <a:lnTo>
                          <a:pt x="300" y="60"/>
                        </a:lnTo>
                        <a:lnTo>
                          <a:pt x="282" y="48"/>
                        </a:lnTo>
                        <a:lnTo>
                          <a:pt x="258" y="42"/>
                        </a:lnTo>
                        <a:lnTo>
                          <a:pt x="222" y="42"/>
                        </a:lnTo>
                        <a:lnTo>
                          <a:pt x="216" y="36"/>
                        </a:lnTo>
                        <a:lnTo>
                          <a:pt x="216" y="30"/>
                        </a:lnTo>
                        <a:lnTo>
                          <a:pt x="168" y="30"/>
                        </a:lnTo>
                        <a:lnTo>
                          <a:pt x="162" y="36"/>
                        </a:lnTo>
                        <a:lnTo>
                          <a:pt x="150" y="42"/>
                        </a:lnTo>
                        <a:lnTo>
                          <a:pt x="114" y="42"/>
                        </a:lnTo>
                        <a:lnTo>
                          <a:pt x="114" y="48"/>
                        </a:lnTo>
                        <a:lnTo>
                          <a:pt x="96" y="66"/>
                        </a:lnTo>
                        <a:lnTo>
                          <a:pt x="78" y="66"/>
                        </a:lnTo>
                        <a:lnTo>
                          <a:pt x="66" y="60"/>
                        </a:lnTo>
                        <a:lnTo>
                          <a:pt x="72" y="78"/>
                        </a:lnTo>
                        <a:lnTo>
                          <a:pt x="90" y="96"/>
                        </a:lnTo>
                        <a:lnTo>
                          <a:pt x="90" y="102"/>
                        </a:lnTo>
                        <a:lnTo>
                          <a:pt x="102" y="108"/>
                        </a:lnTo>
                        <a:lnTo>
                          <a:pt x="108" y="114"/>
                        </a:lnTo>
                        <a:lnTo>
                          <a:pt x="102" y="126"/>
                        </a:lnTo>
                        <a:lnTo>
                          <a:pt x="108" y="132"/>
                        </a:lnTo>
                        <a:lnTo>
                          <a:pt x="108" y="138"/>
                        </a:lnTo>
                        <a:lnTo>
                          <a:pt x="114" y="144"/>
                        </a:lnTo>
                        <a:lnTo>
                          <a:pt x="108" y="150"/>
                        </a:lnTo>
                        <a:lnTo>
                          <a:pt x="102" y="150"/>
                        </a:lnTo>
                        <a:lnTo>
                          <a:pt x="96" y="156"/>
                        </a:lnTo>
                        <a:lnTo>
                          <a:pt x="84" y="156"/>
                        </a:lnTo>
                        <a:lnTo>
                          <a:pt x="30" y="204"/>
                        </a:lnTo>
                        <a:lnTo>
                          <a:pt x="30" y="246"/>
                        </a:lnTo>
                        <a:lnTo>
                          <a:pt x="42" y="258"/>
                        </a:lnTo>
                        <a:lnTo>
                          <a:pt x="18" y="258"/>
                        </a:lnTo>
                        <a:lnTo>
                          <a:pt x="18" y="270"/>
                        </a:lnTo>
                        <a:lnTo>
                          <a:pt x="12" y="276"/>
                        </a:lnTo>
                        <a:lnTo>
                          <a:pt x="12" y="282"/>
                        </a:lnTo>
                        <a:lnTo>
                          <a:pt x="6" y="288"/>
                        </a:lnTo>
                        <a:lnTo>
                          <a:pt x="0" y="288"/>
                        </a:lnTo>
                        <a:lnTo>
                          <a:pt x="0" y="306"/>
                        </a:lnTo>
                        <a:lnTo>
                          <a:pt x="6" y="306"/>
                        </a:lnTo>
                        <a:lnTo>
                          <a:pt x="24" y="3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35" name="Uganda"/>
                  <p:cNvSpPr>
                    <a:spLocks noEditPoints="1"/>
                  </p:cNvSpPr>
                  <p:nvPr/>
                </p:nvSpPr>
                <p:spPr bwMode="gray">
                  <a:xfrm>
                    <a:off x="3192" y="2224"/>
                    <a:ext cx="100" cy="118"/>
                  </a:xfrm>
                  <a:custGeom>
                    <a:avLst/>
                    <a:gdLst>
                      <a:gd name="T0" fmla="*/ 2147483647 w 390"/>
                      <a:gd name="T1" fmla="*/ 2147483647 h 462"/>
                      <a:gd name="T2" fmla="*/ 2147483647 w 390"/>
                      <a:gd name="T3" fmla="*/ 2147483647 h 462"/>
                      <a:gd name="T4" fmla="*/ 2147483647 w 390"/>
                      <a:gd name="T5" fmla="*/ 2147483647 h 462"/>
                      <a:gd name="T6" fmla="*/ 2147483647 w 390"/>
                      <a:gd name="T7" fmla="*/ 2147483647 h 462"/>
                      <a:gd name="T8" fmla="*/ 2147483647 w 390"/>
                      <a:gd name="T9" fmla="*/ 2147483647 h 462"/>
                      <a:gd name="T10" fmla="*/ 2147483647 w 390"/>
                      <a:gd name="T11" fmla="*/ 2147483647 h 462"/>
                      <a:gd name="T12" fmla="*/ 2147483647 w 390"/>
                      <a:gd name="T13" fmla="*/ 2147483647 h 462"/>
                      <a:gd name="T14" fmla="*/ 2147483647 w 390"/>
                      <a:gd name="T15" fmla="*/ 2147483647 h 462"/>
                      <a:gd name="T16" fmla="*/ 2147483647 w 390"/>
                      <a:gd name="T17" fmla="*/ 2147483647 h 462"/>
                      <a:gd name="T18" fmla="*/ 2147483647 w 390"/>
                      <a:gd name="T19" fmla="*/ 2147483647 h 462"/>
                      <a:gd name="T20" fmla="*/ 2147483647 w 390"/>
                      <a:gd name="T21" fmla="*/ 2147483647 h 462"/>
                      <a:gd name="T22" fmla="*/ 2147483647 w 390"/>
                      <a:gd name="T23" fmla="*/ 2147483647 h 462"/>
                      <a:gd name="T24" fmla="*/ 2147483647 w 390"/>
                      <a:gd name="T25" fmla="*/ 0 h 462"/>
                      <a:gd name="T26" fmla="*/ 2147483647 w 390"/>
                      <a:gd name="T27" fmla="*/ 2147483647 h 462"/>
                      <a:gd name="T28" fmla="*/ 2147483647 w 390"/>
                      <a:gd name="T29" fmla="*/ 2147483647 h 462"/>
                      <a:gd name="T30" fmla="*/ 2147483647 w 390"/>
                      <a:gd name="T31" fmla="*/ 2147483647 h 462"/>
                      <a:gd name="T32" fmla="*/ 2147483647 w 390"/>
                      <a:gd name="T33" fmla="*/ 2147483647 h 462"/>
                      <a:gd name="T34" fmla="*/ 2147483647 w 390"/>
                      <a:gd name="T35" fmla="*/ 2147483647 h 462"/>
                      <a:gd name="T36" fmla="*/ 2147483647 w 390"/>
                      <a:gd name="T37" fmla="*/ 2147483647 h 462"/>
                      <a:gd name="T38" fmla="*/ 2147483647 w 390"/>
                      <a:gd name="T39" fmla="*/ 2147483647 h 462"/>
                      <a:gd name="T40" fmla="*/ 2147483647 w 390"/>
                      <a:gd name="T41" fmla="*/ 2147483647 h 462"/>
                      <a:gd name="T42" fmla="*/ 2147483647 w 390"/>
                      <a:gd name="T43" fmla="*/ 2147483647 h 462"/>
                      <a:gd name="T44" fmla="*/ 2147483647 w 390"/>
                      <a:gd name="T45" fmla="*/ 2147483647 h 462"/>
                      <a:gd name="T46" fmla="*/ 2147483647 w 390"/>
                      <a:gd name="T47" fmla="*/ 2147483647 h 462"/>
                      <a:gd name="T48" fmla="*/ 2147483647 w 390"/>
                      <a:gd name="T49" fmla="*/ 2147483647 h 462"/>
                      <a:gd name="T50" fmla="*/ 2147483647 w 390"/>
                      <a:gd name="T51" fmla="*/ 2147483647 h 462"/>
                      <a:gd name="T52" fmla="*/ 2147483647 w 390"/>
                      <a:gd name="T53" fmla="*/ 2147483647 h 462"/>
                      <a:gd name="T54" fmla="*/ 2147483647 w 390"/>
                      <a:gd name="T55" fmla="*/ 2147483647 h 462"/>
                      <a:gd name="T56" fmla="*/ 2147483647 w 390"/>
                      <a:gd name="T57" fmla="*/ 2147483647 h 462"/>
                      <a:gd name="T58" fmla="*/ 2147483647 w 390"/>
                      <a:gd name="T59" fmla="*/ 2147483647 h 462"/>
                      <a:gd name="T60" fmla="*/ 2147483647 w 390"/>
                      <a:gd name="T61" fmla="*/ 2147483647 h 462"/>
                      <a:gd name="T62" fmla="*/ 2147483647 w 390"/>
                      <a:gd name="T63" fmla="*/ 2147483647 h 462"/>
                      <a:gd name="T64" fmla="*/ 2147483647 w 390"/>
                      <a:gd name="T65" fmla="*/ 2147483647 h 462"/>
                      <a:gd name="T66" fmla="*/ 2147483647 w 390"/>
                      <a:gd name="T67" fmla="*/ 2147483647 h 462"/>
                      <a:gd name="T68" fmla="*/ 2147483647 w 390"/>
                      <a:gd name="T69" fmla="*/ 2147483647 h 462"/>
                      <a:gd name="T70" fmla="*/ 2147483647 w 390"/>
                      <a:gd name="T71" fmla="*/ 2147483647 h 462"/>
                      <a:gd name="T72" fmla="*/ 2147483647 w 390"/>
                      <a:gd name="T73" fmla="*/ 2147483647 h 462"/>
                      <a:gd name="T74" fmla="*/ 2147483647 w 390"/>
                      <a:gd name="T75" fmla="*/ 2147483647 h 462"/>
                      <a:gd name="T76" fmla="*/ 2147483647 w 390"/>
                      <a:gd name="T77" fmla="*/ 2147483647 h 462"/>
                      <a:gd name="T78" fmla="*/ 2147483647 w 390"/>
                      <a:gd name="T79" fmla="*/ 2147483647 h 462"/>
                      <a:gd name="T80" fmla="*/ 2147483647 w 390"/>
                      <a:gd name="T81" fmla="*/ 2147483647 h 462"/>
                      <a:gd name="T82" fmla="*/ 2147483647 w 390"/>
                      <a:gd name="T83" fmla="*/ 2147483647 h 462"/>
                      <a:gd name="T84" fmla="*/ 2147483647 w 390"/>
                      <a:gd name="T85" fmla="*/ 2147483647 h 462"/>
                      <a:gd name="T86" fmla="*/ 2147483647 w 390"/>
                      <a:gd name="T87" fmla="*/ 2147483647 h 462"/>
                      <a:gd name="T88" fmla="*/ 2147483647 w 390"/>
                      <a:gd name="T89" fmla="*/ 2147483647 h 462"/>
                      <a:gd name="T90" fmla="*/ 2147483647 w 390"/>
                      <a:gd name="T91" fmla="*/ 2147483647 h 462"/>
                      <a:gd name="T92" fmla="*/ 2147483647 w 390"/>
                      <a:gd name="T93" fmla="*/ 2147483647 h 462"/>
                      <a:gd name="T94" fmla="*/ 2147483647 w 390"/>
                      <a:gd name="T95" fmla="*/ 2147483647 h 462"/>
                      <a:gd name="T96" fmla="*/ 2147483647 w 390"/>
                      <a:gd name="T97" fmla="*/ 2147483647 h 462"/>
                      <a:gd name="T98" fmla="*/ 2147483647 w 390"/>
                      <a:gd name="T99" fmla="*/ 2147483647 h 462"/>
                      <a:gd name="T100" fmla="*/ 2147483647 w 390"/>
                      <a:gd name="T101" fmla="*/ 2147483647 h 462"/>
                      <a:gd name="T102" fmla="*/ 2147483647 w 390"/>
                      <a:gd name="T103" fmla="*/ 2147483647 h 462"/>
                      <a:gd name="T104" fmla="*/ 2147483647 w 390"/>
                      <a:gd name="T105" fmla="*/ 2147483647 h 462"/>
                      <a:gd name="T106" fmla="*/ 2147483647 w 390"/>
                      <a:gd name="T107" fmla="*/ 2147483647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0"/>
                      <a:gd name="T163" fmla="*/ 0 h 462"/>
                      <a:gd name="T164" fmla="*/ 390 w 390"/>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0" h="462">
                        <a:moveTo>
                          <a:pt x="306" y="426"/>
                        </a:moveTo>
                        <a:lnTo>
                          <a:pt x="318" y="426"/>
                        </a:lnTo>
                        <a:lnTo>
                          <a:pt x="318" y="420"/>
                        </a:lnTo>
                        <a:lnTo>
                          <a:pt x="306" y="420"/>
                        </a:lnTo>
                        <a:lnTo>
                          <a:pt x="306" y="426"/>
                        </a:lnTo>
                        <a:close/>
                        <a:moveTo>
                          <a:pt x="390" y="192"/>
                        </a:moveTo>
                        <a:lnTo>
                          <a:pt x="384" y="180"/>
                        </a:lnTo>
                        <a:lnTo>
                          <a:pt x="378" y="174"/>
                        </a:lnTo>
                        <a:lnTo>
                          <a:pt x="366" y="150"/>
                        </a:lnTo>
                        <a:lnTo>
                          <a:pt x="366" y="144"/>
                        </a:lnTo>
                        <a:lnTo>
                          <a:pt x="372" y="138"/>
                        </a:lnTo>
                        <a:lnTo>
                          <a:pt x="378" y="138"/>
                        </a:lnTo>
                        <a:lnTo>
                          <a:pt x="384" y="132"/>
                        </a:lnTo>
                        <a:lnTo>
                          <a:pt x="348" y="90"/>
                        </a:lnTo>
                        <a:lnTo>
                          <a:pt x="354" y="84"/>
                        </a:lnTo>
                        <a:lnTo>
                          <a:pt x="336" y="66"/>
                        </a:lnTo>
                        <a:lnTo>
                          <a:pt x="336" y="60"/>
                        </a:lnTo>
                        <a:lnTo>
                          <a:pt x="342" y="54"/>
                        </a:lnTo>
                        <a:lnTo>
                          <a:pt x="342" y="42"/>
                        </a:lnTo>
                        <a:lnTo>
                          <a:pt x="336" y="42"/>
                        </a:lnTo>
                        <a:lnTo>
                          <a:pt x="336" y="48"/>
                        </a:lnTo>
                        <a:lnTo>
                          <a:pt x="330" y="42"/>
                        </a:lnTo>
                        <a:lnTo>
                          <a:pt x="324" y="42"/>
                        </a:lnTo>
                        <a:lnTo>
                          <a:pt x="324" y="18"/>
                        </a:lnTo>
                        <a:lnTo>
                          <a:pt x="318" y="6"/>
                        </a:lnTo>
                        <a:lnTo>
                          <a:pt x="312" y="0"/>
                        </a:lnTo>
                        <a:lnTo>
                          <a:pt x="300" y="0"/>
                        </a:lnTo>
                        <a:lnTo>
                          <a:pt x="300" y="6"/>
                        </a:lnTo>
                        <a:lnTo>
                          <a:pt x="294" y="12"/>
                        </a:lnTo>
                        <a:lnTo>
                          <a:pt x="294" y="18"/>
                        </a:lnTo>
                        <a:lnTo>
                          <a:pt x="276" y="36"/>
                        </a:lnTo>
                        <a:lnTo>
                          <a:pt x="252" y="36"/>
                        </a:lnTo>
                        <a:lnTo>
                          <a:pt x="246" y="30"/>
                        </a:lnTo>
                        <a:lnTo>
                          <a:pt x="246" y="24"/>
                        </a:lnTo>
                        <a:lnTo>
                          <a:pt x="234" y="24"/>
                        </a:lnTo>
                        <a:lnTo>
                          <a:pt x="222" y="36"/>
                        </a:lnTo>
                        <a:lnTo>
                          <a:pt x="198" y="36"/>
                        </a:lnTo>
                        <a:lnTo>
                          <a:pt x="180" y="60"/>
                        </a:lnTo>
                        <a:lnTo>
                          <a:pt x="156" y="30"/>
                        </a:lnTo>
                        <a:lnTo>
                          <a:pt x="150" y="30"/>
                        </a:lnTo>
                        <a:lnTo>
                          <a:pt x="144" y="36"/>
                        </a:lnTo>
                        <a:lnTo>
                          <a:pt x="144" y="42"/>
                        </a:lnTo>
                        <a:lnTo>
                          <a:pt x="132" y="42"/>
                        </a:lnTo>
                        <a:lnTo>
                          <a:pt x="120" y="36"/>
                        </a:lnTo>
                        <a:lnTo>
                          <a:pt x="114" y="30"/>
                        </a:lnTo>
                        <a:lnTo>
                          <a:pt x="102" y="30"/>
                        </a:lnTo>
                        <a:lnTo>
                          <a:pt x="84" y="48"/>
                        </a:lnTo>
                        <a:lnTo>
                          <a:pt x="90" y="72"/>
                        </a:lnTo>
                        <a:lnTo>
                          <a:pt x="72" y="90"/>
                        </a:lnTo>
                        <a:lnTo>
                          <a:pt x="84" y="96"/>
                        </a:lnTo>
                        <a:lnTo>
                          <a:pt x="90" y="102"/>
                        </a:lnTo>
                        <a:lnTo>
                          <a:pt x="90" y="108"/>
                        </a:lnTo>
                        <a:lnTo>
                          <a:pt x="84" y="114"/>
                        </a:lnTo>
                        <a:lnTo>
                          <a:pt x="78" y="126"/>
                        </a:lnTo>
                        <a:lnTo>
                          <a:pt x="78" y="138"/>
                        </a:lnTo>
                        <a:lnTo>
                          <a:pt x="84" y="144"/>
                        </a:lnTo>
                        <a:lnTo>
                          <a:pt x="96" y="144"/>
                        </a:lnTo>
                        <a:lnTo>
                          <a:pt x="108" y="150"/>
                        </a:lnTo>
                        <a:lnTo>
                          <a:pt x="114" y="156"/>
                        </a:lnTo>
                        <a:lnTo>
                          <a:pt x="114" y="168"/>
                        </a:lnTo>
                        <a:lnTo>
                          <a:pt x="108" y="180"/>
                        </a:lnTo>
                        <a:lnTo>
                          <a:pt x="96" y="192"/>
                        </a:lnTo>
                        <a:lnTo>
                          <a:pt x="84" y="216"/>
                        </a:lnTo>
                        <a:lnTo>
                          <a:pt x="72" y="222"/>
                        </a:lnTo>
                        <a:lnTo>
                          <a:pt x="66" y="234"/>
                        </a:lnTo>
                        <a:lnTo>
                          <a:pt x="42" y="246"/>
                        </a:lnTo>
                        <a:lnTo>
                          <a:pt x="42" y="258"/>
                        </a:lnTo>
                        <a:lnTo>
                          <a:pt x="24" y="270"/>
                        </a:lnTo>
                        <a:lnTo>
                          <a:pt x="6" y="342"/>
                        </a:lnTo>
                        <a:lnTo>
                          <a:pt x="6" y="372"/>
                        </a:lnTo>
                        <a:lnTo>
                          <a:pt x="0" y="450"/>
                        </a:lnTo>
                        <a:lnTo>
                          <a:pt x="12" y="450"/>
                        </a:lnTo>
                        <a:lnTo>
                          <a:pt x="24" y="462"/>
                        </a:lnTo>
                        <a:lnTo>
                          <a:pt x="30" y="462"/>
                        </a:lnTo>
                        <a:lnTo>
                          <a:pt x="42" y="438"/>
                        </a:lnTo>
                        <a:lnTo>
                          <a:pt x="48" y="432"/>
                        </a:lnTo>
                        <a:lnTo>
                          <a:pt x="48" y="426"/>
                        </a:lnTo>
                        <a:lnTo>
                          <a:pt x="72" y="420"/>
                        </a:lnTo>
                        <a:lnTo>
                          <a:pt x="162" y="426"/>
                        </a:lnTo>
                        <a:lnTo>
                          <a:pt x="162" y="414"/>
                        </a:lnTo>
                        <a:lnTo>
                          <a:pt x="156" y="408"/>
                        </a:lnTo>
                        <a:lnTo>
                          <a:pt x="150" y="396"/>
                        </a:lnTo>
                        <a:lnTo>
                          <a:pt x="162" y="372"/>
                        </a:lnTo>
                        <a:lnTo>
                          <a:pt x="168" y="366"/>
                        </a:lnTo>
                        <a:lnTo>
                          <a:pt x="168" y="342"/>
                        </a:lnTo>
                        <a:lnTo>
                          <a:pt x="174" y="336"/>
                        </a:lnTo>
                        <a:lnTo>
                          <a:pt x="186" y="330"/>
                        </a:lnTo>
                        <a:lnTo>
                          <a:pt x="204" y="324"/>
                        </a:lnTo>
                        <a:lnTo>
                          <a:pt x="240" y="324"/>
                        </a:lnTo>
                        <a:lnTo>
                          <a:pt x="252" y="312"/>
                        </a:lnTo>
                        <a:lnTo>
                          <a:pt x="258" y="300"/>
                        </a:lnTo>
                        <a:lnTo>
                          <a:pt x="264" y="300"/>
                        </a:lnTo>
                        <a:lnTo>
                          <a:pt x="264" y="306"/>
                        </a:lnTo>
                        <a:lnTo>
                          <a:pt x="270" y="312"/>
                        </a:lnTo>
                        <a:lnTo>
                          <a:pt x="270" y="330"/>
                        </a:lnTo>
                        <a:lnTo>
                          <a:pt x="276" y="324"/>
                        </a:lnTo>
                        <a:lnTo>
                          <a:pt x="312" y="324"/>
                        </a:lnTo>
                        <a:lnTo>
                          <a:pt x="312" y="330"/>
                        </a:lnTo>
                        <a:lnTo>
                          <a:pt x="312" y="318"/>
                        </a:lnTo>
                        <a:lnTo>
                          <a:pt x="318" y="306"/>
                        </a:lnTo>
                        <a:lnTo>
                          <a:pt x="324" y="300"/>
                        </a:lnTo>
                        <a:lnTo>
                          <a:pt x="330" y="282"/>
                        </a:lnTo>
                        <a:lnTo>
                          <a:pt x="348" y="270"/>
                        </a:lnTo>
                        <a:lnTo>
                          <a:pt x="348" y="246"/>
                        </a:lnTo>
                        <a:lnTo>
                          <a:pt x="354" y="240"/>
                        </a:lnTo>
                        <a:lnTo>
                          <a:pt x="372" y="240"/>
                        </a:lnTo>
                        <a:lnTo>
                          <a:pt x="378" y="216"/>
                        </a:lnTo>
                        <a:lnTo>
                          <a:pt x="390" y="204"/>
                        </a:lnTo>
                        <a:lnTo>
                          <a:pt x="390" y="19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36" name="Turkmenistan"/>
                  <p:cNvSpPr>
                    <a:spLocks/>
                  </p:cNvSpPr>
                  <p:nvPr/>
                </p:nvSpPr>
                <p:spPr bwMode="gray">
                  <a:xfrm>
                    <a:off x="3540" y="1429"/>
                    <a:ext cx="258" cy="155"/>
                  </a:xfrm>
                  <a:custGeom>
                    <a:avLst/>
                    <a:gdLst>
                      <a:gd name="T0" fmla="*/ 2147483647 w 1008"/>
                      <a:gd name="T1" fmla="*/ 2147483647 h 606"/>
                      <a:gd name="T2" fmla="*/ 2147483647 w 1008"/>
                      <a:gd name="T3" fmla="*/ 2147483647 h 606"/>
                      <a:gd name="T4" fmla="*/ 2147483647 w 1008"/>
                      <a:gd name="T5" fmla="*/ 2147483647 h 606"/>
                      <a:gd name="T6" fmla="*/ 2147483647 w 1008"/>
                      <a:gd name="T7" fmla="*/ 2147483647 h 606"/>
                      <a:gd name="T8" fmla="*/ 2147483647 w 1008"/>
                      <a:gd name="T9" fmla="*/ 2147483647 h 606"/>
                      <a:gd name="T10" fmla="*/ 2147483647 w 1008"/>
                      <a:gd name="T11" fmla="*/ 2147483647 h 606"/>
                      <a:gd name="T12" fmla="*/ 2147483647 w 1008"/>
                      <a:gd name="T13" fmla="*/ 2147483647 h 606"/>
                      <a:gd name="T14" fmla="*/ 2147483647 w 1008"/>
                      <a:gd name="T15" fmla="*/ 2147483647 h 606"/>
                      <a:gd name="T16" fmla="*/ 2147483647 w 1008"/>
                      <a:gd name="T17" fmla="*/ 2147483647 h 606"/>
                      <a:gd name="T18" fmla="*/ 2147483647 w 1008"/>
                      <a:gd name="T19" fmla="*/ 2147483647 h 606"/>
                      <a:gd name="T20" fmla="*/ 2147483647 w 1008"/>
                      <a:gd name="T21" fmla="*/ 2147483647 h 606"/>
                      <a:gd name="T22" fmla="*/ 2147483647 w 1008"/>
                      <a:gd name="T23" fmla="*/ 2147483647 h 606"/>
                      <a:gd name="T24" fmla="*/ 2147483647 w 1008"/>
                      <a:gd name="T25" fmla="*/ 2147483647 h 606"/>
                      <a:gd name="T26" fmla="*/ 2147483647 w 1008"/>
                      <a:gd name="T27" fmla="*/ 2147483647 h 606"/>
                      <a:gd name="T28" fmla="*/ 2147483647 w 1008"/>
                      <a:gd name="T29" fmla="*/ 2147483647 h 606"/>
                      <a:gd name="T30" fmla="*/ 2147483647 w 1008"/>
                      <a:gd name="T31" fmla="*/ 2147483647 h 606"/>
                      <a:gd name="T32" fmla="*/ 2147483647 w 1008"/>
                      <a:gd name="T33" fmla="*/ 2147483647 h 606"/>
                      <a:gd name="T34" fmla="*/ 2147483647 w 1008"/>
                      <a:gd name="T35" fmla="*/ 2147483647 h 606"/>
                      <a:gd name="T36" fmla="*/ 2147483647 w 1008"/>
                      <a:gd name="T37" fmla="*/ 2147483647 h 606"/>
                      <a:gd name="T38" fmla="*/ 2147483647 w 1008"/>
                      <a:gd name="T39" fmla="*/ 2147483647 h 606"/>
                      <a:gd name="T40" fmla="*/ 2147483647 w 1008"/>
                      <a:gd name="T41" fmla="*/ 2147483647 h 606"/>
                      <a:gd name="T42" fmla="*/ 2147483647 w 1008"/>
                      <a:gd name="T43" fmla="*/ 2147483647 h 606"/>
                      <a:gd name="T44" fmla="*/ 2147483647 w 1008"/>
                      <a:gd name="T45" fmla="*/ 2147483647 h 606"/>
                      <a:gd name="T46" fmla="*/ 2147483647 w 1008"/>
                      <a:gd name="T47" fmla="*/ 2147483647 h 606"/>
                      <a:gd name="T48" fmla="*/ 2147483647 w 1008"/>
                      <a:gd name="T49" fmla="*/ 2147483647 h 606"/>
                      <a:gd name="T50" fmla="*/ 2147483647 w 1008"/>
                      <a:gd name="T51" fmla="*/ 2147483647 h 606"/>
                      <a:gd name="T52" fmla="*/ 2147483647 w 1008"/>
                      <a:gd name="T53" fmla="*/ 2147483647 h 606"/>
                      <a:gd name="T54" fmla="*/ 2147483647 w 1008"/>
                      <a:gd name="T55" fmla="*/ 2147483647 h 606"/>
                      <a:gd name="T56" fmla="*/ 2147483647 w 1008"/>
                      <a:gd name="T57" fmla="*/ 2147483647 h 606"/>
                      <a:gd name="T58" fmla="*/ 2147483647 w 1008"/>
                      <a:gd name="T59" fmla="*/ 2147483647 h 606"/>
                      <a:gd name="T60" fmla="*/ 2147483647 w 1008"/>
                      <a:gd name="T61" fmla="*/ 2147483647 h 606"/>
                      <a:gd name="T62" fmla="*/ 2147483647 w 1008"/>
                      <a:gd name="T63" fmla="*/ 2147483647 h 606"/>
                      <a:gd name="T64" fmla="*/ 2147483647 w 1008"/>
                      <a:gd name="T65" fmla="*/ 2147483647 h 606"/>
                      <a:gd name="T66" fmla="*/ 2147483647 w 1008"/>
                      <a:gd name="T67" fmla="*/ 2147483647 h 606"/>
                      <a:gd name="T68" fmla="*/ 2147483647 w 1008"/>
                      <a:gd name="T69" fmla="*/ 2147483647 h 606"/>
                      <a:gd name="T70" fmla="*/ 2147483647 w 1008"/>
                      <a:gd name="T71" fmla="*/ 2147483647 h 606"/>
                      <a:gd name="T72" fmla="*/ 2147483647 w 1008"/>
                      <a:gd name="T73" fmla="*/ 2147483647 h 606"/>
                      <a:gd name="T74" fmla="*/ 2147483647 w 1008"/>
                      <a:gd name="T75" fmla="*/ 2147483647 h 606"/>
                      <a:gd name="T76" fmla="*/ 2147483647 w 1008"/>
                      <a:gd name="T77" fmla="*/ 2147483647 h 606"/>
                      <a:gd name="T78" fmla="*/ 2147483647 w 1008"/>
                      <a:gd name="T79" fmla="*/ 2147483647 h 606"/>
                      <a:gd name="T80" fmla="*/ 2147483647 w 1008"/>
                      <a:gd name="T81" fmla="*/ 2147483647 h 606"/>
                      <a:gd name="T82" fmla="*/ 2147483647 w 1008"/>
                      <a:gd name="T83" fmla="*/ 2147483647 h 606"/>
                      <a:gd name="T84" fmla="*/ 2147483647 w 1008"/>
                      <a:gd name="T85" fmla="*/ 2147483647 h 606"/>
                      <a:gd name="T86" fmla="*/ 2147483647 w 1008"/>
                      <a:gd name="T87" fmla="*/ 2147483647 h 606"/>
                      <a:gd name="T88" fmla="*/ 2147483647 w 1008"/>
                      <a:gd name="T89" fmla="*/ 2147483647 h 606"/>
                      <a:gd name="T90" fmla="*/ 2147483647 w 1008"/>
                      <a:gd name="T91" fmla="*/ 2147483647 h 606"/>
                      <a:gd name="T92" fmla="*/ 2147483647 w 1008"/>
                      <a:gd name="T93" fmla="*/ 2147483647 h 606"/>
                      <a:gd name="T94" fmla="*/ 2147483647 w 1008"/>
                      <a:gd name="T95" fmla="*/ 2147483647 h 606"/>
                      <a:gd name="T96" fmla="*/ 2147483647 w 1008"/>
                      <a:gd name="T97" fmla="*/ 2147483647 h 606"/>
                      <a:gd name="T98" fmla="*/ 2147483647 w 1008"/>
                      <a:gd name="T99" fmla="*/ 2147483647 h 606"/>
                      <a:gd name="T100" fmla="*/ 2147483647 w 1008"/>
                      <a:gd name="T101" fmla="*/ 2147483647 h 606"/>
                      <a:gd name="T102" fmla="*/ 2147483647 w 1008"/>
                      <a:gd name="T103" fmla="*/ 2147483647 h 606"/>
                      <a:gd name="T104" fmla="*/ 0 w 1008"/>
                      <a:gd name="T105" fmla="*/ 2147483647 h 606"/>
                      <a:gd name="T106" fmla="*/ 2147483647 w 1008"/>
                      <a:gd name="T107" fmla="*/ 2147483647 h 606"/>
                      <a:gd name="T108" fmla="*/ 2147483647 w 1008"/>
                      <a:gd name="T109" fmla="*/ 2147483647 h 6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008"/>
                      <a:gd name="T166" fmla="*/ 0 h 606"/>
                      <a:gd name="T167" fmla="*/ 1008 w 1008"/>
                      <a:gd name="T168" fmla="*/ 606 h 60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008" h="606">
                        <a:moveTo>
                          <a:pt x="48" y="150"/>
                        </a:moveTo>
                        <a:lnTo>
                          <a:pt x="48" y="156"/>
                        </a:lnTo>
                        <a:lnTo>
                          <a:pt x="42" y="162"/>
                        </a:lnTo>
                        <a:lnTo>
                          <a:pt x="36" y="174"/>
                        </a:lnTo>
                        <a:lnTo>
                          <a:pt x="36" y="186"/>
                        </a:lnTo>
                        <a:lnTo>
                          <a:pt x="42" y="198"/>
                        </a:lnTo>
                        <a:lnTo>
                          <a:pt x="48" y="204"/>
                        </a:lnTo>
                        <a:lnTo>
                          <a:pt x="54" y="216"/>
                        </a:lnTo>
                        <a:lnTo>
                          <a:pt x="60" y="222"/>
                        </a:lnTo>
                        <a:lnTo>
                          <a:pt x="60" y="228"/>
                        </a:lnTo>
                        <a:lnTo>
                          <a:pt x="90" y="222"/>
                        </a:lnTo>
                        <a:lnTo>
                          <a:pt x="90" y="246"/>
                        </a:lnTo>
                        <a:lnTo>
                          <a:pt x="114" y="258"/>
                        </a:lnTo>
                        <a:lnTo>
                          <a:pt x="90" y="258"/>
                        </a:lnTo>
                        <a:lnTo>
                          <a:pt x="78" y="264"/>
                        </a:lnTo>
                        <a:lnTo>
                          <a:pt x="72" y="264"/>
                        </a:lnTo>
                        <a:lnTo>
                          <a:pt x="72" y="270"/>
                        </a:lnTo>
                        <a:lnTo>
                          <a:pt x="78" y="276"/>
                        </a:lnTo>
                        <a:lnTo>
                          <a:pt x="90" y="276"/>
                        </a:lnTo>
                        <a:lnTo>
                          <a:pt x="96" y="282"/>
                        </a:lnTo>
                        <a:lnTo>
                          <a:pt x="114" y="282"/>
                        </a:lnTo>
                        <a:lnTo>
                          <a:pt x="120" y="288"/>
                        </a:lnTo>
                        <a:lnTo>
                          <a:pt x="126" y="300"/>
                        </a:lnTo>
                        <a:lnTo>
                          <a:pt x="132" y="306"/>
                        </a:lnTo>
                        <a:lnTo>
                          <a:pt x="138" y="354"/>
                        </a:lnTo>
                        <a:lnTo>
                          <a:pt x="150" y="360"/>
                        </a:lnTo>
                        <a:lnTo>
                          <a:pt x="150" y="372"/>
                        </a:lnTo>
                        <a:lnTo>
                          <a:pt x="144" y="378"/>
                        </a:lnTo>
                        <a:lnTo>
                          <a:pt x="144" y="402"/>
                        </a:lnTo>
                        <a:lnTo>
                          <a:pt x="150" y="414"/>
                        </a:lnTo>
                        <a:lnTo>
                          <a:pt x="150" y="426"/>
                        </a:lnTo>
                        <a:lnTo>
                          <a:pt x="156" y="432"/>
                        </a:lnTo>
                        <a:lnTo>
                          <a:pt x="156" y="438"/>
                        </a:lnTo>
                        <a:lnTo>
                          <a:pt x="186" y="438"/>
                        </a:lnTo>
                        <a:lnTo>
                          <a:pt x="198" y="426"/>
                        </a:lnTo>
                        <a:lnTo>
                          <a:pt x="210" y="420"/>
                        </a:lnTo>
                        <a:lnTo>
                          <a:pt x="210" y="408"/>
                        </a:lnTo>
                        <a:lnTo>
                          <a:pt x="216" y="402"/>
                        </a:lnTo>
                        <a:lnTo>
                          <a:pt x="228" y="396"/>
                        </a:lnTo>
                        <a:lnTo>
                          <a:pt x="246" y="378"/>
                        </a:lnTo>
                        <a:lnTo>
                          <a:pt x="258" y="372"/>
                        </a:lnTo>
                        <a:lnTo>
                          <a:pt x="294" y="372"/>
                        </a:lnTo>
                        <a:lnTo>
                          <a:pt x="306" y="378"/>
                        </a:lnTo>
                        <a:lnTo>
                          <a:pt x="312" y="372"/>
                        </a:lnTo>
                        <a:lnTo>
                          <a:pt x="312" y="366"/>
                        </a:lnTo>
                        <a:lnTo>
                          <a:pt x="372" y="366"/>
                        </a:lnTo>
                        <a:lnTo>
                          <a:pt x="384" y="378"/>
                        </a:lnTo>
                        <a:lnTo>
                          <a:pt x="384" y="390"/>
                        </a:lnTo>
                        <a:lnTo>
                          <a:pt x="414" y="390"/>
                        </a:lnTo>
                        <a:lnTo>
                          <a:pt x="420" y="396"/>
                        </a:lnTo>
                        <a:lnTo>
                          <a:pt x="432" y="402"/>
                        </a:lnTo>
                        <a:lnTo>
                          <a:pt x="438" y="408"/>
                        </a:lnTo>
                        <a:lnTo>
                          <a:pt x="450" y="414"/>
                        </a:lnTo>
                        <a:lnTo>
                          <a:pt x="450" y="408"/>
                        </a:lnTo>
                        <a:lnTo>
                          <a:pt x="468" y="408"/>
                        </a:lnTo>
                        <a:lnTo>
                          <a:pt x="480" y="414"/>
                        </a:lnTo>
                        <a:lnTo>
                          <a:pt x="498" y="414"/>
                        </a:lnTo>
                        <a:lnTo>
                          <a:pt x="510" y="420"/>
                        </a:lnTo>
                        <a:lnTo>
                          <a:pt x="516" y="420"/>
                        </a:lnTo>
                        <a:lnTo>
                          <a:pt x="522" y="426"/>
                        </a:lnTo>
                        <a:lnTo>
                          <a:pt x="522" y="432"/>
                        </a:lnTo>
                        <a:lnTo>
                          <a:pt x="528" y="444"/>
                        </a:lnTo>
                        <a:lnTo>
                          <a:pt x="534" y="450"/>
                        </a:lnTo>
                        <a:lnTo>
                          <a:pt x="540" y="450"/>
                        </a:lnTo>
                        <a:lnTo>
                          <a:pt x="546" y="456"/>
                        </a:lnTo>
                        <a:lnTo>
                          <a:pt x="558" y="456"/>
                        </a:lnTo>
                        <a:lnTo>
                          <a:pt x="570" y="468"/>
                        </a:lnTo>
                        <a:lnTo>
                          <a:pt x="582" y="474"/>
                        </a:lnTo>
                        <a:lnTo>
                          <a:pt x="588" y="486"/>
                        </a:lnTo>
                        <a:lnTo>
                          <a:pt x="594" y="492"/>
                        </a:lnTo>
                        <a:lnTo>
                          <a:pt x="660" y="486"/>
                        </a:lnTo>
                        <a:lnTo>
                          <a:pt x="660" y="522"/>
                        </a:lnTo>
                        <a:lnTo>
                          <a:pt x="672" y="522"/>
                        </a:lnTo>
                        <a:lnTo>
                          <a:pt x="666" y="546"/>
                        </a:lnTo>
                        <a:lnTo>
                          <a:pt x="678" y="576"/>
                        </a:lnTo>
                        <a:lnTo>
                          <a:pt x="684" y="582"/>
                        </a:lnTo>
                        <a:lnTo>
                          <a:pt x="696" y="582"/>
                        </a:lnTo>
                        <a:lnTo>
                          <a:pt x="702" y="588"/>
                        </a:lnTo>
                        <a:lnTo>
                          <a:pt x="714" y="588"/>
                        </a:lnTo>
                        <a:lnTo>
                          <a:pt x="720" y="582"/>
                        </a:lnTo>
                        <a:lnTo>
                          <a:pt x="726" y="582"/>
                        </a:lnTo>
                        <a:lnTo>
                          <a:pt x="750" y="606"/>
                        </a:lnTo>
                        <a:lnTo>
                          <a:pt x="774" y="606"/>
                        </a:lnTo>
                        <a:lnTo>
                          <a:pt x="786" y="600"/>
                        </a:lnTo>
                        <a:lnTo>
                          <a:pt x="792" y="594"/>
                        </a:lnTo>
                        <a:lnTo>
                          <a:pt x="804" y="570"/>
                        </a:lnTo>
                        <a:lnTo>
                          <a:pt x="804" y="558"/>
                        </a:lnTo>
                        <a:lnTo>
                          <a:pt x="816" y="558"/>
                        </a:lnTo>
                        <a:lnTo>
                          <a:pt x="852" y="540"/>
                        </a:lnTo>
                        <a:lnTo>
                          <a:pt x="858" y="528"/>
                        </a:lnTo>
                        <a:lnTo>
                          <a:pt x="870" y="522"/>
                        </a:lnTo>
                        <a:lnTo>
                          <a:pt x="882" y="522"/>
                        </a:lnTo>
                        <a:lnTo>
                          <a:pt x="882" y="462"/>
                        </a:lnTo>
                        <a:lnTo>
                          <a:pt x="888" y="450"/>
                        </a:lnTo>
                        <a:lnTo>
                          <a:pt x="900" y="444"/>
                        </a:lnTo>
                        <a:lnTo>
                          <a:pt x="936" y="444"/>
                        </a:lnTo>
                        <a:lnTo>
                          <a:pt x="936" y="420"/>
                        </a:lnTo>
                        <a:lnTo>
                          <a:pt x="948" y="420"/>
                        </a:lnTo>
                        <a:lnTo>
                          <a:pt x="960" y="426"/>
                        </a:lnTo>
                        <a:lnTo>
                          <a:pt x="966" y="432"/>
                        </a:lnTo>
                        <a:lnTo>
                          <a:pt x="978" y="438"/>
                        </a:lnTo>
                        <a:lnTo>
                          <a:pt x="1008" y="438"/>
                        </a:lnTo>
                        <a:lnTo>
                          <a:pt x="1008" y="426"/>
                        </a:lnTo>
                        <a:lnTo>
                          <a:pt x="996" y="414"/>
                        </a:lnTo>
                        <a:lnTo>
                          <a:pt x="996" y="396"/>
                        </a:lnTo>
                        <a:lnTo>
                          <a:pt x="1002" y="390"/>
                        </a:lnTo>
                        <a:lnTo>
                          <a:pt x="954" y="360"/>
                        </a:lnTo>
                        <a:lnTo>
                          <a:pt x="930" y="366"/>
                        </a:lnTo>
                        <a:lnTo>
                          <a:pt x="924" y="366"/>
                        </a:lnTo>
                        <a:lnTo>
                          <a:pt x="912" y="354"/>
                        </a:lnTo>
                        <a:lnTo>
                          <a:pt x="900" y="354"/>
                        </a:lnTo>
                        <a:lnTo>
                          <a:pt x="888" y="342"/>
                        </a:lnTo>
                        <a:lnTo>
                          <a:pt x="876" y="336"/>
                        </a:lnTo>
                        <a:lnTo>
                          <a:pt x="870" y="330"/>
                        </a:lnTo>
                        <a:lnTo>
                          <a:pt x="846" y="318"/>
                        </a:lnTo>
                        <a:lnTo>
                          <a:pt x="828" y="306"/>
                        </a:lnTo>
                        <a:lnTo>
                          <a:pt x="804" y="306"/>
                        </a:lnTo>
                        <a:lnTo>
                          <a:pt x="774" y="288"/>
                        </a:lnTo>
                        <a:lnTo>
                          <a:pt x="768" y="282"/>
                        </a:lnTo>
                        <a:lnTo>
                          <a:pt x="762" y="270"/>
                        </a:lnTo>
                        <a:lnTo>
                          <a:pt x="750" y="258"/>
                        </a:lnTo>
                        <a:lnTo>
                          <a:pt x="744" y="258"/>
                        </a:lnTo>
                        <a:lnTo>
                          <a:pt x="732" y="252"/>
                        </a:lnTo>
                        <a:lnTo>
                          <a:pt x="714" y="252"/>
                        </a:lnTo>
                        <a:lnTo>
                          <a:pt x="702" y="246"/>
                        </a:lnTo>
                        <a:lnTo>
                          <a:pt x="690" y="234"/>
                        </a:lnTo>
                        <a:lnTo>
                          <a:pt x="672" y="198"/>
                        </a:lnTo>
                        <a:lnTo>
                          <a:pt x="666" y="192"/>
                        </a:lnTo>
                        <a:lnTo>
                          <a:pt x="666" y="186"/>
                        </a:lnTo>
                        <a:lnTo>
                          <a:pt x="648" y="168"/>
                        </a:lnTo>
                        <a:lnTo>
                          <a:pt x="630" y="138"/>
                        </a:lnTo>
                        <a:lnTo>
                          <a:pt x="594" y="120"/>
                        </a:lnTo>
                        <a:lnTo>
                          <a:pt x="594" y="126"/>
                        </a:lnTo>
                        <a:lnTo>
                          <a:pt x="540" y="120"/>
                        </a:lnTo>
                        <a:lnTo>
                          <a:pt x="510" y="120"/>
                        </a:lnTo>
                        <a:lnTo>
                          <a:pt x="492" y="102"/>
                        </a:lnTo>
                        <a:lnTo>
                          <a:pt x="492" y="90"/>
                        </a:lnTo>
                        <a:lnTo>
                          <a:pt x="504" y="78"/>
                        </a:lnTo>
                        <a:lnTo>
                          <a:pt x="492" y="72"/>
                        </a:lnTo>
                        <a:lnTo>
                          <a:pt x="492" y="60"/>
                        </a:lnTo>
                        <a:lnTo>
                          <a:pt x="486" y="48"/>
                        </a:lnTo>
                        <a:lnTo>
                          <a:pt x="480" y="42"/>
                        </a:lnTo>
                        <a:lnTo>
                          <a:pt x="444" y="42"/>
                        </a:lnTo>
                        <a:lnTo>
                          <a:pt x="432" y="36"/>
                        </a:lnTo>
                        <a:lnTo>
                          <a:pt x="432" y="24"/>
                        </a:lnTo>
                        <a:lnTo>
                          <a:pt x="408" y="24"/>
                        </a:lnTo>
                        <a:lnTo>
                          <a:pt x="390" y="0"/>
                        </a:lnTo>
                        <a:lnTo>
                          <a:pt x="384" y="12"/>
                        </a:lnTo>
                        <a:lnTo>
                          <a:pt x="354" y="6"/>
                        </a:lnTo>
                        <a:lnTo>
                          <a:pt x="384" y="36"/>
                        </a:lnTo>
                        <a:lnTo>
                          <a:pt x="378" y="30"/>
                        </a:lnTo>
                        <a:lnTo>
                          <a:pt x="366" y="30"/>
                        </a:lnTo>
                        <a:lnTo>
                          <a:pt x="360" y="24"/>
                        </a:lnTo>
                        <a:lnTo>
                          <a:pt x="354" y="24"/>
                        </a:lnTo>
                        <a:lnTo>
                          <a:pt x="348" y="30"/>
                        </a:lnTo>
                        <a:lnTo>
                          <a:pt x="348" y="42"/>
                        </a:lnTo>
                        <a:lnTo>
                          <a:pt x="342" y="42"/>
                        </a:lnTo>
                        <a:lnTo>
                          <a:pt x="336" y="48"/>
                        </a:lnTo>
                        <a:lnTo>
                          <a:pt x="324" y="48"/>
                        </a:lnTo>
                        <a:lnTo>
                          <a:pt x="312" y="54"/>
                        </a:lnTo>
                        <a:lnTo>
                          <a:pt x="294" y="72"/>
                        </a:lnTo>
                        <a:lnTo>
                          <a:pt x="294" y="84"/>
                        </a:lnTo>
                        <a:lnTo>
                          <a:pt x="300" y="102"/>
                        </a:lnTo>
                        <a:lnTo>
                          <a:pt x="312" y="108"/>
                        </a:lnTo>
                        <a:lnTo>
                          <a:pt x="318" y="120"/>
                        </a:lnTo>
                        <a:lnTo>
                          <a:pt x="252" y="120"/>
                        </a:lnTo>
                        <a:lnTo>
                          <a:pt x="240" y="108"/>
                        </a:lnTo>
                        <a:lnTo>
                          <a:pt x="228" y="108"/>
                        </a:lnTo>
                        <a:lnTo>
                          <a:pt x="228" y="114"/>
                        </a:lnTo>
                        <a:lnTo>
                          <a:pt x="216" y="126"/>
                        </a:lnTo>
                        <a:lnTo>
                          <a:pt x="210" y="120"/>
                        </a:lnTo>
                        <a:lnTo>
                          <a:pt x="198" y="114"/>
                        </a:lnTo>
                        <a:lnTo>
                          <a:pt x="174" y="90"/>
                        </a:lnTo>
                        <a:lnTo>
                          <a:pt x="168" y="78"/>
                        </a:lnTo>
                        <a:lnTo>
                          <a:pt x="162" y="72"/>
                        </a:lnTo>
                        <a:lnTo>
                          <a:pt x="156" y="60"/>
                        </a:lnTo>
                        <a:lnTo>
                          <a:pt x="144" y="54"/>
                        </a:lnTo>
                        <a:lnTo>
                          <a:pt x="132" y="42"/>
                        </a:lnTo>
                        <a:lnTo>
                          <a:pt x="120" y="42"/>
                        </a:lnTo>
                        <a:lnTo>
                          <a:pt x="96" y="30"/>
                        </a:lnTo>
                        <a:lnTo>
                          <a:pt x="78" y="30"/>
                        </a:lnTo>
                        <a:lnTo>
                          <a:pt x="72" y="36"/>
                        </a:lnTo>
                        <a:lnTo>
                          <a:pt x="72" y="48"/>
                        </a:lnTo>
                        <a:lnTo>
                          <a:pt x="84" y="54"/>
                        </a:lnTo>
                        <a:lnTo>
                          <a:pt x="90" y="54"/>
                        </a:lnTo>
                        <a:lnTo>
                          <a:pt x="90" y="66"/>
                        </a:lnTo>
                        <a:lnTo>
                          <a:pt x="96" y="66"/>
                        </a:lnTo>
                        <a:lnTo>
                          <a:pt x="96" y="72"/>
                        </a:lnTo>
                        <a:lnTo>
                          <a:pt x="102" y="84"/>
                        </a:lnTo>
                        <a:lnTo>
                          <a:pt x="114" y="90"/>
                        </a:lnTo>
                        <a:lnTo>
                          <a:pt x="126" y="102"/>
                        </a:lnTo>
                        <a:lnTo>
                          <a:pt x="138" y="108"/>
                        </a:lnTo>
                        <a:lnTo>
                          <a:pt x="150" y="120"/>
                        </a:lnTo>
                        <a:lnTo>
                          <a:pt x="162" y="126"/>
                        </a:lnTo>
                        <a:lnTo>
                          <a:pt x="162" y="150"/>
                        </a:lnTo>
                        <a:lnTo>
                          <a:pt x="156" y="156"/>
                        </a:lnTo>
                        <a:lnTo>
                          <a:pt x="144" y="156"/>
                        </a:lnTo>
                        <a:lnTo>
                          <a:pt x="132" y="150"/>
                        </a:lnTo>
                        <a:lnTo>
                          <a:pt x="120" y="138"/>
                        </a:lnTo>
                        <a:lnTo>
                          <a:pt x="120" y="162"/>
                        </a:lnTo>
                        <a:lnTo>
                          <a:pt x="78" y="162"/>
                        </a:lnTo>
                        <a:lnTo>
                          <a:pt x="66" y="144"/>
                        </a:lnTo>
                        <a:lnTo>
                          <a:pt x="60" y="150"/>
                        </a:lnTo>
                        <a:lnTo>
                          <a:pt x="48" y="138"/>
                        </a:lnTo>
                        <a:lnTo>
                          <a:pt x="42" y="126"/>
                        </a:lnTo>
                        <a:lnTo>
                          <a:pt x="36" y="120"/>
                        </a:lnTo>
                        <a:lnTo>
                          <a:pt x="36" y="102"/>
                        </a:lnTo>
                        <a:lnTo>
                          <a:pt x="30" y="96"/>
                        </a:lnTo>
                        <a:lnTo>
                          <a:pt x="30" y="84"/>
                        </a:lnTo>
                        <a:lnTo>
                          <a:pt x="24" y="78"/>
                        </a:lnTo>
                        <a:lnTo>
                          <a:pt x="0" y="78"/>
                        </a:lnTo>
                        <a:lnTo>
                          <a:pt x="0" y="84"/>
                        </a:lnTo>
                        <a:lnTo>
                          <a:pt x="6" y="90"/>
                        </a:lnTo>
                        <a:lnTo>
                          <a:pt x="12" y="102"/>
                        </a:lnTo>
                        <a:lnTo>
                          <a:pt x="18" y="108"/>
                        </a:lnTo>
                        <a:lnTo>
                          <a:pt x="24" y="120"/>
                        </a:lnTo>
                        <a:lnTo>
                          <a:pt x="36" y="126"/>
                        </a:lnTo>
                        <a:lnTo>
                          <a:pt x="42" y="138"/>
                        </a:lnTo>
                        <a:lnTo>
                          <a:pt x="48" y="144"/>
                        </a:lnTo>
                        <a:lnTo>
                          <a:pt x="48" y="15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37" name="Turkey"/>
                  <p:cNvSpPr>
                    <a:spLocks noEditPoints="1"/>
                  </p:cNvSpPr>
                  <p:nvPr/>
                </p:nvSpPr>
                <p:spPr bwMode="gray">
                  <a:xfrm>
                    <a:off x="3088" y="1441"/>
                    <a:ext cx="340" cy="130"/>
                  </a:xfrm>
                  <a:custGeom>
                    <a:avLst/>
                    <a:gdLst>
                      <a:gd name="T0" fmla="*/ 2147483647 w 1332"/>
                      <a:gd name="T1" fmla="*/ 2147483647 h 510"/>
                      <a:gd name="T2" fmla="*/ 2147483647 w 1332"/>
                      <a:gd name="T3" fmla="*/ 2147483647 h 510"/>
                      <a:gd name="T4" fmla="*/ 2147483647 w 1332"/>
                      <a:gd name="T5" fmla="*/ 2147483647 h 510"/>
                      <a:gd name="T6" fmla="*/ 2147483647 w 1332"/>
                      <a:gd name="T7" fmla="*/ 2147483647 h 510"/>
                      <a:gd name="T8" fmla="*/ 2147483647 w 1332"/>
                      <a:gd name="T9" fmla="*/ 2147483647 h 510"/>
                      <a:gd name="T10" fmla="*/ 2147483647 w 1332"/>
                      <a:gd name="T11" fmla="*/ 2147483647 h 510"/>
                      <a:gd name="T12" fmla="*/ 2147483647 w 1332"/>
                      <a:gd name="T13" fmla="*/ 2147483647 h 510"/>
                      <a:gd name="T14" fmla="*/ 2147483647 w 1332"/>
                      <a:gd name="T15" fmla="*/ 2147483647 h 510"/>
                      <a:gd name="T16" fmla="*/ 2147483647 w 1332"/>
                      <a:gd name="T17" fmla="*/ 2147483647 h 510"/>
                      <a:gd name="T18" fmla="*/ 2147483647 w 1332"/>
                      <a:gd name="T19" fmla="*/ 2147483647 h 510"/>
                      <a:gd name="T20" fmla="*/ 2147483647 w 1332"/>
                      <a:gd name="T21" fmla="*/ 2147483647 h 510"/>
                      <a:gd name="T22" fmla="*/ 2147483647 w 1332"/>
                      <a:gd name="T23" fmla="*/ 2147483647 h 510"/>
                      <a:gd name="T24" fmla="*/ 2147483647 w 1332"/>
                      <a:gd name="T25" fmla="*/ 2147483647 h 510"/>
                      <a:gd name="T26" fmla="*/ 2147483647 w 1332"/>
                      <a:gd name="T27" fmla="*/ 2147483647 h 510"/>
                      <a:gd name="T28" fmla="*/ 2147483647 w 1332"/>
                      <a:gd name="T29" fmla="*/ 2147483647 h 510"/>
                      <a:gd name="T30" fmla="*/ 2147483647 w 1332"/>
                      <a:gd name="T31" fmla="*/ 2147483647 h 510"/>
                      <a:gd name="T32" fmla="*/ 2147483647 w 1332"/>
                      <a:gd name="T33" fmla="*/ 2147483647 h 510"/>
                      <a:gd name="T34" fmla="*/ 2147483647 w 1332"/>
                      <a:gd name="T35" fmla="*/ 2147483647 h 510"/>
                      <a:gd name="T36" fmla="*/ 2147483647 w 1332"/>
                      <a:gd name="T37" fmla="*/ 2147483647 h 510"/>
                      <a:gd name="T38" fmla="*/ 2147483647 w 1332"/>
                      <a:gd name="T39" fmla="*/ 2147483647 h 510"/>
                      <a:gd name="T40" fmla="*/ 2147483647 w 1332"/>
                      <a:gd name="T41" fmla="*/ 2147483647 h 510"/>
                      <a:gd name="T42" fmla="*/ 2147483647 w 1332"/>
                      <a:gd name="T43" fmla="*/ 2147483647 h 510"/>
                      <a:gd name="T44" fmla="*/ 2147483647 w 1332"/>
                      <a:gd name="T45" fmla="*/ 2147483647 h 510"/>
                      <a:gd name="T46" fmla="*/ 2147483647 w 1332"/>
                      <a:gd name="T47" fmla="*/ 2147483647 h 510"/>
                      <a:gd name="T48" fmla="*/ 2147483647 w 1332"/>
                      <a:gd name="T49" fmla="*/ 2147483647 h 510"/>
                      <a:gd name="T50" fmla="*/ 2147483647 w 1332"/>
                      <a:gd name="T51" fmla="*/ 2147483647 h 510"/>
                      <a:gd name="T52" fmla="*/ 2147483647 w 1332"/>
                      <a:gd name="T53" fmla="*/ 2147483647 h 510"/>
                      <a:gd name="T54" fmla="*/ 2147483647 w 1332"/>
                      <a:gd name="T55" fmla="*/ 2147483647 h 510"/>
                      <a:gd name="T56" fmla="*/ 2147483647 w 1332"/>
                      <a:gd name="T57" fmla="*/ 2147483647 h 510"/>
                      <a:gd name="T58" fmla="*/ 2147483647 w 1332"/>
                      <a:gd name="T59" fmla="*/ 2147483647 h 510"/>
                      <a:gd name="T60" fmla="*/ 2147483647 w 1332"/>
                      <a:gd name="T61" fmla="*/ 2147483647 h 510"/>
                      <a:gd name="T62" fmla="*/ 2147483647 w 1332"/>
                      <a:gd name="T63" fmla="*/ 2147483647 h 510"/>
                      <a:gd name="T64" fmla="*/ 2147483647 w 1332"/>
                      <a:gd name="T65" fmla="*/ 2147483647 h 510"/>
                      <a:gd name="T66" fmla="*/ 2147483647 w 1332"/>
                      <a:gd name="T67" fmla="*/ 2147483647 h 510"/>
                      <a:gd name="T68" fmla="*/ 2147483647 w 1332"/>
                      <a:gd name="T69" fmla="*/ 2147483647 h 510"/>
                      <a:gd name="T70" fmla="*/ 2147483647 w 1332"/>
                      <a:gd name="T71" fmla="*/ 2147483647 h 510"/>
                      <a:gd name="T72" fmla="*/ 2147483647 w 1332"/>
                      <a:gd name="T73" fmla="*/ 2147483647 h 510"/>
                      <a:gd name="T74" fmla="*/ 2147483647 w 1332"/>
                      <a:gd name="T75" fmla="*/ 2147483647 h 510"/>
                      <a:gd name="T76" fmla="*/ 2147483647 w 1332"/>
                      <a:gd name="T77" fmla="*/ 2147483647 h 510"/>
                      <a:gd name="T78" fmla="*/ 2147483647 w 1332"/>
                      <a:gd name="T79" fmla="*/ 2147483647 h 510"/>
                      <a:gd name="T80" fmla="*/ 2147483647 w 1332"/>
                      <a:gd name="T81" fmla="*/ 2147483647 h 510"/>
                      <a:gd name="T82" fmla="*/ 2147483647 w 1332"/>
                      <a:gd name="T83" fmla="*/ 2147483647 h 510"/>
                      <a:gd name="T84" fmla="*/ 2147483647 w 1332"/>
                      <a:gd name="T85" fmla="*/ 2147483647 h 510"/>
                      <a:gd name="T86" fmla="*/ 2147483647 w 1332"/>
                      <a:gd name="T87" fmla="*/ 2147483647 h 510"/>
                      <a:gd name="T88" fmla="*/ 2147483647 w 1332"/>
                      <a:gd name="T89" fmla="*/ 2147483647 h 510"/>
                      <a:gd name="T90" fmla="*/ 2147483647 w 1332"/>
                      <a:gd name="T91" fmla="*/ 2147483647 h 510"/>
                      <a:gd name="T92" fmla="*/ 2147483647 w 1332"/>
                      <a:gd name="T93" fmla="*/ 2147483647 h 510"/>
                      <a:gd name="T94" fmla="*/ 2147483647 w 1332"/>
                      <a:gd name="T95" fmla="*/ 2147483647 h 510"/>
                      <a:gd name="T96" fmla="*/ 2147483647 w 1332"/>
                      <a:gd name="T97" fmla="*/ 2147483647 h 510"/>
                      <a:gd name="T98" fmla="*/ 2147483647 w 1332"/>
                      <a:gd name="T99" fmla="*/ 2147483647 h 510"/>
                      <a:gd name="T100" fmla="*/ 2147483647 w 1332"/>
                      <a:gd name="T101" fmla="*/ 2147483647 h 510"/>
                      <a:gd name="T102" fmla="*/ 2147483647 w 1332"/>
                      <a:gd name="T103" fmla="*/ 2147483647 h 510"/>
                      <a:gd name="T104" fmla="*/ 2147483647 w 1332"/>
                      <a:gd name="T105" fmla="*/ 2147483647 h 510"/>
                      <a:gd name="T106" fmla="*/ 2147483647 w 1332"/>
                      <a:gd name="T107" fmla="*/ 2147483647 h 510"/>
                      <a:gd name="T108" fmla="*/ 2147483647 w 1332"/>
                      <a:gd name="T109" fmla="*/ 2147483647 h 510"/>
                      <a:gd name="T110" fmla="*/ 2147483647 w 1332"/>
                      <a:gd name="T111" fmla="*/ 2147483647 h 510"/>
                      <a:gd name="T112" fmla="*/ 2147483647 w 1332"/>
                      <a:gd name="T113" fmla="*/ 2147483647 h 510"/>
                      <a:gd name="T114" fmla="*/ 2147483647 w 1332"/>
                      <a:gd name="T115" fmla="*/ 2147483647 h 51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32"/>
                      <a:gd name="T175" fmla="*/ 0 h 510"/>
                      <a:gd name="T176" fmla="*/ 1332 w 1332"/>
                      <a:gd name="T177" fmla="*/ 510 h 51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32" h="510">
                        <a:moveTo>
                          <a:pt x="6" y="192"/>
                        </a:moveTo>
                        <a:lnTo>
                          <a:pt x="24" y="186"/>
                        </a:lnTo>
                        <a:lnTo>
                          <a:pt x="30" y="174"/>
                        </a:lnTo>
                        <a:lnTo>
                          <a:pt x="0" y="174"/>
                        </a:lnTo>
                        <a:lnTo>
                          <a:pt x="6" y="192"/>
                        </a:lnTo>
                        <a:close/>
                        <a:moveTo>
                          <a:pt x="42" y="162"/>
                        </a:moveTo>
                        <a:lnTo>
                          <a:pt x="42" y="168"/>
                        </a:lnTo>
                        <a:lnTo>
                          <a:pt x="48" y="174"/>
                        </a:lnTo>
                        <a:lnTo>
                          <a:pt x="60" y="174"/>
                        </a:lnTo>
                        <a:lnTo>
                          <a:pt x="60" y="162"/>
                        </a:lnTo>
                        <a:lnTo>
                          <a:pt x="54" y="156"/>
                        </a:lnTo>
                        <a:lnTo>
                          <a:pt x="54" y="150"/>
                        </a:lnTo>
                        <a:lnTo>
                          <a:pt x="48" y="150"/>
                        </a:lnTo>
                        <a:lnTo>
                          <a:pt x="48" y="156"/>
                        </a:lnTo>
                        <a:lnTo>
                          <a:pt x="42" y="162"/>
                        </a:lnTo>
                        <a:close/>
                        <a:moveTo>
                          <a:pt x="96" y="138"/>
                        </a:moveTo>
                        <a:lnTo>
                          <a:pt x="66" y="138"/>
                        </a:lnTo>
                        <a:lnTo>
                          <a:pt x="66" y="174"/>
                        </a:lnTo>
                        <a:lnTo>
                          <a:pt x="78" y="150"/>
                        </a:lnTo>
                        <a:lnTo>
                          <a:pt x="96" y="138"/>
                        </a:lnTo>
                        <a:close/>
                        <a:moveTo>
                          <a:pt x="1332" y="402"/>
                        </a:moveTo>
                        <a:lnTo>
                          <a:pt x="1332" y="390"/>
                        </a:lnTo>
                        <a:lnTo>
                          <a:pt x="1308" y="384"/>
                        </a:lnTo>
                        <a:lnTo>
                          <a:pt x="1308" y="354"/>
                        </a:lnTo>
                        <a:lnTo>
                          <a:pt x="1272" y="336"/>
                        </a:lnTo>
                        <a:lnTo>
                          <a:pt x="1278" y="330"/>
                        </a:lnTo>
                        <a:lnTo>
                          <a:pt x="1284" y="318"/>
                        </a:lnTo>
                        <a:lnTo>
                          <a:pt x="1284" y="312"/>
                        </a:lnTo>
                        <a:lnTo>
                          <a:pt x="1290" y="306"/>
                        </a:lnTo>
                        <a:lnTo>
                          <a:pt x="1284" y="306"/>
                        </a:lnTo>
                        <a:lnTo>
                          <a:pt x="1278" y="300"/>
                        </a:lnTo>
                        <a:lnTo>
                          <a:pt x="1278" y="288"/>
                        </a:lnTo>
                        <a:lnTo>
                          <a:pt x="1266" y="276"/>
                        </a:lnTo>
                        <a:lnTo>
                          <a:pt x="1266" y="246"/>
                        </a:lnTo>
                        <a:lnTo>
                          <a:pt x="1248" y="222"/>
                        </a:lnTo>
                        <a:lnTo>
                          <a:pt x="1272" y="222"/>
                        </a:lnTo>
                        <a:lnTo>
                          <a:pt x="1272" y="216"/>
                        </a:lnTo>
                        <a:lnTo>
                          <a:pt x="1278" y="210"/>
                        </a:lnTo>
                        <a:lnTo>
                          <a:pt x="1272" y="198"/>
                        </a:lnTo>
                        <a:lnTo>
                          <a:pt x="1272" y="186"/>
                        </a:lnTo>
                        <a:lnTo>
                          <a:pt x="1266" y="180"/>
                        </a:lnTo>
                        <a:lnTo>
                          <a:pt x="1266" y="174"/>
                        </a:lnTo>
                        <a:lnTo>
                          <a:pt x="1260" y="174"/>
                        </a:lnTo>
                        <a:lnTo>
                          <a:pt x="1248" y="180"/>
                        </a:lnTo>
                        <a:lnTo>
                          <a:pt x="1236" y="180"/>
                        </a:lnTo>
                        <a:lnTo>
                          <a:pt x="1224" y="174"/>
                        </a:lnTo>
                        <a:lnTo>
                          <a:pt x="1218" y="168"/>
                        </a:lnTo>
                        <a:lnTo>
                          <a:pt x="1212" y="156"/>
                        </a:lnTo>
                        <a:lnTo>
                          <a:pt x="1212" y="144"/>
                        </a:lnTo>
                        <a:lnTo>
                          <a:pt x="1200" y="108"/>
                        </a:lnTo>
                        <a:lnTo>
                          <a:pt x="1194" y="96"/>
                        </a:lnTo>
                        <a:lnTo>
                          <a:pt x="1194" y="84"/>
                        </a:lnTo>
                        <a:lnTo>
                          <a:pt x="1188" y="78"/>
                        </a:lnTo>
                        <a:lnTo>
                          <a:pt x="1164" y="78"/>
                        </a:lnTo>
                        <a:lnTo>
                          <a:pt x="1164" y="72"/>
                        </a:lnTo>
                        <a:lnTo>
                          <a:pt x="1158" y="60"/>
                        </a:lnTo>
                        <a:lnTo>
                          <a:pt x="1152" y="54"/>
                        </a:lnTo>
                        <a:lnTo>
                          <a:pt x="1140" y="48"/>
                        </a:lnTo>
                        <a:lnTo>
                          <a:pt x="1128" y="48"/>
                        </a:lnTo>
                        <a:lnTo>
                          <a:pt x="1116" y="54"/>
                        </a:lnTo>
                        <a:lnTo>
                          <a:pt x="1110" y="60"/>
                        </a:lnTo>
                        <a:lnTo>
                          <a:pt x="1074" y="54"/>
                        </a:lnTo>
                        <a:lnTo>
                          <a:pt x="1062" y="66"/>
                        </a:lnTo>
                        <a:lnTo>
                          <a:pt x="1026" y="90"/>
                        </a:lnTo>
                        <a:lnTo>
                          <a:pt x="1014" y="96"/>
                        </a:lnTo>
                        <a:lnTo>
                          <a:pt x="930" y="96"/>
                        </a:lnTo>
                        <a:lnTo>
                          <a:pt x="876" y="108"/>
                        </a:lnTo>
                        <a:lnTo>
                          <a:pt x="810" y="84"/>
                        </a:lnTo>
                        <a:lnTo>
                          <a:pt x="786" y="96"/>
                        </a:lnTo>
                        <a:lnTo>
                          <a:pt x="786" y="90"/>
                        </a:lnTo>
                        <a:lnTo>
                          <a:pt x="780" y="84"/>
                        </a:lnTo>
                        <a:lnTo>
                          <a:pt x="774" y="72"/>
                        </a:lnTo>
                        <a:lnTo>
                          <a:pt x="768" y="66"/>
                        </a:lnTo>
                        <a:lnTo>
                          <a:pt x="756" y="66"/>
                        </a:lnTo>
                        <a:lnTo>
                          <a:pt x="744" y="72"/>
                        </a:lnTo>
                        <a:lnTo>
                          <a:pt x="738" y="78"/>
                        </a:lnTo>
                        <a:lnTo>
                          <a:pt x="708" y="60"/>
                        </a:lnTo>
                        <a:lnTo>
                          <a:pt x="708" y="36"/>
                        </a:lnTo>
                        <a:lnTo>
                          <a:pt x="660" y="48"/>
                        </a:lnTo>
                        <a:lnTo>
                          <a:pt x="636" y="30"/>
                        </a:lnTo>
                        <a:lnTo>
                          <a:pt x="630" y="12"/>
                        </a:lnTo>
                        <a:lnTo>
                          <a:pt x="624" y="12"/>
                        </a:lnTo>
                        <a:lnTo>
                          <a:pt x="618" y="18"/>
                        </a:lnTo>
                        <a:lnTo>
                          <a:pt x="600" y="18"/>
                        </a:lnTo>
                        <a:lnTo>
                          <a:pt x="588" y="24"/>
                        </a:lnTo>
                        <a:lnTo>
                          <a:pt x="558" y="24"/>
                        </a:lnTo>
                        <a:lnTo>
                          <a:pt x="534" y="18"/>
                        </a:lnTo>
                        <a:lnTo>
                          <a:pt x="504" y="18"/>
                        </a:lnTo>
                        <a:lnTo>
                          <a:pt x="492" y="24"/>
                        </a:lnTo>
                        <a:lnTo>
                          <a:pt x="456" y="36"/>
                        </a:lnTo>
                        <a:lnTo>
                          <a:pt x="444" y="42"/>
                        </a:lnTo>
                        <a:lnTo>
                          <a:pt x="438" y="48"/>
                        </a:lnTo>
                        <a:lnTo>
                          <a:pt x="426" y="54"/>
                        </a:lnTo>
                        <a:lnTo>
                          <a:pt x="414" y="66"/>
                        </a:lnTo>
                        <a:lnTo>
                          <a:pt x="408" y="66"/>
                        </a:lnTo>
                        <a:lnTo>
                          <a:pt x="396" y="90"/>
                        </a:lnTo>
                        <a:lnTo>
                          <a:pt x="378" y="90"/>
                        </a:lnTo>
                        <a:lnTo>
                          <a:pt x="354" y="84"/>
                        </a:lnTo>
                        <a:lnTo>
                          <a:pt x="294" y="84"/>
                        </a:lnTo>
                        <a:lnTo>
                          <a:pt x="282" y="78"/>
                        </a:lnTo>
                        <a:lnTo>
                          <a:pt x="264" y="78"/>
                        </a:lnTo>
                        <a:lnTo>
                          <a:pt x="252" y="72"/>
                        </a:lnTo>
                        <a:lnTo>
                          <a:pt x="240" y="72"/>
                        </a:lnTo>
                        <a:lnTo>
                          <a:pt x="234" y="66"/>
                        </a:lnTo>
                        <a:lnTo>
                          <a:pt x="198" y="66"/>
                        </a:lnTo>
                        <a:lnTo>
                          <a:pt x="186" y="54"/>
                        </a:lnTo>
                        <a:lnTo>
                          <a:pt x="180" y="36"/>
                        </a:lnTo>
                        <a:lnTo>
                          <a:pt x="180" y="24"/>
                        </a:lnTo>
                        <a:lnTo>
                          <a:pt x="168" y="24"/>
                        </a:lnTo>
                        <a:lnTo>
                          <a:pt x="156" y="18"/>
                        </a:lnTo>
                        <a:lnTo>
                          <a:pt x="144" y="18"/>
                        </a:lnTo>
                        <a:lnTo>
                          <a:pt x="132" y="0"/>
                        </a:lnTo>
                        <a:lnTo>
                          <a:pt x="120" y="18"/>
                        </a:lnTo>
                        <a:lnTo>
                          <a:pt x="90" y="12"/>
                        </a:lnTo>
                        <a:lnTo>
                          <a:pt x="72" y="36"/>
                        </a:lnTo>
                        <a:lnTo>
                          <a:pt x="78" y="42"/>
                        </a:lnTo>
                        <a:lnTo>
                          <a:pt x="90" y="42"/>
                        </a:lnTo>
                        <a:lnTo>
                          <a:pt x="90" y="48"/>
                        </a:lnTo>
                        <a:lnTo>
                          <a:pt x="96" y="54"/>
                        </a:lnTo>
                        <a:lnTo>
                          <a:pt x="96" y="66"/>
                        </a:lnTo>
                        <a:lnTo>
                          <a:pt x="78" y="66"/>
                        </a:lnTo>
                        <a:lnTo>
                          <a:pt x="72" y="72"/>
                        </a:lnTo>
                        <a:lnTo>
                          <a:pt x="72" y="78"/>
                        </a:lnTo>
                        <a:lnTo>
                          <a:pt x="78" y="84"/>
                        </a:lnTo>
                        <a:lnTo>
                          <a:pt x="78" y="96"/>
                        </a:lnTo>
                        <a:lnTo>
                          <a:pt x="72" y="108"/>
                        </a:lnTo>
                        <a:lnTo>
                          <a:pt x="72" y="114"/>
                        </a:lnTo>
                        <a:lnTo>
                          <a:pt x="66" y="120"/>
                        </a:lnTo>
                        <a:lnTo>
                          <a:pt x="66" y="132"/>
                        </a:lnTo>
                        <a:lnTo>
                          <a:pt x="72" y="132"/>
                        </a:lnTo>
                        <a:lnTo>
                          <a:pt x="90" y="126"/>
                        </a:lnTo>
                        <a:lnTo>
                          <a:pt x="102" y="126"/>
                        </a:lnTo>
                        <a:lnTo>
                          <a:pt x="108" y="120"/>
                        </a:lnTo>
                        <a:lnTo>
                          <a:pt x="114" y="120"/>
                        </a:lnTo>
                        <a:lnTo>
                          <a:pt x="114" y="132"/>
                        </a:lnTo>
                        <a:lnTo>
                          <a:pt x="120" y="132"/>
                        </a:lnTo>
                        <a:lnTo>
                          <a:pt x="126" y="126"/>
                        </a:lnTo>
                        <a:lnTo>
                          <a:pt x="138" y="120"/>
                        </a:lnTo>
                        <a:lnTo>
                          <a:pt x="162" y="96"/>
                        </a:lnTo>
                        <a:lnTo>
                          <a:pt x="168" y="96"/>
                        </a:lnTo>
                        <a:lnTo>
                          <a:pt x="174" y="90"/>
                        </a:lnTo>
                        <a:lnTo>
                          <a:pt x="186" y="90"/>
                        </a:lnTo>
                        <a:lnTo>
                          <a:pt x="204" y="84"/>
                        </a:lnTo>
                        <a:lnTo>
                          <a:pt x="216" y="84"/>
                        </a:lnTo>
                        <a:lnTo>
                          <a:pt x="252" y="102"/>
                        </a:lnTo>
                        <a:lnTo>
                          <a:pt x="270" y="108"/>
                        </a:lnTo>
                        <a:lnTo>
                          <a:pt x="282" y="108"/>
                        </a:lnTo>
                        <a:lnTo>
                          <a:pt x="288" y="114"/>
                        </a:lnTo>
                        <a:lnTo>
                          <a:pt x="294" y="114"/>
                        </a:lnTo>
                        <a:lnTo>
                          <a:pt x="270" y="114"/>
                        </a:lnTo>
                        <a:lnTo>
                          <a:pt x="258" y="120"/>
                        </a:lnTo>
                        <a:lnTo>
                          <a:pt x="246" y="120"/>
                        </a:lnTo>
                        <a:lnTo>
                          <a:pt x="246" y="132"/>
                        </a:lnTo>
                        <a:lnTo>
                          <a:pt x="240" y="138"/>
                        </a:lnTo>
                        <a:lnTo>
                          <a:pt x="186" y="144"/>
                        </a:lnTo>
                        <a:lnTo>
                          <a:pt x="138" y="138"/>
                        </a:lnTo>
                        <a:lnTo>
                          <a:pt x="120" y="138"/>
                        </a:lnTo>
                        <a:lnTo>
                          <a:pt x="96" y="150"/>
                        </a:lnTo>
                        <a:lnTo>
                          <a:pt x="84" y="162"/>
                        </a:lnTo>
                        <a:lnTo>
                          <a:pt x="84" y="174"/>
                        </a:lnTo>
                        <a:lnTo>
                          <a:pt x="78" y="192"/>
                        </a:lnTo>
                        <a:lnTo>
                          <a:pt x="78" y="204"/>
                        </a:lnTo>
                        <a:lnTo>
                          <a:pt x="72" y="210"/>
                        </a:lnTo>
                        <a:lnTo>
                          <a:pt x="72" y="216"/>
                        </a:lnTo>
                        <a:lnTo>
                          <a:pt x="114" y="216"/>
                        </a:lnTo>
                        <a:lnTo>
                          <a:pt x="114" y="240"/>
                        </a:lnTo>
                        <a:lnTo>
                          <a:pt x="120" y="246"/>
                        </a:lnTo>
                        <a:lnTo>
                          <a:pt x="126" y="258"/>
                        </a:lnTo>
                        <a:lnTo>
                          <a:pt x="132" y="264"/>
                        </a:lnTo>
                        <a:lnTo>
                          <a:pt x="126" y="282"/>
                        </a:lnTo>
                        <a:lnTo>
                          <a:pt x="138" y="300"/>
                        </a:lnTo>
                        <a:lnTo>
                          <a:pt x="126" y="318"/>
                        </a:lnTo>
                        <a:lnTo>
                          <a:pt x="162" y="354"/>
                        </a:lnTo>
                        <a:lnTo>
                          <a:pt x="156" y="390"/>
                        </a:lnTo>
                        <a:lnTo>
                          <a:pt x="210" y="414"/>
                        </a:lnTo>
                        <a:lnTo>
                          <a:pt x="216" y="444"/>
                        </a:lnTo>
                        <a:lnTo>
                          <a:pt x="216" y="438"/>
                        </a:lnTo>
                        <a:lnTo>
                          <a:pt x="222" y="438"/>
                        </a:lnTo>
                        <a:lnTo>
                          <a:pt x="222" y="432"/>
                        </a:lnTo>
                        <a:lnTo>
                          <a:pt x="228" y="432"/>
                        </a:lnTo>
                        <a:lnTo>
                          <a:pt x="252" y="444"/>
                        </a:lnTo>
                        <a:lnTo>
                          <a:pt x="258" y="444"/>
                        </a:lnTo>
                        <a:lnTo>
                          <a:pt x="264" y="450"/>
                        </a:lnTo>
                        <a:lnTo>
                          <a:pt x="270" y="462"/>
                        </a:lnTo>
                        <a:lnTo>
                          <a:pt x="282" y="468"/>
                        </a:lnTo>
                        <a:lnTo>
                          <a:pt x="294" y="468"/>
                        </a:lnTo>
                        <a:lnTo>
                          <a:pt x="312" y="474"/>
                        </a:lnTo>
                        <a:lnTo>
                          <a:pt x="372" y="474"/>
                        </a:lnTo>
                        <a:lnTo>
                          <a:pt x="372" y="450"/>
                        </a:lnTo>
                        <a:lnTo>
                          <a:pt x="378" y="438"/>
                        </a:lnTo>
                        <a:lnTo>
                          <a:pt x="390" y="426"/>
                        </a:lnTo>
                        <a:lnTo>
                          <a:pt x="408" y="426"/>
                        </a:lnTo>
                        <a:lnTo>
                          <a:pt x="432" y="432"/>
                        </a:lnTo>
                        <a:lnTo>
                          <a:pt x="468" y="444"/>
                        </a:lnTo>
                        <a:lnTo>
                          <a:pt x="474" y="450"/>
                        </a:lnTo>
                        <a:lnTo>
                          <a:pt x="480" y="450"/>
                        </a:lnTo>
                        <a:lnTo>
                          <a:pt x="480" y="456"/>
                        </a:lnTo>
                        <a:lnTo>
                          <a:pt x="486" y="468"/>
                        </a:lnTo>
                        <a:lnTo>
                          <a:pt x="486" y="474"/>
                        </a:lnTo>
                        <a:lnTo>
                          <a:pt x="492" y="480"/>
                        </a:lnTo>
                        <a:lnTo>
                          <a:pt x="504" y="486"/>
                        </a:lnTo>
                        <a:lnTo>
                          <a:pt x="564" y="486"/>
                        </a:lnTo>
                        <a:lnTo>
                          <a:pt x="576" y="480"/>
                        </a:lnTo>
                        <a:lnTo>
                          <a:pt x="594" y="474"/>
                        </a:lnTo>
                        <a:lnTo>
                          <a:pt x="606" y="462"/>
                        </a:lnTo>
                        <a:lnTo>
                          <a:pt x="618" y="456"/>
                        </a:lnTo>
                        <a:lnTo>
                          <a:pt x="630" y="444"/>
                        </a:lnTo>
                        <a:lnTo>
                          <a:pt x="648" y="438"/>
                        </a:lnTo>
                        <a:lnTo>
                          <a:pt x="660" y="432"/>
                        </a:lnTo>
                        <a:lnTo>
                          <a:pt x="672" y="432"/>
                        </a:lnTo>
                        <a:lnTo>
                          <a:pt x="684" y="438"/>
                        </a:lnTo>
                        <a:lnTo>
                          <a:pt x="690" y="444"/>
                        </a:lnTo>
                        <a:lnTo>
                          <a:pt x="696" y="444"/>
                        </a:lnTo>
                        <a:lnTo>
                          <a:pt x="702" y="450"/>
                        </a:lnTo>
                        <a:lnTo>
                          <a:pt x="714" y="450"/>
                        </a:lnTo>
                        <a:lnTo>
                          <a:pt x="726" y="444"/>
                        </a:lnTo>
                        <a:lnTo>
                          <a:pt x="732" y="432"/>
                        </a:lnTo>
                        <a:lnTo>
                          <a:pt x="744" y="420"/>
                        </a:lnTo>
                        <a:lnTo>
                          <a:pt x="756" y="432"/>
                        </a:lnTo>
                        <a:lnTo>
                          <a:pt x="756" y="444"/>
                        </a:lnTo>
                        <a:lnTo>
                          <a:pt x="750" y="450"/>
                        </a:lnTo>
                        <a:lnTo>
                          <a:pt x="744" y="462"/>
                        </a:lnTo>
                        <a:lnTo>
                          <a:pt x="744" y="468"/>
                        </a:lnTo>
                        <a:lnTo>
                          <a:pt x="738" y="474"/>
                        </a:lnTo>
                        <a:lnTo>
                          <a:pt x="738" y="486"/>
                        </a:lnTo>
                        <a:lnTo>
                          <a:pt x="744" y="492"/>
                        </a:lnTo>
                        <a:lnTo>
                          <a:pt x="744" y="498"/>
                        </a:lnTo>
                        <a:lnTo>
                          <a:pt x="756" y="510"/>
                        </a:lnTo>
                        <a:lnTo>
                          <a:pt x="768" y="510"/>
                        </a:lnTo>
                        <a:lnTo>
                          <a:pt x="768" y="504"/>
                        </a:lnTo>
                        <a:lnTo>
                          <a:pt x="774" y="498"/>
                        </a:lnTo>
                        <a:lnTo>
                          <a:pt x="774" y="480"/>
                        </a:lnTo>
                        <a:lnTo>
                          <a:pt x="780" y="486"/>
                        </a:lnTo>
                        <a:lnTo>
                          <a:pt x="792" y="486"/>
                        </a:lnTo>
                        <a:lnTo>
                          <a:pt x="792" y="462"/>
                        </a:lnTo>
                        <a:lnTo>
                          <a:pt x="786" y="462"/>
                        </a:lnTo>
                        <a:lnTo>
                          <a:pt x="786" y="432"/>
                        </a:lnTo>
                        <a:lnTo>
                          <a:pt x="810" y="432"/>
                        </a:lnTo>
                        <a:lnTo>
                          <a:pt x="804" y="438"/>
                        </a:lnTo>
                        <a:lnTo>
                          <a:pt x="804" y="444"/>
                        </a:lnTo>
                        <a:lnTo>
                          <a:pt x="840" y="444"/>
                        </a:lnTo>
                        <a:lnTo>
                          <a:pt x="858" y="438"/>
                        </a:lnTo>
                        <a:lnTo>
                          <a:pt x="864" y="432"/>
                        </a:lnTo>
                        <a:lnTo>
                          <a:pt x="870" y="432"/>
                        </a:lnTo>
                        <a:lnTo>
                          <a:pt x="888" y="414"/>
                        </a:lnTo>
                        <a:lnTo>
                          <a:pt x="894" y="414"/>
                        </a:lnTo>
                        <a:lnTo>
                          <a:pt x="900" y="420"/>
                        </a:lnTo>
                        <a:lnTo>
                          <a:pt x="912" y="426"/>
                        </a:lnTo>
                        <a:lnTo>
                          <a:pt x="924" y="438"/>
                        </a:lnTo>
                        <a:lnTo>
                          <a:pt x="942" y="438"/>
                        </a:lnTo>
                        <a:lnTo>
                          <a:pt x="954" y="444"/>
                        </a:lnTo>
                        <a:lnTo>
                          <a:pt x="966" y="444"/>
                        </a:lnTo>
                        <a:lnTo>
                          <a:pt x="978" y="438"/>
                        </a:lnTo>
                        <a:lnTo>
                          <a:pt x="996" y="438"/>
                        </a:lnTo>
                        <a:lnTo>
                          <a:pt x="1002" y="432"/>
                        </a:lnTo>
                        <a:lnTo>
                          <a:pt x="1014" y="426"/>
                        </a:lnTo>
                        <a:lnTo>
                          <a:pt x="1026" y="414"/>
                        </a:lnTo>
                        <a:lnTo>
                          <a:pt x="1038" y="408"/>
                        </a:lnTo>
                        <a:lnTo>
                          <a:pt x="1086" y="408"/>
                        </a:lnTo>
                        <a:lnTo>
                          <a:pt x="1092" y="414"/>
                        </a:lnTo>
                        <a:lnTo>
                          <a:pt x="1110" y="414"/>
                        </a:lnTo>
                        <a:lnTo>
                          <a:pt x="1122" y="402"/>
                        </a:lnTo>
                        <a:lnTo>
                          <a:pt x="1146" y="402"/>
                        </a:lnTo>
                        <a:lnTo>
                          <a:pt x="1152" y="390"/>
                        </a:lnTo>
                        <a:lnTo>
                          <a:pt x="1152" y="384"/>
                        </a:lnTo>
                        <a:lnTo>
                          <a:pt x="1158" y="384"/>
                        </a:lnTo>
                        <a:lnTo>
                          <a:pt x="1158" y="408"/>
                        </a:lnTo>
                        <a:lnTo>
                          <a:pt x="1164" y="414"/>
                        </a:lnTo>
                        <a:lnTo>
                          <a:pt x="1170" y="414"/>
                        </a:lnTo>
                        <a:lnTo>
                          <a:pt x="1182" y="408"/>
                        </a:lnTo>
                        <a:lnTo>
                          <a:pt x="1188" y="402"/>
                        </a:lnTo>
                        <a:lnTo>
                          <a:pt x="1188" y="390"/>
                        </a:lnTo>
                        <a:lnTo>
                          <a:pt x="1230" y="390"/>
                        </a:lnTo>
                        <a:lnTo>
                          <a:pt x="1242" y="402"/>
                        </a:lnTo>
                        <a:lnTo>
                          <a:pt x="1254" y="402"/>
                        </a:lnTo>
                        <a:lnTo>
                          <a:pt x="1260" y="396"/>
                        </a:lnTo>
                        <a:lnTo>
                          <a:pt x="1260" y="390"/>
                        </a:lnTo>
                        <a:lnTo>
                          <a:pt x="1284" y="390"/>
                        </a:lnTo>
                        <a:lnTo>
                          <a:pt x="1290" y="396"/>
                        </a:lnTo>
                        <a:lnTo>
                          <a:pt x="1290" y="414"/>
                        </a:lnTo>
                        <a:lnTo>
                          <a:pt x="1332" y="402"/>
                        </a:lnTo>
                        <a:close/>
                        <a:moveTo>
                          <a:pt x="102" y="282"/>
                        </a:moveTo>
                        <a:lnTo>
                          <a:pt x="96" y="282"/>
                        </a:lnTo>
                        <a:lnTo>
                          <a:pt x="96" y="312"/>
                        </a:lnTo>
                        <a:lnTo>
                          <a:pt x="102" y="324"/>
                        </a:lnTo>
                        <a:lnTo>
                          <a:pt x="108" y="330"/>
                        </a:lnTo>
                        <a:lnTo>
                          <a:pt x="114" y="324"/>
                        </a:lnTo>
                        <a:lnTo>
                          <a:pt x="114" y="318"/>
                        </a:lnTo>
                        <a:lnTo>
                          <a:pt x="120" y="312"/>
                        </a:lnTo>
                        <a:lnTo>
                          <a:pt x="120" y="300"/>
                        </a:lnTo>
                        <a:lnTo>
                          <a:pt x="102" y="28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38" name="Tunisia"/>
                  <p:cNvSpPr>
                    <a:spLocks/>
                  </p:cNvSpPr>
                  <p:nvPr/>
                </p:nvSpPr>
                <p:spPr bwMode="gray">
                  <a:xfrm>
                    <a:off x="2792" y="1541"/>
                    <a:ext cx="70" cy="146"/>
                  </a:xfrm>
                  <a:custGeom>
                    <a:avLst/>
                    <a:gdLst>
                      <a:gd name="T0" fmla="*/ 2147483647 w 276"/>
                      <a:gd name="T1" fmla="*/ 2147483647 h 570"/>
                      <a:gd name="T2" fmla="*/ 2147483647 w 276"/>
                      <a:gd name="T3" fmla="*/ 2147483647 h 570"/>
                      <a:gd name="T4" fmla="*/ 2147483647 w 276"/>
                      <a:gd name="T5" fmla="*/ 2147483647 h 570"/>
                      <a:gd name="T6" fmla="*/ 2147483647 w 276"/>
                      <a:gd name="T7" fmla="*/ 2147483647 h 570"/>
                      <a:gd name="T8" fmla="*/ 2147483647 w 276"/>
                      <a:gd name="T9" fmla="*/ 2147483647 h 570"/>
                      <a:gd name="T10" fmla="*/ 2147483647 w 276"/>
                      <a:gd name="T11" fmla="*/ 2147483647 h 570"/>
                      <a:gd name="T12" fmla="*/ 0 w 276"/>
                      <a:gd name="T13" fmla="*/ 2147483647 h 570"/>
                      <a:gd name="T14" fmla="*/ 2147483647 w 276"/>
                      <a:gd name="T15" fmla="*/ 2147483647 h 570"/>
                      <a:gd name="T16" fmla="*/ 2147483647 w 276"/>
                      <a:gd name="T17" fmla="*/ 2147483647 h 570"/>
                      <a:gd name="T18" fmla="*/ 2147483647 w 276"/>
                      <a:gd name="T19" fmla="*/ 2147483647 h 570"/>
                      <a:gd name="T20" fmla="*/ 2147483647 w 276"/>
                      <a:gd name="T21" fmla="*/ 2147483647 h 570"/>
                      <a:gd name="T22" fmla="*/ 2147483647 w 276"/>
                      <a:gd name="T23" fmla="*/ 2147483647 h 570"/>
                      <a:gd name="T24" fmla="*/ 2147483647 w 276"/>
                      <a:gd name="T25" fmla="*/ 2147483647 h 570"/>
                      <a:gd name="T26" fmla="*/ 2147483647 w 276"/>
                      <a:gd name="T27" fmla="*/ 2147483647 h 570"/>
                      <a:gd name="T28" fmla="*/ 2147483647 w 276"/>
                      <a:gd name="T29" fmla="*/ 2147483647 h 570"/>
                      <a:gd name="T30" fmla="*/ 2147483647 w 276"/>
                      <a:gd name="T31" fmla="*/ 2147483647 h 570"/>
                      <a:gd name="T32" fmla="*/ 2147483647 w 276"/>
                      <a:gd name="T33" fmla="*/ 2147483647 h 570"/>
                      <a:gd name="T34" fmla="*/ 2147483647 w 276"/>
                      <a:gd name="T35" fmla="*/ 2147483647 h 570"/>
                      <a:gd name="T36" fmla="*/ 2147483647 w 276"/>
                      <a:gd name="T37" fmla="*/ 2147483647 h 570"/>
                      <a:gd name="T38" fmla="*/ 2147483647 w 276"/>
                      <a:gd name="T39" fmla="*/ 2147483647 h 570"/>
                      <a:gd name="T40" fmla="*/ 2147483647 w 276"/>
                      <a:gd name="T41" fmla="*/ 2147483647 h 570"/>
                      <a:gd name="T42" fmla="*/ 2147483647 w 276"/>
                      <a:gd name="T43" fmla="*/ 2147483647 h 570"/>
                      <a:gd name="T44" fmla="*/ 2147483647 w 276"/>
                      <a:gd name="T45" fmla="*/ 2147483647 h 570"/>
                      <a:gd name="T46" fmla="*/ 2147483647 w 276"/>
                      <a:gd name="T47" fmla="*/ 2147483647 h 570"/>
                      <a:gd name="T48" fmla="*/ 2147483647 w 276"/>
                      <a:gd name="T49" fmla="*/ 2147483647 h 570"/>
                      <a:gd name="T50" fmla="*/ 2147483647 w 276"/>
                      <a:gd name="T51" fmla="*/ 2147483647 h 570"/>
                      <a:gd name="T52" fmla="*/ 2147483647 w 276"/>
                      <a:gd name="T53" fmla="*/ 2147483647 h 570"/>
                      <a:gd name="T54" fmla="*/ 2147483647 w 276"/>
                      <a:gd name="T55" fmla="*/ 2147483647 h 570"/>
                      <a:gd name="T56" fmla="*/ 2147483647 w 276"/>
                      <a:gd name="T57" fmla="*/ 2147483647 h 570"/>
                      <a:gd name="T58" fmla="*/ 2147483647 w 276"/>
                      <a:gd name="T59" fmla="*/ 2147483647 h 570"/>
                      <a:gd name="T60" fmla="*/ 2147483647 w 276"/>
                      <a:gd name="T61" fmla="*/ 2147483647 h 570"/>
                      <a:gd name="T62" fmla="*/ 2147483647 w 276"/>
                      <a:gd name="T63" fmla="*/ 2147483647 h 570"/>
                      <a:gd name="T64" fmla="*/ 2147483647 w 276"/>
                      <a:gd name="T65" fmla="*/ 2147483647 h 570"/>
                      <a:gd name="T66" fmla="*/ 2147483647 w 276"/>
                      <a:gd name="T67" fmla="*/ 2147483647 h 570"/>
                      <a:gd name="T68" fmla="*/ 2147483647 w 276"/>
                      <a:gd name="T69" fmla="*/ 2147483647 h 570"/>
                      <a:gd name="T70" fmla="*/ 2147483647 w 276"/>
                      <a:gd name="T71" fmla="*/ 2147483647 h 570"/>
                      <a:gd name="T72" fmla="*/ 2147483647 w 276"/>
                      <a:gd name="T73" fmla="*/ 2147483647 h 570"/>
                      <a:gd name="T74" fmla="*/ 2147483647 w 276"/>
                      <a:gd name="T75" fmla="*/ 2147483647 h 570"/>
                      <a:gd name="T76" fmla="*/ 2147483647 w 276"/>
                      <a:gd name="T77" fmla="*/ 2147483647 h 570"/>
                      <a:gd name="T78" fmla="*/ 2147483647 w 276"/>
                      <a:gd name="T79" fmla="*/ 2147483647 h 570"/>
                      <a:gd name="T80" fmla="*/ 2147483647 w 276"/>
                      <a:gd name="T81" fmla="*/ 2147483647 h 570"/>
                      <a:gd name="T82" fmla="*/ 2147483647 w 276"/>
                      <a:gd name="T83" fmla="*/ 2147483647 h 570"/>
                      <a:gd name="T84" fmla="*/ 2147483647 w 276"/>
                      <a:gd name="T85" fmla="*/ 2147483647 h 570"/>
                      <a:gd name="T86" fmla="*/ 2147483647 w 276"/>
                      <a:gd name="T87" fmla="*/ 2147483647 h 570"/>
                      <a:gd name="T88" fmla="*/ 2147483647 w 276"/>
                      <a:gd name="T89" fmla="*/ 0 h 570"/>
                      <a:gd name="T90" fmla="*/ 2147483647 w 276"/>
                      <a:gd name="T91" fmla="*/ 2147483647 h 570"/>
                      <a:gd name="T92" fmla="*/ 2147483647 w 276"/>
                      <a:gd name="T93" fmla="*/ 2147483647 h 570"/>
                      <a:gd name="T94" fmla="*/ 2147483647 w 276"/>
                      <a:gd name="T95" fmla="*/ 2147483647 h 5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76"/>
                      <a:gd name="T145" fmla="*/ 0 h 570"/>
                      <a:gd name="T146" fmla="*/ 276 w 276"/>
                      <a:gd name="T147" fmla="*/ 570 h 57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76" h="570">
                        <a:moveTo>
                          <a:pt x="42" y="60"/>
                        </a:moveTo>
                        <a:lnTo>
                          <a:pt x="60" y="66"/>
                        </a:lnTo>
                        <a:lnTo>
                          <a:pt x="60" y="78"/>
                        </a:lnTo>
                        <a:lnTo>
                          <a:pt x="54" y="90"/>
                        </a:lnTo>
                        <a:lnTo>
                          <a:pt x="54" y="126"/>
                        </a:lnTo>
                        <a:lnTo>
                          <a:pt x="60" y="138"/>
                        </a:lnTo>
                        <a:lnTo>
                          <a:pt x="60" y="180"/>
                        </a:lnTo>
                        <a:lnTo>
                          <a:pt x="54" y="192"/>
                        </a:lnTo>
                        <a:lnTo>
                          <a:pt x="54" y="204"/>
                        </a:lnTo>
                        <a:lnTo>
                          <a:pt x="48" y="210"/>
                        </a:lnTo>
                        <a:lnTo>
                          <a:pt x="48" y="216"/>
                        </a:lnTo>
                        <a:lnTo>
                          <a:pt x="24" y="234"/>
                        </a:lnTo>
                        <a:lnTo>
                          <a:pt x="0" y="258"/>
                        </a:lnTo>
                        <a:lnTo>
                          <a:pt x="0" y="300"/>
                        </a:lnTo>
                        <a:lnTo>
                          <a:pt x="12" y="300"/>
                        </a:lnTo>
                        <a:lnTo>
                          <a:pt x="12" y="330"/>
                        </a:lnTo>
                        <a:lnTo>
                          <a:pt x="24" y="330"/>
                        </a:lnTo>
                        <a:lnTo>
                          <a:pt x="42" y="336"/>
                        </a:lnTo>
                        <a:lnTo>
                          <a:pt x="54" y="348"/>
                        </a:lnTo>
                        <a:lnTo>
                          <a:pt x="54" y="390"/>
                        </a:lnTo>
                        <a:lnTo>
                          <a:pt x="60" y="390"/>
                        </a:lnTo>
                        <a:lnTo>
                          <a:pt x="66" y="396"/>
                        </a:lnTo>
                        <a:lnTo>
                          <a:pt x="90" y="408"/>
                        </a:lnTo>
                        <a:lnTo>
                          <a:pt x="96" y="420"/>
                        </a:lnTo>
                        <a:lnTo>
                          <a:pt x="102" y="426"/>
                        </a:lnTo>
                        <a:lnTo>
                          <a:pt x="108" y="450"/>
                        </a:lnTo>
                        <a:lnTo>
                          <a:pt x="114" y="492"/>
                        </a:lnTo>
                        <a:lnTo>
                          <a:pt x="126" y="540"/>
                        </a:lnTo>
                        <a:lnTo>
                          <a:pt x="138" y="570"/>
                        </a:lnTo>
                        <a:lnTo>
                          <a:pt x="144" y="564"/>
                        </a:lnTo>
                        <a:lnTo>
                          <a:pt x="156" y="564"/>
                        </a:lnTo>
                        <a:lnTo>
                          <a:pt x="186" y="534"/>
                        </a:lnTo>
                        <a:lnTo>
                          <a:pt x="186" y="510"/>
                        </a:lnTo>
                        <a:lnTo>
                          <a:pt x="174" y="486"/>
                        </a:lnTo>
                        <a:lnTo>
                          <a:pt x="174" y="468"/>
                        </a:lnTo>
                        <a:lnTo>
                          <a:pt x="192" y="450"/>
                        </a:lnTo>
                        <a:lnTo>
                          <a:pt x="198" y="450"/>
                        </a:lnTo>
                        <a:lnTo>
                          <a:pt x="204" y="438"/>
                        </a:lnTo>
                        <a:lnTo>
                          <a:pt x="210" y="432"/>
                        </a:lnTo>
                        <a:lnTo>
                          <a:pt x="216" y="420"/>
                        </a:lnTo>
                        <a:lnTo>
                          <a:pt x="222" y="414"/>
                        </a:lnTo>
                        <a:lnTo>
                          <a:pt x="234" y="408"/>
                        </a:lnTo>
                        <a:lnTo>
                          <a:pt x="246" y="408"/>
                        </a:lnTo>
                        <a:lnTo>
                          <a:pt x="270" y="396"/>
                        </a:lnTo>
                        <a:lnTo>
                          <a:pt x="276" y="390"/>
                        </a:lnTo>
                        <a:lnTo>
                          <a:pt x="276" y="384"/>
                        </a:lnTo>
                        <a:lnTo>
                          <a:pt x="264" y="372"/>
                        </a:lnTo>
                        <a:lnTo>
                          <a:pt x="258" y="372"/>
                        </a:lnTo>
                        <a:lnTo>
                          <a:pt x="264" y="330"/>
                        </a:lnTo>
                        <a:lnTo>
                          <a:pt x="252" y="330"/>
                        </a:lnTo>
                        <a:lnTo>
                          <a:pt x="240" y="300"/>
                        </a:lnTo>
                        <a:lnTo>
                          <a:pt x="228" y="294"/>
                        </a:lnTo>
                        <a:lnTo>
                          <a:pt x="222" y="306"/>
                        </a:lnTo>
                        <a:lnTo>
                          <a:pt x="216" y="294"/>
                        </a:lnTo>
                        <a:lnTo>
                          <a:pt x="198" y="294"/>
                        </a:lnTo>
                        <a:lnTo>
                          <a:pt x="186" y="288"/>
                        </a:lnTo>
                        <a:lnTo>
                          <a:pt x="180" y="282"/>
                        </a:lnTo>
                        <a:lnTo>
                          <a:pt x="168" y="276"/>
                        </a:lnTo>
                        <a:lnTo>
                          <a:pt x="168" y="246"/>
                        </a:lnTo>
                        <a:lnTo>
                          <a:pt x="174" y="240"/>
                        </a:lnTo>
                        <a:lnTo>
                          <a:pt x="180" y="240"/>
                        </a:lnTo>
                        <a:lnTo>
                          <a:pt x="234" y="186"/>
                        </a:lnTo>
                        <a:lnTo>
                          <a:pt x="240" y="174"/>
                        </a:lnTo>
                        <a:lnTo>
                          <a:pt x="240" y="156"/>
                        </a:lnTo>
                        <a:lnTo>
                          <a:pt x="234" y="144"/>
                        </a:lnTo>
                        <a:lnTo>
                          <a:pt x="216" y="126"/>
                        </a:lnTo>
                        <a:lnTo>
                          <a:pt x="204" y="120"/>
                        </a:lnTo>
                        <a:lnTo>
                          <a:pt x="198" y="120"/>
                        </a:lnTo>
                        <a:lnTo>
                          <a:pt x="198" y="102"/>
                        </a:lnTo>
                        <a:lnTo>
                          <a:pt x="204" y="90"/>
                        </a:lnTo>
                        <a:lnTo>
                          <a:pt x="204" y="78"/>
                        </a:lnTo>
                        <a:lnTo>
                          <a:pt x="210" y="72"/>
                        </a:lnTo>
                        <a:lnTo>
                          <a:pt x="222" y="66"/>
                        </a:lnTo>
                        <a:lnTo>
                          <a:pt x="228" y="60"/>
                        </a:lnTo>
                        <a:lnTo>
                          <a:pt x="234" y="48"/>
                        </a:lnTo>
                        <a:lnTo>
                          <a:pt x="234" y="36"/>
                        </a:lnTo>
                        <a:lnTo>
                          <a:pt x="240" y="30"/>
                        </a:lnTo>
                        <a:lnTo>
                          <a:pt x="240" y="18"/>
                        </a:lnTo>
                        <a:lnTo>
                          <a:pt x="228" y="18"/>
                        </a:lnTo>
                        <a:lnTo>
                          <a:pt x="222" y="30"/>
                        </a:lnTo>
                        <a:lnTo>
                          <a:pt x="210" y="36"/>
                        </a:lnTo>
                        <a:lnTo>
                          <a:pt x="204" y="48"/>
                        </a:lnTo>
                        <a:lnTo>
                          <a:pt x="192" y="60"/>
                        </a:lnTo>
                        <a:lnTo>
                          <a:pt x="186" y="60"/>
                        </a:lnTo>
                        <a:lnTo>
                          <a:pt x="174" y="54"/>
                        </a:lnTo>
                        <a:lnTo>
                          <a:pt x="162" y="42"/>
                        </a:lnTo>
                        <a:lnTo>
                          <a:pt x="174" y="30"/>
                        </a:lnTo>
                        <a:lnTo>
                          <a:pt x="174" y="24"/>
                        </a:lnTo>
                        <a:lnTo>
                          <a:pt x="180" y="12"/>
                        </a:lnTo>
                        <a:lnTo>
                          <a:pt x="168" y="0"/>
                        </a:lnTo>
                        <a:lnTo>
                          <a:pt x="138" y="0"/>
                        </a:lnTo>
                        <a:lnTo>
                          <a:pt x="126" y="6"/>
                        </a:lnTo>
                        <a:lnTo>
                          <a:pt x="108" y="12"/>
                        </a:lnTo>
                        <a:lnTo>
                          <a:pt x="96" y="18"/>
                        </a:lnTo>
                        <a:lnTo>
                          <a:pt x="84" y="30"/>
                        </a:lnTo>
                        <a:lnTo>
                          <a:pt x="84" y="42"/>
                        </a:lnTo>
                        <a:lnTo>
                          <a:pt x="42" y="6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39" name="Togo"/>
                  <p:cNvSpPr>
                    <a:spLocks/>
                  </p:cNvSpPr>
                  <p:nvPr/>
                </p:nvSpPr>
                <p:spPr bwMode="gray">
                  <a:xfrm>
                    <a:off x="2650" y="2082"/>
                    <a:ext cx="36" cy="103"/>
                  </a:xfrm>
                  <a:custGeom>
                    <a:avLst/>
                    <a:gdLst>
                      <a:gd name="T0" fmla="*/ 2147483647 w 138"/>
                      <a:gd name="T1" fmla="*/ 2147483647 h 402"/>
                      <a:gd name="T2" fmla="*/ 2147483647 w 138"/>
                      <a:gd name="T3" fmla="*/ 2147483647 h 402"/>
                      <a:gd name="T4" fmla="*/ 2147483647 w 138"/>
                      <a:gd name="T5" fmla="*/ 2147483647 h 402"/>
                      <a:gd name="T6" fmla="*/ 2147483647 w 138"/>
                      <a:gd name="T7" fmla="*/ 2147483647 h 402"/>
                      <a:gd name="T8" fmla="*/ 2147483647 w 138"/>
                      <a:gd name="T9" fmla="*/ 2147483647 h 402"/>
                      <a:gd name="T10" fmla="*/ 2147483647 w 138"/>
                      <a:gd name="T11" fmla="*/ 2147483647 h 402"/>
                      <a:gd name="T12" fmla="*/ 2147483647 w 138"/>
                      <a:gd name="T13" fmla="*/ 2147483647 h 402"/>
                      <a:gd name="T14" fmla="*/ 2147483647 w 138"/>
                      <a:gd name="T15" fmla="*/ 2147483647 h 402"/>
                      <a:gd name="T16" fmla="*/ 2147483647 w 138"/>
                      <a:gd name="T17" fmla="*/ 2147483647 h 402"/>
                      <a:gd name="T18" fmla="*/ 2147483647 w 138"/>
                      <a:gd name="T19" fmla="*/ 2147483647 h 402"/>
                      <a:gd name="T20" fmla="*/ 2147483647 w 138"/>
                      <a:gd name="T21" fmla="*/ 2147483647 h 402"/>
                      <a:gd name="T22" fmla="*/ 2147483647 w 138"/>
                      <a:gd name="T23" fmla="*/ 2147483647 h 402"/>
                      <a:gd name="T24" fmla="*/ 2147483647 w 138"/>
                      <a:gd name="T25" fmla="*/ 2147483647 h 402"/>
                      <a:gd name="T26" fmla="*/ 2147483647 w 138"/>
                      <a:gd name="T27" fmla="*/ 2147483647 h 402"/>
                      <a:gd name="T28" fmla="*/ 2147483647 w 138"/>
                      <a:gd name="T29" fmla="*/ 2147483647 h 402"/>
                      <a:gd name="T30" fmla="*/ 2147483647 w 138"/>
                      <a:gd name="T31" fmla="*/ 2147483647 h 402"/>
                      <a:gd name="T32" fmla="*/ 2147483647 w 138"/>
                      <a:gd name="T33" fmla="*/ 0 h 402"/>
                      <a:gd name="T34" fmla="*/ 2147483647 w 138"/>
                      <a:gd name="T35" fmla="*/ 0 h 402"/>
                      <a:gd name="T36" fmla="*/ 2147483647 w 138"/>
                      <a:gd name="T37" fmla="*/ 2147483647 h 402"/>
                      <a:gd name="T38" fmla="*/ 0 w 138"/>
                      <a:gd name="T39" fmla="*/ 2147483647 h 402"/>
                      <a:gd name="T40" fmla="*/ 2147483647 w 138"/>
                      <a:gd name="T41" fmla="*/ 2147483647 h 402"/>
                      <a:gd name="T42" fmla="*/ 2147483647 w 138"/>
                      <a:gd name="T43" fmla="*/ 2147483647 h 402"/>
                      <a:gd name="T44" fmla="*/ 2147483647 w 138"/>
                      <a:gd name="T45" fmla="*/ 2147483647 h 402"/>
                      <a:gd name="T46" fmla="*/ 2147483647 w 138"/>
                      <a:gd name="T47" fmla="*/ 2147483647 h 402"/>
                      <a:gd name="T48" fmla="*/ 2147483647 w 138"/>
                      <a:gd name="T49" fmla="*/ 2147483647 h 402"/>
                      <a:gd name="T50" fmla="*/ 2147483647 w 138"/>
                      <a:gd name="T51" fmla="*/ 2147483647 h 402"/>
                      <a:gd name="T52" fmla="*/ 2147483647 w 138"/>
                      <a:gd name="T53" fmla="*/ 2147483647 h 402"/>
                      <a:gd name="T54" fmla="*/ 2147483647 w 138"/>
                      <a:gd name="T55" fmla="*/ 2147483647 h 402"/>
                      <a:gd name="T56" fmla="*/ 2147483647 w 138"/>
                      <a:gd name="T57" fmla="*/ 2147483647 h 402"/>
                      <a:gd name="T58" fmla="*/ 2147483647 w 138"/>
                      <a:gd name="T59" fmla="*/ 2147483647 h 402"/>
                      <a:gd name="T60" fmla="*/ 2147483647 w 138"/>
                      <a:gd name="T61" fmla="*/ 2147483647 h 402"/>
                      <a:gd name="T62" fmla="*/ 2147483647 w 138"/>
                      <a:gd name="T63" fmla="*/ 2147483647 h 402"/>
                      <a:gd name="T64" fmla="*/ 2147483647 w 138"/>
                      <a:gd name="T65" fmla="*/ 2147483647 h 402"/>
                      <a:gd name="T66" fmla="*/ 2147483647 w 138"/>
                      <a:gd name="T67" fmla="*/ 2147483647 h 402"/>
                      <a:gd name="T68" fmla="*/ 2147483647 w 138"/>
                      <a:gd name="T69" fmla="*/ 2147483647 h 402"/>
                      <a:gd name="T70" fmla="*/ 2147483647 w 138"/>
                      <a:gd name="T71" fmla="*/ 2147483647 h 402"/>
                      <a:gd name="T72" fmla="*/ 2147483647 w 138"/>
                      <a:gd name="T73" fmla="*/ 2147483647 h 402"/>
                      <a:gd name="T74" fmla="*/ 2147483647 w 138"/>
                      <a:gd name="T75" fmla="*/ 2147483647 h 402"/>
                      <a:gd name="T76" fmla="*/ 2147483647 w 138"/>
                      <a:gd name="T77" fmla="*/ 2147483647 h 402"/>
                      <a:gd name="T78" fmla="*/ 2147483647 w 138"/>
                      <a:gd name="T79" fmla="*/ 2147483647 h 402"/>
                      <a:gd name="T80" fmla="*/ 2147483647 w 138"/>
                      <a:gd name="T81" fmla="*/ 2147483647 h 402"/>
                      <a:gd name="T82" fmla="*/ 2147483647 w 138"/>
                      <a:gd name="T83" fmla="*/ 2147483647 h 402"/>
                      <a:gd name="T84" fmla="*/ 2147483647 w 138"/>
                      <a:gd name="T85" fmla="*/ 2147483647 h 402"/>
                      <a:gd name="T86" fmla="*/ 2147483647 w 138"/>
                      <a:gd name="T87" fmla="*/ 2147483647 h 402"/>
                      <a:gd name="T88" fmla="*/ 2147483647 w 138"/>
                      <a:gd name="T89" fmla="*/ 2147483647 h 402"/>
                      <a:gd name="T90" fmla="*/ 2147483647 w 138"/>
                      <a:gd name="T91" fmla="*/ 2147483647 h 402"/>
                      <a:gd name="T92" fmla="*/ 2147483647 w 138"/>
                      <a:gd name="T93" fmla="*/ 2147483647 h 402"/>
                      <a:gd name="T94" fmla="*/ 2147483647 w 138"/>
                      <a:gd name="T95" fmla="*/ 2147483647 h 402"/>
                      <a:gd name="T96" fmla="*/ 2147483647 w 138"/>
                      <a:gd name="T97" fmla="*/ 2147483647 h 402"/>
                      <a:gd name="T98" fmla="*/ 2147483647 w 138"/>
                      <a:gd name="T99" fmla="*/ 2147483647 h 402"/>
                      <a:gd name="T100" fmla="*/ 2147483647 w 138"/>
                      <a:gd name="T101" fmla="*/ 2147483647 h 402"/>
                      <a:gd name="T102" fmla="*/ 2147483647 w 138"/>
                      <a:gd name="T103" fmla="*/ 2147483647 h 4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38"/>
                      <a:gd name="T157" fmla="*/ 0 h 402"/>
                      <a:gd name="T158" fmla="*/ 138 w 138"/>
                      <a:gd name="T159" fmla="*/ 402 h 4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38" h="402">
                        <a:moveTo>
                          <a:pt x="126" y="354"/>
                        </a:moveTo>
                        <a:lnTo>
                          <a:pt x="120" y="288"/>
                        </a:lnTo>
                        <a:lnTo>
                          <a:pt x="132" y="282"/>
                        </a:lnTo>
                        <a:lnTo>
                          <a:pt x="120" y="270"/>
                        </a:lnTo>
                        <a:lnTo>
                          <a:pt x="120" y="210"/>
                        </a:lnTo>
                        <a:lnTo>
                          <a:pt x="132" y="198"/>
                        </a:lnTo>
                        <a:lnTo>
                          <a:pt x="126" y="186"/>
                        </a:lnTo>
                        <a:lnTo>
                          <a:pt x="126" y="156"/>
                        </a:lnTo>
                        <a:lnTo>
                          <a:pt x="120" y="144"/>
                        </a:lnTo>
                        <a:lnTo>
                          <a:pt x="108" y="132"/>
                        </a:lnTo>
                        <a:lnTo>
                          <a:pt x="108" y="90"/>
                        </a:lnTo>
                        <a:lnTo>
                          <a:pt x="78" y="60"/>
                        </a:lnTo>
                        <a:lnTo>
                          <a:pt x="66" y="54"/>
                        </a:lnTo>
                        <a:lnTo>
                          <a:pt x="66" y="24"/>
                        </a:lnTo>
                        <a:lnTo>
                          <a:pt x="72" y="6"/>
                        </a:lnTo>
                        <a:lnTo>
                          <a:pt x="54" y="6"/>
                        </a:lnTo>
                        <a:lnTo>
                          <a:pt x="30" y="0"/>
                        </a:lnTo>
                        <a:lnTo>
                          <a:pt x="12" y="0"/>
                        </a:lnTo>
                        <a:lnTo>
                          <a:pt x="12" y="18"/>
                        </a:lnTo>
                        <a:lnTo>
                          <a:pt x="0" y="30"/>
                        </a:lnTo>
                        <a:lnTo>
                          <a:pt x="36" y="54"/>
                        </a:lnTo>
                        <a:lnTo>
                          <a:pt x="24" y="132"/>
                        </a:lnTo>
                        <a:lnTo>
                          <a:pt x="36" y="120"/>
                        </a:lnTo>
                        <a:lnTo>
                          <a:pt x="42" y="120"/>
                        </a:lnTo>
                        <a:lnTo>
                          <a:pt x="48" y="126"/>
                        </a:lnTo>
                        <a:lnTo>
                          <a:pt x="48" y="150"/>
                        </a:lnTo>
                        <a:lnTo>
                          <a:pt x="42" y="162"/>
                        </a:lnTo>
                        <a:lnTo>
                          <a:pt x="54" y="174"/>
                        </a:lnTo>
                        <a:lnTo>
                          <a:pt x="54" y="180"/>
                        </a:lnTo>
                        <a:lnTo>
                          <a:pt x="48" y="180"/>
                        </a:lnTo>
                        <a:lnTo>
                          <a:pt x="36" y="192"/>
                        </a:lnTo>
                        <a:lnTo>
                          <a:pt x="42" y="198"/>
                        </a:lnTo>
                        <a:lnTo>
                          <a:pt x="54" y="204"/>
                        </a:lnTo>
                        <a:lnTo>
                          <a:pt x="60" y="210"/>
                        </a:lnTo>
                        <a:lnTo>
                          <a:pt x="60" y="222"/>
                        </a:lnTo>
                        <a:lnTo>
                          <a:pt x="54" y="228"/>
                        </a:lnTo>
                        <a:lnTo>
                          <a:pt x="54" y="270"/>
                        </a:lnTo>
                        <a:lnTo>
                          <a:pt x="48" y="276"/>
                        </a:lnTo>
                        <a:lnTo>
                          <a:pt x="48" y="294"/>
                        </a:lnTo>
                        <a:lnTo>
                          <a:pt x="54" y="294"/>
                        </a:lnTo>
                        <a:lnTo>
                          <a:pt x="60" y="300"/>
                        </a:lnTo>
                        <a:lnTo>
                          <a:pt x="60" y="312"/>
                        </a:lnTo>
                        <a:lnTo>
                          <a:pt x="54" y="324"/>
                        </a:lnTo>
                        <a:lnTo>
                          <a:pt x="54" y="336"/>
                        </a:lnTo>
                        <a:lnTo>
                          <a:pt x="66" y="378"/>
                        </a:lnTo>
                        <a:lnTo>
                          <a:pt x="96" y="402"/>
                        </a:lnTo>
                        <a:lnTo>
                          <a:pt x="108" y="396"/>
                        </a:lnTo>
                        <a:lnTo>
                          <a:pt x="120" y="384"/>
                        </a:lnTo>
                        <a:lnTo>
                          <a:pt x="138" y="384"/>
                        </a:lnTo>
                        <a:lnTo>
                          <a:pt x="138" y="372"/>
                        </a:lnTo>
                        <a:lnTo>
                          <a:pt x="126" y="360"/>
                        </a:lnTo>
                        <a:lnTo>
                          <a:pt x="126" y="3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40" name="Thailand"/>
                  <p:cNvSpPr>
                    <a:spLocks/>
                  </p:cNvSpPr>
                  <p:nvPr/>
                </p:nvSpPr>
                <p:spPr bwMode="gray">
                  <a:xfrm>
                    <a:off x="4403" y="1889"/>
                    <a:ext cx="158" cy="304"/>
                  </a:xfrm>
                  <a:custGeom>
                    <a:avLst/>
                    <a:gdLst>
                      <a:gd name="T0" fmla="*/ 2147483647 w 618"/>
                      <a:gd name="T1" fmla="*/ 2147483647 h 1188"/>
                      <a:gd name="T2" fmla="*/ 2147483647 w 618"/>
                      <a:gd name="T3" fmla="*/ 2147483647 h 1188"/>
                      <a:gd name="T4" fmla="*/ 2147483647 w 618"/>
                      <a:gd name="T5" fmla="*/ 2147483647 h 1188"/>
                      <a:gd name="T6" fmla="*/ 2147483647 w 618"/>
                      <a:gd name="T7" fmla="*/ 2147483647 h 1188"/>
                      <a:gd name="T8" fmla="*/ 2147483647 w 618"/>
                      <a:gd name="T9" fmla="*/ 2147483647 h 1188"/>
                      <a:gd name="T10" fmla="*/ 2147483647 w 618"/>
                      <a:gd name="T11" fmla="*/ 2147483647 h 1188"/>
                      <a:gd name="T12" fmla="*/ 2147483647 w 618"/>
                      <a:gd name="T13" fmla="*/ 2147483647 h 1188"/>
                      <a:gd name="T14" fmla="*/ 2147483647 w 618"/>
                      <a:gd name="T15" fmla="*/ 2147483647 h 1188"/>
                      <a:gd name="T16" fmla="*/ 2147483647 w 618"/>
                      <a:gd name="T17" fmla="*/ 2147483647 h 1188"/>
                      <a:gd name="T18" fmla="*/ 2147483647 w 618"/>
                      <a:gd name="T19" fmla="*/ 2147483647 h 1188"/>
                      <a:gd name="T20" fmla="*/ 2147483647 w 618"/>
                      <a:gd name="T21" fmla="*/ 2147483647 h 1188"/>
                      <a:gd name="T22" fmla="*/ 2147483647 w 618"/>
                      <a:gd name="T23" fmla="*/ 2147483647 h 1188"/>
                      <a:gd name="T24" fmla="*/ 2147483647 w 618"/>
                      <a:gd name="T25" fmla="*/ 0 h 1188"/>
                      <a:gd name="T26" fmla="*/ 2147483647 w 618"/>
                      <a:gd name="T27" fmla="*/ 2147483647 h 1188"/>
                      <a:gd name="T28" fmla="*/ 2147483647 w 618"/>
                      <a:gd name="T29" fmla="*/ 2147483647 h 1188"/>
                      <a:gd name="T30" fmla="*/ 2147483647 w 618"/>
                      <a:gd name="T31" fmla="*/ 2147483647 h 1188"/>
                      <a:gd name="T32" fmla="*/ 0 w 618"/>
                      <a:gd name="T33" fmla="*/ 2147483647 h 1188"/>
                      <a:gd name="T34" fmla="*/ 2147483647 w 618"/>
                      <a:gd name="T35" fmla="*/ 2147483647 h 1188"/>
                      <a:gd name="T36" fmla="*/ 2147483647 w 618"/>
                      <a:gd name="T37" fmla="*/ 2147483647 h 1188"/>
                      <a:gd name="T38" fmla="*/ 2147483647 w 618"/>
                      <a:gd name="T39" fmla="*/ 2147483647 h 1188"/>
                      <a:gd name="T40" fmla="*/ 2147483647 w 618"/>
                      <a:gd name="T41" fmla="*/ 2147483647 h 1188"/>
                      <a:gd name="T42" fmla="*/ 2147483647 w 618"/>
                      <a:gd name="T43" fmla="*/ 2147483647 h 1188"/>
                      <a:gd name="T44" fmla="*/ 2147483647 w 618"/>
                      <a:gd name="T45" fmla="*/ 2147483647 h 1188"/>
                      <a:gd name="T46" fmla="*/ 2147483647 w 618"/>
                      <a:gd name="T47" fmla="*/ 2147483647 h 1188"/>
                      <a:gd name="T48" fmla="*/ 2147483647 w 618"/>
                      <a:gd name="T49" fmla="*/ 2147483647 h 1188"/>
                      <a:gd name="T50" fmla="*/ 2147483647 w 618"/>
                      <a:gd name="T51" fmla="*/ 2147483647 h 1188"/>
                      <a:gd name="T52" fmla="*/ 2147483647 w 618"/>
                      <a:gd name="T53" fmla="*/ 2147483647 h 1188"/>
                      <a:gd name="T54" fmla="*/ 2147483647 w 618"/>
                      <a:gd name="T55" fmla="*/ 2147483647 h 1188"/>
                      <a:gd name="T56" fmla="*/ 2147483647 w 618"/>
                      <a:gd name="T57" fmla="*/ 2147483647 h 1188"/>
                      <a:gd name="T58" fmla="*/ 2147483647 w 618"/>
                      <a:gd name="T59" fmla="*/ 2147483647 h 1188"/>
                      <a:gd name="T60" fmla="*/ 2147483647 w 618"/>
                      <a:gd name="T61" fmla="*/ 2147483647 h 1188"/>
                      <a:gd name="T62" fmla="*/ 2147483647 w 618"/>
                      <a:gd name="T63" fmla="*/ 2147483647 h 1188"/>
                      <a:gd name="T64" fmla="*/ 2147483647 w 618"/>
                      <a:gd name="T65" fmla="*/ 2147483647 h 1188"/>
                      <a:gd name="T66" fmla="*/ 2147483647 w 618"/>
                      <a:gd name="T67" fmla="*/ 2147483647 h 1188"/>
                      <a:gd name="T68" fmla="*/ 2147483647 w 618"/>
                      <a:gd name="T69" fmla="*/ 2147483647 h 1188"/>
                      <a:gd name="T70" fmla="*/ 2147483647 w 618"/>
                      <a:gd name="T71" fmla="*/ 2147483647 h 1188"/>
                      <a:gd name="T72" fmla="*/ 2147483647 w 618"/>
                      <a:gd name="T73" fmla="*/ 2147483647 h 1188"/>
                      <a:gd name="T74" fmla="*/ 2147483647 w 618"/>
                      <a:gd name="T75" fmla="*/ 2147483647 h 1188"/>
                      <a:gd name="T76" fmla="*/ 2147483647 w 618"/>
                      <a:gd name="T77" fmla="*/ 2147483647 h 1188"/>
                      <a:gd name="T78" fmla="*/ 2147483647 w 618"/>
                      <a:gd name="T79" fmla="*/ 2147483647 h 1188"/>
                      <a:gd name="T80" fmla="*/ 2147483647 w 618"/>
                      <a:gd name="T81" fmla="*/ 2147483647 h 1188"/>
                      <a:gd name="T82" fmla="*/ 2147483647 w 618"/>
                      <a:gd name="T83" fmla="*/ 2147483647 h 1188"/>
                      <a:gd name="T84" fmla="*/ 2147483647 w 618"/>
                      <a:gd name="T85" fmla="*/ 2147483647 h 1188"/>
                      <a:gd name="T86" fmla="*/ 2147483647 w 618"/>
                      <a:gd name="T87" fmla="*/ 2147483647 h 1188"/>
                      <a:gd name="T88" fmla="*/ 2147483647 w 618"/>
                      <a:gd name="T89" fmla="*/ 2147483647 h 1188"/>
                      <a:gd name="T90" fmla="*/ 2147483647 w 618"/>
                      <a:gd name="T91" fmla="*/ 2147483647 h 1188"/>
                      <a:gd name="T92" fmla="*/ 2147483647 w 618"/>
                      <a:gd name="T93" fmla="*/ 2147483647 h 1188"/>
                      <a:gd name="T94" fmla="*/ 2147483647 w 618"/>
                      <a:gd name="T95" fmla="*/ 2147483647 h 1188"/>
                      <a:gd name="T96" fmla="*/ 2147483647 w 618"/>
                      <a:gd name="T97" fmla="*/ 2147483647 h 1188"/>
                      <a:gd name="T98" fmla="*/ 2147483647 w 618"/>
                      <a:gd name="T99" fmla="*/ 2147483647 h 1188"/>
                      <a:gd name="T100" fmla="*/ 2147483647 w 618"/>
                      <a:gd name="T101" fmla="*/ 2147483647 h 1188"/>
                      <a:gd name="T102" fmla="*/ 2147483647 w 618"/>
                      <a:gd name="T103" fmla="*/ 2147483647 h 1188"/>
                      <a:gd name="T104" fmla="*/ 2147483647 w 618"/>
                      <a:gd name="T105" fmla="*/ 2147483647 h 1188"/>
                      <a:gd name="T106" fmla="*/ 2147483647 w 618"/>
                      <a:gd name="T107" fmla="*/ 2147483647 h 1188"/>
                      <a:gd name="T108" fmla="*/ 2147483647 w 618"/>
                      <a:gd name="T109" fmla="*/ 2147483647 h 1188"/>
                      <a:gd name="T110" fmla="*/ 2147483647 w 618"/>
                      <a:gd name="T111" fmla="*/ 2147483647 h 1188"/>
                      <a:gd name="T112" fmla="*/ 2147483647 w 618"/>
                      <a:gd name="T113" fmla="*/ 2147483647 h 1188"/>
                      <a:gd name="T114" fmla="*/ 2147483647 w 618"/>
                      <a:gd name="T115" fmla="*/ 2147483647 h 1188"/>
                      <a:gd name="T116" fmla="*/ 2147483647 w 618"/>
                      <a:gd name="T117" fmla="*/ 2147483647 h 118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18"/>
                      <a:gd name="T178" fmla="*/ 0 h 1188"/>
                      <a:gd name="T179" fmla="*/ 618 w 618"/>
                      <a:gd name="T180" fmla="*/ 1188 h 118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18" h="1188">
                        <a:moveTo>
                          <a:pt x="588" y="426"/>
                        </a:moveTo>
                        <a:lnTo>
                          <a:pt x="588" y="420"/>
                        </a:lnTo>
                        <a:lnTo>
                          <a:pt x="594" y="414"/>
                        </a:lnTo>
                        <a:lnTo>
                          <a:pt x="606" y="390"/>
                        </a:lnTo>
                        <a:lnTo>
                          <a:pt x="594" y="378"/>
                        </a:lnTo>
                        <a:lnTo>
                          <a:pt x="594" y="372"/>
                        </a:lnTo>
                        <a:lnTo>
                          <a:pt x="588" y="378"/>
                        </a:lnTo>
                        <a:lnTo>
                          <a:pt x="588" y="366"/>
                        </a:lnTo>
                        <a:lnTo>
                          <a:pt x="582" y="360"/>
                        </a:lnTo>
                        <a:lnTo>
                          <a:pt x="582" y="354"/>
                        </a:lnTo>
                        <a:lnTo>
                          <a:pt x="546" y="318"/>
                        </a:lnTo>
                        <a:lnTo>
                          <a:pt x="534" y="294"/>
                        </a:lnTo>
                        <a:lnTo>
                          <a:pt x="534" y="282"/>
                        </a:lnTo>
                        <a:lnTo>
                          <a:pt x="528" y="240"/>
                        </a:lnTo>
                        <a:lnTo>
                          <a:pt x="510" y="222"/>
                        </a:lnTo>
                        <a:lnTo>
                          <a:pt x="498" y="216"/>
                        </a:lnTo>
                        <a:lnTo>
                          <a:pt x="480" y="204"/>
                        </a:lnTo>
                        <a:lnTo>
                          <a:pt x="468" y="192"/>
                        </a:lnTo>
                        <a:lnTo>
                          <a:pt x="468" y="180"/>
                        </a:lnTo>
                        <a:lnTo>
                          <a:pt x="462" y="174"/>
                        </a:lnTo>
                        <a:lnTo>
                          <a:pt x="438" y="174"/>
                        </a:lnTo>
                        <a:lnTo>
                          <a:pt x="426" y="168"/>
                        </a:lnTo>
                        <a:lnTo>
                          <a:pt x="420" y="162"/>
                        </a:lnTo>
                        <a:lnTo>
                          <a:pt x="402" y="162"/>
                        </a:lnTo>
                        <a:lnTo>
                          <a:pt x="396" y="168"/>
                        </a:lnTo>
                        <a:lnTo>
                          <a:pt x="396" y="180"/>
                        </a:lnTo>
                        <a:lnTo>
                          <a:pt x="378" y="198"/>
                        </a:lnTo>
                        <a:lnTo>
                          <a:pt x="360" y="198"/>
                        </a:lnTo>
                        <a:lnTo>
                          <a:pt x="336" y="186"/>
                        </a:lnTo>
                        <a:lnTo>
                          <a:pt x="330" y="180"/>
                        </a:lnTo>
                        <a:lnTo>
                          <a:pt x="318" y="180"/>
                        </a:lnTo>
                        <a:lnTo>
                          <a:pt x="312" y="186"/>
                        </a:lnTo>
                        <a:lnTo>
                          <a:pt x="306" y="198"/>
                        </a:lnTo>
                        <a:lnTo>
                          <a:pt x="294" y="210"/>
                        </a:lnTo>
                        <a:lnTo>
                          <a:pt x="294" y="216"/>
                        </a:lnTo>
                        <a:lnTo>
                          <a:pt x="288" y="222"/>
                        </a:lnTo>
                        <a:lnTo>
                          <a:pt x="264" y="234"/>
                        </a:lnTo>
                        <a:lnTo>
                          <a:pt x="246" y="234"/>
                        </a:lnTo>
                        <a:lnTo>
                          <a:pt x="246" y="222"/>
                        </a:lnTo>
                        <a:lnTo>
                          <a:pt x="270" y="174"/>
                        </a:lnTo>
                        <a:lnTo>
                          <a:pt x="270" y="162"/>
                        </a:lnTo>
                        <a:lnTo>
                          <a:pt x="264" y="156"/>
                        </a:lnTo>
                        <a:lnTo>
                          <a:pt x="252" y="156"/>
                        </a:lnTo>
                        <a:lnTo>
                          <a:pt x="264" y="144"/>
                        </a:lnTo>
                        <a:lnTo>
                          <a:pt x="270" y="132"/>
                        </a:lnTo>
                        <a:lnTo>
                          <a:pt x="270" y="120"/>
                        </a:lnTo>
                        <a:lnTo>
                          <a:pt x="264" y="108"/>
                        </a:lnTo>
                        <a:lnTo>
                          <a:pt x="258" y="102"/>
                        </a:lnTo>
                        <a:lnTo>
                          <a:pt x="264" y="96"/>
                        </a:lnTo>
                        <a:lnTo>
                          <a:pt x="264" y="66"/>
                        </a:lnTo>
                        <a:lnTo>
                          <a:pt x="252" y="60"/>
                        </a:lnTo>
                        <a:lnTo>
                          <a:pt x="246" y="60"/>
                        </a:lnTo>
                        <a:lnTo>
                          <a:pt x="240" y="66"/>
                        </a:lnTo>
                        <a:lnTo>
                          <a:pt x="228" y="66"/>
                        </a:lnTo>
                        <a:lnTo>
                          <a:pt x="228" y="78"/>
                        </a:lnTo>
                        <a:lnTo>
                          <a:pt x="210" y="78"/>
                        </a:lnTo>
                        <a:lnTo>
                          <a:pt x="204" y="72"/>
                        </a:lnTo>
                        <a:lnTo>
                          <a:pt x="198" y="60"/>
                        </a:lnTo>
                        <a:lnTo>
                          <a:pt x="198" y="36"/>
                        </a:lnTo>
                        <a:lnTo>
                          <a:pt x="204" y="30"/>
                        </a:lnTo>
                        <a:lnTo>
                          <a:pt x="204" y="18"/>
                        </a:lnTo>
                        <a:lnTo>
                          <a:pt x="198" y="12"/>
                        </a:lnTo>
                        <a:lnTo>
                          <a:pt x="186" y="12"/>
                        </a:lnTo>
                        <a:lnTo>
                          <a:pt x="174" y="6"/>
                        </a:lnTo>
                        <a:lnTo>
                          <a:pt x="168" y="0"/>
                        </a:lnTo>
                        <a:lnTo>
                          <a:pt x="138" y="0"/>
                        </a:lnTo>
                        <a:lnTo>
                          <a:pt x="132" y="6"/>
                        </a:lnTo>
                        <a:lnTo>
                          <a:pt x="126" y="6"/>
                        </a:lnTo>
                        <a:lnTo>
                          <a:pt x="120" y="30"/>
                        </a:lnTo>
                        <a:lnTo>
                          <a:pt x="96" y="30"/>
                        </a:lnTo>
                        <a:lnTo>
                          <a:pt x="96" y="36"/>
                        </a:lnTo>
                        <a:lnTo>
                          <a:pt x="90" y="42"/>
                        </a:lnTo>
                        <a:lnTo>
                          <a:pt x="84" y="54"/>
                        </a:lnTo>
                        <a:lnTo>
                          <a:pt x="78" y="60"/>
                        </a:lnTo>
                        <a:lnTo>
                          <a:pt x="66" y="60"/>
                        </a:lnTo>
                        <a:lnTo>
                          <a:pt x="54" y="54"/>
                        </a:lnTo>
                        <a:lnTo>
                          <a:pt x="24" y="54"/>
                        </a:lnTo>
                        <a:lnTo>
                          <a:pt x="24" y="102"/>
                        </a:lnTo>
                        <a:lnTo>
                          <a:pt x="18" y="108"/>
                        </a:lnTo>
                        <a:lnTo>
                          <a:pt x="12" y="108"/>
                        </a:lnTo>
                        <a:lnTo>
                          <a:pt x="6" y="114"/>
                        </a:lnTo>
                        <a:lnTo>
                          <a:pt x="6" y="120"/>
                        </a:lnTo>
                        <a:lnTo>
                          <a:pt x="24" y="138"/>
                        </a:lnTo>
                        <a:lnTo>
                          <a:pt x="24" y="156"/>
                        </a:lnTo>
                        <a:lnTo>
                          <a:pt x="0" y="156"/>
                        </a:lnTo>
                        <a:lnTo>
                          <a:pt x="0" y="162"/>
                        </a:lnTo>
                        <a:lnTo>
                          <a:pt x="24" y="186"/>
                        </a:lnTo>
                        <a:lnTo>
                          <a:pt x="36" y="192"/>
                        </a:lnTo>
                        <a:lnTo>
                          <a:pt x="30" y="216"/>
                        </a:lnTo>
                        <a:lnTo>
                          <a:pt x="36" y="216"/>
                        </a:lnTo>
                        <a:lnTo>
                          <a:pt x="36" y="222"/>
                        </a:lnTo>
                        <a:lnTo>
                          <a:pt x="42" y="234"/>
                        </a:lnTo>
                        <a:lnTo>
                          <a:pt x="60" y="252"/>
                        </a:lnTo>
                        <a:lnTo>
                          <a:pt x="72" y="258"/>
                        </a:lnTo>
                        <a:lnTo>
                          <a:pt x="84" y="270"/>
                        </a:lnTo>
                        <a:lnTo>
                          <a:pt x="96" y="276"/>
                        </a:lnTo>
                        <a:lnTo>
                          <a:pt x="102" y="282"/>
                        </a:lnTo>
                        <a:lnTo>
                          <a:pt x="102" y="288"/>
                        </a:lnTo>
                        <a:lnTo>
                          <a:pt x="96" y="288"/>
                        </a:lnTo>
                        <a:lnTo>
                          <a:pt x="96" y="306"/>
                        </a:lnTo>
                        <a:lnTo>
                          <a:pt x="102" y="318"/>
                        </a:lnTo>
                        <a:lnTo>
                          <a:pt x="108" y="324"/>
                        </a:lnTo>
                        <a:lnTo>
                          <a:pt x="114" y="324"/>
                        </a:lnTo>
                        <a:lnTo>
                          <a:pt x="120" y="318"/>
                        </a:lnTo>
                        <a:lnTo>
                          <a:pt x="126" y="324"/>
                        </a:lnTo>
                        <a:lnTo>
                          <a:pt x="126" y="342"/>
                        </a:lnTo>
                        <a:lnTo>
                          <a:pt x="120" y="348"/>
                        </a:lnTo>
                        <a:lnTo>
                          <a:pt x="108" y="348"/>
                        </a:lnTo>
                        <a:lnTo>
                          <a:pt x="114" y="360"/>
                        </a:lnTo>
                        <a:lnTo>
                          <a:pt x="114" y="384"/>
                        </a:lnTo>
                        <a:lnTo>
                          <a:pt x="108" y="396"/>
                        </a:lnTo>
                        <a:lnTo>
                          <a:pt x="102" y="402"/>
                        </a:lnTo>
                        <a:lnTo>
                          <a:pt x="84" y="438"/>
                        </a:lnTo>
                        <a:lnTo>
                          <a:pt x="90" y="444"/>
                        </a:lnTo>
                        <a:lnTo>
                          <a:pt x="90" y="450"/>
                        </a:lnTo>
                        <a:lnTo>
                          <a:pt x="96" y="456"/>
                        </a:lnTo>
                        <a:lnTo>
                          <a:pt x="102" y="468"/>
                        </a:lnTo>
                        <a:lnTo>
                          <a:pt x="108" y="474"/>
                        </a:lnTo>
                        <a:lnTo>
                          <a:pt x="114" y="486"/>
                        </a:lnTo>
                        <a:lnTo>
                          <a:pt x="156" y="528"/>
                        </a:lnTo>
                        <a:lnTo>
                          <a:pt x="162" y="540"/>
                        </a:lnTo>
                        <a:lnTo>
                          <a:pt x="162" y="570"/>
                        </a:lnTo>
                        <a:lnTo>
                          <a:pt x="168" y="588"/>
                        </a:lnTo>
                        <a:lnTo>
                          <a:pt x="168" y="612"/>
                        </a:lnTo>
                        <a:lnTo>
                          <a:pt x="192" y="636"/>
                        </a:lnTo>
                        <a:lnTo>
                          <a:pt x="192" y="660"/>
                        </a:lnTo>
                        <a:lnTo>
                          <a:pt x="198" y="672"/>
                        </a:lnTo>
                        <a:lnTo>
                          <a:pt x="198" y="702"/>
                        </a:lnTo>
                        <a:lnTo>
                          <a:pt x="192" y="714"/>
                        </a:lnTo>
                        <a:lnTo>
                          <a:pt x="192" y="732"/>
                        </a:lnTo>
                        <a:lnTo>
                          <a:pt x="174" y="768"/>
                        </a:lnTo>
                        <a:lnTo>
                          <a:pt x="156" y="786"/>
                        </a:lnTo>
                        <a:lnTo>
                          <a:pt x="156" y="798"/>
                        </a:lnTo>
                        <a:lnTo>
                          <a:pt x="162" y="804"/>
                        </a:lnTo>
                        <a:lnTo>
                          <a:pt x="162" y="816"/>
                        </a:lnTo>
                        <a:lnTo>
                          <a:pt x="156" y="828"/>
                        </a:lnTo>
                        <a:lnTo>
                          <a:pt x="150" y="834"/>
                        </a:lnTo>
                        <a:lnTo>
                          <a:pt x="144" y="846"/>
                        </a:lnTo>
                        <a:lnTo>
                          <a:pt x="144" y="852"/>
                        </a:lnTo>
                        <a:lnTo>
                          <a:pt x="138" y="858"/>
                        </a:lnTo>
                        <a:lnTo>
                          <a:pt x="132" y="876"/>
                        </a:lnTo>
                        <a:lnTo>
                          <a:pt x="126" y="888"/>
                        </a:lnTo>
                        <a:lnTo>
                          <a:pt x="126" y="906"/>
                        </a:lnTo>
                        <a:lnTo>
                          <a:pt x="120" y="918"/>
                        </a:lnTo>
                        <a:lnTo>
                          <a:pt x="120" y="966"/>
                        </a:lnTo>
                        <a:lnTo>
                          <a:pt x="126" y="978"/>
                        </a:lnTo>
                        <a:lnTo>
                          <a:pt x="126" y="1008"/>
                        </a:lnTo>
                        <a:lnTo>
                          <a:pt x="132" y="1014"/>
                        </a:lnTo>
                        <a:lnTo>
                          <a:pt x="132" y="1020"/>
                        </a:lnTo>
                        <a:lnTo>
                          <a:pt x="138" y="1020"/>
                        </a:lnTo>
                        <a:lnTo>
                          <a:pt x="138" y="1002"/>
                        </a:lnTo>
                        <a:lnTo>
                          <a:pt x="144" y="990"/>
                        </a:lnTo>
                        <a:lnTo>
                          <a:pt x="144" y="978"/>
                        </a:lnTo>
                        <a:lnTo>
                          <a:pt x="150" y="972"/>
                        </a:lnTo>
                        <a:lnTo>
                          <a:pt x="150" y="996"/>
                        </a:lnTo>
                        <a:lnTo>
                          <a:pt x="162" y="996"/>
                        </a:lnTo>
                        <a:lnTo>
                          <a:pt x="186" y="1020"/>
                        </a:lnTo>
                        <a:lnTo>
                          <a:pt x="192" y="1032"/>
                        </a:lnTo>
                        <a:lnTo>
                          <a:pt x="198" y="1038"/>
                        </a:lnTo>
                        <a:lnTo>
                          <a:pt x="198" y="1044"/>
                        </a:lnTo>
                        <a:lnTo>
                          <a:pt x="228" y="1074"/>
                        </a:lnTo>
                        <a:lnTo>
                          <a:pt x="228" y="1098"/>
                        </a:lnTo>
                        <a:lnTo>
                          <a:pt x="234" y="1110"/>
                        </a:lnTo>
                        <a:lnTo>
                          <a:pt x="246" y="1128"/>
                        </a:lnTo>
                        <a:lnTo>
                          <a:pt x="264" y="1146"/>
                        </a:lnTo>
                        <a:lnTo>
                          <a:pt x="270" y="1140"/>
                        </a:lnTo>
                        <a:lnTo>
                          <a:pt x="276" y="1128"/>
                        </a:lnTo>
                        <a:lnTo>
                          <a:pt x="270" y="1122"/>
                        </a:lnTo>
                        <a:lnTo>
                          <a:pt x="270" y="1110"/>
                        </a:lnTo>
                        <a:lnTo>
                          <a:pt x="276" y="1104"/>
                        </a:lnTo>
                        <a:lnTo>
                          <a:pt x="288" y="1104"/>
                        </a:lnTo>
                        <a:lnTo>
                          <a:pt x="294" y="1116"/>
                        </a:lnTo>
                        <a:lnTo>
                          <a:pt x="294" y="1122"/>
                        </a:lnTo>
                        <a:lnTo>
                          <a:pt x="312" y="1122"/>
                        </a:lnTo>
                        <a:lnTo>
                          <a:pt x="324" y="1128"/>
                        </a:lnTo>
                        <a:lnTo>
                          <a:pt x="330" y="1134"/>
                        </a:lnTo>
                        <a:lnTo>
                          <a:pt x="330" y="1146"/>
                        </a:lnTo>
                        <a:lnTo>
                          <a:pt x="342" y="1146"/>
                        </a:lnTo>
                        <a:lnTo>
                          <a:pt x="342" y="1158"/>
                        </a:lnTo>
                        <a:lnTo>
                          <a:pt x="330" y="1170"/>
                        </a:lnTo>
                        <a:lnTo>
                          <a:pt x="330" y="1176"/>
                        </a:lnTo>
                        <a:lnTo>
                          <a:pt x="336" y="1182"/>
                        </a:lnTo>
                        <a:lnTo>
                          <a:pt x="354" y="1182"/>
                        </a:lnTo>
                        <a:lnTo>
                          <a:pt x="354" y="1176"/>
                        </a:lnTo>
                        <a:lnTo>
                          <a:pt x="366" y="1176"/>
                        </a:lnTo>
                        <a:lnTo>
                          <a:pt x="372" y="1170"/>
                        </a:lnTo>
                        <a:lnTo>
                          <a:pt x="378" y="1170"/>
                        </a:lnTo>
                        <a:lnTo>
                          <a:pt x="396" y="1188"/>
                        </a:lnTo>
                        <a:lnTo>
                          <a:pt x="402" y="1182"/>
                        </a:lnTo>
                        <a:lnTo>
                          <a:pt x="402" y="1176"/>
                        </a:lnTo>
                        <a:lnTo>
                          <a:pt x="408" y="1164"/>
                        </a:lnTo>
                        <a:lnTo>
                          <a:pt x="414" y="1158"/>
                        </a:lnTo>
                        <a:lnTo>
                          <a:pt x="420" y="1146"/>
                        </a:lnTo>
                        <a:lnTo>
                          <a:pt x="396" y="1134"/>
                        </a:lnTo>
                        <a:lnTo>
                          <a:pt x="390" y="1128"/>
                        </a:lnTo>
                        <a:lnTo>
                          <a:pt x="390" y="1116"/>
                        </a:lnTo>
                        <a:lnTo>
                          <a:pt x="384" y="1104"/>
                        </a:lnTo>
                        <a:lnTo>
                          <a:pt x="384" y="1092"/>
                        </a:lnTo>
                        <a:lnTo>
                          <a:pt x="378" y="1080"/>
                        </a:lnTo>
                        <a:lnTo>
                          <a:pt x="372" y="1074"/>
                        </a:lnTo>
                        <a:lnTo>
                          <a:pt x="354" y="1074"/>
                        </a:lnTo>
                        <a:lnTo>
                          <a:pt x="342" y="1080"/>
                        </a:lnTo>
                        <a:lnTo>
                          <a:pt x="336" y="1086"/>
                        </a:lnTo>
                        <a:lnTo>
                          <a:pt x="318" y="1086"/>
                        </a:lnTo>
                        <a:lnTo>
                          <a:pt x="312" y="1080"/>
                        </a:lnTo>
                        <a:lnTo>
                          <a:pt x="306" y="1068"/>
                        </a:lnTo>
                        <a:lnTo>
                          <a:pt x="306" y="1056"/>
                        </a:lnTo>
                        <a:lnTo>
                          <a:pt x="294" y="1032"/>
                        </a:lnTo>
                        <a:lnTo>
                          <a:pt x="288" y="1032"/>
                        </a:lnTo>
                        <a:lnTo>
                          <a:pt x="288" y="1050"/>
                        </a:lnTo>
                        <a:lnTo>
                          <a:pt x="282" y="1056"/>
                        </a:lnTo>
                        <a:lnTo>
                          <a:pt x="276" y="1056"/>
                        </a:lnTo>
                        <a:lnTo>
                          <a:pt x="270" y="1044"/>
                        </a:lnTo>
                        <a:lnTo>
                          <a:pt x="264" y="1038"/>
                        </a:lnTo>
                        <a:lnTo>
                          <a:pt x="258" y="1026"/>
                        </a:lnTo>
                        <a:lnTo>
                          <a:pt x="258" y="1014"/>
                        </a:lnTo>
                        <a:lnTo>
                          <a:pt x="270" y="1002"/>
                        </a:lnTo>
                        <a:lnTo>
                          <a:pt x="270" y="1008"/>
                        </a:lnTo>
                        <a:lnTo>
                          <a:pt x="276" y="1008"/>
                        </a:lnTo>
                        <a:lnTo>
                          <a:pt x="276" y="1014"/>
                        </a:lnTo>
                        <a:lnTo>
                          <a:pt x="282" y="1014"/>
                        </a:lnTo>
                        <a:lnTo>
                          <a:pt x="288" y="1008"/>
                        </a:lnTo>
                        <a:lnTo>
                          <a:pt x="282" y="1002"/>
                        </a:lnTo>
                        <a:lnTo>
                          <a:pt x="282" y="990"/>
                        </a:lnTo>
                        <a:lnTo>
                          <a:pt x="276" y="978"/>
                        </a:lnTo>
                        <a:lnTo>
                          <a:pt x="270" y="972"/>
                        </a:lnTo>
                        <a:lnTo>
                          <a:pt x="270" y="960"/>
                        </a:lnTo>
                        <a:lnTo>
                          <a:pt x="258" y="948"/>
                        </a:lnTo>
                        <a:lnTo>
                          <a:pt x="246" y="948"/>
                        </a:lnTo>
                        <a:lnTo>
                          <a:pt x="246" y="894"/>
                        </a:lnTo>
                        <a:lnTo>
                          <a:pt x="192" y="906"/>
                        </a:lnTo>
                        <a:lnTo>
                          <a:pt x="192" y="864"/>
                        </a:lnTo>
                        <a:lnTo>
                          <a:pt x="186" y="828"/>
                        </a:lnTo>
                        <a:lnTo>
                          <a:pt x="186" y="804"/>
                        </a:lnTo>
                        <a:lnTo>
                          <a:pt x="180" y="792"/>
                        </a:lnTo>
                        <a:lnTo>
                          <a:pt x="174" y="786"/>
                        </a:lnTo>
                        <a:lnTo>
                          <a:pt x="180" y="786"/>
                        </a:lnTo>
                        <a:lnTo>
                          <a:pt x="192" y="774"/>
                        </a:lnTo>
                        <a:lnTo>
                          <a:pt x="198" y="762"/>
                        </a:lnTo>
                        <a:lnTo>
                          <a:pt x="204" y="744"/>
                        </a:lnTo>
                        <a:lnTo>
                          <a:pt x="204" y="678"/>
                        </a:lnTo>
                        <a:lnTo>
                          <a:pt x="210" y="678"/>
                        </a:lnTo>
                        <a:lnTo>
                          <a:pt x="216" y="672"/>
                        </a:lnTo>
                        <a:lnTo>
                          <a:pt x="222" y="660"/>
                        </a:lnTo>
                        <a:lnTo>
                          <a:pt x="228" y="654"/>
                        </a:lnTo>
                        <a:lnTo>
                          <a:pt x="228" y="612"/>
                        </a:lnTo>
                        <a:lnTo>
                          <a:pt x="222" y="600"/>
                        </a:lnTo>
                        <a:lnTo>
                          <a:pt x="222" y="594"/>
                        </a:lnTo>
                        <a:lnTo>
                          <a:pt x="216" y="588"/>
                        </a:lnTo>
                        <a:lnTo>
                          <a:pt x="222" y="558"/>
                        </a:lnTo>
                        <a:lnTo>
                          <a:pt x="234" y="558"/>
                        </a:lnTo>
                        <a:lnTo>
                          <a:pt x="234" y="552"/>
                        </a:lnTo>
                        <a:lnTo>
                          <a:pt x="240" y="546"/>
                        </a:lnTo>
                        <a:lnTo>
                          <a:pt x="264" y="546"/>
                        </a:lnTo>
                        <a:lnTo>
                          <a:pt x="270" y="552"/>
                        </a:lnTo>
                        <a:lnTo>
                          <a:pt x="294" y="564"/>
                        </a:lnTo>
                        <a:lnTo>
                          <a:pt x="300" y="570"/>
                        </a:lnTo>
                        <a:lnTo>
                          <a:pt x="288" y="576"/>
                        </a:lnTo>
                        <a:lnTo>
                          <a:pt x="288" y="588"/>
                        </a:lnTo>
                        <a:lnTo>
                          <a:pt x="282" y="594"/>
                        </a:lnTo>
                        <a:lnTo>
                          <a:pt x="282" y="612"/>
                        </a:lnTo>
                        <a:lnTo>
                          <a:pt x="288" y="624"/>
                        </a:lnTo>
                        <a:lnTo>
                          <a:pt x="306" y="624"/>
                        </a:lnTo>
                        <a:lnTo>
                          <a:pt x="330" y="612"/>
                        </a:lnTo>
                        <a:lnTo>
                          <a:pt x="342" y="612"/>
                        </a:lnTo>
                        <a:lnTo>
                          <a:pt x="354" y="606"/>
                        </a:lnTo>
                        <a:lnTo>
                          <a:pt x="360" y="600"/>
                        </a:lnTo>
                        <a:lnTo>
                          <a:pt x="366" y="600"/>
                        </a:lnTo>
                        <a:lnTo>
                          <a:pt x="396" y="684"/>
                        </a:lnTo>
                        <a:lnTo>
                          <a:pt x="402" y="678"/>
                        </a:lnTo>
                        <a:lnTo>
                          <a:pt x="414" y="672"/>
                        </a:lnTo>
                        <a:lnTo>
                          <a:pt x="426" y="672"/>
                        </a:lnTo>
                        <a:lnTo>
                          <a:pt x="426" y="642"/>
                        </a:lnTo>
                        <a:lnTo>
                          <a:pt x="414" y="630"/>
                        </a:lnTo>
                        <a:lnTo>
                          <a:pt x="414" y="600"/>
                        </a:lnTo>
                        <a:lnTo>
                          <a:pt x="402" y="588"/>
                        </a:lnTo>
                        <a:lnTo>
                          <a:pt x="396" y="552"/>
                        </a:lnTo>
                        <a:lnTo>
                          <a:pt x="426" y="522"/>
                        </a:lnTo>
                        <a:lnTo>
                          <a:pt x="426" y="516"/>
                        </a:lnTo>
                        <a:lnTo>
                          <a:pt x="432" y="504"/>
                        </a:lnTo>
                        <a:lnTo>
                          <a:pt x="438" y="498"/>
                        </a:lnTo>
                        <a:lnTo>
                          <a:pt x="450" y="492"/>
                        </a:lnTo>
                        <a:lnTo>
                          <a:pt x="468" y="486"/>
                        </a:lnTo>
                        <a:lnTo>
                          <a:pt x="504" y="486"/>
                        </a:lnTo>
                        <a:lnTo>
                          <a:pt x="510" y="492"/>
                        </a:lnTo>
                        <a:lnTo>
                          <a:pt x="522" y="492"/>
                        </a:lnTo>
                        <a:lnTo>
                          <a:pt x="534" y="486"/>
                        </a:lnTo>
                        <a:lnTo>
                          <a:pt x="564" y="486"/>
                        </a:lnTo>
                        <a:lnTo>
                          <a:pt x="576" y="492"/>
                        </a:lnTo>
                        <a:lnTo>
                          <a:pt x="582" y="498"/>
                        </a:lnTo>
                        <a:lnTo>
                          <a:pt x="588" y="498"/>
                        </a:lnTo>
                        <a:lnTo>
                          <a:pt x="594" y="492"/>
                        </a:lnTo>
                        <a:lnTo>
                          <a:pt x="600" y="480"/>
                        </a:lnTo>
                        <a:lnTo>
                          <a:pt x="618" y="462"/>
                        </a:lnTo>
                        <a:lnTo>
                          <a:pt x="618" y="450"/>
                        </a:lnTo>
                        <a:lnTo>
                          <a:pt x="612" y="444"/>
                        </a:lnTo>
                        <a:lnTo>
                          <a:pt x="600" y="438"/>
                        </a:lnTo>
                        <a:lnTo>
                          <a:pt x="588" y="42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41" name="Tanzania"/>
                  <p:cNvSpPr>
                    <a:spLocks noEditPoints="1"/>
                  </p:cNvSpPr>
                  <p:nvPr/>
                </p:nvSpPr>
                <p:spPr bwMode="gray">
                  <a:xfrm>
                    <a:off x="3191" y="2331"/>
                    <a:ext cx="196" cy="222"/>
                  </a:xfrm>
                  <a:custGeom>
                    <a:avLst/>
                    <a:gdLst>
                      <a:gd name="T0" fmla="*/ 2147483647 w 768"/>
                      <a:gd name="T1" fmla="*/ 2147483647 h 870"/>
                      <a:gd name="T2" fmla="*/ 2147483647 w 768"/>
                      <a:gd name="T3" fmla="*/ 2147483647 h 870"/>
                      <a:gd name="T4" fmla="*/ 2147483647 w 768"/>
                      <a:gd name="T5" fmla="*/ 2147483647 h 870"/>
                      <a:gd name="T6" fmla="*/ 2147483647 w 768"/>
                      <a:gd name="T7" fmla="*/ 2147483647 h 870"/>
                      <a:gd name="T8" fmla="*/ 2147483647 w 768"/>
                      <a:gd name="T9" fmla="*/ 2147483647 h 870"/>
                      <a:gd name="T10" fmla="*/ 2147483647 w 768"/>
                      <a:gd name="T11" fmla="*/ 2147483647 h 870"/>
                      <a:gd name="T12" fmla="*/ 2147483647 w 768"/>
                      <a:gd name="T13" fmla="*/ 2147483647 h 870"/>
                      <a:gd name="T14" fmla="*/ 2147483647 w 768"/>
                      <a:gd name="T15" fmla="*/ 2147483647 h 870"/>
                      <a:gd name="T16" fmla="*/ 2147483647 w 768"/>
                      <a:gd name="T17" fmla="*/ 2147483647 h 870"/>
                      <a:gd name="T18" fmla="*/ 2147483647 w 768"/>
                      <a:gd name="T19" fmla="*/ 2147483647 h 870"/>
                      <a:gd name="T20" fmla="*/ 2147483647 w 768"/>
                      <a:gd name="T21" fmla="*/ 2147483647 h 870"/>
                      <a:gd name="T22" fmla="*/ 2147483647 w 768"/>
                      <a:gd name="T23" fmla="*/ 2147483647 h 870"/>
                      <a:gd name="T24" fmla="*/ 2147483647 w 768"/>
                      <a:gd name="T25" fmla="*/ 2147483647 h 870"/>
                      <a:gd name="T26" fmla="*/ 2147483647 w 768"/>
                      <a:gd name="T27" fmla="*/ 2147483647 h 870"/>
                      <a:gd name="T28" fmla="*/ 2147483647 w 768"/>
                      <a:gd name="T29" fmla="*/ 2147483647 h 870"/>
                      <a:gd name="T30" fmla="*/ 2147483647 w 768"/>
                      <a:gd name="T31" fmla="*/ 2147483647 h 870"/>
                      <a:gd name="T32" fmla="*/ 2147483647 w 768"/>
                      <a:gd name="T33" fmla="*/ 2147483647 h 870"/>
                      <a:gd name="T34" fmla="*/ 2147483647 w 768"/>
                      <a:gd name="T35" fmla="*/ 2147483647 h 870"/>
                      <a:gd name="T36" fmla="*/ 2147483647 w 768"/>
                      <a:gd name="T37" fmla="*/ 2147483647 h 870"/>
                      <a:gd name="T38" fmla="*/ 2147483647 w 768"/>
                      <a:gd name="T39" fmla="*/ 2147483647 h 870"/>
                      <a:gd name="T40" fmla="*/ 2147483647 w 768"/>
                      <a:gd name="T41" fmla="*/ 2147483647 h 870"/>
                      <a:gd name="T42" fmla="*/ 2147483647 w 768"/>
                      <a:gd name="T43" fmla="*/ 2147483647 h 870"/>
                      <a:gd name="T44" fmla="*/ 2147483647 w 768"/>
                      <a:gd name="T45" fmla="*/ 2147483647 h 870"/>
                      <a:gd name="T46" fmla="*/ 2147483647 w 768"/>
                      <a:gd name="T47" fmla="*/ 2147483647 h 870"/>
                      <a:gd name="T48" fmla="*/ 2147483647 w 768"/>
                      <a:gd name="T49" fmla="*/ 2147483647 h 870"/>
                      <a:gd name="T50" fmla="*/ 2147483647 w 768"/>
                      <a:gd name="T51" fmla="*/ 2147483647 h 870"/>
                      <a:gd name="T52" fmla="*/ 2147483647 w 768"/>
                      <a:gd name="T53" fmla="*/ 2147483647 h 870"/>
                      <a:gd name="T54" fmla="*/ 2147483647 w 768"/>
                      <a:gd name="T55" fmla="*/ 2147483647 h 870"/>
                      <a:gd name="T56" fmla="*/ 2147483647 w 768"/>
                      <a:gd name="T57" fmla="*/ 2147483647 h 870"/>
                      <a:gd name="T58" fmla="*/ 2147483647 w 768"/>
                      <a:gd name="T59" fmla="*/ 2147483647 h 870"/>
                      <a:gd name="T60" fmla="*/ 2147483647 w 768"/>
                      <a:gd name="T61" fmla="*/ 2147483647 h 870"/>
                      <a:gd name="T62" fmla="*/ 2147483647 w 768"/>
                      <a:gd name="T63" fmla="*/ 2147483647 h 870"/>
                      <a:gd name="T64" fmla="*/ 2147483647 w 768"/>
                      <a:gd name="T65" fmla="*/ 2147483647 h 870"/>
                      <a:gd name="T66" fmla="*/ 2147483647 w 768"/>
                      <a:gd name="T67" fmla="*/ 2147483647 h 870"/>
                      <a:gd name="T68" fmla="*/ 2147483647 w 768"/>
                      <a:gd name="T69" fmla="*/ 2147483647 h 870"/>
                      <a:gd name="T70" fmla="*/ 2147483647 w 768"/>
                      <a:gd name="T71" fmla="*/ 2147483647 h 870"/>
                      <a:gd name="T72" fmla="*/ 2147483647 w 768"/>
                      <a:gd name="T73" fmla="*/ 2147483647 h 870"/>
                      <a:gd name="T74" fmla="*/ 2147483647 w 768"/>
                      <a:gd name="T75" fmla="*/ 2147483647 h 870"/>
                      <a:gd name="T76" fmla="*/ 2147483647 w 768"/>
                      <a:gd name="T77" fmla="*/ 2147483647 h 870"/>
                      <a:gd name="T78" fmla="*/ 2147483647 w 768"/>
                      <a:gd name="T79" fmla="*/ 2147483647 h 870"/>
                      <a:gd name="T80" fmla="*/ 2147483647 w 768"/>
                      <a:gd name="T81" fmla="*/ 2147483647 h 870"/>
                      <a:gd name="T82" fmla="*/ 2147483647 w 768"/>
                      <a:gd name="T83" fmla="*/ 2147483647 h 870"/>
                      <a:gd name="T84" fmla="*/ 2147483647 w 768"/>
                      <a:gd name="T85" fmla="*/ 2147483647 h 870"/>
                      <a:gd name="T86" fmla="*/ 2147483647 w 768"/>
                      <a:gd name="T87" fmla="*/ 2147483647 h 870"/>
                      <a:gd name="T88" fmla="*/ 2147483647 w 768"/>
                      <a:gd name="T89" fmla="*/ 2147483647 h 870"/>
                      <a:gd name="T90" fmla="*/ 2147483647 w 768"/>
                      <a:gd name="T91" fmla="*/ 2147483647 h 870"/>
                      <a:gd name="T92" fmla="*/ 2147483647 w 768"/>
                      <a:gd name="T93" fmla="*/ 2147483647 h 870"/>
                      <a:gd name="T94" fmla="*/ 2147483647 w 768"/>
                      <a:gd name="T95" fmla="*/ 2147483647 h 870"/>
                      <a:gd name="T96" fmla="*/ 2147483647 w 768"/>
                      <a:gd name="T97" fmla="*/ 2147483647 h 870"/>
                      <a:gd name="T98" fmla="*/ 2147483647 w 768"/>
                      <a:gd name="T99" fmla="*/ 2147483647 h 870"/>
                      <a:gd name="T100" fmla="*/ 2147483647 w 768"/>
                      <a:gd name="T101" fmla="*/ 2147483647 h 870"/>
                      <a:gd name="T102" fmla="*/ 2147483647 w 768"/>
                      <a:gd name="T103" fmla="*/ 2147483647 h 8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68"/>
                      <a:gd name="T157" fmla="*/ 0 h 870"/>
                      <a:gd name="T158" fmla="*/ 768 w 768"/>
                      <a:gd name="T159" fmla="*/ 870 h 8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68" h="870">
                        <a:moveTo>
                          <a:pt x="762" y="744"/>
                        </a:moveTo>
                        <a:lnTo>
                          <a:pt x="750" y="744"/>
                        </a:lnTo>
                        <a:lnTo>
                          <a:pt x="744" y="738"/>
                        </a:lnTo>
                        <a:lnTo>
                          <a:pt x="732" y="732"/>
                        </a:lnTo>
                        <a:lnTo>
                          <a:pt x="720" y="720"/>
                        </a:lnTo>
                        <a:lnTo>
                          <a:pt x="720" y="708"/>
                        </a:lnTo>
                        <a:lnTo>
                          <a:pt x="714" y="690"/>
                        </a:lnTo>
                        <a:lnTo>
                          <a:pt x="714" y="654"/>
                        </a:lnTo>
                        <a:lnTo>
                          <a:pt x="690" y="612"/>
                        </a:lnTo>
                        <a:lnTo>
                          <a:pt x="702" y="564"/>
                        </a:lnTo>
                        <a:lnTo>
                          <a:pt x="684" y="540"/>
                        </a:lnTo>
                        <a:lnTo>
                          <a:pt x="690" y="528"/>
                        </a:lnTo>
                        <a:lnTo>
                          <a:pt x="696" y="522"/>
                        </a:lnTo>
                        <a:lnTo>
                          <a:pt x="708" y="498"/>
                        </a:lnTo>
                        <a:lnTo>
                          <a:pt x="708" y="480"/>
                        </a:lnTo>
                        <a:lnTo>
                          <a:pt x="702" y="474"/>
                        </a:lnTo>
                        <a:lnTo>
                          <a:pt x="690" y="468"/>
                        </a:lnTo>
                        <a:lnTo>
                          <a:pt x="672" y="456"/>
                        </a:lnTo>
                        <a:lnTo>
                          <a:pt x="660" y="450"/>
                        </a:lnTo>
                        <a:lnTo>
                          <a:pt x="654" y="438"/>
                        </a:lnTo>
                        <a:lnTo>
                          <a:pt x="654" y="426"/>
                        </a:lnTo>
                        <a:lnTo>
                          <a:pt x="660" y="414"/>
                        </a:lnTo>
                        <a:lnTo>
                          <a:pt x="666" y="396"/>
                        </a:lnTo>
                        <a:lnTo>
                          <a:pt x="666" y="384"/>
                        </a:lnTo>
                        <a:lnTo>
                          <a:pt x="672" y="366"/>
                        </a:lnTo>
                        <a:lnTo>
                          <a:pt x="678" y="354"/>
                        </a:lnTo>
                        <a:lnTo>
                          <a:pt x="678" y="330"/>
                        </a:lnTo>
                        <a:lnTo>
                          <a:pt x="684" y="318"/>
                        </a:lnTo>
                        <a:lnTo>
                          <a:pt x="684" y="300"/>
                        </a:lnTo>
                        <a:lnTo>
                          <a:pt x="570" y="192"/>
                        </a:lnTo>
                        <a:lnTo>
                          <a:pt x="576" y="186"/>
                        </a:lnTo>
                        <a:lnTo>
                          <a:pt x="582" y="186"/>
                        </a:lnTo>
                        <a:lnTo>
                          <a:pt x="588" y="180"/>
                        </a:lnTo>
                        <a:lnTo>
                          <a:pt x="588" y="174"/>
                        </a:lnTo>
                        <a:lnTo>
                          <a:pt x="576" y="162"/>
                        </a:lnTo>
                        <a:lnTo>
                          <a:pt x="324" y="6"/>
                        </a:lnTo>
                        <a:lnTo>
                          <a:pt x="312" y="6"/>
                        </a:lnTo>
                        <a:lnTo>
                          <a:pt x="312" y="18"/>
                        </a:lnTo>
                        <a:lnTo>
                          <a:pt x="318" y="24"/>
                        </a:lnTo>
                        <a:lnTo>
                          <a:pt x="318" y="36"/>
                        </a:lnTo>
                        <a:lnTo>
                          <a:pt x="294" y="48"/>
                        </a:lnTo>
                        <a:lnTo>
                          <a:pt x="276" y="66"/>
                        </a:lnTo>
                        <a:lnTo>
                          <a:pt x="264" y="84"/>
                        </a:lnTo>
                        <a:lnTo>
                          <a:pt x="264" y="90"/>
                        </a:lnTo>
                        <a:lnTo>
                          <a:pt x="270" y="96"/>
                        </a:lnTo>
                        <a:lnTo>
                          <a:pt x="294" y="96"/>
                        </a:lnTo>
                        <a:lnTo>
                          <a:pt x="306" y="90"/>
                        </a:lnTo>
                        <a:lnTo>
                          <a:pt x="312" y="90"/>
                        </a:lnTo>
                        <a:lnTo>
                          <a:pt x="306" y="96"/>
                        </a:lnTo>
                        <a:lnTo>
                          <a:pt x="294" y="102"/>
                        </a:lnTo>
                        <a:lnTo>
                          <a:pt x="276" y="120"/>
                        </a:lnTo>
                        <a:lnTo>
                          <a:pt x="270" y="120"/>
                        </a:lnTo>
                        <a:lnTo>
                          <a:pt x="264" y="114"/>
                        </a:lnTo>
                        <a:lnTo>
                          <a:pt x="252" y="108"/>
                        </a:lnTo>
                        <a:lnTo>
                          <a:pt x="246" y="108"/>
                        </a:lnTo>
                        <a:lnTo>
                          <a:pt x="234" y="120"/>
                        </a:lnTo>
                        <a:lnTo>
                          <a:pt x="234" y="138"/>
                        </a:lnTo>
                        <a:lnTo>
                          <a:pt x="246" y="150"/>
                        </a:lnTo>
                        <a:lnTo>
                          <a:pt x="216" y="150"/>
                        </a:lnTo>
                        <a:lnTo>
                          <a:pt x="216" y="138"/>
                        </a:lnTo>
                        <a:lnTo>
                          <a:pt x="222" y="132"/>
                        </a:lnTo>
                        <a:lnTo>
                          <a:pt x="222" y="126"/>
                        </a:lnTo>
                        <a:lnTo>
                          <a:pt x="228" y="114"/>
                        </a:lnTo>
                        <a:lnTo>
                          <a:pt x="210" y="120"/>
                        </a:lnTo>
                        <a:lnTo>
                          <a:pt x="192" y="102"/>
                        </a:lnTo>
                        <a:lnTo>
                          <a:pt x="186" y="102"/>
                        </a:lnTo>
                        <a:lnTo>
                          <a:pt x="174" y="114"/>
                        </a:lnTo>
                        <a:lnTo>
                          <a:pt x="174" y="132"/>
                        </a:lnTo>
                        <a:lnTo>
                          <a:pt x="168" y="138"/>
                        </a:lnTo>
                        <a:lnTo>
                          <a:pt x="162" y="138"/>
                        </a:lnTo>
                        <a:lnTo>
                          <a:pt x="156" y="132"/>
                        </a:lnTo>
                        <a:lnTo>
                          <a:pt x="156" y="48"/>
                        </a:lnTo>
                        <a:lnTo>
                          <a:pt x="162" y="36"/>
                        </a:lnTo>
                        <a:lnTo>
                          <a:pt x="162" y="24"/>
                        </a:lnTo>
                        <a:lnTo>
                          <a:pt x="168" y="12"/>
                        </a:lnTo>
                        <a:lnTo>
                          <a:pt x="168" y="6"/>
                        </a:lnTo>
                        <a:lnTo>
                          <a:pt x="78" y="0"/>
                        </a:lnTo>
                        <a:lnTo>
                          <a:pt x="72" y="24"/>
                        </a:lnTo>
                        <a:lnTo>
                          <a:pt x="78" y="30"/>
                        </a:lnTo>
                        <a:lnTo>
                          <a:pt x="84" y="42"/>
                        </a:lnTo>
                        <a:lnTo>
                          <a:pt x="90" y="48"/>
                        </a:lnTo>
                        <a:lnTo>
                          <a:pt x="90" y="66"/>
                        </a:lnTo>
                        <a:lnTo>
                          <a:pt x="96" y="72"/>
                        </a:lnTo>
                        <a:lnTo>
                          <a:pt x="96" y="96"/>
                        </a:lnTo>
                        <a:lnTo>
                          <a:pt x="78" y="114"/>
                        </a:lnTo>
                        <a:lnTo>
                          <a:pt x="66" y="114"/>
                        </a:lnTo>
                        <a:lnTo>
                          <a:pt x="66" y="126"/>
                        </a:lnTo>
                        <a:lnTo>
                          <a:pt x="60" y="138"/>
                        </a:lnTo>
                        <a:lnTo>
                          <a:pt x="60" y="156"/>
                        </a:lnTo>
                        <a:lnTo>
                          <a:pt x="66" y="156"/>
                        </a:lnTo>
                        <a:lnTo>
                          <a:pt x="72" y="162"/>
                        </a:lnTo>
                        <a:lnTo>
                          <a:pt x="90" y="162"/>
                        </a:lnTo>
                        <a:lnTo>
                          <a:pt x="90" y="180"/>
                        </a:lnTo>
                        <a:lnTo>
                          <a:pt x="78" y="186"/>
                        </a:lnTo>
                        <a:lnTo>
                          <a:pt x="84" y="198"/>
                        </a:lnTo>
                        <a:lnTo>
                          <a:pt x="72" y="198"/>
                        </a:lnTo>
                        <a:lnTo>
                          <a:pt x="54" y="216"/>
                        </a:lnTo>
                        <a:lnTo>
                          <a:pt x="48" y="228"/>
                        </a:lnTo>
                        <a:lnTo>
                          <a:pt x="48" y="246"/>
                        </a:lnTo>
                        <a:lnTo>
                          <a:pt x="42" y="258"/>
                        </a:lnTo>
                        <a:lnTo>
                          <a:pt x="30" y="270"/>
                        </a:lnTo>
                        <a:lnTo>
                          <a:pt x="6" y="282"/>
                        </a:lnTo>
                        <a:lnTo>
                          <a:pt x="0" y="294"/>
                        </a:lnTo>
                        <a:lnTo>
                          <a:pt x="6" y="306"/>
                        </a:lnTo>
                        <a:lnTo>
                          <a:pt x="18" y="318"/>
                        </a:lnTo>
                        <a:lnTo>
                          <a:pt x="18" y="330"/>
                        </a:lnTo>
                        <a:lnTo>
                          <a:pt x="12" y="342"/>
                        </a:lnTo>
                        <a:lnTo>
                          <a:pt x="12" y="348"/>
                        </a:lnTo>
                        <a:lnTo>
                          <a:pt x="18" y="354"/>
                        </a:lnTo>
                        <a:lnTo>
                          <a:pt x="18" y="366"/>
                        </a:lnTo>
                        <a:lnTo>
                          <a:pt x="24" y="378"/>
                        </a:lnTo>
                        <a:lnTo>
                          <a:pt x="24" y="396"/>
                        </a:lnTo>
                        <a:lnTo>
                          <a:pt x="18" y="402"/>
                        </a:lnTo>
                        <a:lnTo>
                          <a:pt x="18" y="432"/>
                        </a:lnTo>
                        <a:lnTo>
                          <a:pt x="30" y="444"/>
                        </a:lnTo>
                        <a:lnTo>
                          <a:pt x="36" y="444"/>
                        </a:lnTo>
                        <a:lnTo>
                          <a:pt x="48" y="450"/>
                        </a:lnTo>
                        <a:lnTo>
                          <a:pt x="72" y="474"/>
                        </a:lnTo>
                        <a:lnTo>
                          <a:pt x="78" y="486"/>
                        </a:lnTo>
                        <a:lnTo>
                          <a:pt x="78" y="546"/>
                        </a:lnTo>
                        <a:lnTo>
                          <a:pt x="84" y="558"/>
                        </a:lnTo>
                        <a:lnTo>
                          <a:pt x="114" y="594"/>
                        </a:lnTo>
                        <a:lnTo>
                          <a:pt x="114" y="600"/>
                        </a:lnTo>
                        <a:lnTo>
                          <a:pt x="108" y="612"/>
                        </a:lnTo>
                        <a:lnTo>
                          <a:pt x="108" y="618"/>
                        </a:lnTo>
                        <a:lnTo>
                          <a:pt x="126" y="618"/>
                        </a:lnTo>
                        <a:lnTo>
                          <a:pt x="138" y="612"/>
                        </a:lnTo>
                        <a:lnTo>
                          <a:pt x="138" y="630"/>
                        </a:lnTo>
                        <a:lnTo>
                          <a:pt x="144" y="636"/>
                        </a:lnTo>
                        <a:lnTo>
                          <a:pt x="162" y="636"/>
                        </a:lnTo>
                        <a:lnTo>
                          <a:pt x="180" y="654"/>
                        </a:lnTo>
                        <a:lnTo>
                          <a:pt x="192" y="654"/>
                        </a:lnTo>
                        <a:lnTo>
                          <a:pt x="204" y="648"/>
                        </a:lnTo>
                        <a:lnTo>
                          <a:pt x="204" y="666"/>
                        </a:lnTo>
                        <a:lnTo>
                          <a:pt x="222" y="666"/>
                        </a:lnTo>
                        <a:lnTo>
                          <a:pt x="240" y="678"/>
                        </a:lnTo>
                        <a:lnTo>
                          <a:pt x="264" y="678"/>
                        </a:lnTo>
                        <a:lnTo>
                          <a:pt x="270" y="696"/>
                        </a:lnTo>
                        <a:lnTo>
                          <a:pt x="300" y="696"/>
                        </a:lnTo>
                        <a:lnTo>
                          <a:pt x="300" y="690"/>
                        </a:lnTo>
                        <a:lnTo>
                          <a:pt x="312" y="678"/>
                        </a:lnTo>
                        <a:lnTo>
                          <a:pt x="318" y="684"/>
                        </a:lnTo>
                        <a:lnTo>
                          <a:pt x="330" y="690"/>
                        </a:lnTo>
                        <a:lnTo>
                          <a:pt x="336" y="702"/>
                        </a:lnTo>
                        <a:lnTo>
                          <a:pt x="348" y="714"/>
                        </a:lnTo>
                        <a:lnTo>
                          <a:pt x="348" y="774"/>
                        </a:lnTo>
                        <a:lnTo>
                          <a:pt x="354" y="774"/>
                        </a:lnTo>
                        <a:lnTo>
                          <a:pt x="360" y="780"/>
                        </a:lnTo>
                        <a:lnTo>
                          <a:pt x="360" y="792"/>
                        </a:lnTo>
                        <a:lnTo>
                          <a:pt x="354" y="798"/>
                        </a:lnTo>
                        <a:lnTo>
                          <a:pt x="354" y="804"/>
                        </a:lnTo>
                        <a:lnTo>
                          <a:pt x="348" y="810"/>
                        </a:lnTo>
                        <a:lnTo>
                          <a:pt x="348" y="816"/>
                        </a:lnTo>
                        <a:lnTo>
                          <a:pt x="366" y="834"/>
                        </a:lnTo>
                        <a:lnTo>
                          <a:pt x="378" y="840"/>
                        </a:lnTo>
                        <a:lnTo>
                          <a:pt x="372" y="858"/>
                        </a:lnTo>
                        <a:lnTo>
                          <a:pt x="408" y="858"/>
                        </a:lnTo>
                        <a:lnTo>
                          <a:pt x="414" y="852"/>
                        </a:lnTo>
                        <a:lnTo>
                          <a:pt x="420" y="852"/>
                        </a:lnTo>
                        <a:lnTo>
                          <a:pt x="432" y="840"/>
                        </a:lnTo>
                        <a:lnTo>
                          <a:pt x="444" y="840"/>
                        </a:lnTo>
                        <a:lnTo>
                          <a:pt x="456" y="846"/>
                        </a:lnTo>
                        <a:lnTo>
                          <a:pt x="462" y="858"/>
                        </a:lnTo>
                        <a:lnTo>
                          <a:pt x="474" y="864"/>
                        </a:lnTo>
                        <a:lnTo>
                          <a:pt x="480" y="870"/>
                        </a:lnTo>
                        <a:lnTo>
                          <a:pt x="492" y="870"/>
                        </a:lnTo>
                        <a:lnTo>
                          <a:pt x="510" y="852"/>
                        </a:lnTo>
                        <a:lnTo>
                          <a:pt x="516" y="852"/>
                        </a:lnTo>
                        <a:lnTo>
                          <a:pt x="522" y="858"/>
                        </a:lnTo>
                        <a:lnTo>
                          <a:pt x="534" y="864"/>
                        </a:lnTo>
                        <a:lnTo>
                          <a:pt x="552" y="864"/>
                        </a:lnTo>
                        <a:lnTo>
                          <a:pt x="564" y="852"/>
                        </a:lnTo>
                        <a:lnTo>
                          <a:pt x="576" y="846"/>
                        </a:lnTo>
                        <a:lnTo>
                          <a:pt x="582" y="834"/>
                        </a:lnTo>
                        <a:lnTo>
                          <a:pt x="588" y="828"/>
                        </a:lnTo>
                        <a:lnTo>
                          <a:pt x="612" y="828"/>
                        </a:lnTo>
                        <a:lnTo>
                          <a:pt x="618" y="834"/>
                        </a:lnTo>
                        <a:lnTo>
                          <a:pt x="618" y="840"/>
                        </a:lnTo>
                        <a:lnTo>
                          <a:pt x="630" y="840"/>
                        </a:lnTo>
                        <a:lnTo>
                          <a:pt x="642" y="834"/>
                        </a:lnTo>
                        <a:lnTo>
                          <a:pt x="654" y="822"/>
                        </a:lnTo>
                        <a:lnTo>
                          <a:pt x="660" y="822"/>
                        </a:lnTo>
                        <a:lnTo>
                          <a:pt x="690" y="816"/>
                        </a:lnTo>
                        <a:lnTo>
                          <a:pt x="768" y="762"/>
                        </a:lnTo>
                        <a:lnTo>
                          <a:pt x="762" y="744"/>
                        </a:lnTo>
                        <a:close/>
                        <a:moveTo>
                          <a:pt x="726" y="360"/>
                        </a:moveTo>
                        <a:lnTo>
                          <a:pt x="732" y="354"/>
                        </a:lnTo>
                        <a:lnTo>
                          <a:pt x="732" y="324"/>
                        </a:lnTo>
                        <a:lnTo>
                          <a:pt x="720" y="312"/>
                        </a:lnTo>
                        <a:lnTo>
                          <a:pt x="714" y="312"/>
                        </a:lnTo>
                        <a:lnTo>
                          <a:pt x="708" y="318"/>
                        </a:lnTo>
                        <a:lnTo>
                          <a:pt x="708" y="348"/>
                        </a:lnTo>
                        <a:lnTo>
                          <a:pt x="714" y="354"/>
                        </a:lnTo>
                        <a:lnTo>
                          <a:pt x="726" y="360"/>
                        </a:lnTo>
                        <a:close/>
                        <a:moveTo>
                          <a:pt x="678" y="420"/>
                        </a:moveTo>
                        <a:lnTo>
                          <a:pt x="690" y="426"/>
                        </a:lnTo>
                        <a:lnTo>
                          <a:pt x="696" y="438"/>
                        </a:lnTo>
                        <a:lnTo>
                          <a:pt x="708" y="444"/>
                        </a:lnTo>
                        <a:lnTo>
                          <a:pt x="720" y="444"/>
                        </a:lnTo>
                        <a:lnTo>
                          <a:pt x="726" y="438"/>
                        </a:lnTo>
                        <a:lnTo>
                          <a:pt x="720" y="432"/>
                        </a:lnTo>
                        <a:lnTo>
                          <a:pt x="720" y="426"/>
                        </a:lnTo>
                        <a:lnTo>
                          <a:pt x="708" y="414"/>
                        </a:lnTo>
                        <a:lnTo>
                          <a:pt x="708" y="390"/>
                        </a:lnTo>
                        <a:lnTo>
                          <a:pt x="702" y="378"/>
                        </a:lnTo>
                        <a:lnTo>
                          <a:pt x="684" y="378"/>
                        </a:lnTo>
                        <a:lnTo>
                          <a:pt x="678" y="384"/>
                        </a:lnTo>
                        <a:lnTo>
                          <a:pt x="678" y="4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42" name="Tajikistan"/>
                  <p:cNvSpPr>
                    <a:spLocks/>
                  </p:cNvSpPr>
                  <p:nvPr/>
                </p:nvSpPr>
                <p:spPr bwMode="gray">
                  <a:xfrm>
                    <a:off x="3801" y="1466"/>
                    <a:ext cx="141" cy="89"/>
                  </a:xfrm>
                  <a:custGeom>
                    <a:avLst/>
                    <a:gdLst>
                      <a:gd name="T0" fmla="*/ 2147483647 w 552"/>
                      <a:gd name="T1" fmla="*/ 2147483647 h 348"/>
                      <a:gd name="T2" fmla="*/ 2147483647 w 552"/>
                      <a:gd name="T3" fmla="*/ 2147483647 h 348"/>
                      <a:gd name="T4" fmla="*/ 2147483647 w 552"/>
                      <a:gd name="T5" fmla="*/ 2147483647 h 348"/>
                      <a:gd name="T6" fmla="*/ 2147483647 w 552"/>
                      <a:gd name="T7" fmla="*/ 2147483647 h 348"/>
                      <a:gd name="T8" fmla="*/ 2147483647 w 552"/>
                      <a:gd name="T9" fmla="*/ 2147483647 h 348"/>
                      <a:gd name="T10" fmla="*/ 2147483647 w 552"/>
                      <a:gd name="T11" fmla="*/ 2147483647 h 348"/>
                      <a:gd name="T12" fmla="*/ 2147483647 w 552"/>
                      <a:gd name="T13" fmla="*/ 2147483647 h 348"/>
                      <a:gd name="T14" fmla="*/ 2147483647 w 552"/>
                      <a:gd name="T15" fmla="*/ 2147483647 h 348"/>
                      <a:gd name="T16" fmla="*/ 2147483647 w 552"/>
                      <a:gd name="T17" fmla="*/ 2147483647 h 348"/>
                      <a:gd name="T18" fmla="*/ 2147483647 w 552"/>
                      <a:gd name="T19" fmla="*/ 2147483647 h 348"/>
                      <a:gd name="T20" fmla="*/ 2147483647 w 552"/>
                      <a:gd name="T21" fmla="*/ 2147483647 h 348"/>
                      <a:gd name="T22" fmla="*/ 2147483647 w 552"/>
                      <a:gd name="T23" fmla="*/ 2147483647 h 348"/>
                      <a:gd name="T24" fmla="*/ 2147483647 w 552"/>
                      <a:gd name="T25" fmla="*/ 2147483647 h 348"/>
                      <a:gd name="T26" fmla="*/ 2147483647 w 552"/>
                      <a:gd name="T27" fmla="*/ 2147483647 h 348"/>
                      <a:gd name="T28" fmla="*/ 2147483647 w 552"/>
                      <a:gd name="T29" fmla="*/ 2147483647 h 348"/>
                      <a:gd name="T30" fmla="*/ 2147483647 w 552"/>
                      <a:gd name="T31" fmla="*/ 2147483647 h 348"/>
                      <a:gd name="T32" fmla="*/ 2147483647 w 552"/>
                      <a:gd name="T33" fmla="*/ 2147483647 h 348"/>
                      <a:gd name="T34" fmla="*/ 2147483647 w 552"/>
                      <a:gd name="T35" fmla="*/ 2147483647 h 348"/>
                      <a:gd name="T36" fmla="*/ 2147483647 w 552"/>
                      <a:gd name="T37" fmla="*/ 2147483647 h 348"/>
                      <a:gd name="T38" fmla="*/ 2147483647 w 552"/>
                      <a:gd name="T39" fmla="*/ 0 h 348"/>
                      <a:gd name="T40" fmla="*/ 2147483647 w 552"/>
                      <a:gd name="T41" fmla="*/ 2147483647 h 348"/>
                      <a:gd name="T42" fmla="*/ 2147483647 w 552"/>
                      <a:gd name="T43" fmla="*/ 2147483647 h 348"/>
                      <a:gd name="T44" fmla="*/ 2147483647 w 552"/>
                      <a:gd name="T45" fmla="*/ 2147483647 h 348"/>
                      <a:gd name="T46" fmla="*/ 2147483647 w 552"/>
                      <a:gd name="T47" fmla="*/ 2147483647 h 348"/>
                      <a:gd name="T48" fmla="*/ 2147483647 w 552"/>
                      <a:gd name="T49" fmla="*/ 2147483647 h 348"/>
                      <a:gd name="T50" fmla="*/ 2147483647 w 552"/>
                      <a:gd name="T51" fmla="*/ 2147483647 h 348"/>
                      <a:gd name="T52" fmla="*/ 2147483647 w 552"/>
                      <a:gd name="T53" fmla="*/ 2147483647 h 348"/>
                      <a:gd name="T54" fmla="*/ 2147483647 w 552"/>
                      <a:gd name="T55" fmla="*/ 2147483647 h 348"/>
                      <a:gd name="T56" fmla="*/ 2147483647 w 552"/>
                      <a:gd name="T57" fmla="*/ 2147483647 h 348"/>
                      <a:gd name="T58" fmla="*/ 2147483647 w 552"/>
                      <a:gd name="T59" fmla="*/ 2147483647 h 348"/>
                      <a:gd name="T60" fmla="*/ 2147483647 w 552"/>
                      <a:gd name="T61" fmla="*/ 2147483647 h 348"/>
                      <a:gd name="T62" fmla="*/ 2147483647 w 552"/>
                      <a:gd name="T63" fmla="*/ 2147483647 h 348"/>
                      <a:gd name="T64" fmla="*/ 2147483647 w 552"/>
                      <a:gd name="T65" fmla="*/ 2147483647 h 348"/>
                      <a:gd name="T66" fmla="*/ 2147483647 w 552"/>
                      <a:gd name="T67" fmla="*/ 2147483647 h 348"/>
                      <a:gd name="T68" fmla="*/ 2147483647 w 552"/>
                      <a:gd name="T69" fmla="*/ 2147483647 h 348"/>
                      <a:gd name="T70" fmla="*/ 2147483647 w 552"/>
                      <a:gd name="T71" fmla="*/ 2147483647 h 348"/>
                      <a:gd name="T72" fmla="*/ 2147483647 w 552"/>
                      <a:gd name="T73" fmla="*/ 2147483647 h 348"/>
                      <a:gd name="T74" fmla="*/ 2147483647 w 552"/>
                      <a:gd name="T75" fmla="*/ 2147483647 h 348"/>
                      <a:gd name="T76" fmla="*/ 2147483647 w 552"/>
                      <a:gd name="T77" fmla="*/ 2147483647 h 348"/>
                      <a:gd name="T78" fmla="*/ 2147483647 w 552"/>
                      <a:gd name="T79" fmla="*/ 2147483647 h 348"/>
                      <a:gd name="T80" fmla="*/ 2147483647 w 552"/>
                      <a:gd name="T81" fmla="*/ 2147483647 h 348"/>
                      <a:gd name="T82" fmla="*/ 2147483647 w 552"/>
                      <a:gd name="T83" fmla="*/ 2147483647 h 348"/>
                      <a:gd name="T84" fmla="*/ 2147483647 w 552"/>
                      <a:gd name="T85" fmla="*/ 2147483647 h 348"/>
                      <a:gd name="T86" fmla="*/ 2147483647 w 552"/>
                      <a:gd name="T87" fmla="*/ 2147483647 h 348"/>
                      <a:gd name="T88" fmla="*/ 2147483647 w 552"/>
                      <a:gd name="T89" fmla="*/ 2147483647 h 348"/>
                      <a:gd name="T90" fmla="*/ 2147483647 w 552"/>
                      <a:gd name="T91" fmla="*/ 2147483647 h 348"/>
                      <a:gd name="T92" fmla="*/ 2147483647 w 552"/>
                      <a:gd name="T93" fmla="*/ 2147483647 h 348"/>
                      <a:gd name="T94" fmla="*/ 2147483647 w 552"/>
                      <a:gd name="T95" fmla="*/ 2147483647 h 348"/>
                      <a:gd name="T96" fmla="*/ 2147483647 w 552"/>
                      <a:gd name="T97" fmla="*/ 2147483647 h 348"/>
                      <a:gd name="T98" fmla="*/ 2147483647 w 552"/>
                      <a:gd name="T99" fmla="*/ 2147483647 h 348"/>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552"/>
                      <a:gd name="T151" fmla="*/ 0 h 348"/>
                      <a:gd name="T152" fmla="*/ 552 w 552"/>
                      <a:gd name="T153" fmla="*/ 348 h 348"/>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552" h="348">
                        <a:moveTo>
                          <a:pt x="528" y="270"/>
                        </a:moveTo>
                        <a:lnTo>
                          <a:pt x="516" y="246"/>
                        </a:lnTo>
                        <a:lnTo>
                          <a:pt x="516" y="204"/>
                        </a:lnTo>
                        <a:lnTo>
                          <a:pt x="510" y="198"/>
                        </a:lnTo>
                        <a:lnTo>
                          <a:pt x="498" y="192"/>
                        </a:lnTo>
                        <a:lnTo>
                          <a:pt x="492" y="192"/>
                        </a:lnTo>
                        <a:lnTo>
                          <a:pt x="480" y="186"/>
                        </a:lnTo>
                        <a:lnTo>
                          <a:pt x="456" y="186"/>
                        </a:lnTo>
                        <a:lnTo>
                          <a:pt x="450" y="192"/>
                        </a:lnTo>
                        <a:lnTo>
                          <a:pt x="438" y="192"/>
                        </a:lnTo>
                        <a:lnTo>
                          <a:pt x="426" y="180"/>
                        </a:lnTo>
                        <a:lnTo>
                          <a:pt x="426" y="168"/>
                        </a:lnTo>
                        <a:lnTo>
                          <a:pt x="432" y="156"/>
                        </a:lnTo>
                        <a:lnTo>
                          <a:pt x="432" y="144"/>
                        </a:lnTo>
                        <a:lnTo>
                          <a:pt x="414" y="144"/>
                        </a:lnTo>
                        <a:lnTo>
                          <a:pt x="414" y="120"/>
                        </a:lnTo>
                        <a:lnTo>
                          <a:pt x="396" y="114"/>
                        </a:lnTo>
                        <a:lnTo>
                          <a:pt x="384" y="126"/>
                        </a:lnTo>
                        <a:lnTo>
                          <a:pt x="342" y="126"/>
                        </a:lnTo>
                        <a:lnTo>
                          <a:pt x="336" y="132"/>
                        </a:lnTo>
                        <a:lnTo>
                          <a:pt x="324" y="138"/>
                        </a:lnTo>
                        <a:lnTo>
                          <a:pt x="312" y="138"/>
                        </a:lnTo>
                        <a:lnTo>
                          <a:pt x="312" y="132"/>
                        </a:lnTo>
                        <a:lnTo>
                          <a:pt x="306" y="132"/>
                        </a:lnTo>
                        <a:lnTo>
                          <a:pt x="294" y="138"/>
                        </a:lnTo>
                        <a:lnTo>
                          <a:pt x="264" y="108"/>
                        </a:lnTo>
                        <a:lnTo>
                          <a:pt x="258" y="114"/>
                        </a:lnTo>
                        <a:lnTo>
                          <a:pt x="246" y="120"/>
                        </a:lnTo>
                        <a:lnTo>
                          <a:pt x="240" y="126"/>
                        </a:lnTo>
                        <a:lnTo>
                          <a:pt x="222" y="126"/>
                        </a:lnTo>
                        <a:lnTo>
                          <a:pt x="210" y="114"/>
                        </a:lnTo>
                        <a:lnTo>
                          <a:pt x="186" y="114"/>
                        </a:lnTo>
                        <a:lnTo>
                          <a:pt x="174" y="108"/>
                        </a:lnTo>
                        <a:lnTo>
                          <a:pt x="156" y="108"/>
                        </a:lnTo>
                        <a:lnTo>
                          <a:pt x="150" y="114"/>
                        </a:lnTo>
                        <a:lnTo>
                          <a:pt x="138" y="114"/>
                        </a:lnTo>
                        <a:lnTo>
                          <a:pt x="126" y="120"/>
                        </a:lnTo>
                        <a:lnTo>
                          <a:pt x="120" y="114"/>
                        </a:lnTo>
                        <a:lnTo>
                          <a:pt x="120" y="108"/>
                        </a:lnTo>
                        <a:lnTo>
                          <a:pt x="114" y="102"/>
                        </a:lnTo>
                        <a:lnTo>
                          <a:pt x="114" y="90"/>
                        </a:lnTo>
                        <a:lnTo>
                          <a:pt x="126" y="84"/>
                        </a:lnTo>
                        <a:lnTo>
                          <a:pt x="132" y="78"/>
                        </a:lnTo>
                        <a:lnTo>
                          <a:pt x="132" y="66"/>
                        </a:lnTo>
                        <a:lnTo>
                          <a:pt x="138" y="60"/>
                        </a:lnTo>
                        <a:lnTo>
                          <a:pt x="150" y="60"/>
                        </a:lnTo>
                        <a:lnTo>
                          <a:pt x="186" y="72"/>
                        </a:lnTo>
                        <a:lnTo>
                          <a:pt x="198" y="78"/>
                        </a:lnTo>
                        <a:lnTo>
                          <a:pt x="204" y="78"/>
                        </a:lnTo>
                        <a:lnTo>
                          <a:pt x="210" y="72"/>
                        </a:lnTo>
                        <a:lnTo>
                          <a:pt x="210" y="66"/>
                        </a:lnTo>
                        <a:lnTo>
                          <a:pt x="204" y="60"/>
                        </a:lnTo>
                        <a:lnTo>
                          <a:pt x="198" y="60"/>
                        </a:lnTo>
                        <a:lnTo>
                          <a:pt x="186" y="54"/>
                        </a:lnTo>
                        <a:lnTo>
                          <a:pt x="180" y="48"/>
                        </a:lnTo>
                        <a:lnTo>
                          <a:pt x="174" y="48"/>
                        </a:lnTo>
                        <a:lnTo>
                          <a:pt x="198" y="12"/>
                        </a:lnTo>
                        <a:lnTo>
                          <a:pt x="192" y="6"/>
                        </a:lnTo>
                        <a:lnTo>
                          <a:pt x="180" y="0"/>
                        </a:lnTo>
                        <a:lnTo>
                          <a:pt x="162" y="0"/>
                        </a:lnTo>
                        <a:lnTo>
                          <a:pt x="156" y="12"/>
                        </a:lnTo>
                        <a:lnTo>
                          <a:pt x="144" y="18"/>
                        </a:lnTo>
                        <a:lnTo>
                          <a:pt x="138" y="30"/>
                        </a:lnTo>
                        <a:lnTo>
                          <a:pt x="132" y="30"/>
                        </a:lnTo>
                        <a:lnTo>
                          <a:pt x="114" y="12"/>
                        </a:lnTo>
                        <a:lnTo>
                          <a:pt x="102" y="12"/>
                        </a:lnTo>
                        <a:lnTo>
                          <a:pt x="102" y="24"/>
                        </a:lnTo>
                        <a:lnTo>
                          <a:pt x="96" y="30"/>
                        </a:lnTo>
                        <a:lnTo>
                          <a:pt x="96" y="42"/>
                        </a:lnTo>
                        <a:lnTo>
                          <a:pt x="108" y="54"/>
                        </a:lnTo>
                        <a:lnTo>
                          <a:pt x="108" y="60"/>
                        </a:lnTo>
                        <a:lnTo>
                          <a:pt x="66" y="60"/>
                        </a:lnTo>
                        <a:lnTo>
                          <a:pt x="90" y="84"/>
                        </a:lnTo>
                        <a:lnTo>
                          <a:pt x="72" y="96"/>
                        </a:lnTo>
                        <a:lnTo>
                          <a:pt x="78" y="96"/>
                        </a:lnTo>
                        <a:lnTo>
                          <a:pt x="78" y="108"/>
                        </a:lnTo>
                        <a:lnTo>
                          <a:pt x="54" y="120"/>
                        </a:lnTo>
                        <a:lnTo>
                          <a:pt x="6" y="120"/>
                        </a:lnTo>
                        <a:lnTo>
                          <a:pt x="0" y="126"/>
                        </a:lnTo>
                        <a:lnTo>
                          <a:pt x="0" y="144"/>
                        </a:lnTo>
                        <a:lnTo>
                          <a:pt x="18" y="144"/>
                        </a:lnTo>
                        <a:lnTo>
                          <a:pt x="30" y="156"/>
                        </a:lnTo>
                        <a:lnTo>
                          <a:pt x="36" y="156"/>
                        </a:lnTo>
                        <a:lnTo>
                          <a:pt x="42" y="162"/>
                        </a:lnTo>
                        <a:lnTo>
                          <a:pt x="54" y="162"/>
                        </a:lnTo>
                        <a:lnTo>
                          <a:pt x="66" y="174"/>
                        </a:lnTo>
                        <a:lnTo>
                          <a:pt x="66" y="180"/>
                        </a:lnTo>
                        <a:lnTo>
                          <a:pt x="60" y="186"/>
                        </a:lnTo>
                        <a:lnTo>
                          <a:pt x="60" y="204"/>
                        </a:lnTo>
                        <a:lnTo>
                          <a:pt x="66" y="210"/>
                        </a:lnTo>
                        <a:lnTo>
                          <a:pt x="78" y="216"/>
                        </a:lnTo>
                        <a:lnTo>
                          <a:pt x="90" y="228"/>
                        </a:lnTo>
                        <a:lnTo>
                          <a:pt x="90" y="246"/>
                        </a:lnTo>
                        <a:lnTo>
                          <a:pt x="84" y="258"/>
                        </a:lnTo>
                        <a:lnTo>
                          <a:pt x="72" y="264"/>
                        </a:lnTo>
                        <a:lnTo>
                          <a:pt x="66" y="276"/>
                        </a:lnTo>
                        <a:lnTo>
                          <a:pt x="60" y="282"/>
                        </a:lnTo>
                        <a:lnTo>
                          <a:pt x="60" y="306"/>
                        </a:lnTo>
                        <a:lnTo>
                          <a:pt x="66" y="312"/>
                        </a:lnTo>
                        <a:lnTo>
                          <a:pt x="78" y="318"/>
                        </a:lnTo>
                        <a:lnTo>
                          <a:pt x="84" y="324"/>
                        </a:lnTo>
                        <a:lnTo>
                          <a:pt x="90" y="324"/>
                        </a:lnTo>
                        <a:lnTo>
                          <a:pt x="108" y="306"/>
                        </a:lnTo>
                        <a:lnTo>
                          <a:pt x="120" y="300"/>
                        </a:lnTo>
                        <a:lnTo>
                          <a:pt x="126" y="294"/>
                        </a:lnTo>
                        <a:lnTo>
                          <a:pt x="138" y="294"/>
                        </a:lnTo>
                        <a:lnTo>
                          <a:pt x="144" y="300"/>
                        </a:lnTo>
                        <a:lnTo>
                          <a:pt x="150" y="312"/>
                        </a:lnTo>
                        <a:lnTo>
                          <a:pt x="156" y="318"/>
                        </a:lnTo>
                        <a:lnTo>
                          <a:pt x="162" y="318"/>
                        </a:lnTo>
                        <a:lnTo>
                          <a:pt x="162" y="288"/>
                        </a:lnTo>
                        <a:lnTo>
                          <a:pt x="174" y="276"/>
                        </a:lnTo>
                        <a:lnTo>
                          <a:pt x="186" y="270"/>
                        </a:lnTo>
                        <a:lnTo>
                          <a:pt x="204" y="270"/>
                        </a:lnTo>
                        <a:lnTo>
                          <a:pt x="216" y="282"/>
                        </a:lnTo>
                        <a:lnTo>
                          <a:pt x="222" y="258"/>
                        </a:lnTo>
                        <a:lnTo>
                          <a:pt x="216" y="258"/>
                        </a:lnTo>
                        <a:lnTo>
                          <a:pt x="210" y="252"/>
                        </a:lnTo>
                        <a:lnTo>
                          <a:pt x="210" y="246"/>
                        </a:lnTo>
                        <a:lnTo>
                          <a:pt x="222" y="234"/>
                        </a:lnTo>
                        <a:lnTo>
                          <a:pt x="228" y="234"/>
                        </a:lnTo>
                        <a:lnTo>
                          <a:pt x="234" y="228"/>
                        </a:lnTo>
                        <a:lnTo>
                          <a:pt x="234" y="204"/>
                        </a:lnTo>
                        <a:lnTo>
                          <a:pt x="240" y="198"/>
                        </a:lnTo>
                        <a:lnTo>
                          <a:pt x="258" y="198"/>
                        </a:lnTo>
                        <a:lnTo>
                          <a:pt x="276" y="216"/>
                        </a:lnTo>
                        <a:lnTo>
                          <a:pt x="276" y="246"/>
                        </a:lnTo>
                        <a:lnTo>
                          <a:pt x="294" y="246"/>
                        </a:lnTo>
                        <a:lnTo>
                          <a:pt x="306" y="312"/>
                        </a:lnTo>
                        <a:lnTo>
                          <a:pt x="306" y="318"/>
                        </a:lnTo>
                        <a:lnTo>
                          <a:pt x="336" y="348"/>
                        </a:lnTo>
                        <a:lnTo>
                          <a:pt x="342" y="348"/>
                        </a:lnTo>
                        <a:lnTo>
                          <a:pt x="348" y="342"/>
                        </a:lnTo>
                        <a:lnTo>
                          <a:pt x="360" y="336"/>
                        </a:lnTo>
                        <a:lnTo>
                          <a:pt x="366" y="324"/>
                        </a:lnTo>
                        <a:lnTo>
                          <a:pt x="372" y="318"/>
                        </a:lnTo>
                        <a:lnTo>
                          <a:pt x="390" y="318"/>
                        </a:lnTo>
                        <a:lnTo>
                          <a:pt x="396" y="312"/>
                        </a:lnTo>
                        <a:lnTo>
                          <a:pt x="402" y="300"/>
                        </a:lnTo>
                        <a:lnTo>
                          <a:pt x="408" y="294"/>
                        </a:lnTo>
                        <a:lnTo>
                          <a:pt x="432" y="282"/>
                        </a:lnTo>
                        <a:lnTo>
                          <a:pt x="456" y="282"/>
                        </a:lnTo>
                        <a:lnTo>
                          <a:pt x="456" y="300"/>
                        </a:lnTo>
                        <a:lnTo>
                          <a:pt x="492" y="288"/>
                        </a:lnTo>
                        <a:lnTo>
                          <a:pt x="516" y="288"/>
                        </a:lnTo>
                        <a:lnTo>
                          <a:pt x="522" y="294"/>
                        </a:lnTo>
                        <a:lnTo>
                          <a:pt x="546" y="294"/>
                        </a:lnTo>
                        <a:lnTo>
                          <a:pt x="552" y="288"/>
                        </a:lnTo>
                        <a:lnTo>
                          <a:pt x="540" y="276"/>
                        </a:lnTo>
                        <a:lnTo>
                          <a:pt x="534" y="276"/>
                        </a:lnTo>
                        <a:lnTo>
                          <a:pt x="528" y="27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43" name="Taiwan"/>
                  <p:cNvSpPr>
                    <a:spLocks/>
                  </p:cNvSpPr>
                  <p:nvPr/>
                </p:nvSpPr>
                <p:spPr bwMode="gray">
                  <a:xfrm>
                    <a:off x="4789" y="1788"/>
                    <a:ext cx="31" cy="69"/>
                  </a:xfrm>
                  <a:custGeom>
                    <a:avLst/>
                    <a:gdLst>
                      <a:gd name="T0" fmla="*/ 2147483647 w 120"/>
                      <a:gd name="T1" fmla="*/ 2147483647 h 270"/>
                      <a:gd name="T2" fmla="*/ 2147483647 w 120"/>
                      <a:gd name="T3" fmla="*/ 2147483647 h 270"/>
                      <a:gd name="T4" fmla="*/ 2147483647 w 120"/>
                      <a:gd name="T5" fmla="*/ 2147483647 h 270"/>
                      <a:gd name="T6" fmla="*/ 2147483647 w 120"/>
                      <a:gd name="T7" fmla="*/ 2147483647 h 270"/>
                      <a:gd name="T8" fmla="*/ 2147483647 w 120"/>
                      <a:gd name="T9" fmla="*/ 2147483647 h 270"/>
                      <a:gd name="T10" fmla="*/ 2147483647 w 120"/>
                      <a:gd name="T11" fmla="*/ 2147483647 h 270"/>
                      <a:gd name="T12" fmla="*/ 2147483647 w 120"/>
                      <a:gd name="T13" fmla="*/ 2147483647 h 270"/>
                      <a:gd name="T14" fmla="*/ 2147483647 w 120"/>
                      <a:gd name="T15" fmla="*/ 2147483647 h 270"/>
                      <a:gd name="T16" fmla="*/ 2147483647 w 120"/>
                      <a:gd name="T17" fmla="*/ 2147483647 h 270"/>
                      <a:gd name="T18" fmla="*/ 2147483647 w 120"/>
                      <a:gd name="T19" fmla="*/ 2147483647 h 270"/>
                      <a:gd name="T20" fmla="*/ 2147483647 w 120"/>
                      <a:gd name="T21" fmla="*/ 0 h 270"/>
                      <a:gd name="T22" fmla="*/ 2147483647 w 120"/>
                      <a:gd name="T23" fmla="*/ 2147483647 h 270"/>
                      <a:gd name="T24" fmla="*/ 2147483647 w 120"/>
                      <a:gd name="T25" fmla="*/ 2147483647 h 270"/>
                      <a:gd name="T26" fmla="*/ 2147483647 w 120"/>
                      <a:gd name="T27" fmla="*/ 2147483647 h 270"/>
                      <a:gd name="T28" fmla="*/ 2147483647 w 120"/>
                      <a:gd name="T29" fmla="*/ 2147483647 h 270"/>
                      <a:gd name="T30" fmla="*/ 0 w 120"/>
                      <a:gd name="T31" fmla="*/ 2147483647 h 270"/>
                      <a:gd name="T32" fmla="*/ 0 w 120"/>
                      <a:gd name="T33" fmla="*/ 2147483647 h 270"/>
                      <a:gd name="T34" fmla="*/ 2147483647 w 120"/>
                      <a:gd name="T35" fmla="*/ 2147483647 h 270"/>
                      <a:gd name="T36" fmla="*/ 2147483647 w 120"/>
                      <a:gd name="T37" fmla="*/ 2147483647 h 270"/>
                      <a:gd name="T38" fmla="*/ 2147483647 w 120"/>
                      <a:gd name="T39" fmla="*/ 2147483647 h 270"/>
                      <a:gd name="T40" fmla="*/ 2147483647 w 120"/>
                      <a:gd name="T41" fmla="*/ 2147483647 h 270"/>
                      <a:gd name="T42" fmla="*/ 2147483647 w 120"/>
                      <a:gd name="T43" fmla="*/ 2147483647 h 270"/>
                      <a:gd name="T44" fmla="*/ 2147483647 w 120"/>
                      <a:gd name="T45" fmla="*/ 2147483647 h 270"/>
                      <a:gd name="T46" fmla="*/ 2147483647 w 120"/>
                      <a:gd name="T47" fmla="*/ 2147483647 h 270"/>
                      <a:gd name="T48" fmla="*/ 2147483647 w 120"/>
                      <a:gd name="T49" fmla="*/ 2147483647 h 270"/>
                      <a:gd name="T50" fmla="*/ 2147483647 w 120"/>
                      <a:gd name="T51" fmla="*/ 2147483647 h 27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0"/>
                      <a:gd name="T79" fmla="*/ 0 h 270"/>
                      <a:gd name="T80" fmla="*/ 120 w 120"/>
                      <a:gd name="T81" fmla="*/ 270 h 27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20" h="270">
                        <a:moveTo>
                          <a:pt x="84" y="270"/>
                        </a:moveTo>
                        <a:lnTo>
                          <a:pt x="84" y="222"/>
                        </a:lnTo>
                        <a:lnTo>
                          <a:pt x="90" y="216"/>
                        </a:lnTo>
                        <a:lnTo>
                          <a:pt x="102" y="192"/>
                        </a:lnTo>
                        <a:lnTo>
                          <a:pt x="102" y="102"/>
                        </a:lnTo>
                        <a:lnTo>
                          <a:pt x="108" y="96"/>
                        </a:lnTo>
                        <a:lnTo>
                          <a:pt x="114" y="84"/>
                        </a:lnTo>
                        <a:lnTo>
                          <a:pt x="114" y="54"/>
                        </a:lnTo>
                        <a:lnTo>
                          <a:pt x="120" y="36"/>
                        </a:lnTo>
                        <a:lnTo>
                          <a:pt x="120" y="24"/>
                        </a:lnTo>
                        <a:lnTo>
                          <a:pt x="72" y="0"/>
                        </a:lnTo>
                        <a:lnTo>
                          <a:pt x="48" y="30"/>
                        </a:lnTo>
                        <a:lnTo>
                          <a:pt x="42" y="42"/>
                        </a:lnTo>
                        <a:lnTo>
                          <a:pt x="30" y="78"/>
                        </a:lnTo>
                        <a:lnTo>
                          <a:pt x="12" y="114"/>
                        </a:lnTo>
                        <a:lnTo>
                          <a:pt x="0" y="150"/>
                        </a:lnTo>
                        <a:lnTo>
                          <a:pt x="0" y="168"/>
                        </a:lnTo>
                        <a:lnTo>
                          <a:pt x="6" y="180"/>
                        </a:lnTo>
                        <a:lnTo>
                          <a:pt x="18" y="192"/>
                        </a:lnTo>
                        <a:lnTo>
                          <a:pt x="24" y="204"/>
                        </a:lnTo>
                        <a:lnTo>
                          <a:pt x="36" y="210"/>
                        </a:lnTo>
                        <a:lnTo>
                          <a:pt x="42" y="222"/>
                        </a:lnTo>
                        <a:lnTo>
                          <a:pt x="42" y="228"/>
                        </a:lnTo>
                        <a:lnTo>
                          <a:pt x="48" y="234"/>
                        </a:lnTo>
                        <a:lnTo>
                          <a:pt x="60" y="258"/>
                        </a:lnTo>
                        <a:lnTo>
                          <a:pt x="84" y="270"/>
                        </a:lnTo>
                        <a:close/>
                      </a:path>
                    </a:pathLst>
                  </a:custGeom>
                  <a:solidFill>
                    <a:srgbClr val="FF99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44" name="Syria"/>
                  <p:cNvSpPr>
                    <a:spLocks/>
                  </p:cNvSpPr>
                  <p:nvPr/>
                </p:nvSpPr>
                <p:spPr bwMode="gray">
                  <a:xfrm>
                    <a:off x="3272" y="1539"/>
                    <a:ext cx="115" cy="106"/>
                  </a:xfrm>
                  <a:custGeom>
                    <a:avLst/>
                    <a:gdLst>
                      <a:gd name="T0" fmla="*/ 2147483647 w 450"/>
                      <a:gd name="T1" fmla="*/ 2147483647 h 414"/>
                      <a:gd name="T2" fmla="*/ 2147483647 w 450"/>
                      <a:gd name="T3" fmla="*/ 2147483647 h 414"/>
                      <a:gd name="T4" fmla="*/ 2147483647 w 450"/>
                      <a:gd name="T5" fmla="*/ 2147483647 h 414"/>
                      <a:gd name="T6" fmla="*/ 2147483647 w 450"/>
                      <a:gd name="T7" fmla="*/ 0 h 414"/>
                      <a:gd name="T8" fmla="*/ 2147483647 w 450"/>
                      <a:gd name="T9" fmla="*/ 2147483647 h 414"/>
                      <a:gd name="T10" fmla="*/ 2147483647 w 450"/>
                      <a:gd name="T11" fmla="*/ 2147483647 h 414"/>
                      <a:gd name="T12" fmla="*/ 2147483647 w 450"/>
                      <a:gd name="T13" fmla="*/ 2147483647 h 414"/>
                      <a:gd name="T14" fmla="*/ 2147483647 w 450"/>
                      <a:gd name="T15" fmla="*/ 2147483647 h 414"/>
                      <a:gd name="T16" fmla="*/ 2147483647 w 450"/>
                      <a:gd name="T17" fmla="*/ 2147483647 h 414"/>
                      <a:gd name="T18" fmla="*/ 2147483647 w 450"/>
                      <a:gd name="T19" fmla="*/ 2147483647 h 414"/>
                      <a:gd name="T20" fmla="*/ 2147483647 w 450"/>
                      <a:gd name="T21" fmla="*/ 2147483647 h 414"/>
                      <a:gd name="T22" fmla="*/ 2147483647 w 450"/>
                      <a:gd name="T23" fmla="*/ 2147483647 h 414"/>
                      <a:gd name="T24" fmla="*/ 2147483647 w 450"/>
                      <a:gd name="T25" fmla="*/ 2147483647 h 414"/>
                      <a:gd name="T26" fmla="*/ 2147483647 w 450"/>
                      <a:gd name="T27" fmla="*/ 2147483647 h 414"/>
                      <a:gd name="T28" fmla="*/ 2147483647 w 450"/>
                      <a:gd name="T29" fmla="*/ 2147483647 h 414"/>
                      <a:gd name="T30" fmla="*/ 2147483647 w 450"/>
                      <a:gd name="T31" fmla="*/ 2147483647 h 414"/>
                      <a:gd name="T32" fmla="*/ 2147483647 w 450"/>
                      <a:gd name="T33" fmla="*/ 2147483647 h 414"/>
                      <a:gd name="T34" fmla="*/ 2147483647 w 450"/>
                      <a:gd name="T35" fmla="*/ 2147483647 h 414"/>
                      <a:gd name="T36" fmla="*/ 2147483647 w 450"/>
                      <a:gd name="T37" fmla="*/ 2147483647 h 414"/>
                      <a:gd name="T38" fmla="*/ 2147483647 w 450"/>
                      <a:gd name="T39" fmla="*/ 2147483647 h 414"/>
                      <a:gd name="T40" fmla="*/ 2147483647 w 450"/>
                      <a:gd name="T41" fmla="*/ 2147483647 h 414"/>
                      <a:gd name="T42" fmla="*/ 2147483647 w 450"/>
                      <a:gd name="T43" fmla="*/ 2147483647 h 414"/>
                      <a:gd name="T44" fmla="*/ 2147483647 w 450"/>
                      <a:gd name="T45" fmla="*/ 2147483647 h 414"/>
                      <a:gd name="T46" fmla="*/ 2147483647 w 450"/>
                      <a:gd name="T47" fmla="*/ 2147483647 h 414"/>
                      <a:gd name="T48" fmla="*/ 2147483647 w 450"/>
                      <a:gd name="T49" fmla="*/ 2147483647 h 414"/>
                      <a:gd name="T50" fmla="*/ 2147483647 w 450"/>
                      <a:gd name="T51" fmla="*/ 2147483647 h 414"/>
                      <a:gd name="T52" fmla="*/ 2147483647 w 450"/>
                      <a:gd name="T53" fmla="*/ 2147483647 h 414"/>
                      <a:gd name="T54" fmla="*/ 2147483647 w 450"/>
                      <a:gd name="T55" fmla="*/ 2147483647 h 414"/>
                      <a:gd name="T56" fmla="*/ 2147483647 w 450"/>
                      <a:gd name="T57" fmla="*/ 2147483647 h 414"/>
                      <a:gd name="T58" fmla="*/ 2147483647 w 450"/>
                      <a:gd name="T59" fmla="*/ 2147483647 h 414"/>
                      <a:gd name="T60" fmla="*/ 2147483647 w 450"/>
                      <a:gd name="T61" fmla="*/ 2147483647 h 414"/>
                      <a:gd name="T62" fmla="*/ 2147483647 w 450"/>
                      <a:gd name="T63" fmla="*/ 2147483647 h 414"/>
                      <a:gd name="T64" fmla="*/ 2147483647 w 450"/>
                      <a:gd name="T65" fmla="*/ 2147483647 h 414"/>
                      <a:gd name="T66" fmla="*/ 2147483647 w 450"/>
                      <a:gd name="T67" fmla="*/ 2147483647 h 414"/>
                      <a:gd name="T68" fmla="*/ 2147483647 w 450"/>
                      <a:gd name="T69" fmla="*/ 2147483647 h 414"/>
                      <a:gd name="T70" fmla="*/ 2147483647 w 450"/>
                      <a:gd name="T71" fmla="*/ 2147483647 h 414"/>
                      <a:gd name="T72" fmla="*/ 2147483647 w 450"/>
                      <a:gd name="T73" fmla="*/ 2147483647 h 414"/>
                      <a:gd name="T74" fmla="*/ 2147483647 w 450"/>
                      <a:gd name="T75" fmla="*/ 2147483647 h 414"/>
                      <a:gd name="T76" fmla="*/ 2147483647 w 450"/>
                      <a:gd name="T77" fmla="*/ 2147483647 h 414"/>
                      <a:gd name="T78" fmla="*/ 2147483647 w 450"/>
                      <a:gd name="T79" fmla="*/ 2147483647 h 414"/>
                      <a:gd name="T80" fmla="*/ 2147483647 w 450"/>
                      <a:gd name="T81" fmla="*/ 2147483647 h 414"/>
                      <a:gd name="T82" fmla="*/ 2147483647 w 450"/>
                      <a:gd name="T83" fmla="*/ 2147483647 h 414"/>
                      <a:gd name="T84" fmla="*/ 2147483647 w 450"/>
                      <a:gd name="T85" fmla="*/ 2147483647 h 414"/>
                      <a:gd name="T86" fmla="*/ 2147483647 w 450"/>
                      <a:gd name="T87" fmla="*/ 2147483647 h 414"/>
                      <a:gd name="T88" fmla="*/ 2147483647 w 450"/>
                      <a:gd name="T89" fmla="*/ 2147483647 h 414"/>
                      <a:gd name="T90" fmla="*/ 2147483647 w 450"/>
                      <a:gd name="T91" fmla="*/ 2147483647 h 414"/>
                      <a:gd name="T92" fmla="*/ 2147483647 w 450"/>
                      <a:gd name="T93" fmla="*/ 2147483647 h 414"/>
                      <a:gd name="T94" fmla="*/ 2147483647 w 450"/>
                      <a:gd name="T95" fmla="*/ 2147483647 h 414"/>
                      <a:gd name="T96" fmla="*/ 2147483647 w 450"/>
                      <a:gd name="T97" fmla="*/ 2147483647 h 41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450"/>
                      <a:gd name="T148" fmla="*/ 0 h 414"/>
                      <a:gd name="T149" fmla="*/ 450 w 450"/>
                      <a:gd name="T150" fmla="*/ 414 h 414"/>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450" h="414">
                        <a:moveTo>
                          <a:pt x="426" y="60"/>
                        </a:moveTo>
                        <a:lnTo>
                          <a:pt x="432" y="54"/>
                        </a:lnTo>
                        <a:lnTo>
                          <a:pt x="438" y="42"/>
                        </a:lnTo>
                        <a:lnTo>
                          <a:pt x="450" y="30"/>
                        </a:lnTo>
                        <a:lnTo>
                          <a:pt x="444" y="30"/>
                        </a:lnTo>
                        <a:lnTo>
                          <a:pt x="438" y="24"/>
                        </a:lnTo>
                        <a:lnTo>
                          <a:pt x="438" y="0"/>
                        </a:lnTo>
                        <a:lnTo>
                          <a:pt x="432" y="0"/>
                        </a:lnTo>
                        <a:lnTo>
                          <a:pt x="432" y="6"/>
                        </a:lnTo>
                        <a:lnTo>
                          <a:pt x="426" y="18"/>
                        </a:lnTo>
                        <a:lnTo>
                          <a:pt x="402" y="18"/>
                        </a:lnTo>
                        <a:lnTo>
                          <a:pt x="390" y="30"/>
                        </a:lnTo>
                        <a:lnTo>
                          <a:pt x="372" y="30"/>
                        </a:lnTo>
                        <a:lnTo>
                          <a:pt x="366" y="24"/>
                        </a:lnTo>
                        <a:lnTo>
                          <a:pt x="318" y="24"/>
                        </a:lnTo>
                        <a:lnTo>
                          <a:pt x="306" y="30"/>
                        </a:lnTo>
                        <a:lnTo>
                          <a:pt x="294" y="42"/>
                        </a:lnTo>
                        <a:lnTo>
                          <a:pt x="282" y="48"/>
                        </a:lnTo>
                        <a:lnTo>
                          <a:pt x="276" y="54"/>
                        </a:lnTo>
                        <a:lnTo>
                          <a:pt x="258" y="54"/>
                        </a:lnTo>
                        <a:lnTo>
                          <a:pt x="246" y="60"/>
                        </a:lnTo>
                        <a:lnTo>
                          <a:pt x="234" y="60"/>
                        </a:lnTo>
                        <a:lnTo>
                          <a:pt x="222" y="54"/>
                        </a:lnTo>
                        <a:lnTo>
                          <a:pt x="204" y="54"/>
                        </a:lnTo>
                        <a:lnTo>
                          <a:pt x="192" y="42"/>
                        </a:lnTo>
                        <a:lnTo>
                          <a:pt x="180" y="36"/>
                        </a:lnTo>
                        <a:lnTo>
                          <a:pt x="174" y="30"/>
                        </a:lnTo>
                        <a:lnTo>
                          <a:pt x="168" y="30"/>
                        </a:lnTo>
                        <a:lnTo>
                          <a:pt x="150" y="48"/>
                        </a:lnTo>
                        <a:lnTo>
                          <a:pt x="144" y="48"/>
                        </a:lnTo>
                        <a:lnTo>
                          <a:pt x="138" y="54"/>
                        </a:lnTo>
                        <a:lnTo>
                          <a:pt x="120" y="60"/>
                        </a:lnTo>
                        <a:lnTo>
                          <a:pt x="84" y="60"/>
                        </a:lnTo>
                        <a:lnTo>
                          <a:pt x="84" y="54"/>
                        </a:lnTo>
                        <a:lnTo>
                          <a:pt x="90" y="48"/>
                        </a:lnTo>
                        <a:lnTo>
                          <a:pt x="66" y="48"/>
                        </a:lnTo>
                        <a:lnTo>
                          <a:pt x="66" y="78"/>
                        </a:lnTo>
                        <a:lnTo>
                          <a:pt x="72" y="78"/>
                        </a:lnTo>
                        <a:lnTo>
                          <a:pt x="72" y="102"/>
                        </a:lnTo>
                        <a:lnTo>
                          <a:pt x="60" y="102"/>
                        </a:lnTo>
                        <a:lnTo>
                          <a:pt x="54" y="96"/>
                        </a:lnTo>
                        <a:lnTo>
                          <a:pt x="54" y="114"/>
                        </a:lnTo>
                        <a:lnTo>
                          <a:pt x="48" y="120"/>
                        </a:lnTo>
                        <a:lnTo>
                          <a:pt x="48" y="126"/>
                        </a:lnTo>
                        <a:lnTo>
                          <a:pt x="36" y="126"/>
                        </a:lnTo>
                        <a:lnTo>
                          <a:pt x="24" y="114"/>
                        </a:lnTo>
                        <a:lnTo>
                          <a:pt x="18" y="120"/>
                        </a:lnTo>
                        <a:lnTo>
                          <a:pt x="12" y="132"/>
                        </a:lnTo>
                        <a:lnTo>
                          <a:pt x="12" y="150"/>
                        </a:lnTo>
                        <a:lnTo>
                          <a:pt x="6" y="150"/>
                        </a:lnTo>
                        <a:lnTo>
                          <a:pt x="0" y="198"/>
                        </a:lnTo>
                        <a:lnTo>
                          <a:pt x="6" y="204"/>
                        </a:lnTo>
                        <a:lnTo>
                          <a:pt x="18" y="210"/>
                        </a:lnTo>
                        <a:lnTo>
                          <a:pt x="24" y="216"/>
                        </a:lnTo>
                        <a:lnTo>
                          <a:pt x="24" y="222"/>
                        </a:lnTo>
                        <a:lnTo>
                          <a:pt x="72" y="222"/>
                        </a:lnTo>
                        <a:lnTo>
                          <a:pt x="66" y="234"/>
                        </a:lnTo>
                        <a:lnTo>
                          <a:pt x="72" y="240"/>
                        </a:lnTo>
                        <a:lnTo>
                          <a:pt x="78" y="252"/>
                        </a:lnTo>
                        <a:lnTo>
                          <a:pt x="78" y="270"/>
                        </a:lnTo>
                        <a:lnTo>
                          <a:pt x="72" y="282"/>
                        </a:lnTo>
                        <a:lnTo>
                          <a:pt x="66" y="282"/>
                        </a:lnTo>
                        <a:lnTo>
                          <a:pt x="54" y="288"/>
                        </a:lnTo>
                        <a:lnTo>
                          <a:pt x="48" y="288"/>
                        </a:lnTo>
                        <a:lnTo>
                          <a:pt x="42" y="294"/>
                        </a:lnTo>
                        <a:lnTo>
                          <a:pt x="42" y="318"/>
                        </a:lnTo>
                        <a:lnTo>
                          <a:pt x="24" y="336"/>
                        </a:lnTo>
                        <a:lnTo>
                          <a:pt x="30" y="378"/>
                        </a:lnTo>
                        <a:lnTo>
                          <a:pt x="36" y="378"/>
                        </a:lnTo>
                        <a:lnTo>
                          <a:pt x="72" y="396"/>
                        </a:lnTo>
                        <a:lnTo>
                          <a:pt x="84" y="408"/>
                        </a:lnTo>
                        <a:lnTo>
                          <a:pt x="96" y="414"/>
                        </a:lnTo>
                        <a:lnTo>
                          <a:pt x="114" y="414"/>
                        </a:lnTo>
                        <a:lnTo>
                          <a:pt x="174" y="384"/>
                        </a:lnTo>
                        <a:lnTo>
                          <a:pt x="204" y="354"/>
                        </a:lnTo>
                        <a:lnTo>
                          <a:pt x="228" y="336"/>
                        </a:lnTo>
                        <a:lnTo>
                          <a:pt x="240" y="324"/>
                        </a:lnTo>
                        <a:lnTo>
                          <a:pt x="300" y="276"/>
                        </a:lnTo>
                        <a:lnTo>
                          <a:pt x="312" y="270"/>
                        </a:lnTo>
                        <a:lnTo>
                          <a:pt x="372" y="246"/>
                        </a:lnTo>
                        <a:lnTo>
                          <a:pt x="396" y="234"/>
                        </a:lnTo>
                        <a:lnTo>
                          <a:pt x="402" y="228"/>
                        </a:lnTo>
                        <a:lnTo>
                          <a:pt x="402" y="222"/>
                        </a:lnTo>
                        <a:lnTo>
                          <a:pt x="384" y="204"/>
                        </a:lnTo>
                        <a:lnTo>
                          <a:pt x="384" y="198"/>
                        </a:lnTo>
                        <a:lnTo>
                          <a:pt x="390" y="180"/>
                        </a:lnTo>
                        <a:lnTo>
                          <a:pt x="396" y="168"/>
                        </a:lnTo>
                        <a:lnTo>
                          <a:pt x="396" y="138"/>
                        </a:lnTo>
                        <a:lnTo>
                          <a:pt x="390" y="126"/>
                        </a:lnTo>
                        <a:lnTo>
                          <a:pt x="390" y="114"/>
                        </a:lnTo>
                        <a:lnTo>
                          <a:pt x="384" y="108"/>
                        </a:lnTo>
                        <a:lnTo>
                          <a:pt x="378" y="96"/>
                        </a:lnTo>
                        <a:lnTo>
                          <a:pt x="378" y="84"/>
                        </a:lnTo>
                        <a:lnTo>
                          <a:pt x="384" y="72"/>
                        </a:lnTo>
                        <a:lnTo>
                          <a:pt x="390" y="66"/>
                        </a:lnTo>
                        <a:lnTo>
                          <a:pt x="402" y="66"/>
                        </a:lnTo>
                        <a:lnTo>
                          <a:pt x="414" y="60"/>
                        </a:lnTo>
                        <a:lnTo>
                          <a:pt x="426"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45" name="Switzerland"/>
                  <p:cNvSpPr>
                    <a:spLocks/>
                  </p:cNvSpPr>
                  <p:nvPr/>
                </p:nvSpPr>
                <p:spPr bwMode="gray">
                  <a:xfrm>
                    <a:off x="2770" y="1326"/>
                    <a:ext cx="74" cy="41"/>
                  </a:xfrm>
                  <a:custGeom>
                    <a:avLst/>
                    <a:gdLst>
                      <a:gd name="T0" fmla="*/ 2147483647 w 288"/>
                      <a:gd name="T1" fmla="*/ 2147483647 h 162"/>
                      <a:gd name="T2" fmla="*/ 2147483647 w 288"/>
                      <a:gd name="T3" fmla="*/ 2147483647 h 162"/>
                      <a:gd name="T4" fmla="*/ 2147483647 w 288"/>
                      <a:gd name="T5" fmla="*/ 2147483647 h 162"/>
                      <a:gd name="T6" fmla="*/ 2147483647 w 288"/>
                      <a:gd name="T7" fmla="*/ 2147483647 h 162"/>
                      <a:gd name="T8" fmla="*/ 2147483647 w 288"/>
                      <a:gd name="T9" fmla="*/ 2147483647 h 162"/>
                      <a:gd name="T10" fmla="*/ 2147483647 w 288"/>
                      <a:gd name="T11" fmla="*/ 2147483647 h 162"/>
                      <a:gd name="T12" fmla="*/ 2147483647 w 288"/>
                      <a:gd name="T13" fmla="*/ 2147483647 h 162"/>
                      <a:gd name="T14" fmla="*/ 0 w 288"/>
                      <a:gd name="T15" fmla="*/ 2147483647 h 162"/>
                      <a:gd name="T16" fmla="*/ 2147483647 w 288"/>
                      <a:gd name="T17" fmla="*/ 2147483647 h 162"/>
                      <a:gd name="T18" fmla="*/ 2147483647 w 288"/>
                      <a:gd name="T19" fmla="*/ 2147483647 h 162"/>
                      <a:gd name="T20" fmla="*/ 2147483647 w 288"/>
                      <a:gd name="T21" fmla="*/ 2147483647 h 162"/>
                      <a:gd name="T22" fmla="*/ 2147483647 w 288"/>
                      <a:gd name="T23" fmla="*/ 2147483647 h 162"/>
                      <a:gd name="T24" fmla="*/ 2147483647 w 288"/>
                      <a:gd name="T25" fmla="*/ 2147483647 h 162"/>
                      <a:gd name="T26" fmla="*/ 2147483647 w 288"/>
                      <a:gd name="T27" fmla="*/ 2147483647 h 162"/>
                      <a:gd name="T28" fmla="*/ 2147483647 w 288"/>
                      <a:gd name="T29" fmla="*/ 2147483647 h 162"/>
                      <a:gd name="T30" fmla="*/ 2147483647 w 288"/>
                      <a:gd name="T31" fmla="*/ 2147483647 h 162"/>
                      <a:gd name="T32" fmla="*/ 2147483647 w 288"/>
                      <a:gd name="T33" fmla="*/ 2147483647 h 162"/>
                      <a:gd name="T34" fmla="*/ 2147483647 w 288"/>
                      <a:gd name="T35" fmla="*/ 2147483647 h 162"/>
                      <a:gd name="T36" fmla="*/ 2147483647 w 288"/>
                      <a:gd name="T37" fmla="*/ 2147483647 h 162"/>
                      <a:gd name="T38" fmla="*/ 2147483647 w 288"/>
                      <a:gd name="T39" fmla="*/ 2147483647 h 162"/>
                      <a:gd name="T40" fmla="*/ 2147483647 w 288"/>
                      <a:gd name="T41" fmla="*/ 2147483647 h 162"/>
                      <a:gd name="T42" fmla="*/ 2147483647 w 288"/>
                      <a:gd name="T43" fmla="*/ 2147483647 h 162"/>
                      <a:gd name="T44" fmla="*/ 2147483647 w 288"/>
                      <a:gd name="T45" fmla="*/ 2147483647 h 162"/>
                      <a:gd name="T46" fmla="*/ 2147483647 w 288"/>
                      <a:gd name="T47" fmla="*/ 2147483647 h 162"/>
                      <a:gd name="T48" fmla="*/ 2147483647 w 288"/>
                      <a:gd name="T49" fmla="*/ 2147483647 h 162"/>
                      <a:gd name="T50" fmla="*/ 2147483647 w 288"/>
                      <a:gd name="T51" fmla="*/ 2147483647 h 162"/>
                      <a:gd name="T52" fmla="*/ 2147483647 w 288"/>
                      <a:gd name="T53" fmla="*/ 2147483647 h 162"/>
                      <a:gd name="T54" fmla="*/ 2147483647 w 288"/>
                      <a:gd name="T55" fmla="*/ 2147483647 h 162"/>
                      <a:gd name="T56" fmla="*/ 2147483647 w 288"/>
                      <a:gd name="T57" fmla="*/ 2147483647 h 162"/>
                      <a:gd name="T58" fmla="*/ 2147483647 w 288"/>
                      <a:gd name="T59" fmla="*/ 2147483647 h 162"/>
                      <a:gd name="T60" fmla="*/ 2147483647 w 288"/>
                      <a:gd name="T61" fmla="*/ 2147483647 h 162"/>
                      <a:gd name="T62" fmla="*/ 2147483647 w 288"/>
                      <a:gd name="T63" fmla="*/ 2147483647 h 162"/>
                      <a:gd name="T64" fmla="*/ 2147483647 w 288"/>
                      <a:gd name="T65" fmla="*/ 2147483647 h 162"/>
                      <a:gd name="T66" fmla="*/ 2147483647 w 288"/>
                      <a:gd name="T67" fmla="*/ 0 h 162"/>
                      <a:gd name="T68" fmla="*/ 2147483647 w 288"/>
                      <a:gd name="T69" fmla="*/ 2147483647 h 162"/>
                      <a:gd name="T70" fmla="*/ 2147483647 w 288"/>
                      <a:gd name="T71" fmla="*/ 2147483647 h 162"/>
                      <a:gd name="T72" fmla="*/ 2147483647 w 288"/>
                      <a:gd name="T73" fmla="*/ 2147483647 h 16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88"/>
                      <a:gd name="T112" fmla="*/ 0 h 162"/>
                      <a:gd name="T113" fmla="*/ 288 w 288"/>
                      <a:gd name="T114" fmla="*/ 162 h 162"/>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88" h="162">
                        <a:moveTo>
                          <a:pt x="132" y="24"/>
                        </a:moveTo>
                        <a:lnTo>
                          <a:pt x="96" y="24"/>
                        </a:lnTo>
                        <a:lnTo>
                          <a:pt x="90" y="42"/>
                        </a:lnTo>
                        <a:lnTo>
                          <a:pt x="72" y="30"/>
                        </a:lnTo>
                        <a:lnTo>
                          <a:pt x="66" y="42"/>
                        </a:lnTo>
                        <a:lnTo>
                          <a:pt x="60" y="48"/>
                        </a:lnTo>
                        <a:lnTo>
                          <a:pt x="54" y="60"/>
                        </a:lnTo>
                        <a:lnTo>
                          <a:pt x="48" y="66"/>
                        </a:lnTo>
                        <a:lnTo>
                          <a:pt x="30" y="66"/>
                        </a:lnTo>
                        <a:lnTo>
                          <a:pt x="30" y="78"/>
                        </a:lnTo>
                        <a:lnTo>
                          <a:pt x="18" y="90"/>
                        </a:lnTo>
                        <a:lnTo>
                          <a:pt x="12" y="102"/>
                        </a:lnTo>
                        <a:lnTo>
                          <a:pt x="0" y="108"/>
                        </a:lnTo>
                        <a:lnTo>
                          <a:pt x="6" y="120"/>
                        </a:lnTo>
                        <a:lnTo>
                          <a:pt x="0" y="126"/>
                        </a:lnTo>
                        <a:lnTo>
                          <a:pt x="0" y="132"/>
                        </a:lnTo>
                        <a:lnTo>
                          <a:pt x="6" y="132"/>
                        </a:lnTo>
                        <a:lnTo>
                          <a:pt x="30" y="108"/>
                        </a:lnTo>
                        <a:lnTo>
                          <a:pt x="48" y="108"/>
                        </a:lnTo>
                        <a:lnTo>
                          <a:pt x="54" y="114"/>
                        </a:lnTo>
                        <a:lnTo>
                          <a:pt x="48" y="138"/>
                        </a:lnTo>
                        <a:lnTo>
                          <a:pt x="60" y="150"/>
                        </a:lnTo>
                        <a:lnTo>
                          <a:pt x="60" y="156"/>
                        </a:lnTo>
                        <a:lnTo>
                          <a:pt x="72" y="156"/>
                        </a:lnTo>
                        <a:lnTo>
                          <a:pt x="84" y="144"/>
                        </a:lnTo>
                        <a:lnTo>
                          <a:pt x="96" y="144"/>
                        </a:lnTo>
                        <a:lnTo>
                          <a:pt x="108" y="156"/>
                        </a:lnTo>
                        <a:lnTo>
                          <a:pt x="114" y="156"/>
                        </a:lnTo>
                        <a:lnTo>
                          <a:pt x="132" y="138"/>
                        </a:lnTo>
                        <a:lnTo>
                          <a:pt x="132" y="120"/>
                        </a:lnTo>
                        <a:lnTo>
                          <a:pt x="138" y="114"/>
                        </a:lnTo>
                        <a:lnTo>
                          <a:pt x="150" y="114"/>
                        </a:lnTo>
                        <a:lnTo>
                          <a:pt x="156" y="120"/>
                        </a:lnTo>
                        <a:lnTo>
                          <a:pt x="156" y="126"/>
                        </a:lnTo>
                        <a:lnTo>
                          <a:pt x="162" y="132"/>
                        </a:lnTo>
                        <a:lnTo>
                          <a:pt x="162" y="138"/>
                        </a:lnTo>
                        <a:lnTo>
                          <a:pt x="168" y="138"/>
                        </a:lnTo>
                        <a:lnTo>
                          <a:pt x="192" y="162"/>
                        </a:lnTo>
                        <a:lnTo>
                          <a:pt x="192" y="144"/>
                        </a:lnTo>
                        <a:lnTo>
                          <a:pt x="204" y="132"/>
                        </a:lnTo>
                        <a:lnTo>
                          <a:pt x="210" y="108"/>
                        </a:lnTo>
                        <a:lnTo>
                          <a:pt x="222" y="126"/>
                        </a:lnTo>
                        <a:lnTo>
                          <a:pt x="240" y="120"/>
                        </a:lnTo>
                        <a:lnTo>
                          <a:pt x="258" y="132"/>
                        </a:lnTo>
                        <a:lnTo>
                          <a:pt x="264" y="120"/>
                        </a:lnTo>
                        <a:lnTo>
                          <a:pt x="252" y="108"/>
                        </a:lnTo>
                        <a:lnTo>
                          <a:pt x="252" y="102"/>
                        </a:lnTo>
                        <a:lnTo>
                          <a:pt x="276" y="102"/>
                        </a:lnTo>
                        <a:lnTo>
                          <a:pt x="282" y="84"/>
                        </a:lnTo>
                        <a:lnTo>
                          <a:pt x="288" y="84"/>
                        </a:lnTo>
                        <a:lnTo>
                          <a:pt x="288" y="78"/>
                        </a:lnTo>
                        <a:lnTo>
                          <a:pt x="276" y="66"/>
                        </a:lnTo>
                        <a:lnTo>
                          <a:pt x="270" y="66"/>
                        </a:lnTo>
                        <a:lnTo>
                          <a:pt x="252" y="84"/>
                        </a:lnTo>
                        <a:lnTo>
                          <a:pt x="246" y="84"/>
                        </a:lnTo>
                        <a:lnTo>
                          <a:pt x="246" y="66"/>
                        </a:lnTo>
                        <a:lnTo>
                          <a:pt x="210" y="66"/>
                        </a:lnTo>
                        <a:lnTo>
                          <a:pt x="210" y="60"/>
                        </a:lnTo>
                        <a:lnTo>
                          <a:pt x="216" y="48"/>
                        </a:lnTo>
                        <a:lnTo>
                          <a:pt x="222" y="42"/>
                        </a:lnTo>
                        <a:lnTo>
                          <a:pt x="228" y="42"/>
                        </a:lnTo>
                        <a:lnTo>
                          <a:pt x="228" y="30"/>
                        </a:lnTo>
                        <a:lnTo>
                          <a:pt x="216" y="30"/>
                        </a:lnTo>
                        <a:lnTo>
                          <a:pt x="210" y="18"/>
                        </a:lnTo>
                        <a:lnTo>
                          <a:pt x="192" y="12"/>
                        </a:lnTo>
                        <a:lnTo>
                          <a:pt x="180" y="12"/>
                        </a:lnTo>
                        <a:lnTo>
                          <a:pt x="174" y="6"/>
                        </a:lnTo>
                        <a:lnTo>
                          <a:pt x="162" y="0"/>
                        </a:lnTo>
                        <a:lnTo>
                          <a:pt x="156" y="0"/>
                        </a:lnTo>
                        <a:lnTo>
                          <a:pt x="150" y="6"/>
                        </a:lnTo>
                        <a:lnTo>
                          <a:pt x="150" y="18"/>
                        </a:lnTo>
                        <a:lnTo>
                          <a:pt x="156" y="24"/>
                        </a:lnTo>
                        <a:lnTo>
                          <a:pt x="150" y="18"/>
                        </a:lnTo>
                        <a:lnTo>
                          <a:pt x="132" y="2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46" name="Sweden"/>
                  <p:cNvSpPr>
                    <a:spLocks noEditPoints="1"/>
                  </p:cNvSpPr>
                  <p:nvPr/>
                </p:nvSpPr>
                <p:spPr bwMode="gray">
                  <a:xfrm>
                    <a:off x="2854" y="924"/>
                    <a:ext cx="177" cy="253"/>
                  </a:xfrm>
                  <a:custGeom>
                    <a:avLst/>
                    <a:gdLst>
                      <a:gd name="T0" fmla="*/ 2147483647 w 690"/>
                      <a:gd name="T1" fmla="*/ 2147483647 h 990"/>
                      <a:gd name="T2" fmla="*/ 2147483647 w 690"/>
                      <a:gd name="T3" fmla="*/ 2147483647 h 990"/>
                      <a:gd name="T4" fmla="*/ 2147483647 w 690"/>
                      <a:gd name="T5" fmla="*/ 2147483647 h 990"/>
                      <a:gd name="T6" fmla="*/ 2147483647 w 690"/>
                      <a:gd name="T7" fmla="*/ 2147483647 h 990"/>
                      <a:gd name="T8" fmla="*/ 2147483647 w 690"/>
                      <a:gd name="T9" fmla="*/ 2147483647 h 990"/>
                      <a:gd name="T10" fmla="*/ 2147483647 w 690"/>
                      <a:gd name="T11" fmla="*/ 2147483647 h 990"/>
                      <a:gd name="T12" fmla="*/ 2147483647 w 690"/>
                      <a:gd name="T13" fmla="*/ 2147483647 h 990"/>
                      <a:gd name="T14" fmla="*/ 2147483647 w 690"/>
                      <a:gd name="T15" fmla="*/ 2147483647 h 990"/>
                      <a:gd name="T16" fmla="*/ 2147483647 w 690"/>
                      <a:gd name="T17" fmla="*/ 2147483647 h 990"/>
                      <a:gd name="T18" fmla="*/ 2147483647 w 690"/>
                      <a:gd name="T19" fmla="*/ 2147483647 h 990"/>
                      <a:gd name="T20" fmla="*/ 2147483647 w 690"/>
                      <a:gd name="T21" fmla="*/ 2147483647 h 990"/>
                      <a:gd name="T22" fmla="*/ 2147483647 w 690"/>
                      <a:gd name="T23" fmla="*/ 2147483647 h 990"/>
                      <a:gd name="T24" fmla="*/ 2147483647 w 690"/>
                      <a:gd name="T25" fmla="*/ 2147483647 h 990"/>
                      <a:gd name="T26" fmla="*/ 2147483647 w 690"/>
                      <a:gd name="T27" fmla="*/ 2147483647 h 990"/>
                      <a:gd name="T28" fmla="*/ 2147483647 w 690"/>
                      <a:gd name="T29" fmla="*/ 2147483647 h 990"/>
                      <a:gd name="T30" fmla="*/ 2147483647 w 690"/>
                      <a:gd name="T31" fmla="*/ 2147483647 h 990"/>
                      <a:gd name="T32" fmla="*/ 2147483647 w 690"/>
                      <a:gd name="T33" fmla="*/ 2147483647 h 990"/>
                      <a:gd name="T34" fmla="*/ 2147483647 w 690"/>
                      <a:gd name="T35" fmla="*/ 2147483647 h 990"/>
                      <a:gd name="T36" fmla="*/ 2147483647 w 690"/>
                      <a:gd name="T37" fmla="*/ 2147483647 h 990"/>
                      <a:gd name="T38" fmla="*/ 2147483647 w 690"/>
                      <a:gd name="T39" fmla="*/ 2147483647 h 990"/>
                      <a:gd name="T40" fmla="*/ 2147483647 w 690"/>
                      <a:gd name="T41" fmla="*/ 2147483647 h 990"/>
                      <a:gd name="T42" fmla="*/ 2147483647 w 690"/>
                      <a:gd name="T43" fmla="*/ 2147483647 h 990"/>
                      <a:gd name="T44" fmla="*/ 2147483647 w 690"/>
                      <a:gd name="T45" fmla="*/ 2147483647 h 990"/>
                      <a:gd name="T46" fmla="*/ 0 w 690"/>
                      <a:gd name="T47" fmla="*/ 2147483647 h 990"/>
                      <a:gd name="T48" fmla="*/ 2147483647 w 690"/>
                      <a:gd name="T49" fmla="*/ 2147483647 h 990"/>
                      <a:gd name="T50" fmla="*/ 2147483647 w 690"/>
                      <a:gd name="T51" fmla="*/ 2147483647 h 990"/>
                      <a:gd name="T52" fmla="*/ 2147483647 w 690"/>
                      <a:gd name="T53" fmla="*/ 2147483647 h 990"/>
                      <a:gd name="T54" fmla="*/ 2147483647 w 690"/>
                      <a:gd name="T55" fmla="*/ 2147483647 h 990"/>
                      <a:gd name="T56" fmla="*/ 2147483647 w 690"/>
                      <a:gd name="T57" fmla="*/ 2147483647 h 990"/>
                      <a:gd name="T58" fmla="*/ 2147483647 w 690"/>
                      <a:gd name="T59" fmla="*/ 2147483647 h 990"/>
                      <a:gd name="T60" fmla="*/ 2147483647 w 690"/>
                      <a:gd name="T61" fmla="*/ 2147483647 h 990"/>
                      <a:gd name="T62" fmla="*/ 2147483647 w 690"/>
                      <a:gd name="T63" fmla="*/ 2147483647 h 990"/>
                      <a:gd name="T64" fmla="*/ 2147483647 w 690"/>
                      <a:gd name="T65" fmla="*/ 2147483647 h 990"/>
                      <a:gd name="T66" fmla="*/ 2147483647 w 690"/>
                      <a:gd name="T67" fmla="*/ 2147483647 h 990"/>
                      <a:gd name="T68" fmla="*/ 2147483647 w 690"/>
                      <a:gd name="T69" fmla="*/ 2147483647 h 990"/>
                      <a:gd name="T70" fmla="*/ 2147483647 w 690"/>
                      <a:gd name="T71" fmla="*/ 2147483647 h 990"/>
                      <a:gd name="T72" fmla="*/ 2147483647 w 690"/>
                      <a:gd name="T73" fmla="*/ 2147483647 h 990"/>
                      <a:gd name="T74" fmla="*/ 2147483647 w 690"/>
                      <a:gd name="T75" fmla="*/ 2147483647 h 990"/>
                      <a:gd name="T76" fmla="*/ 2147483647 w 690"/>
                      <a:gd name="T77" fmla="*/ 2147483647 h 990"/>
                      <a:gd name="T78" fmla="*/ 2147483647 w 690"/>
                      <a:gd name="T79" fmla="*/ 2147483647 h 990"/>
                      <a:gd name="T80" fmla="*/ 2147483647 w 690"/>
                      <a:gd name="T81" fmla="*/ 2147483647 h 990"/>
                      <a:gd name="T82" fmla="*/ 2147483647 w 690"/>
                      <a:gd name="T83" fmla="*/ 2147483647 h 990"/>
                      <a:gd name="T84" fmla="*/ 2147483647 w 690"/>
                      <a:gd name="T85" fmla="*/ 2147483647 h 990"/>
                      <a:gd name="T86" fmla="*/ 2147483647 w 690"/>
                      <a:gd name="T87" fmla="*/ 2147483647 h 990"/>
                      <a:gd name="T88" fmla="*/ 2147483647 w 690"/>
                      <a:gd name="T89" fmla="*/ 2147483647 h 990"/>
                      <a:gd name="T90" fmla="*/ 2147483647 w 690"/>
                      <a:gd name="T91" fmla="*/ 2147483647 h 990"/>
                      <a:gd name="T92" fmla="*/ 2147483647 w 690"/>
                      <a:gd name="T93" fmla="*/ 2147483647 h 990"/>
                      <a:gd name="T94" fmla="*/ 2147483647 w 690"/>
                      <a:gd name="T95" fmla="*/ 2147483647 h 990"/>
                      <a:gd name="T96" fmla="*/ 2147483647 w 690"/>
                      <a:gd name="T97" fmla="*/ 2147483647 h 990"/>
                      <a:gd name="T98" fmla="*/ 2147483647 w 690"/>
                      <a:gd name="T99" fmla="*/ 2147483647 h 990"/>
                      <a:gd name="T100" fmla="*/ 2147483647 w 690"/>
                      <a:gd name="T101" fmla="*/ 2147483647 h 99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690"/>
                      <a:gd name="T154" fmla="*/ 0 h 990"/>
                      <a:gd name="T155" fmla="*/ 690 w 690"/>
                      <a:gd name="T156" fmla="*/ 990 h 990"/>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690" h="990">
                        <a:moveTo>
                          <a:pt x="678" y="204"/>
                        </a:moveTo>
                        <a:lnTo>
                          <a:pt x="672" y="198"/>
                        </a:lnTo>
                        <a:lnTo>
                          <a:pt x="660" y="192"/>
                        </a:lnTo>
                        <a:lnTo>
                          <a:pt x="648" y="180"/>
                        </a:lnTo>
                        <a:lnTo>
                          <a:pt x="648" y="174"/>
                        </a:lnTo>
                        <a:lnTo>
                          <a:pt x="654" y="162"/>
                        </a:lnTo>
                        <a:lnTo>
                          <a:pt x="660" y="156"/>
                        </a:lnTo>
                        <a:lnTo>
                          <a:pt x="666" y="144"/>
                        </a:lnTo>
                        <a:lnTo>
                          <a:pt x="642" y="132"/>
                        </a:lnTo>
                        <a:lnTo>
                          <a:pt x="648" y="108"/>
                        </a:lnTo>
                        <a:lnTo>
                          <a:pt x="636" y="102"/>
                        </a:lnTo>
                        <a:lnTo>
                          <a:pt x="636" y="96"/>
                        </a:lnTo>
                        <a:lnTo>
                          <a:pt x="642" y="90"/>
                        </a:lnTo>
                        <a:lnTo>
                          <a:pt x="642" y="66"/>
                        </a:lnTo>
                        <a:lnTo>
                          <a:pt x="636" y="66"/>
                        </a:lnTo>
                        <a:lnTo>
                          <a:pt x="630" y="60"/>
                        </a:lnTo>
                        <a:lnTo>
                          <a:pt x="618" y="60"/>
                        </a:lnTo>
                        <a:lnTo>
                          <a:pt x="588" y="42"/>
                        </a:lnTo>
                        <a:lnTo>
                          <a:pt x="552" y="42"/>
                        </a:lnTo>
                        <a:lnTo>
                          <a:pt x="540" y="30"/>
                        </a:lnTo>
                        <a:lnTo>
                          <a:pt x="534" y="30"/>
                        </a:lnTo>
                        <a:lnTo>
                          <a:pt x="528" y="24"/>
                        </a:lnTo>
                        <a:lnTo>
                          <a:pt x="516" y="24"/>
                        </a:lnTo>
                        <a:lnTo>
                          <a:pt x="504" y="18"/>
                        </a:lnTo>
                        <a:lnTo>
                          <a:pt x="498" y="12"/>
                        </a:lnTo>
                        <a:lnTo>
                          <a:pt x="486" y="6"/>
                        </a:lnTo>
                        <a:lnTo>
                          <a:pt x="456" y="0"/>
                        </a:lnTo>
                        <a:lnTo>
                          <a:pt x="456" y="24"/>
                        </a:lnTo>
                        <a:lnTo>
                          <a:pt x="444" y="24"/>
                        </a:lnTo>
                        <a:lnTo>
                          <a:pt x="444" y="30"/>
                        </a:lnTo>
                        <a:lnTo>
                          <a:pt x="456" y="42"/>
                        </a:lnTo>
                        <a:lnTo>
                          <a:pt x="462" y="42"/>
                        </a:lnTo>
                        <a:lnTo>
                          <a:pt x="456" y="48"/>
                        </a:lnTo>
                        <a:lnTo>
                          <a:pt x="444" y="48"/>
                        </a:lnTo>
                        <a:lnTo>
                          <a:pt x="438" y="42"/>
                        </a:lnTo>
                        <a:lnTo>
                          <a:pt x="414" y="42"/>
                        </a:lnTo>
                        <a:lnTo>
                          <a:pt x="390" y="36"/>
                        </a:lnTo>
                        <a:lnTo>
                          <a:pt x="366" y="42"/>
                        </a:lnTo>
                        <a:lnTo>
                          <a:pt x="366" y="30"/>
                        </a:lnTo>
                        <a:lnTo>
                          <a:pt x="360" y="24"/>
                        </a:lnTo>
                        <a:lnTo>
                          <a:pt x="348" y="36"/>
                        </a:lnTo>
                        <a:lnTo>
                          <a:pt x="348" y="66"/>
                        </a:lnTo>
                        <a:lnTo>
                          <a:pt x="342" y="72"/>
                        </a:lnTo>
                        <a:lnTo>
                          <a:pt x="324" y="72"/>
                        </a:lnTo>
                        <a:lnTo>
                          <a:pt x="282" y="78"/>
                        </a:lnTo>
                        <a:lnTo>
                          <a:pt x="264" y="96"/>
                        </a:lnTo>
                        <a:lnTo>
                          <a:pt x="252" y="102"/>
                        </a:lnTo>
                        <a:lnTo>
                          <a:pt x="246" y="102"/>
                        </a:lnTo>
                        <a:lnTo>
                          <a:pt x="246" y="114"/>
                        </a:lnTo>
                        <a:lnTo>
                          <a:pt x="258" y="120"/>
                        </a:lnTo>
                        <a:lnTo>
                          <a:pt x="264" y="126"/>
                        </a:lnTo>
                        <a:lnTo>
                          <a:pt x="258" y="144"/>
                        </a:lnTo>
                        <a:lnTo>
                          <a:pt x="252" y="144"/>
                        </a:lnTo>
                        <a:lnTo>
                          <a:pt x="240" y="150"/>
                        </a:lnTo>
                        <a:lnTo>
                          <a:pt x="234" y="156"/>
                        </a:lnTo>
                        <a:lnTo>
                          <a:pt x="234" y="162"/>
                        </a:lnTo>
                        <a:lnTo>
                          <a:pt x="228" y="168"/>
                        </a:lnTo>
                        <a:lnTo>
                          <a:pt x="210" y="168"/>
                        </a:lnTo>
                        <a:lnTo>
                          <a:pt x="216" y="174"/>
                        </a:lnTo>
                        <a:lnTo>
                          <a:pt x="216" y="180"/>
                        </a:lnTo>
                        <a:lnTo>
                          <a:pt x="222" y="186"/>
                        </a:lnTo>
                        <a:lnTo>
                          <a:pt x="222" y="192"/>
                        </a:lnTo>
                        <a:lnTo>
                          <a:pt x="216" y="192"/>
                        </a:lnTo>
                        <a:lnTo>
                          <a:pt x="210" y="198"/>
                        </a:lnTo>
                        <a:lnTo>
                          <a:pt x="204" y="198"/>
                        </a:lnTo>
                        <a:lnTo>
                          <a:pt x="192" y="204"/>
                        </a:lnTo>
                        <a:lnTo>
                          <a:pt x="174" y="192"/>
                        </a:lnTo>
                        <a:lnTo>
                          <a:pt x="174" y="228"/>
                        </a:lnTo>
                        <a:lnTo>
                          <a:pt x="168" y="270"/>
                        </a:lnTo>
                        <a:lnTo>
                          <a:pt x="138" y="300"/>
                        </a:lnTo>
                        <a:lnTo>
                          <a:pt x="132" y="300"/>
                        </a:lnTo>
                        <a:lnTo>
                          <a:pt x="120" y="306"/>
                        </a:lnTo>
                        <a:lnTo>
                          <a:pt x="132" y="312"/>
                        </a:lnTo>
                        <a:lnTo>
                          <a:pt x="150" y="330"/>
                        </a:lnTo>
                        <a:lnTo>
                          <a:pt x="150" y="336"/>
                        </a:lnTo>
                        <a:lnTo>
                          <a:pt x="144" y="342"/>
                        </a:lnTo>
                        <a:lnTo>
                          <a:pt x="102" y="342"/>
                        </a:lnTo>
                        <a:lnTo>
                          <a:pt x="90" y="348"/>
                        </a:lnTo>
                        <a:lnTo>
                          <a:pt x="84" y="354"/>
                        </a:lnTo>
                        <a:lnTo>
                          <a:pt x="72" y="360"/>
                        </a:lnTo>
                        <a:lnTo>
                          <a:pt x="30" y="402"/>
                        </a:lnTo>
                        <a:lnTo>
                          <a:pt x="36" y="408"/>
                        </a:lnTo>
                        <a:lnTo>
                          <a:pt x="42" y="408"/>
                        </a:lnTo>
                        <a:lnTo>
                          <a:pt x="48" y="414"/>
                        </a:lnTo>
                        <a:lnTo>
                          <a:pt x="48" y="420"/>
                        </a:lnTo>
                        <a:lnTo>
                          <a:pt x="42" y="426"/>
                        </a:lnTo>
                        <a:lnTo>
                          <a:pt x="36" y="426"/>
                        </a:lnTo>
                        <a:lnTo>
                          <a:pt x="30" y="432"/>
                        </a:lnTo>
                        <a:lnTo>
                          <a:pt x="30" y="444"/>
                        </a:lnTo>
                        <a:lnTo>
                          <a:pt x="54" y="468"/>
                        </a:lnTo>
                        <a:lnTo>
                          <a:pt x="54" y="480"/>
                        </a:lnTo>
                        <a:lnTo>
                          <a:pt x="48" y="492"/>
                        </a:lnTo>
                        <a:lnTo>
                          <a:pt x="48" y="510"/>
                        </a:lnTo>
                        <a:lnTo>
                          <a:pt x="60" y="522"/>
                        </a:lnTo>
                        <a:lnTo>
                          <a:pt x="66" y="522"/>
                        </a:lnTo>
                        <a:lnTo>
                          <a:pt x="84" y="540"/>
                        </a:lnTo>
                        <a:lnTo>
                          <a:pt x="84" y="552"/>
                        </a:lnTo>
                        <a:lnTo>
                          <a:pt x="72" y="564"/>
                        </a:lnTo>
                        <a:lnTo>
                          <a:pt x="48" y="570"/>
                        </a:lnTo>
                        <a:lnTo>
                          <a:pt x="54" y="576"/>
                        </a:lnTo>
                        <a:lnTo>
                          <a:pt x="60" y="588"/>
                        </a:lnTo>
                        <a:lnTo>
                          <a:pt x="60" y="594"/>
                        </a:lnTo>
                        <a:lnTo>
                          <a:pt x="66" y="600"/>
                        </a:lnTo>
                        <a:lnTo>
                          <a:pt x="66" y="606"/>
                        </a:lnTo>
                        <a:lnTo>
                          <a:pt x="72" y="618"/>
                        </a:lnTo>
                        <a:lnTo>
                          <a:pt x="66" y="618"/>
                        </a:lnTo>
                        <a:lnTo>
                          <a:pt x="66" y="642"/>
                        </a:lnTo>
                        <a:lnTo>
                          <a:pt x="60" y="648"/>
                        </a:lnTo>
                        <a:lnTo>
                          <a:pt x="24" y="648"/>
                        </a:lnTo>
                        <a:lnTo>
                          <a:pt x="30" y="660"/>
                        </a:lnTo>
                        <a:lnTo>
                          <a:pt x="30" y="666"/>
                        </a:lnTo>
                        <a:lnTo>
                          <a:pt x="24" y="666"/>
                        </a:lnTo>
                        <a:lnTo>
                          <a:pt x="18" y="672"/>
                        </a:lnTo>
                        <a:lnTo>
                          <a:pt x="18" y="678"/>
                        </a:lnTo>
                        <a:lnTo>
                          <a:pt x="30" y="690"/>
                        </a:lnTo>
                        <a:lnTo>
                          <a:pt x="30" y="708"/>
                        </a:lnTo>
                        <a:lnTo>
                          <a:pt x="24" y="714"/>
                        </a:lnTo>
                        <a:lnTo>
                          <a:pt x="18" y="726"/>
                        </a:lnTo>
                        <a:lnTo>
                          <a:pt x="0" y="708"/>
                        </a:lnTo>
                        <a:lnTo>
                          <a:pt x="0" y="768"/>
                        </a:lnTo>
                        <a:lnTo>
                          <a:pt x="6" y="762"/>
                        </a:lnTo>
                        <a:lnTo>
                          <a:pt x="24" y="762"/>
                        </a:lnTo>
                        <a:lnTo>
                          <a:pt x="36" y="774"/>
                        </a:lnTo>
                        <a:lnTo>
                          <a:pt x="36" y="780"/>
                        </a:lnTo>
                        <a:lnTo>
                          <a:pt x="30" y="780"/>
                        </a:lnTo>
                        <a:lnTo>
                          <a:pt x="30" y="774"/>
                        </a:lnTo>
                        <a:lnTo>
                          <a:pt x="24" y="774"/>
                        </a:lnTo>
                        <a:lnTo>
                          <a:pt x="24" y="834"/>
                        </a:lnTo>
                        <a:lnTo>
                          <a:pt x="30" y="840"/>
                        </a:lnTo>
                        <a:lnTo>
                          <a:pt x="36" y="840"/>
                        </a:lnTo>
                        <a:lnTo>
                          <a:pt x="48" y="846"/>
                        </a:lnTo>
                        <a:lnTo>
                          <a:pt x="54" y="858"/>
                        </a:lnTo>
                        <a:lnTo>
                          <a:pt x="60" y="864"/>
                        </a:lnTo>
                        <a:lnTo>
                          <a:pt x="66" y="876"/>
                        </a:lnTo>
                        <a:lnTo>
                          <a:pt x="90" y="900"/>
                        </a:lnTo>
                        <a:lnTo>
                          <a:pt x="96" y="900"/>
                        </a:lnTo>
                        <a:lnTo>
                          <a:pt x="96" y="912"/>
                        </a:lnTo>
                        <a:lnTo>
                          <a:pt x="78" y="912"/>
                        </a:lnTo>
                        <a:lnTo>
                          <a:pt x="78" y="942"/>
                        </a:lnTo>
                        <a:lnTo>
                          <a:pt x="90" y="954"/>
                        </a:lnTo>
                        <a:lnTo>
                          <a:pt x="102" y="960"/>
                        </a:lnTo>
                        <a:lnTo>
                          <a:pt x="96" y="966"/>
                        </a:lnTo>
                        <a:lnTo>
                          <a:pt x="96" y="984"/>
                        </a:lnTo>
                        <a:lnTo>
                          <a:pt x="102" y="984"/>
                        </a:lnTo>
                        <a:lnTo>
                          <a:pt x="108" y="990"/>
                        </a:lnTo>
                        <a:lnTo>
                          <a:pt x="174" y="990"/>
                        </a:lnTo>
                        <a:lnTo>
                          <a:pt x="180" y="984"/>
                        </a:lnTo>
                        <a:lnTo>
                          <a:pt x="180" y="948"/>
                        </a:lnTo>
                        <a:lnTo>
                          <a:pt x="198" y="942"/>
                        </a:lnTo>
                        <a:lnTo>
                          <a:pt x="198" y="924"/>
                        </a:lnTo>
                        <a:lnTo>
                          <a:pt x="264" y="930"/>
                        </a:lnTo>
                        <a:lnTo>
                          <a:pt x="276" y="936"/>
                        </a:lnTo>
                        <a:lnTo>
                          <a:pt x="300" y="876"/>
                        </a:lnTo>
                        <a:lnTo>
                          <a:pt x="300" y="864"/>
                        </a:lnTo>
                        <a:lnTo>
                          <a:pt x="306" y="852"/>
                        </a:lnTo>
                        <a:lnTo>
                          <a:pt x="306" y="816"/>
                        </a:lnTo>
                        <a:lnTo>
                          <a:pt x="300" y="810"/>
                        </a:lnTo>
                        <a:lnTo>
                          <a:pt x="294" y="798"/>
                        </a:lnTo>
                        <a:lnTo>
                          <a:pt x="312" y="798"/>
                        </a:lnTo>
                        <a:lnTo>
                          <a:pt x="324" y="786"/>
                        </a:lnTo>
                        <a:lnTo>
                          <a:pt x="324" y="780"/>
                        </a:lnTo>
                        <a:lnTo>
                          <a:pt x="306" y="762"/>
                        </a:lnTo>
                        <a:lnTo>
                          <a:pt x="294" y="762"/>
                        </a:lnTo>
                        <a:lnTo>
                          <a:pt x="312" y="756"/>
                        </a:lnTo>
                        <a:lnTo>
                          <a:pt x="300" y="750"/>
                        </a:lnTo>
                        <a:lnTo>
                          <a:pt x="324" y="750"/>
                        </a:lnTo>
                        <a:lnTo>
                          <a:pt x="336" y="744"/>
                        </a:lnTo>
                        <a:lnTo>
                          <a:pt x="348" y="744"/>
                        </a:lnTo>
                        <a:lnTo>
                          <a:pt x="354" y="738"/>
                        </a:lnTo>
                        <a:lnTo>
                          <a:pt x="360" y="726"/>
                        </a:lnTo>
                        <a:lnTo>
                          <a:pt x="360" y="714"/>
                        </a:lnTo>
                        <a:lnTo>
                          <a:pt x="366" y="708"/>
                        </a:lnTo>
                        <a:lnTo>
                          <a:pt x="384" y="726"/>
                        </a:lnTo>
                        <a:lnTo>
                          <a:pt x="390" y="726"/>
                        </a:lnTo>
                        <a:lnTo>
                          <a:pt x="396" y="720"/>
                        </a:lnTo>
                        <a:lnTo>
                          <a:pt x="408" y="696"/>
                        </a:lnTo>
                        <a:lnTo>
                          <a:pt x="402" y="690"/>
                        </a:lnTo>
                        <a:lnTo>
                          <a:pt x="402" y="684"/>
                        </a:lnTo>
                        <a:lnTo>
                          <a:pt x="414" y="684"/>
                        </a:lnTo>
                        <a:lnTo>
                          <a:pt x="420" y="678"/>
                        </a:lnTo>
                        <a:lnTo>
                          <a:pt x="432" y="672"/>
                        </a:lnTo>
                        <a:lnTo>
                          <a:pt x="432" y="660"/>
                        </a:lnTo>
                        <a:lnTo>
                          <a:pt x="420" y="636"/>
                        </a:lnTo>
                        <a:lnTo>
                          <a:pt x="408" y="630"/>
                        </a:lnTo>
                        <a:lnTo>
                          <a:pt x="408" y="618"/>
                        </a:lnTo>
                        <a:lnTo>
                          <a:pt x="372" y="600"/>
                        </a:lnTo>
                        <a:lnTo>
                          <a:pt x="360" y="606"/>
                        </a:lnTo>
                        <a:lnTo>
                          <a:pt x="354" y="606"/>
                        </a:lnTo>
                        <a:lnTo>
                          <a:pt x="342" y="600"/>
                        </a:lnTo>
                        <a:lnTo>
                          <a:pt x="330" y="576"/>
                        </a:lnTo>
                        <a:lnTo>
                          <a:pt x="330" y="558"/>
                        </a:lnTo>
                        <a:lnTo>
                          <a:pt x="324" y="546"/>
                        </a:lnTo>
                        <a:lnTo>
                          <a:pt x="324" y="528"/>
                        </a:lnTo>
                        <a:lnTo>
                          <a:pt x="336" y="516"/>
                        </a:lnTo>
                        <a:lnTo>
                          <a:pt x="342" y="504"/>
                        </a:lnTo>
                        <a:lnTo>
                          <a:pt x="342" y="486"/>
                        </a:lnTo>
                        <a:lnTo>
                          <a:pt x="336" y="474"/>
                        </a:lnTo>
                        <a:lnTo>
                          <a:pt x="330" y="468"/>
                        </a:lnTo>
                        <a:lnTo>
                          <a:pt x="330" y="462"/>
                        </a:lnTo>
                        <a:lnTo>
                          <a:pt x="348" y="462"/>
                        </a:lnTo>
                        <a:lnTo>
                          <a:pt x="354" y="456"/>
                        </a:lnTo>
                        <a:lnTo>
                          <a:pt x="354" y="438"/>
                        </a:lnTo>
                        <a:lnTo>
                          <a:pt x="348" y="426"/>
                        </a:lnTo>
                        <a:lnTo>
                          <a:pt x="354" y="432"/>
                        </a:lnTo>
                        <a:lnTo>
                          <a:pt x="378" y="432"/>
                        </a:lnTo>
                        <a:lnTo>
                          <a:pt x="384" y="426"/>
                        </a:lnTo>
                        <a:lnTo>
                          <a:pt x="396" y="420"/>
                        </a:lnTo>
                        <a:lnTo>
                          <a:pt x="408" y="408"/>
                        </a:lnTo>
                        <a:lnTo>
                          <a:pt x="438" y="414"/>
                        </a:lnTo>
                        <a:lnTo>
                          <a:pt x="450" y="390"/>
                        </a:lnTo>
                        <a:lnTo>
                          <a:pt x="480" y="390"/>
                        </a:lnTo>
                        <a:lnTo>
                          <a:pt x="498" y="384"/>
                        </a:lnTo>
                        <a:lnTo>
                          <a:pt x="510" y="378"/>
                        </a:lnTo>
                        <a:lnTo>
                          <a:pt x="522" y="354"/>
                        </a:lnTo>
                        <a:lnTo>
                          <a:pt x="540" y="336"/>
                        </a:lnTo>
                        <a:lnTo>
                          <a:pt x="546" y="324"/>
                        </a:lnTo>
                        <a:lnTo>
                          <a:pt x="528" y="300"/>
                        </a:lnTo>
                        <a:lnTo>
                          <a:pt x="558" y="264"/>
                        </a:lnTo>
                        <a:lnTo>
                          <a:pt x="540" y="246"/>
                        </a:lnTo>
                        <a:lnTo>
                          <a:pt x="576" y="234"/>
                        </a:lnTo>
                        <a:lnTo>
                          <a:pt x="594" y="216"/>
                        </a:lnTo>
                        <a:lnTo>
                          <a:pt x="672" y="222"/>
                        </a:lnTo>
                        <a:lnTo>
                          <a:pt x="684" y="240"/>
                        </a:lnTo>
                        <a:lnTo>
                          <a:pt x="690" y="240"/>
                        </a:lnTo>
                        <a:lnTo>
                          <a:pt x="678" y="204"/>
                        </a:lnTo>
                        <a:close/>
                        <a:moveTo>
                          <a:pt x="390" y="828"/>
                        </a:moveTo>
                        <a:lnTo>
                          <a:pt x="390" y="840"/>
                        </a:lnTo>
                        <a:lnTo>
                          <a:pt x="396" y="852"/>
                        </a:lnTo>
                        <a:lnTo>
                          <a:pt x="396" y="864"/>
                        </a:lnTo>
                        <a:lnTo>
                          <a:pt x="402" y="870"/>
                        </a:lnTo>
                        <a:lnTo>
                          <a:pt x="402" y="876"/>
                        </a:lnTo>
                        <a:lnTo>
                          <a:pt x="414" y="852"/>
                        </a:lnTo>
                        <a:lnTo>
                          <a:pt x="426" y="852"/>
                        </a:lnTo>
                        <a:lnTo>
                          <a:pt x="432" y="846"/>
                        </a:lnTo>
                        <a:lnTo>
                          <a:pt x="438" y="834"/>
                        </a:lnTo>
                        <a:lnTo>
                          <a:pt x="438" y="822"/>
                        </a:lnTo>
                        <a:lnTo>
                          <a:pt x="432" y="816"/>
                        </a:lnTo>
                        <a:lnTo>
                          <a:pt x="450" y="798"/>
                        </a:lnTo>
                        <a:lnTo>
                          <a:pt x="444" y="798"/>
                        </a:lnTo>
                        <a:lnTo>
                          <a:pt x="438" y="804"/>
                        </a:lnTo>
                        <a:lnTo>
                          <a:pt x="420" y="804"/>
                        </a:lnTo>
                        <a:lnTo>
                          <a:pt x="408" y="810"/>
                        </a:lnTo>
                        <a:lnTo>
                          <a:pt x="390" y="828"/>
                        </a:lnTo>
                        <a:close/>
                        <a:moveTo>
                          <a:pt x="300" y="900"/>
                        </a:moveTo>
                        <a:lnTo>
                          <a:pt x="300" y="912"/>
                        </a:lnTo>
                        <a:lnTo>
                          <a:pt x="294" y="924"/>
                        </a:lnTo>
                        <a:lnTo>
                          <a:pt x="300" y="918"/>
                        </a:lnTo>
                        <a:lnTo>
                          <a:pt x="312" y="912"/>
                        </a:lnTo>
                        <a:lnTo>
                          <a:pt x="318" y="900"/>
                        </a:lnTo>
                        <a:lnTo>
                          <a:pt x="318" y="894"/>
                        </a:lnTo>
                        <a:lnTo>
                          <a:pt x="324" y="888"/>
                        </a:lnTo>
                        <a:lnTo>
                          <a:pt x="324" y="882"/>
                        </a:lnTo>
                        <a:lnTo>
                          <a:pt x="342" y="858"/>
                        </a:lnTo>
                        <a:lnTo>
                          <a:pt x="336" y="840"/>
                        </a:lnTo>
                        <a:lnTo>
                          <a:pt x="330" y="852"/>
                        </a:lnTo>
                        <a:lnTo>
                          <a:pt x="312" y="870"/>
                        </a:lnTo>
                        <a:lnTo>
                          <a:pt x="300" y="894"/>
                        </a:lnTo>
                        <a:lnTo>
                          <a:pt x="300" y="90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47" name="Swaziland"/>
                  <p:cNvSpPr>
                    <a:spLocks/>
                  </p:cNvSpPr>
                  <p:nvPr/>
                </p:nvSpPr>
                <p:spPr bwMode="gray">
                  <a:xfrm>
                    <a:off x="3203" y="2840"/>
                    <a:ext cx="26" cy="34"/>
                  </a:xfrm>
                  <a:custGeom>
                    <a:avLst/>
                    <a:gdLst>
                      <a:gd name="T0" fmla="*/ 2147483647 w 102"/>
                      <a:gd name="T1" fmla="*/ 2147483647 h 132"/>
                      <a:gd name="T2" fmla="*/ 2147483647 w 102"/>
                      <a:gd name="T3" fmla="*/ 2147483647 h 132"/>
                      <a:gd name="T4" fmla="*/ 2147483647 w 102"/>
                      <a:gd name="T5" fmla="*/ 2147483647 h 132"/>
                      <a:gd name="T6" fmla="*/ 2147483647 w 102"/>
                      <a:gd name="T7" fmla="*/ 2147483647 h 132"/>
                      <a:gd name="T8" fmla="*/ 2147483647 w 102"/>
                      <a:gd name="T9" fmla="*/ 2147483647 h 132"/>
                      <a:gd name="T10" fmla="*/ 2147483647 w 102"/>
                      <a:gd name="T11" fmla="*/ 0 h 132"/>
                      <a:gd name="T12" fmla="*/ 2147483647 w 102"/>
                      <a:gd name="T13" fmla="*/ 0 h 132"/>
                      <a:gd name="T14" fmla="*/ 2147483647 w 102"/>
                      <a:gd name="T15" fmla="*/ 2147483647 h 132"/>
                      <a:gd name="T16" fmla="*/ 2147483647 w 102"/>
                      <a:gd name="T17" fmla="*/ 2147483647 h 132"/>
                      <a:gd name="T18" fmla="*/ 2147483647 w 102"/>
                      <a:gd name="T19" fmla="*/ 2147483647 h 132"/>
                      <a:gd name="T20" fmla="*/ 2147483647 w 102"/>
                      <a:gd name="T21" fmla="*/ 2147483647 h 132"/>
                      <a:gd name="T22" fmla="*/ 0 w 102"/>
                      <a:gd name="T23" fmla="*/ 2147483647 h 132"/>
                      <a:gd name="T24" fmla="*/ 0 w 102"/>
                      <a:gd name="T25" fmla="*/ 2147483647 h 132"/>
                      <a:gd name="T26" fmla="*/ 2147483647 w 102"/>
                      <a:gd name="T27" fmla="*/ 2147483647 h 132"/>
                      <a:gd name="T28" fmla="*/ 2147483647 w 102"/>
                      <a:gd name="T29" fmla="*/ 2147483647 h 132"/>
                      <a:gd name="T30" fmla="*/ 2147483647 w 102"/>
                      <a:gd name="T31" fmla="*/ 2147483647 h 132"/>
                      <a:gd name="T32" fmla="*/ 2147483647 w 102"/>
                      <a:gd name="T33" fmla="*/ 2147483647 h 132"/>
                      <a:gd name="T34" fmla="*/ 2147483647 w 102"/>
                      <a:gd name="T35" fmla="*/ 2147483647 h 132"/>
                      <a:gd name="T36" fmla="*/ 2147483647 w 102"/>
                      <a:gd name="T37" fmla="*/ 2147483647 h 132"/>
                      <a:gd name="T38" fmla="*/ 2147483647 w 102"/>
                      <a:gd name="T39" fmla="*/ 2147483647 h 132"/>
                      <a:gd name="T40" fmla="*/ 2147483647 w 102"/>
                      <a:gd name="T41" fmla="*/ 2147483647 h 132"/>
                      <a:gd name="T42" fmla="*/ 2147483647 w 102"/>
                      <a:gd name="T43" fmla="*/ 2147483647 h 132"/>
                      <a:gd name="T44" fmla="*/ 2147483647 w 102"/>
                      <a:gd name="T45" fmla="*/ 2147483647 h 132"/>
                      <a:gd name="T46" fmla="*/ 2147483647 w 102"/>
                      <a:gd name="T47" fmla="*/ 2147483647 h 132"/>
                      <a:gd name="T48" fmla="*/ 2147483647 w 102"/>
                      <a:gd name="T49" fmla="*/ 2147483647 h 1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2"/>
                      <a:gd name="T76" fmla="*/ 0 h 132"/>
                      <a:gd name="T77" fmla="*/ 102 w 102"/>
                      <a:gd name="T78" fmla="*/ 132 h 13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2" h="132">
                        <a:moveTo>
                          <a:pt x="84" y="54"/>
                        </a:moveTo>
                        <a:lnTo>
                          <a:pt x="84" y="30"/>
                        </a:lnTo>
                        <a:lnTo>
                          <a:pt x="90" y="18"/>
                        </a:lnTo>
                        <a:lnTo>
                          <a:pt x="66" y="18"/>
                        </a:lnTo>
                        <a:lnTo>
                          <a:pt x="54" y="6"/>
                        </a:lnTo>
                        <a:lnTo>
                          <a:pt x="42" y="0"/>
                        </a:lnTo>
                        <a:lnTo>
                          <a:pt x="36" y="0"/>
                        </a:lnTo>
                        <a:lnTo>
                          <a:pt x="24" y="12"/>
                        </a:lnTo>
                        <a:lnTo>
                          <a:pt x="18" y="24"/>
                        </a:lnTo>
                        <a:lnTo>
                          <a:pt x="18" y="36"/>
                        </a:lnTo>
                        <a:lnTo>
                          <a:pt x="6" y="48"/>
                        </a:lnTo>
                        <a:lnTo>
                          <a:pt x="0" y="60"/>
                        </a:lnTo>
                        <a:lnTo>
                          <a:pt x="0" y="84"/>
                        </a:lnTo>
                        <a:lnTo>
                          <a:pt x="12" y="108"/>
                        </a:lnTo>
                        <a:lnTo>
                          <a:pt x="24" y="114"/>
                        </a:lnTo>
                        <a:lnTo>
                          <a:pt x="36" y="126"/>
                        </a:lnTo>
                        <a:lnTo>
                          <a:pt x="54" y="126"/>
                        </a:lnTo>
                        <a:lnTo>
                          <a:pt x="66" y="132"/>
                        </a:lnTo>
                        <a:lnTo>
                          <a:pt x="78" y="132"/>
                        </a:lnTo>
                        <a:lnTo>
                          <a:pt x="90" y="90"/>
                        </a:lnTo>
                        <a:lnTo>
                          <a:pt x="96" y="90"/>
                        </a:lnTo>
                        <a:lnTo>
                          <a:pt x="102" y="84"/>
                        </a:lnTo>
                        <a:lnTo>
                          <a:pt x="96" y="60"/>
                        </a:lnTo>
                        <a:lnTo>
                          <a:pt x="90" y="60"/>
                        </a:lnTo>
                        <a:lnTo>
                          <a:pt x="84" y="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48" name="Suriname"/>
                  <p:cNvSpPr>
                    <a:spLocks/>
                  </p:cNvSpPr>
                  <p:nvPr/>
                </p:nvSpPr>
                <p:spPr bwMode="gray">
                  <a:xfrm>
                    <a:off x="1596" y="2187"/>
                    <a:ext cx="75" cy="86"/>
                  </a:xfrm>
                  <a:custGeom>
                    <a:avLst/>
                    <a:gdLst>
                      <a:gd name="T0" fmla="*/ 2147483647 w 294"/>
                      <a:gd name="T1" fmla="*/ 2147483647 h 336"/>
                      <a:gd name="T2" fmla="*/ 2147483647 w 294"/>
                      <a:gd name="T3" fmla="*/ 2147483647 h 336"/>
                      <a:gd name="T4" fmla="*/ 2147483647 w 294"/>
                      <a:gd name="T5" fmla="*/ 2147483647 h 336"/>
                      <a:gd name="T6" fmla="*/ 0 w 294"/>
                      <a:gd name="T7" fmla="*/ 2147483647 h 336"/>
                      <a:gd name="T8" fmla="*/ 2147483647 w 294"/>
                      <a:gd name="T9" fmla="*/ 2147483647 h 336"/>
                      <a:gd name="T10" fmla="*/ 2147483647 w 294"/>
                      <a:gd name="T11" fmla="*/ 2147483647 h 336"/>
                      <a:gd name="T12" fmla="*/ 2147483647 w 294"/>
                      <a:gd name="T13" fmla="*/ 2147483647 h 336"/>
                      <a:gd name="T14" fmla="*/ 2147483647 w 294"/>
                      <a:gd name="T15" fmla="*/ 2147483647 h 336"/>
                      <a:gd name="T16" fmla="*/ 2147483647 w 294"/>
                      <a:gd name="T17" fmla="*/ 2147483647 h 336"/>
                      <a:gd name="T18" fmla="*/ 2147483647 w 294"/>
                      <a:gd name="T19" fmla="*/ 2147483647 h 336"/>
                      <a:gd name="T20" fmla="*/ 2147483647 w 294"/>
                      <a:gd name="T21" fmla="*/ 2147483647 h 336"/>
                      <a:gd name="T22" fmla="*/ 2147483647 w 294"/>
                      <a:gd name="T23" fmla="*/ 2147483647 h 336"/>
                      <a:gd name="T24" fmla="*/ 2147483647 w 294"/>
                      <a:gd name="T25" fmla="*/ 2147483647 h 336"/>
                      <a:gd name="T26" fmla="*/ 2147483647 w 294"/>
                      <a:gd name="T27" fmla="*/ 2147483647 h 336"/>
                      <a:gd name="T28" fmla="*/ 2147483647 w 294"/>
                      <a:gd name="T29" fmla="*/ 2147483647 h 336"/>
                      <a:gd name="T30" fmla="*/ 2147483647 w 294"/>
                      <a:gd name="T31" fmla="*/ 2147483647 h 336"/>
                      <a:gd name="T32" fmla="*/ 2147483647 w 294"/>
                      <a:gd name="T33" fmla="*/ 2147483647 h 336"/>
                      <a:gd name="T34" fmla="*/ 2147483647 w 294"/>
                      <a:gd name="T35" fmla="*/ 2147483647 h 336"/>
                      <a:gd name="T36" fmla="*/ 2147483647 w 294"/>
                      <a:gd name="T37" fmla="*/ 2147483647 h 336"/>
                      <a:gd name="T38" fmla="*/ 2147483647 w 294"/>
                      <a:gd name="T39" fmla="*/ 2147483647 h 336"/>
                      <a:gd name="T40" fmla="*/ 2147483647 w 294"/>
                      <a:gd name="T41" fmla="*/ 2147483647 h 336"/>
                      <a:gd name="T42" fmla="*/ 2147483647 w 294"/>
                      <a:gd name="T43" fmla="*/ 2147483647 h 336"/>
                      <a:gd name="T44" fmla="*/ 2147483647 w 294"/>
                      <a:gd name="T45" fmla="*/ 2147483647 h 336"/>
                      <a:gd name="T46" fmla="*/ 2147483647 w 294"/>
                      <a:gd name="T47" fmla="*/ 2147483647 h 336"/>
                      <a:gd name="T48" fmla="*/ 2147483647 w 294"/>
                      <a:gd name="T49" fmla="*/ 2147483647 h 336"/>
                      <a:gd name="T50" fmla="*/ 2147483647 w 294"/>
                      <a:gd name="T51" fmla="*/ 2147483647 h 336"/>
                      <a:gd name="T52" fmla="*/ 2147483647 w 294"/>
                      <a:gd name="T53" fmla="*/ 2147483647 h 336"/>
                      <a:gd name="T54" fmla="*/ 2147483647 w 294"/>
                      <a:gd name="T55" fmla="*/ 2147483647 h 336"/>
                      <a:gd name="T56" fmla="*/ 2147483647 w 294"/>
                      <a:gd name="T57" fmla="*/ 2147483647 h 336"/>
                      <a:gd name="T58" fmla="*/ 2147483647 w 294"/>
                      <a:gd name="T59" fmla="*/ 2147483647 h 336"/>
                      <a:gd name="T60" fmla="*/ 2147483647 w 294"/>
                      <a:gd name="T61" fmla="*/ 2147483647 h 336"/>
                      <a:gd name="T62" fmla="*/ 2147483647 w 294"/>
                      <a:gd name="T63" fmla="*/ 2147483647 h 336"/>
                      <a:gd name="T64" fmla="*/ 2147483647 w 294"/>
                      <a:gd name="T65" fmla="*/ 2147483647 h 336"/>
                      <a:gd name="T66" fmla="*/ 2147483647 w 294"/>
                      <a:gd name="T67" fmla="*/ 2147483647 h 336"/>
                      <a:gd name="T68" fmla="*/ 2147483647 w 294"/>
                      <a:gd name="T69" fmla="*/ 2147483647 h 336"/>
                      <a:gd name="T70" fmla="*/ 2147483647 w 294"/>
                      <a:gd name="T71" fmla="*/ 0 h 336"/>
                      <a:gd name="T72" fmla="*/ 2147483647 w 294"/>
                      <a:gd name="T73" fmla="*/ 2147483647 h 336"/>
                      <a:gd name="T74" fmla="*/ 2147483647 w 294"/>
                      <a:gd name="T75" fmla="*/ 2147483647 h 336"/>
                      <a:gd name="T76" fmla="*/ 2147483647 w 294"/>
                      <a:gd name="T77" fmla="*/ 2147483647 h 336"/>
                      <a:gd name="T78" fmla="*/ 2147483647 w 294"/>
                      <a:gd name="T79" fmla="*/ 2147483647 h 336"/>
                      <a:gd name="T80" fmla="*/ 2147483647 w 294"/>
                      <a:gd name="T81" fmla="*/ 2147483647 h 336"/>
                      <a:gd name="T82" fmla="*/ 2147483647 w 294"/>
                      <a:gd name="T83" fmla="*/ 2147483647 h 3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94"/>
                      <a:gd name="T127" fmla="*/ 0 h 336"/>
                      <a:gd name="T128" fmla="*/ 294 w 294"/>
                      <a:gd name="T129" fmla="*/ 336 h 3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94" h="336">
                        <a:moveTo>
                          <a:pt x="60" y="78"/>
                        </a:moveTo>
                        <a:lnTo>
                          <a:pt x="30" y="78"/>
                        </a:lnTo>
                        <a:lnTo>
                          <a:pt x="18" y="84"/>
                        </a:lnTo>
                        <a:lnTo>
                          <a:pt x="12" y="90"/>
                        </a:lnTo>
                        <a:lnTo>
                          <a:pt x="12" y="132"/>
                        </a:lnTo>
                        <a:lnTo>
                          <a:pt x="6" y="138"/>
                        </a:lnTo>
                        <a:lnTo>
                          <a:pt x="0" y="150"/>
                        </a:lnTo>
                        <a:lnTo>
                          <a:pt x="0" y="162"/>
                        </a:lnTo>
                        <a:lnTo>
                          <a:pt x="6" y="168"/>
                        </a:lnTo>
                        <a:lnTo>
                          <a:pt x="6" y="174"/>
                        </a:lnTo>
                        <a:lnTo>
                          <a:pt x="12" y="174"/>
                        </a:lnTo>
                        <a:lnTo>
                          <a:pt x="12" y="186"/>
                        </a:lnTo>
                        <a:lnTo>
                          <a:pt x="18" y="198"/>
                        </a:lnTo>
                        <a:lnTo>
                          <a:pt x="24" y="204"/>
                        </a:lnTo>
                        <a:lnTo>
                          <a:pt x="30" y="216"/>
                        </a:lnTo>
                        <a:lnTo>
                          <a:pt x="42" y="216"/>
                        </a:lnTo>
                        <a:lnTo>
                          <a:pt x="42" y="210"/>
                        </a:lnTo>
                        <a:lnTo>
                          <a:pt x="54" y="198"/>
                        </a:lnTo>
                        <a:lnTo>
                          <a:pt x="54" y="216"/>
                        </a:lnTo>
                        <a:lnTo>
                          <a:pt x="48" y="222"/>
                        </a:lnTo>
                        <a:lnTo>
                          <a:pt x="48" y="246"/>
                        </a:lnTo>
                        <a:lnTo>
                          <a:pt x="54" y="258"/>
                        </a:lnTo>
                        <a:lnTo>
                          <a:pt x="72" y="276"/>
                        </a:lnTo>
                        <a:lnTo>
                          <a:pt x="78" y="294"/>
                        </a:lnTo>
                        <a:lnTo>
                          <a:pt x="84" y="306"/>
                        </a:lnTo>
                        <a:lnTo>
                          <a:pt x="90" y="312"/>
                        </a:lnTo>
                        <a:lnTo>
                          <a:pt x="90" y="318"/>
                        </a:lnTo>
                        <a:lnTo>
                          <a:pt x="102" y="324"/>
                        </a:lnTo>
                        <a:lnTo>
                          <a:pt x="108" y="324"/>
                        </a:lnTo>
                        <a:lnTo>
                          <a:pt x="132" y="336"/>
                        </a:lnTo>
                        <a:lnTo>
                          <a:pt x="150" y="336"/>
                        </a:lnTo>
                        <a:lnTo>
                          <a:pt x="156" y="330"/>
                        </a:lnTo>
                        <a:lnTo>
                          <a:pt x="150" y="324"/>
                        </a:lnTo>
                        <a:lnTo>
                          <a:pt x="150" y="318"/>
                        </a:lnTo>
                        <a:lnTo>
                          <a:pt x="138" y="306"/>
                        </a:lnTo>
                        <a:lnTo>
                          <a:pt x="138" y="282"/>
                        </a:lnTo>
                        <a:lnTo>
                          <a:pt x="150" y="276"/>
                        </a:lnTo>
                        <a:lnTo>
                          <a:pt x="156" y="276"/>
                        </a:lnTo>
                        <a:lnTo>
                          <a:pt x="156" y="288"/>
                        </a:lnTo>
                        <a:lnTo>
                          <a:pt x="180" y="288"/>
                        </a:lnTo>
                        <a:lnTo>
                          <a:pt x="192" y="282"/>
                        </a:lnTo>
                        <a:lnTo>
                          <a:pt x="198" y="276"/>
                        </a:lnTo>
                        <a:lnTo>
                          <a:pt x="210" y="270"/>
                        </a:lnTo>
                        <a:lnTo>
                          <a:pt x="216" y="270"/>
                        </a:lnTo>
                        <a:lnTo>
                          <a:pt x="222" y="282"/>
                        </a:lnTo>
                        <a:lnTo>
                          <a:pt x="228" y="288"/>
                        </a:lnTo>
                        <a:lnTo>
                          <a:pt x="246" y="294"/>
                        </a:lnTo>
                        <a:lnTo>
                          <a:pt x="252" y="282"/>
                        </a:lnTo>
                        <a:lnTo>
                          <a:pt x="258" y="276"/>
                        </a:lnTo>
                        <a:lnTo>
                          <a:pt x="258" y="264"/>
                        </a:lnTo>
                        <a:lnTo>
                          <a:pt x="264" y="264"/>
                        </a:lnTo>
                        <a:lnTo>
                          <a:pt x="276" y="258"/>
                        </a:lnTo>
                        <a:lnTo>
                          <a:pt x="270" y="222"/>
                        </a:lnTo>
                        <a:lnTo>
                          <a:pt x="288" y="204"/>
                        </a:lnTo>
                        <a:lnTo>
                          <a:pt x="288" y="198"/>
                        </a:lnTo>
                        <a:lnTo>
                          <a:pt x="282" y="186"/>
                        </a:lnTo>
                        <a:lnTo>
                          <a:pt x="264" y="168"/>
                        </a:lnTo>
                        <a:lnTo>
                          <a:pt x="258" y="156"/>
                        </a:lnTo>
                        <a:lnTo>
                          <a:pt x="258" y="144"/>
                        </a:lnTo>
                        <a:lnTo>
                          <a:pt x="252" y="126"/>
                        </a:lnTo>
                        <a:lnTo>
                          <a:pt x="252" y="96"/>
                        </a:lnTo>
                        <a:lnTo>
                          <a:pt x="258" y="78"/>
                        </a:lnTo>
                        <a:lnTo>
                          <a:pt x="264" y="66"/>
                        </a:lnTo>
                        <a:lnTo>
                          <a:pt x="276" y="60"/>
                        </a:lnTo>
                        <a:lnTo>
                          <a:pt x="282" y="54"/>
                        </a:lnTo>
                        <a:lnTo>
                          <a:pt x="288" y="54"/>
                        </a:lnTo>
                        <a:lnTo>
                          <a:pt x="288" y="30"/>
                        </a:lnTo>
                        <a:lnTo>
                          <a:pt x="294" y="12"/>
                        </a:lnTo>
                        <a:lnTo>
                          <a:pt x="288" y="12"/>
                        </a:lnTo>
                        <a:lnTo>
                          <a:pt x="282" y="6"/>
                        </a:lnTo>
                        <a:lnTo>
                          <a:pt x="270" y="6"/>
                        </a:lnTo>
                        <a:lnTo>
                          <a:pt x="252" y="0"/>
                        </a:lnTo>
                        <a:lnTo>
                          <a:pt x="210" y="0"/>
                        </a:lnTo>
                        <a:lnTo>
                          <a:pt x="204" y="12"/>
                        </a:lnTo>
                        <a:lnTo>
                          <a:pt x="156" y="6"/>
                        </a:lnTo>
                        <a:lnTo>
                          <a:pt x="156" y="18"/>
                        </a:lnTo>
                        <a:lnTo>
                          <a:pt x="96" y="0"/>
                        </a:lnTo>
                        <a:lnTo>
                          <a:pt x="72" y="6"/>
                        </a:lnTo>
                        <a:lnTo>
                          <a:pt x="66" y="18"/>
                        </a:lnTo>
                        <a:lnTo>
                          <a:pt x="60" y="24"/>
                        </a:lnTo>
                        <a:lnTo>
                          <a:pt x="54" y="36"/>
                        </a:lnTo>
                        <a:lnTo>
                          <a:pt x="54" y="48"/>
                        </a:lnTo>
                        <a:lnTo>
                          <a:pt x="66" y="60"/>
                        </a:lnTo>
                        <a:lnTo>
                          <a:pt x="66" y="72"/>
                        </a:lnTo>
                        <a:lnTo>
                          <a:pt x="60" y="7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49" name="Sudan"/>
                  <p:cNvSpPr>
                    <a:spLocks/>
                  </p:cNvSpPr>
                  <p:nvPr/>
                </p:nvSpPr>
                <p:spPr bwMode="gray">
                  <a:xfrm>
                    <a:off x="3049" y="1834"/>
                    <a:ext cx="298" cy="405"/>
                  </a:xfrm>
                  <a:custGeom>
                    <a:avLst/>
                    <a:gdLst>
                      <a:gd name="T0" fmla="*/ 2147483647 w 1164"/>
                      <a:gd name="T1" fmla="*/ 2147483647 h 1584"/>
                      <a:gd name="T2" fmla="*/ 2147483647 w 1164"/>
                      <a:gd name="T3" fmla="*/ 2147483647 h 1584"/>
                      <a:gd name="T4" fmla="*/ 2147483647 w 1164"/>
                      <a:gd name="T5" fmla="*/ 2147483647 h 1584"/>
                      <a:gd name="T6" fmla="*/ 2147483647 w 1164"/>
                      <a:gd name="T7" fmla="*/ 2147483647 h 1584"/>
                      <a:gd name="T8" fmla="*/ 2147483647 w 1164"/>
                      <a:gd name="T9" fmla="*/ 2147483647 h 1584"/>
                      <a:gd name="T10" fmla="*/ 2147483647 w 1164"/>
                      <a:gd name="T11" fmla="*/ 2147483647 h 1584"/>
                      <a:gd name="T12" fmla="*/ 2147483647 w 1164"/>
                      <a:gd name="T13" fmla="*/ 2147483647 h 1584"/>
                      <a:gd name="T14" fmla="*/ 2147483647 w 1164"/>
                      <a:gd name="T15" fmla="*/ 2147483647 h 1584"/>
                      <a:gd name="T16" fmla="*/ 0 w 1164"/>
                      <a:gd name="T17" fmla="*/ 2147483647 h 1584"/>
                      <a:gd name="T18" fmla="*/ 2147483647 w 1164"/>
                      <a:gd name="T19" fmla="*/ 2147483647 h 1584"/>
                      <a:gd name="T20" fmla="*/ 2147483647 w 1164"/>
                      <a:gd name="T21" fmla="*/ 2147483647 h 1584"/>
                      <a:gd name="T22" fmla="*/ 2147483647 w 1164"/>
                      <a:gd name="T23" fmla="*/ 2147483647 h 1584"/>
                      <a:gd name="T24" fmla="*/ 2147483647 w 1164"/>
                      <a:gd name="T25" fmla="*/ 2147483647 h 1584"/>
                      <a:gd name="T26" fmla="*/ 2147483647 w 1164"/>
                      <a:gd name="T27" fmla="*/ 2147483647 h 1584"/>
                      <a:gd name="T28" fmla="*/ 2147483647 w 1164"/>
                      <a:gd name="T29" fmla="*/ 2147483647 h 1584"/>
                      <a:gd name="T30" fmla="*/ 2147483647 w 1164"/>
                      <a:gd name="T31" fmla="*/ 2147483647 h 1584"/>
                      <a:gd name="T32" fmla="*/ 2147483647 w 1164"/>
                      <a:gd name="T33" fmla="*/ 2147483647 h 1584"/>
                      <a:gd name="T34" fmla="*/ 2147483647 w 1164"/>
                      <a:gd name="T35" fmla="*/ 2147483647 h 1584"/>
                      <a:gd name="T36" fmla="*/ 2147483647 w 1164"/>
                      <a:gd name="T37" fmla="*/ 2147483647 h 1584"/>
                      <a:gd name="T38" fmla="*/ 2147483647 w 1164"/>
                      <a:gd name="T39" fmla="*/ 2147483647 h 1584"/>
                      <a:gd name="T40" fmla="*/ 2147483647 w 1164"/>
                      <a:gd name="T41" fmla="*/ 2147483647 h 1584"/>
                      <a:gd name="T42" fmla="*/ 2147483647 w 1164"/>
                      <a:gd name="T43" fmla="*/ 2147483647 h 1584"/>
                      <a:gd name="T44" fmla="*/ 2147483647 w 1164"/>
                      <a:gd name="T45" fmla="*/ 2147483647 h 1584"/>
                      <a:gd name="T46" fmla="*/ 2147483647 w 1164"/>
                      <a:gd name="T47" fmla="*/ 2147483647 h 1584"/>
                      <a:gd name="T48" fmla="*/ 2147483647 w 1164"/>
                      <a:gd name="T49" fmla="*/ 2147483647 h 1584"/>
                      <a:gd name="T50" fmla="*/ 2147483647 w 1164"/>
                      <a:gd name="T51" fmla="*/ 2147483647 h 1584"/>
                      <a:gd name="T52" fmla="*/ 2147483647 w 1164"/>
                      <a:gd name="T53" fmla="*/ 2147483647 h 1584"/>
                      <a:gd name="T54" fmla="*/ 2147483647 w 1164"/>
                      <a:gd name="T55" fmla="*/ 2147483647 h 1584"/>
                      <a:gd name="T56" fmla="*/ 2147483647 w 1164"/>
                      <a:gd name="T57" fmla="*/ 2147483647 h 1584"/>
                      <a:gd name="T58" fmla="*/ 2147483647 w 1164"/>
                      <a:gd name="T59" fmla="*/ 2147483647 h 1584"/>
                      <a:gd name="T60" fmla="*/ 2147483647 w 1164"/>
                      <a:gd name="T61" fmla="*/ 2147483647 h 1584"/>
                      <a:gd name="T62" fmla="*/ 2147483647 w 1164"/>
                      <a:gd name="T63" fmla="*/ 2147483647 h 1584"/>
                      <a:gd name="T64" fmla="*/ 2147483647 w 1164"/>
                      <a:gd name="T65" fmla="*/ 2147483647 h 1584"/>
                      <a:gd name="T66" fmla="*/ 2147483647 w 1164"/>
                      <a:gd name="T67" fmla="*/ 2147483647 h 1584"/>
                      <a:gd name="T68" fmla="*/ 2147483647 w 1164"/>
                      <a:gd name="T69" fmla="*/ 2147483647 h 1584"/>
                      <a:gd name="T70" fmla="*/ 2147483647 w 1164"/>
                      <a:gd name="T71" fmla="*/ 2147483647 h 1584"/>
                      <a:gd name="T72" fmla="*/ 2147483647 w 1164"/>
                      <a:gd name="T73" fmla="*/ 2147483647 h 1584"/>
                      <a:gd name="T74" fmla="*/ 2147483647 w 1164"/>
                      <a:gd name="T75" fmla="*/ 2147483647 h 1584"/>
                      <a:gd name="T76" fmla="*/ 2147483647 w 1164"/>
                      <a:gd name="T77" fmla="*/ 2147483647 h 1584"/>
                      <a:gd name="T78" fmla="*/ 2147483647 w 1164"/>
                      <a:gd name="T79" fmla="*/ 2147483647 h 1584"/>
                      <a:gd name="T80" fmla="*/ 2147483647 w 1164"/>
                      <a:gd name="T81" fmla="*/ 2147483647 h 1584"/>
                      <a:gd name="T82" fmla="*/ 2147483647 w 1164"/>
                      <a:gd name="T83" fmla="*/ 2147483647 h 1584"/>
                      <a:gd name="T84" fmla="*/ 2147483647 w 1164"/>
                      <a:gd name="T85" fmla="*/ 2147483647 h 1584"/>
                      <a:gd name="T86" fmla="*/ 2147483647 w 1164"/>
                      <a:gd name="T87" fmla="*/ 2147483647 h 1584"/>
                      <a:gd name="T88" fmla="*/ 2147483647 w 1164"/>
                      <a:gd name="T89" fmla="*/ 2147483647 h 1584"/>
                      <a:gd name="T90" fmla="*/ 2147483647 w 1164"/>
                      <a:gd name="T91" fmla="*/ 2147483647 h 1584"/>
                      <a:gd name="T92" fmla="*/ 2147483647 w 1164"/>
                      <a:gd name="T93" fmla="*/ 2147483647 h 1584"/>
                      <a:gd name="T94" fmla="*/ 2147483647 w 1164"/>
                      <a:gd name="T95" fmla="*/ 2147483647 h 1584"/>
                      <a:gd name="T96" fmla="*/ 2147483647 w 1164"/>
                      <a:gd name="T97" fmla="*/ 2147483647 h 1584"/>
                      <a:gd name="T98" fmla="*/ 2147483647 w 1164"/>
                      <a:gd name="T99" fmla="*/ 2147483647 h 1584"/>
                      <a:gd name="T100" fmla="*/ 2147483647 w 1164"/>
                      <a:gd name="T101" fmla="*/ 2147483647 h 1584"/>
                      <a:gd name="T102" fmla="*/ 2147483647 w 1164"/>
                      <a:gd name="T103" fmla="*/ 2147483647 h 1584"/>
                      <a:gd name="T104" fmla="*/ 2147483647 w 1164"/>
                      <a:gd name="T105" fmla="*/ 2147483647 h 1584"/>
                      <a:gd name="T106" fmla="*/ 2147483647 w 1164"/>
                      <a:gd name="T107" fmla="*/ 2147483647 h 1584"/>
                      <a:gd name="T108" fmla="*/ 2147483647 w 1164"/>
                      <a:gd name="T109" fmla="*/ 2147483647 h 1584"/>
                      <a:gd name="T110" fmla="*/ 2147483647 w 1164"/>
                      <a:gd name="T111" fmla="*/ 2147483647 h 158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164"/>
                      <a:gd name="T169" fmla="*/ 0 h 1584"/>
                      <a:gd name="T170" fmla="*/ 1164 w 1164"/>
                      <a:gd name="T171" fmla="*/ 1584 h 158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164" h="1584">
                        <a:moveTo>
                          <a:pt x="894" y="24"/>
                        </a:moveTo>
                        <a:lnTo>
                          <a:pt x="894" y="48"/>
                        </a:lnTo>
                        <a:lnTo>
                          <a:pt x="888" y="60"/>
                        </a:lnTo>
                        <a:lnTo>
                          <a:pt x="882" y="66"/>
                        </a:lnTo>
                        <a:lnTo>
                          <a:pt x="864" y="66"/>
                        </a:lnTo>
                        <a:lnTo>
                          <a:pt x="858" y="72"/>
                        </a:lnTo>
                        <a:lnTo>
                          <a:pt x="846" y="72"/>
                        </a:lnTo>
                        <a:lnTo>
                          <a:pt x="834" y="84"/>
                        </a:lnTo>
                        <a:lnTo>
                          <a:pt x="822" y="108"/>
                        </a:lnTo>
                        <a:lnTo>
                          <a:pt x="816" y="114"/>
                        </a:lnTo>
                        <a:lnTo>
                          <a:pt x="798" y="114"/>
                        </a:lnTo>
                        <a:lnTo>
                          <a:pt x="792" y="108"/>
                        </a:lnTo>
                        <a:lnTo>
                          <a:pt x="786" y="96"/>
                        </a:lnTo>
                        <a:lnTo>
                          <a:pt x="780" y="90"/>
                        </a:lnTo>
                        <a:lnTo>
                          <a:pt x="660" y="84"/>
                        </a:lnTo>
                        <a:lnTo>
                          <a:pt x="660" y="72"/>
                        </a:lnTo>
                        <a:lnTo>
                          <a:pt x="654" y="72"/>
                        </a:lnTo>
                        <a:lnTo>
                          <a:pt x="636" y="90"/>
                        </a:lnTo>
                        <a:lnTo>
                          <a:pt x="210" y="84"/>
                        </a:lnTo>
                        <a:lnTo>
                          <a:pt x="210" y="246"/>
                        </a:lnTo>
                        <a:lnTo>
                          <a:pt x="138" y="246"/>
                        </a:lnTo>
                        <a:lnTo>
                          <a:pt x="144" y="600"/>
                        </a:lnTo>
                        <a:lnTo>
                          <a:pt x="132" y="600"/>
                        </a:lnTo>
                        <a:lnTo>
                          <a:pt x="120" y="594"/>
                        </a:lnTo>
                        <a:lnTo>
                          <a:pt x="78" y="594"/>
                        </a:lnTo>
                        <a:lnTo>
                          <a:pt x="66" y="606"/>
                        </a:lnTo>
                        <a:lnTo>
                          <a:pt x="72" y="612"/>
                        </a:lnTo>
                        <a:lnTo>
                          <a:pt x="72" y="624"/>
                        </a:lnTo>
                        <a:lnTo>
                          <a:pt x="78" y="630"/>
                        </a:lnTo>
                        <a:lnTo>
                          <a:pt x="78" y="636"/>
                        </a:lnTo>
                        <a:lnTo>
                          <a:pt x="72" y="642"/>
                        </a:lnTo>
                        <a:lnTo>
                          <a:pt x="60" y="648"/>
                        </a:lnTo>
                        <a:lnTo>
                          <a:pt x="48" y="660"/>
                        </a:lnTo>
                        <a:lnTo>
                          <a:pt x="48" y="678"/>
                        </a:lnTo>
                        <a:lnTo>
                          <a:pt x="36" y="678"/>
                        </a:lnTo>
                        <a:lnTo>
                          <a:pt x="42" y="702"/>
                        </a:lnTo>
                        <a:lnTo>
                          <a:pt x="48" y="720"/>
                        </a:lnTo>
                        <a:lnTo>
                          <a:pt x="30" y="732"/>
                        </a:lnTo>
                        <a:lnTo>
                          <a:pt x="12" y="750"/>
                        </a:lnTo>
                        <a:lnTo>
                          <a:pt x="18" y="756"/>
                        </a:lnTo>
                        <a:lnTo>
                          <a:pt x="30" y="780"/>
                        </a:lnTo>
                        <a:lnTo>
                          <a:pt x="30" y="792"/>
                        </a:lnTo>
                        <a:lnTo>
                          <a:pt x="18" y="804"/>
                        </a:lnTo>
                        <a:lnTo>
                          <a:pt x="6" y="810"/>
                        </a:lnTo>
                        <a:lnTo>
                          <a:pt x="0" y="822"/>
                        </a:lnTo>
                        <a:lnTo>
                          <a:pt x="0" y="840"/>
                        </a:lnTo>
                        <a:lnTo>
                          <a:pt x="6" y="846"/>
                        </a:lnTo>
                        <a:lnTo>
                          <a:pt x="18" y="846"/>
                        </a:lnTo>
                        <a:lnTo>
                          <a:pt x="24" y="840"/>
                        </a:lnTo>
                        <a:lnTo>
                          <a:pt x="36" y="840"/>
                        </a:lnTo>
                        <a:lnTo>
                          <a:pt x="42" y="846"/>
                        </a:lnTo>
                        <a:lnTo>
                          <a:pt x="42" y="888"/>
                        </a:lnTo>
                        <a:lnTo>
                          <a:pt x="60" y="900"/>
                        </a:lnTo>
                        <a:lnTo>
                          <a:pt x="42" y="906"/>
                        </a:lnTo>
                        <a:lnTo>
                          <a:pt x="48" y="930"/>
                        </a:lnTo>
                        <a:lnTo>
                          <a:pt x="54" y="930"/>
                        </a:lnTo>
                        <a:lnTo>
                          <a:pt x="66" y="936"/>
                        </a:lnTo>
                        <a:lnTo>
                          <a:pt x="78" y="954"/>
                        </a:lnTo>
                        <a:lnTo>
                          <a:pt x="84" y="960"/>
                        </a:lnTo>
                        <a:lnTo>
                          <a:pt x="84" y="966"/>
                        </a:lnTo>
                        <a:lnTo>
                          <a:pt x="72" y="966"/>
                        </a:lnTo>
                        <a:lnTo>
                          <a:pt x="72" y="990"/>
                        </a:lnTo>
                        <a:lnTo>
                          <a:pt x="102" y="1020"/>
                        </a:lnTo>
                        <a:lnTo>
                          <a:pt x="108" y="1032"/>
                        </a:lnTo>
                        <a:lnTo>
                          <a:pt x="120" y="1044"/>
                        </a:lnTo>
                        <a:lnTo>
                          <a:pt x="126" y="1062"/>
                        </a:lnTo>
                        <a:lnTo>
                          <a:pt x="132" y="1074"/>
                        </a:lnTo>
                        <a:lnTo>
                          <a:pt x="132" y="1104"/>
                        </a:lnTo>
                        <a:lnTo>
                          <a:pt x="126" y="1110"/>
                        </a:lnTo>
                        <a:lnTo>
                          <a:pt x="120" y="1122"/>
                        </a:lnTo>
                        <a:lnTo>
                          <a:pt x="114" y="1128"/>
                        </a:lnTo>
                        <a:lnTo>
                          <a:pt x="114" y="1134"/>
                        </a:lnTo>
                        <a:lnTo>
                          <a:pt x="120" y="1140"/>
                        </a:lnTo>
                        <a:lnTo>
                          <a:pt x="126" y="1140"/>
                        </a:lnTo>
                        <a:lnTo>
                          <a:pt x="120" y="1158"/>
                        </a:lnTo>
                        <a:lnTo>
                          <a:pt x="168" y="1164"/>
                        </a:lnTo>
                        <a:lnTo>
                          <a:pt x="168" y="1194"/>
                        </a:lnTo>
                        <a:lnTo>
                          <a:pt x="192" y="1206"/>
                        </a:lnTo>
                        <a:lnTo>
                          <a:pt x="222" y="1206"/>
                        </a:lnTo>
                        <a:lnTo>
                          <a:pt x="222" y="1224"/>
                        </a:lnTo>
                        <a:lnTo>
                          <a:pt x="228" y="1224"/>
                        </a:lnTo>
                        <a:lnTo>
                          <a:pt x="240" y="1230"/>
                        </a:lnTo>
                        <a:lnTo>
                          <a:pt x="252" y="1242"/>
                        </a:lnTo>
                        <a:lnTo>
                          <a:pt x="252" y="1248"/>
                        </a:lnTo>
                        <a:lnTo>
                          <a:pt x="246" y="1248"/>
                        </a:lnTo>
                        <a:lnTo>
                          <a:pt x="246" y="1254"/>
                        </a:lnTo>
                        <a:lnTo>
                          <a:pt x="240" y="1254"/>
                        </a:lnTo>
                        <a:lnTo>
                          <a:pt x="240" y="1260"/>
                        </a:lnTo>
                        <a:lnTo>
                          <a:pt x="252" y="1272"/>
                        </a:lnTo>
                        <a:lnTo>
                          <a:pt x="264" y="1278"/>
                        </a:lnTo>
                        <a:lnTo>
                          <a:pt x="270" y="1278"/>
                        </a:lnTo>
                        <a:lnTo>
                          <a:pt x="282" y="1284"/>
                        </a:lnTo>
                        <a:lnTo>
                          <a:pt x="294" y="1296"/>
                        </a:lnTo>
                        <a:lnTo>
                          <a:pt x="300" y="1308"/>
                        </a:lnTo>
                        <a:lnTo>
                          <a:pt x="306" y="1314"/>
                        </a:lnTo>
                        <a:lnTo>
                          <a:pt x="306" y="1320"/>
                        </a:lnTo>
                        <a:lnTo>
                          <a:pt x="324" y="1320"/>
                        </a:lnTo>
                        <a:lnTo>
                          <a:pt x="330" y="1326"/>
                        </a:lnTo>
                        <a:lnTo>
                          <a:pt x="330" y="1338"/>
                        </a:lnTo>
                        <a:lnTo>
                          <a:pt x="318" y="1338"/>
                        </a:lnTo>
                        <a:lnTo>
                          <a:pt x="318" y="1344"/>
                        </a:lnTo>
                        <a:lnTo>
                          <a:pt x="330" y="1356"/>
                        </a:lnTo>
                        <a:lnTo>
                          <a:pt x="330" y="1374"/>
                        </a:lnTo>
                        <a:lnTo>
                          <a:pt x="354" y="1380"/>
                        </a:lnTo>
                        <a:lnTo>
                          <a:pt x="360" y="1386"/>
                        </a:lnTo>
                        <a:lnTo>
                          <a:pt x="372" y="1392"/>
                        </a:lnTo>
                        <a:lnTo>
                          <a:pt x="378" y="1398"/>
                        </a:lnTo>
                        <a:lnTo>
                          <a:pt x="384" y="1410"/>
                        </a:lnTo>
                        <a:lnTo>
                          <a:pt x="384" y="1434"/>
                        </a:lnTo>
                        <a:lnTo>
                          <a:pt x="390" y="1446"/>
                        </a:lnTo>
                        <a:lnTo>
                          <a:pt x="420" y="1470"/>
                        </a:lnTo>
                        <a:lnTo>
                          <a:pt x="420" y="1494"/>
                        </a:lnTo>
                        <a:lnTo>
                          <a:pt x="468" y="1518"/>
                        </a:lnTo>
                        <a:lnTo>
                          <a:pt x="474" y="1512"/>
                        </a:lnTo>
                        <a:lnTo>
                          <a:pt x="480" y="1500"/>
                        </a:lnTo>
                        <a:lnTo>
                          <a:pt x="486" y="1494"/>
                        </a:lnTo>
                        <a:lnTo>
                          <a:pt x="498" y="1494"/>
                        </a:lnTo>
                        <a:lnTo>
                          <a:pt x="510" y="1500"/>
                        </a:lnTo>
                        <a:lnTo>
                          <a:pt x="510" y="1506"/>
                        </a:lnTo>
                        <a:lnTo>
                          <a:pt x="522" y="1512"/>
                        </a:lnTo>
                        <a:lnTo>
                          <a:pt x="528" y="1512"/>
                        </a:lnTo>
                        <a:lnTo>
                          <a:pt x="540" y="1500"/>
                        </a:lnTo>
                        <a:lnTo>
                          <a:pt x="540" y="1494"/>
                        </a:lnTo>
                        <a:lnTo>
                          <a:pt x="552" y="1482"/>
                        </a:lnTo>
                        <a:lnTo>
                          <a:pt x="558" y="1488"/>
                        </a:lnTo>
                        <a:lnTo>
                          <a:pt x="570" y="1494"/>
                        </a:lnTo>
                        <a:lnTo>
                          <a:pt x="576" y="1512"/>
                        </a:lnTo>
                        <a:lnTo>
                          <a:pt x="582" y="1524"/>
                        </a:lnTo>
                        <a:lnTo>
                          <a:pt x="594" y="1536"/>
                        </a:lnTo>
                        <a:lnTo>
                          <a:pt x="606" y="1542"/>
                        </a:lnTo>
                        <a:lnTo>
                          <a:pt x="612" y="1548"/>
                        </a:lnTo>
                        <a:lnTo>
                          <a:pt x="618" y="1548"/>
                        </a:lnTo>
                        <a:lnTo>
                          <a:pt x="624" y="1572"/>
                        </a:lnTo>
                        <a:lnTo>
                          <a:pt x="642" y="1572"/>
                        </a:lnTo>
                        <a:lnTo>
                          <a:pt x="660" y="1554"/>
                        </a:lnTo>
                        <a:lnTo>
                          <a:pt x="672" y="1554"/>
                        </a:lnTo>
                        <a:lnTo>
                          <a:pt x="678" y="1560"/>
                        </a:lnTo>
                        <a:lnTo>
                          <a:pt x="690" y="1566"/>
                        </a:lnTo>
                        <a:lnTo>
                          <a:pt x="702" y="1566"/>
                        </a:lnTo>
                        <a:lnTo>
                          <a:pt x="702" y="1560"/>
                        </a:lnTo>
                        <a:lnTo>
                          <a:pt x="708" y="1554"/>
                        </a:lnTo>
                        <a:lnTo>
                          <a:pt x="714" y="1554"/>
                        </a:lnTo>
                        <a:lnTo>
                          <a:pt x="738" y="1584"/>
                        </a:lnTo>
                        <a:lnTo>
                          <a:pt x="756" y="1560"/>
                        </a:lnTo>
                        <a:lnTo>
                          <a:pt x="780" y="1560"/>
                        </a:lnTo>
                        <a:lnTo>
                          <a:pt x="792" y="1548"/>
                        </a:lnTo>
                        <a:lnTo>
                          <a:pt x="804" y="1548"/>
                        </a:lnTo>
                        <a:lnTo>
                          <a:pt x="804" y="1554"/>
                        </a:lnTo>
                        <a:lnTo>
                          <a:pt x="810" y="1560"/>
                        </a:lnTo>
                        <a:lnTo>
                          <a:pt x="834" y="1560"/>
                        </a:lnTo>
                        <a:lnTo>
                          <a:pt x="852" y="1542"/>
                        </a:lnTo>
                        <a:lnTo>
                          <a:pt x="852" y="1536"/>
                        </a:lnTo>
                        <a:lnTo>
                          <a:pt x="858" y="1530"/>
                        </a:lnTo>
                        <a:lnTo>
                          <a:pt x="858" y="1524"/>
                        </a:lnTo>
                        <a:lnTo>
                          <a:pt x="870" y="1524"/>
                        </a:lnTo>
                        <a:lnTo>
                          <a:pt x="888" y="1494"/>
                        </a:lnTo>
                        <a:lnTo>
                          <a:pt x="978" y="1494"/>
                        </a:lnTo>
                        <a:lnTo>
                          <a:pt x="1002" y="1482"/>
                        </a:lnTo>
                        <a:lnTo>
                          <a:pt x="996" y="1464"/>
                        </a:lnTo>
                        <a:lnTo>
                          <a:pt x="996" y="1446"/>
                        </a:lnTo>
                        <a:lnTo>
                          <a:pt x="990" y="1434"/>
                        </a:lnTo>
                        <a:lnTo>
                          <a:pt x="984" y="1428"/>
                        </a:lnTo>
                        <a:lnTo>
                          <a:pt x="966" y="1428"/>
                        </a:lnTo>
                        <a:lnTo>
                          <a:pt x="954" y="1422"/>
                        </a:lnTo>
                        <a:lnTo>
                          <a:pt x="936" y="1386"/>
                        </a:lnTo>
                        <a:lnTo>
                          <a:pt x="936" y="1368"/>
                        </a:lnTo>
                        <a:lnTo>
                          <a:pt x="924" y="1362"/>
                        </a:lnTo>
                        <a:lnTo>
                          <a:pt x="924" y="1326"/>
                        </a:lnTo>
                        <a:lnTo>
                          <a:pt x="912" y="1326"/>
                        </a:lnTo>
                        <a:lnTo>
                          <a:pt x="906" y="1302"/>
                        </a:lnTo>
                        <a:lnTo>
                          <a:pt x="882" y="1302"/>
                        </a:lnTo>
                        <a:lnTo>
                          <a:pt x="876" y="1290"/>
                        </a:lnTo>
                        <a:lnTo>
                          <a:pt x="876" y="1272"/>
                        </a:lnTo>
                        <a:lnTo>
                          <a:pt x="864" y="1266"/>
                        </a:lnTo>
                        <a:lnTo>
                          <a:pt x="858" y="1254"/>
                        </a:lnTo>
                        <a:lnTo>
                          <a:pt x="846" y="1248"/>
                        </a:lnTo>
                        <a:lnTo>
                          <a:pt x="840" y="1242"/>
                        </a:lnTo>
                        <a:lnTo>
                          <a:pt x="816" y="1242"/>
                        </a:lnTo>
                        <a:lnTo>
                          <a:pt x="804" y="1236"/>
                        </a:lnTo>
                        <a:lnTo>
                          <a:pt x="798" y="1236"/>
                        </a:lnTo>
                        <a:lnTo>
                          <a:pt x="798" y="1224"/>
                        </a:lnTo>
                        <a:lnTo>
                          <a:pt x="804" y="1212"/>
                        </a:lnTo>
                        <a:lnTo>
                          <a:pt x="810" y="1206"/>
                        </a:lnTo>
                        <a:lnTo>
                          <a:pt x="804" y="1182"/>
                        </a:lnTo>
                        <a:lnTo>
                          <a:pt x="840" y="1182"/>
                        </a:lnTo>
                        <a:lnTo>
                          <a:pt x="846" y="1188"/>
                        </a:lnTo>
                        <a:lnTo>
                          <a:pt x="852" y="1182"/>
                        </a:lnTo>
                        <a:lnTo>
                          <a:pt x="864" y="1182"/>
                        </a:lnTo>
                        <a:lnTo>
                          <a:pt x="870" y="1176"/>
                        </a:lnTo>
                        <a:lnTo>
                          <a:pt x="870" y="1164"/>
                        </a:lnTo>
                        <a:lnTo>
                          <a:pt x="876" y="1152"/>
                        </a:lnTo>
                        <a:lnTo>
                          <a:pt x="876" y="1116"/>
                        </a:lnTo>
                        <a:lnTo>
                          <a:pt x="870" y="1110"/>
                        </a:lnTo>
                        <a:lnTo>
                          <a:pt x="870" y="1098"/>
                        </a:lnTo>
                        <a:lnTo>
                          <a:pt x="864" y="1086"/>
                        </a:lnTo>
                        <a:lnTo>
                          <a:pt x="864" y="1074"/>
                        </a:lnTo>
                        <a:lnTo>
                          <a:pt x="870" y="1062"/>
                        </a:lnTo>
                        <a:lnTo>
                          <a:pt x="882" y="1056"/>
                        </a:lnTo>
                        <a:lnTo>
                          <a:pt x="888" y="1050"/>
                        </a:lnTo>
                        <a:lnTo>
                          <a:pt x="888" y="1032"/>
                        </a:lnTo>
                        <a:lnTo>
                          <a:pt x="882" y="1020"/>
                        </a:lnTo>
                        <a:lnTo>
                          <a:pt x="882" y="1002"/>
                        </a:lnTo>
                        <a:lnTo>
                          <a:pt x="900" y="984"/>
                        </a:lnTo>
                        <a:lnTo>
                          <a:pt x="906" y="984"/>
                        </a:lnTo>
                        <a:lnTo>
                          <a:pt x="906" y="996"/>
                        </a:lnTo>
                        <a:lnTo>
                          <a:pt x="912" y="1002"/>
                        </a:lnTo>
                        <a:lnTo>
                          <a:pt x="924" y="1002"/>
                        </a:lnTo>
                        <a:lnTo>
                          <a:pt x="930" y="996"/>
                        </a:lnTo>
                        <a:lnTo>
                          <a:pt x="930" y="960"/>
                        </a:lnTo>
                        <a:lnTo>
                          <a:pt x="924" y="954"/>
                        </a:lnTo>
                        <a:lnTo>
                          <a:pt x="924" y="948"/>
                        </a:lnTo>
                        <a:lnTo>
                          <a:pt x="936" y="930"/>
                        </a:lnTo>
                        <a:lnTo>
                          <a:pt x="936" y="906"/>
                        </a:lnTo>
                        <a:lnTo>
                          <a:pt x="942" y="900"/>
                        </a:lnTo>
                        <a:lnTo>
                          <a:pt x="954" y="900"/>
                        </a:lnTo>
                        <a:lnTo>
                          <a:pt x="960" y="894"/>
                        </a:lnTo>
                        <a:lnTo>
                          <a:pt x="960" y="858"/>
                        </a:lnTo>
                        <a:lnTo>
                          <a:pt x="966" y="852"/>
                        </a:lnTo>
                        <a:lnTo>
                          <a:pt x="972" y="840"/>
                        </a:lnTo>
                        <a:lnTo>
                          <a:pt x="978" y="834"/>
                        </a:lnTo>
                        <a:lnTo>
                          <a:pt x="1008" y="834"/>
                        </a:lnTo>
                        <a:lnTo>
                          <a:pt x="1008" y="786"/>
                        </a:lnTo>
                        <a:lnTo>
                          <a:pt x="1014" y="774"/>
                        </a:lnTo>
                        <a:lnTo>
                          <a:pt x="1020" y="768"/>
                        </a:lnTo>
                        <a:lnTo>
                          <a:pt x="1026" y="756"/>
                        </a:lnTo>
                        <a:lnTo>
                          <a:pt x="1032" y="750"/>
                        </a:lnTo>
                        <a:lnTo>
                          <a:pt x="1032" y="708"/>
                        </a:lnTo>
                        <a:lnTo>
                          <a:pt x="1026" y="660"/>
                        </a:lnTo>
                        <a:lnTo>
                          <a:pt x="1020" y="654"/>
                        </a:lnTo>
                        <a:lnTo>
                          <a:pt x="1020" y="636"/>
                        </a:lnTo>
                        <a:lnTo>
                          <a:pt x="1032" y="630"/>
                        </a:lnTo>
                        <a:lnTo>
                          <a:pt x="1038" y="630"/>
                        </a:lnTo>
                        <a:lnTo>
                          <a:pt x="1038" y="594"/>
                        </a:lnTo>
                        <a:lnTo>
                          <a:pt x="1044" y="594"/>
                        </a:lnTo>
                        <a:lnTo>
                          <a:pt x="1050" y="588"/>
                        </a:lnTo>
                        <a:lnTo>
                          <a:pt x="1056" y="576"/>
                        </a:lnTo>
                        <a:lnTo>
                          <a:pt x="1056" y="534"/>
                        </a:lnTo>
                        <a:lnTo>
                          <a:pt x="1050" y="528"/>
                        </a:lnTo>
                        <a:lnTo>
                          <a:pt x="1050" y="516"/>
                        </a:lnTo>
                        <a:lnTo>
                          <a:pt x="1062" y="516"/>
                        </a:lnTo>
                        <a:lnTo>
                          <a:pt x="1068" y="510"/>
                        </a:lnTo>
                        <a:lnTo>
                          <a:pt x="1068" y="492"/>
                        </a:lnTo>
                        <a:lnTo>
                          <a:pt x="1086" y="492"/>
                        </a:lnTo>
                        <a:lnTo>
                          <a:pt x="1092" y="486"/>
                        </a:lnTo>
                        <a:lnTo>
                          <a:pt x="1092" y="480"/>
                        </a:lnTo>
                        <a:lnTo>
                          <a:pt x="1098" y="474"/>
                        </a:lnTo>
                        <a:lnTo>
                          <a:pt x="1098" y="462"/>
                        </a:lnTo>
                        <a:lnTo>
                          <a:pt x="1110" y="462"/>
                        </a:lnTo>
                        <a:lnTo>
                          <a:pt x="1128" y="456"/>
                        </a:lnTo>
                        <a:lnTo>
                          <a:pt x="1152" y="444"/>
                        </a:lnTo>
                        <a:lnTo>
                          <a:pt x="1164" y="420"/>
                        </a:lnTo>
                        <a:lnTo>
                          <a:pt x="1164" y="408"/>
                        </a:lnTo>
                        <a:lnTo>
                          <a:pt x="1128" y="384"/>
                        </a:lnTo>
                        <a:lnTo>
                          <a:pt x="1128" y="378"/>
                        </a:lnTo>
                        <a:lnTo>
                          <a:pt x="1122" y="372"/>
                        </a:lnTo>
                        <a:lnTo>
                          <a:pt x="1122" y="360"/>
                        </a:lnTo>
                        <a:lnTo>
                          <a:pt x="1116" y="354"/>
                        </a:lnTo>
                        <a:lnTo>
                          <a:pt x="1092" y="354"/>
                        </a:lnTo>
                        <a:lnTo>
                          <a:pt x="1080" y="342"/>
                        </a:lnTo>
                        <a:lnTo>
                          <a:pt x="1080" y="330"/>
                        </a:lnTo>
                        <a:lnTo>
                          <a:pt x="1074" y="312"/>
                        </a:lnTo>
                        <a:lnTo>
                          <a:pt x="1074" y="294"/>
                        </a:lnTo>
                        <a:lnTo>
                          <a:pt x="1068" y="282"/>
                        </a:lnTo>
                        <a:lnTo>
                          <a:pt x="1068" y="264"/>
                        </a:lnTo>
                        <a:lnTo>
                          <a:pt x="1062" y="264"/>
                        </a:lnTo>
                        <a:lnTo>
                          <a:pt x="1062" y="240"/>
                        </a:lnTo>
                        <a:lnTo>
                          <a:pt x="1056" y="222"/>
                        </a:lnTo>
                        <a:lnTo>
                          <a:pt x="1056" y="180"/>
                        </a:lnTo>
                        <a:lnTo>
                          <a:pt x="1050" y="168"/>
                        </a:lnTo>
                        <a:lnTo>
                          <a:pt x="1068" y="162"/>
                        </a:lnTo>
                        <a:lnTo>
                          <a:pt x="1038" y="132"/>
                        </a:lnTo>
                        <a:lnTo>
                          <a:pt x="1038" y="90"/>
                        </a:lnTo>
                        <a:lnTo>
                          <a:pt x="1032" y="78"/>
                        </a:lnTo>
                        <a:lnTo>
                          <a:pt x="1026" y="72"/>
                        </a:lnTo>
                        <a:lnTo>
                          <a:pt x="1014" y="66"/>
                        </a:lnTo>
                        <a:lnTo>
                          <a:pt x="984" y="36"/>
                        </a:lnTo>
                        <a:lnTo>
                          <a:pt x="972" y="36"/>
                        </a:lnTo>
                        <a:lnTo>
                          <a:pt x="954" y="18"/>
                        </a:lnTo>
                        <a:lnTo>
                          <a:pt x="948" y="0"/>
                        </a:lnTo>
                        <a:lnTo>
                          <a:pt x="924" y="24"/>
                        </a:lnTo>
                        <a:lnTo>
                          <a:pt x="894"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50" name="Sri Lanka"/>
                  <p:cNvSpPr>
                    <a:spLocks/>
                  </p:cNvSpPr>
                  <p:nvPr/>
                </p:nvSpPr>
                <p:spPr bwMode="gray">
                  <a:xfrm>
                    <a:off x="4099" y="2112"/>
                    <a:ext cx="44" cy="78"/>
                  </a:xfrm>
                  <a:custGeom>
                    <a:avLst/>
                    <a:gdLst>
                      <a:gd name="T0" fmla="*/ 2147483647 w 174"/>
                      <a:gd name="T1" fmla="*/ 2147483647 h 306"/>
                      <a:gd name="T2" fmla="*/ 2147483647 w 174"/>
                      <a:gd name="T3" fmla="*/ 0 h 306"/>
                      <a:gd name="T4" fmla="*/ 2147483647 w 174"/>
                      <a:gd name="T5" fmla="*/ 0 h 306"/>
                      <a:gd name="T6" fmla="*/ 2147483647 w 174"/>
                      <a:gd name="T7" fmla="*/ 2147483647 h 306"/>
                      <a:gd name="T8" fmla="*/ 2147483647 w 174"/>
                      <a:gd name="T9" fmla="*/ 2147483647 h 306"/>
                      <a:gd name="T10" fmla="*/ 2147483647 w 174"/>
                      <a:gd name="T11" fmla="*/ 2147483647 h 306"/>
                      <a:gd name="T12" fmla="*/ 2147483647 w 174"/>
                      <a:gd name="T13" fmla="*/ 2147483647 h 306"/>
                      <a:gd name="T14" fmla="*/ 2147483647 w 174"/>
                      <a:gd name="T15" fmla="*/ 2147483647 h 306"/>
                      <a:gd name="T16" fmla="*/ 2147483647 w 174"/>
                      <a:gd name="T17" fmla="*/ 2147483647 h 306"/>
                      <a:gd name="T18" fmla="*/ 2147483647 w 174"/>
                      <a:gd name="T19" fmla="*/ 2147483647 h 306"/>
                      <a:gd name="T20" fmla="*/ 2147483647 w 174"/>
                      <a:gd name="T21" fmla="*/ 2147483647 h 306"/>
                      <a:gd name="T22" fmla="*/ 2147483647 w 174"/>
                      <a:gd name="T23" fmla="*/ 2147483647 h 306"/>
                      <a:gd name="T24" fmla="*/ 2147483647 w 174"/>
                      <a:gd name="T25" fmla="*/ 2147483647 h 306"/>
                      <a:gd name="T26" fmla="*/ 2147483647 w 174"/>
                      <a:gd name="T27" fmla="*/ 2147483647 h 306"/>
                      <a:gd name="T28" fmla="*/ 2147483647 w 174"/>
                      <a:gd name="T29" fmla="*/ 2147483647 h 306"/>
                      <a:gd name="T30" fmla="*/ 2147483647 w 174"/>
                      <a:gd name="T31" fmla="*/ 2147483647 h 306"/>
                      <a:gd name="T32" fmla="*/ 2147483647 w 174"/>
                      <a:gd name="T33" fmla="*/ 2147483647 h 306"/>
                      <a:gd name="T34" fmla="*/ 2147483647 w 174"/>
                      <a:gd name="T35" fmla="*/ 2147483647 h 306"/>
                      <a:gd name="T36" fmla="*/ 2147483647 w 174"/>
                      <a:gd name="T37" fmla="*/ 2147483647 h 306"/>
                      <a:gd name="T38" fmla="*/ 2147483647 w 174"/>
                      <a:gd name="T39" fmla="*/ 2147483647 h 306"/>
                      <a:gd name="T40" fmla="*/ 0 w 174"/>
                      <a:gd name="T41" fmla="*/ 2147483647 h 306"/>
                      <a:gd name="T42" fmla="*/ 0 w 174"/>
                      <a:gd name="T43" fmla="*/ 2147483647 h 306"/>
                      <a:gd name="T44" fmla="*/ 2147483647 w 174"/>
                      <a:gd name="T45" fmla="*/ 2147483647 h 306"/>
                      <a:gd name="T46" fmla="*/ 2147483647 w 174"/>
                      <a:gd name="T47" fmla="*/ 2147483647 h 306"/>
                      <a:gd name="T48" fmla="*/ 2147483647 w 174"/>
                      <a:gd name="T49" fmla="*/ 2147483647 h 306"/>
                      <a:gd name="T50" fmla="*/ 2147483647 w 174"/>
                      <a:gd name="T51" fmla="*/ 2147483647 h 306"/>
                      <a:gd name="T52" fmla="*/ 2147483647 w 174"/>
                      <a:gd name="T53" fmla="*/ 2147483647 h 306"/>
                      <a:gd name="T54" fmla="*/ 0 w 174"/>
                      <a:gd name="T55" fmla="*/ 2147483647 h 306"/>
                      <a:gd name="T56" fmla="*/ 2147483647 w 174"/>
                      <a:gd name="T57" fmla="*/ 2147483647 h 306"/>
                      <a:gd name="T58" fmla="*/ 2147483647 w 174"/>
                      <a:gd name="T59" fmla="*/ 2147483647 h 30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4"/>
                      <a:gd name="T91" fmla="*/ 0 h 306"/>
                      <a:gd name="T92" fmla="*/ 174 w 174"/>
                      <a:gd name="T93" fmla="*/ 306 h 30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4" h="306">
                        <a:moveTo>
                          <a:pt x="24" y="6"/>
                        </a:moveTo>
                        <a:lnTo>
                          <a:pt x="36" y="0"/>
                        </a:lnTo>
                        <a:lnTo>
                          <a:pt x="48" y="0"/>
                        </a:lnTo>
                        <a:lnTo>
                          <a:pt x="66" y="6"/>
                        </a:lnTo>
                        <a:lnTo>
                          <a:pt x="78" y="12"/>
                        </a:lnTo>
                        <a:lnTo>
                          <a:pt x="114" y="66"/>
                        </a:lnTo>
                        <a:lnTo>
                          <a:pt x="132" y="84"/>
                        </a:lnTo>
                        <a:lnTo>
                          <a:pt x="126" y="120"/>
                        </a:lnTo>
                        <a:lnTo>
                          <a:pt x="150" y="114"/>
                        </a:lnTo>
                        <a:lnTo>
                          <a:pt x="156" y="168"/>
                        </a:lnTo>
                        <a:lnTo>
                          <a:pt x="162" y="174"/>
                        </a:lnTo>
                        <a:lnTo>
                          <a:pt x="168" y="198"/>
                        </a:lnTo>
                        <a:lnTo>
                          <a:pt x="174" y="228"/>
                        </a:lnTo>
                        <a:lnTo>
                          <a:pt x="174" y="258"/>
                        </a:lnTo>
                        <a:lnTo>
                          <a:pt x="156" y="276"/>
                        </a:lnTo>
                        <a:lnTo>
                          <a:pt x="120" y="294"/>
                        </a:lnTo>
                        <a:lnTo>
                          <a:pt x="84" y="306"/>
                        </a:lnTo>
                        <a:lnTo>
                          <a:pt x="48" y="306"/>
                        </a:lnTo>
                        <a:lnTo>
                          <a:pt x="24" y="282"/>
                        </a:lnTo>
                        <a:lnTo>
                          <a:pt x="12" y="240"/>
                        </a:lnTo>
                        <a:lnTo>
                          <a:pt x="0" y="192"/>
                        </a:lnTo>
                        <a:lnTo>
                          <a:pt x="0" y="156"/>
                        </a:lnTo>
                        <a:lnTo>
                          <a:pt x="12" y="138"/>
                        </a:lnTo>
                        <a:lnTo>
                          <a:pt x="18" y="132"/>
                        </a:lnTo>
                        <a:lnTo>
                          <a:pt x="24" y="120"/>
                        </a:lnTo>
                        <a:lnTo>
                          <a:pt x="30" y="102"/>
                        </a:lnTo>
                        <a:lnTo>
                          <a:pt x="30" y="78"/>
                        </a:lnTo>
                        <a:lnTo>
                          <a:pt x="0" y="36"/>
                        </a:lnTo>
                        <a:lnTo>
                          <a:pt x="24" y="36"/>
                        </a:lnTo>
                        <a:lnTo>
                          <a:pt x="24" y="6"/>
                        </a:lnTo>
                        <a:close/>
                      </a:path>
                    </a:pathLst>
                  </a:custGeom>
                  <a:solidFill>
                    <a:srgbClr val="FF9900"/>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51" name="Spain"/>
                  <p:cNvSpPr>
                    <a:spLocks noEditPoints="1"/>
                  </p:cNvSpPr>
                  <p:nvPr/>
                </p:nvSpPr>
                <p:spPr bwMode="gray">
                  <a:xfrm>
                    <a:off x="2515" y="1409"/>
                    <a:ext cx="224" cy="158"/>
                  </a:xfrm>
                  <a:custGeom>
                    <a:avLst/>
                    <a:gdLst>
                      <a:gd name="T0" fmla="*/ 2147483647 w 876"/>
                      <a:gd name="T1" fmla="*/ 2147483647 h 618"/>
                      <a:gd name="T2" fmla="*/ 2147483647 w 876"/>
                      <a:gd name="T3" fmla="*/ 2147483647 h 618"/>
                      <a:gd name="T4" fmla="*/ 2147483647 w 876"/>
                      <a:gd name="T5" fmla="*/ 2147483647 h 618"/>
                      <a:gd name="T6" fmla="*/ 2147483647 w 876"/>
                      <a:gd name="T7" fmla="*/ 2147483647 h 618"/>
                      <a:gd name="T8" fmla="*/ 2147483647 w 876"/>
                      <a:gd name="T9" fmla="*/ 2147483647 h 618"/>
                      <a:gd name="T10" fmla="*/ 2147483647 w 876"/>
                      <a:gd name="T11" fmla="*/ 2147483647 h 618"/>
                      <a:gd name="T12" fmla="*/ 2147483647 w 876"/>
                      <a:gd name="T13" fmla="*/ 2147483647 h 618"/>
                      <a:gd name="T14" fmla="*/ 2147483647 w 876"/>
                      <a:gd name="T15" fmla="*/ 2147483647 h 618"/>
                      <a:gd name="T16" fmla="*/ 2147483647 w 876"/>
                      <a:gd name="T17" fmla="*/ 2147483647 h 618"/>
                      <a:gd name="T18" fmla="*/ 2147483647 w 876"/>
                      <a:gd name="T19" fmla="*/ 2147483647 h 618"/>
                      <a:gd name="T20" fmla="*/ 2147483647 w 876"/>
                      <a:gd name="T21" fmla="*/ 2147483647 h 618"/>
                      <a:gd name="T22" fmla="*/ 2147483647 w 876"/>
                      <a:gd name="T23" fmla="*/ 2147483647 h 618"/>
                      <a:gd name="T24" fmla="*/ 2147483647 w 876"/>
                      <a:gd name="T25" fmla="*/ 2147483647 h 618"/>
                      <a:gd name="T26" fmla="*/ 2147483647 w 876"/>
                      <a:gd name="T27" fmla="*/ 2147483647 h 618"/>
                      <a:gd name="T28" fmla="*/ 2147483647 w 876"/>
                      <a:gd name="T29" fmla="*/ 2147483647 h 618"/>
                      <a:gd name="T30" fmla="*/ 2147483647 w 876"/>
                      <a:gd name="T31" fmla="*/ 2147483647 h 618"/>
                      <a:gd name="T32" fmla="*/ 2147483647 w 876"/>
                      <a:gd name="T33" fmla="*/ 2147483647 h 618"/>
                      <a:gd name="T34" fmla="*/ 2147483647 w 876"/>
                      <a:gd name="T35" fmla="*/ 2147483647 h 618"/>
                      <a:gd name="T36" fmla="*/ 2147483647 w 876"/>
                      <a:gd name="T37" fmla="*/ 2147483647 h 618"/>
                      <a:gd name="T38" fmla="*/ 2147483647 w 876"/>
                      <a:gd name="T39" fmla="*/ 2147483647 h 618"/>
                      <a:gd name="T40" fmla="*/ 2147483647 w 876"/>
                      <a:gd name="T41" fmla="*/ 0 h 618"/>
                      <a:gd name="T42" fmla="*/ 2147483647 w 876"/>
                      <a:gd name="T43" fmla="*/ 2147483647 h 618"/>
                      <a:gd name="T44" fmla="*/ 0 w 876"/>
                      <a:gd name="T45" fmla="*/ 2147483647 h 618"/>
                      <a:gd name="T46" fmla="*/ 2147483647 w 876"/>
                      <a:gd name="T47" fmla="*/ 2147483647 h 618"/>
                      <a:gd name="T48" fmla="*/ 2147483647 w 876"/>
                      <a:gd name="T49" fmla="*/ 2147483647 h 618"/>
                      <a:gd name="T50" fmla="*/ 2147483647 w 876"/>
                      <a:gd name="T51" fmla="*/ 2147483647 h 618"/>
                      <a:gd name="T52" fmla="*/ 2147483647 w 876"/>
                      <a:gd name="T53" fmla="*/ 2147483647 h 618"/>
                      <a:gd name="T54" fmla="*/ 2147483647 w 876"/>
                      <a:gd name="T55" fmla="*/ 2147483647 h 618"/>
                      <a:gd name="T56" fmla="*/ 2147483647 w 876"/>
                      <a:gd name="T57" fmla="*/ 2147483647 h 618"/>
                      <a:gd name="T58" fmla="*/ 2147483647 w 876"/>
                      <a:gd name="T59" fmla="*/ 2147483647 h 618"/>
                      <a:gd name="T60" fmla="*/ 2147483647 w 876"/>
                      <a:gd name="T61" fmla="*/ 2147483647 h 618"/>
                      <a:gd name="T62" fmla="*/ 2147483647 w 876"/>
                      <a:gd name="T63" fmla="*/ 2147483647 h 618"/>
                      <a:gd name="T64" fmla="*/ 2147483647 w 876"/>
                      <a:gd name="T65" fmla="*/ 2147483647 h 618"/>
                      <a:gd name="T66" fmla="*/ 2147483647 w 876"/>
                      <a:gd name="T67" fmla="*/ 2147483647 h 618"/>
                      <a:gd name="T68" fmla="*/ 2147483647 w 876"/>
                      <a:gd name="T69" fmla="*/ 2147483647 h 618"/>
                      <a:gd name="T70" fmla="*/ 2147483647 w 876"/>
                      <a:gd name="T71" fmla="*/ 2147483647 h 618"/>
                      <a:gd name="T72" fmla="*/ 2147483647 w 876"/>
                      <a:gd name="T73" fmla="*/ 2147483647 h 618"/>
                      <a:gd name="T74" fmla="*/ 2147483647 w 876"/>
                      <a:gd name="T75" fmla="*/ 2147483647 h 618"/>
                      <a:gd name="T76" fmla="*/ 2147483647 w 876"/>
                      <a:gd name="T77" fmla="*/ 2147483647 h 618"/>
                      <a:gd name="T78" fmla="*/ 2147483647 w 876"/>
                      <a:gd name="T79" fmla="*/ 2147483647 h 618"/>
                      <a:gd name="T80" fmla="*/ 2147483647 w 876"/>
                      <a:gd name="T81" fmla="*/ 2147483647 h 618"/>
                      <a:gd name="T82" fmla="*/ 2147483647 w 876"/>
                      <a:gd name="T83" fmla="*/ 2147483647 h 618"/>
                      <a:gd name="T84" fmla="*/ 2147483647 w 876"/>
                      <a:gd name="T85" fmla="*/ 2147483647 h 618"/>
                      <a:gd name="T86" fmla="*/ 2147483647 w 876"/>
                      <a:gd name="T87" fmla="*/ 2147483647 h 618"/>
                      <a:gd name="T88" fmla="*/ 2147483647 w 876"/>
                      <a:gd name="T89" fmla="*/ 2147483647 h 618"/>
                      <a:gd name="T90" fmla="*/ 2147483647 w 876"/>
                      <a:gd name="T91" fmla="*/ 2147483647 h 618"/>
                      <a:gd name="T92" fmla="*/ 2147483647 w 876"/>
                      <a:gd name="T93" fmla="*/ 2147483647 h 618"/>
                      <a:gd name="T94" fmla="*/ 2147483647 w 876"/>
                      <a:gd name="T95" fmla="*/ 2147483647 h 618"/>
                      <a:gd name="T96" fmla="*/ 2147483647 w 876"/>
                      <a:gd name="T97" fmla="*/ 2147483647 h 618"/>
                      <a:gd name="T98" fmla="*/ 2147483647 w 876"/>
                      <a:gd name="T99" fmla="*/ 2147483647 h 618"/>
                      <a:gd name="T100" fmla="*/ 2147483647 w 876"/>
                      <a:gd name="T101" fmla="*/ 2147483647 h 618"/>
                      <a:gd name="T102" fmla="*/ 2147483647 w 876"/>
                      <a:gd name="T103" fmla="*/ 2147483647 h 618"/>
                      <a:gd name="T104" fmla="*/ 2147483647 w 876"/>
                      <a:gd name="T105" fmla="*/ 2147483647 h 618"/>
                      <a:gd name="T106" fmla="*/ 2147483647 w 876"/>
                      <a:gd name="T107" fmla="*/ 2147483647 h 618"/>
                      <a:gd name="T108" fmla="*/ 2147483647 w 876"/>
                      <a:gd name="T109" fmla="*/ 2147483647 h 61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876"/>
                      <a:gd name="T166" fmla="*/ 0 h 618"/>
                      <a:gd name="T167" fmla="*/ 876 w 876"/>
                      <a:gd name="T168" fmla="*/ 618 h 61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876" h="618">
                        <a:moveTo>
                          <a:pt x="804" y="318"/>
                        </a:moveTo>
                        <a:lnTo>
                          <a:pt x="798" y="312"/>
                        </a:lnTo>
                        <a:lnTo>
                          <a:pt x="798" y="306"/>
                        </a:lnTo>
                        <a:lnTo>
                          <a:pt x="786" y="306"/>
                        </a:lnTo>
                        <a:lnTo>
                          <a:pt x="762" y="318"/>
                        </a:lnTo>
                        <a:lnTo>
                          <a:pt x="750" y="330"/>
                        </a:lnTo>
                        <a:lnTo>
                          <a:pt x="750" y="336"/>
                        </a:lnTo>
                        <a:lnTo>
                          <a:pt x="756" y="342"/>
                        </a:lnTo>
                        <a:lnTo>
                          <a:pt x="768" y="342"/>
                        </a:lnTo>
                        <a:lnTo>
                          <a:pt x="774" y="348"/>
                        </a:lnTo>
                        <a:lnTo>
                          <a:pt x="774" y="354"/>
                        </a:lnTo>
                        <a:lnTo>
                          <a:pt x="804" y="354"/>
                        </a:lnTo>
                        <a:lnTo>
                          <a:pt x="816" y="342"/>
                        </a:lnTo>
                        <a:lnTo>
                          <a:pt x="816" y="324"/>
                        </a:lnTo>
                        <a:lnTo>
                          <a:pt x="810" y="318"/>
                        </a:lnTo>
                        <a:lnTo>
                          <a:pt x="804" y="318"/>
                        </a:lnTo>
                        <a:close/>
                        <a:moveTo>
                          <a:pt x="672" y="390"/>
                        </a:moveTo>
                        <a:lnTo>
                          <a:pt x="678" y="396"/>
                        </a:lnTo>
                        <a:lnTo>
                          <a:pt x="684" y="396"/>
                        </a:lnTo>
                        <a:lnTo>
                          <a:pt x="690" y="390"/>
                        </a:lnTo>
                        <a:lnTo>
                          <a:pt x="690" y="372"/>
                        </a:lnTo>
                        <a:lnTo>
                          <a:pt x="684" y="372"/>
                        </a:lnTo>
                        <a:lnTo>
                          <a:pt x="672" y="384"/>
                        </a:lnTo>
                        <a:lnTo>
                          <a:pt x="672" y="390"/>
                        </a:lnTo>
                        <a:close/>
                        <a:moveTo>
                          <a:pt x="840" y="300"/>
                        </a:moveTo>
                        <a:lnTo>
                          <a:pt x="840" y="306"/>
                        </a:lnTo>
                        <a:lnTo>
                          <a:pt x="852" y="318"/>
                        </a:lnTo>
                        <a:lnTo>
                          <a:pt x="870" y="318"/>
                        </a:lnTo>
                        <a:lnTo>
                          <a:pt x="876" y="312"/>
                        </a:lnTo>
                        <a:lnTo>
                          <a:pt x="864" y="300"/>
                        </a:lnTo>
                        <a:lnTo>
                          <a:pt x="852" y="300"/>
                        </a:lnTo>
                        <a:lnTo>
                          <a:pt x="846" y="294"/>
                        </a:lnTo>
                        <a:lnTo>
                          <a:pt x="840" y="300"/>
                        </a:lnTo>
                        <a:close/>
                        <a:moveTo>
                          <a:pt x="804" y="150"/>
                        </a:moveTo>
                        <a:lnTo>
                          <a:pt x="798" y="138"/>
                        </a:lnTo>
                        <a:lnTo>
                          <a:pt x="798" y="132"/>
                        </a:lnTo>
                        <a:lnTo>
                          <a:pt x="810" y="120"/>
                        </a:lnTo>
                        <a:lnTo>
                          <a:pt x="798" y="114"/>
                        </a:lnTo>
                        <a:lnTo>
                          <a:pt x="792" y="108"/>
                        </a:lnTo>
                        <a:lnTo>
                          <a:pt x="792" y="102"/>
                        </a:lnTo>
                        <a:lnTo>
                          <a:pt x="780" y="102"/>
                        </a:lnTo>
                        <a:lnTo>
                          <a:pt x="780" y="108"/>
                        </a:lnTo>
                        <a:lnTo>
                          <a:pt x="774" y="114"/>
                        </a:lnTo>
                        <a:lnTo>
                          <a:pt x="756" y="114"/>
                        </a:lnTo>
                        <a:lnTo>
                          <a:pt x="750" y="108"/>
                        </a:lnTo>
                        <a:lnTo>
                          <a:pt x="726" y="108"/>
                        </a:lnTo>
                        <a:lnTo>
                          <a:pt x="726" y="102"/>
                        </a:lnTo>
                        <a:lnTo>
                          <a:pt x="708" y="102"/>
                        </a:lnTo>
                        <a:lnTo>
                          <a:pt x="696" y="108"/>
                        </a:lnTo>
                        <a:lnTo>
                          <a:pt x="690" y="84"/>
                        </a:lnTo>
                        <a:lnTo>
                          <a:pt x="672" y="84"/>
                        </a:lnTo>
                        <a:lnTo>
                          <a:pt x="672" y="78"/>
                        </a:lnTo>
                        <a:lnTo>
                          <a:pt x="666" y="72"/>
                        </a:lnTo>
                        <a:lnTo>
                          <a:pt x="648" y="72"/>
                        </a:lnTo>
                        <a:lnTo>
                          <a:pt x="642" y="78"/>
                        </a:lnTo>
                        <a:lnTo>
                          <a:pt x="642" y="90"/>
                        </a:lnTo>
                        <a:lnTo>
                          <a:pt x="624" y="96"/>
                        </a:lnTo>
                        <a:lnTo>
                          <a:pt x="624" y="84"/>
                        </a:lnTo>
                        <a:lnTo>
                          <a:pt x="594" y="84"/>
                        </a:lnTo>
                        <a:lnTo>
                          <a:pt x="582" y="72"/>
                        </a:lnTo>
                        <a:lnTo>
                          <a:pt x="570" y="72"/>
                        </a:lnTo>
                        <a:lnTo>
                          <a:pt x="564" y="78"/>
                        </a:lnTo>
                        <a:lnTo>
                          <a:pt x="546" y="60"/>
                        </a:lnTo>
                        <a:lnTo>
                          <a:pt x="510" y="60"/>
                        </a:lnTo>
                        <a:lnTo>
                          <a:pt x="516" y="54"/>
                        </a:lnTo>
                        <a:lnTo>
                          <a:pt x="516" y="48"/>
                        </a:lnTo>
                        <a:lnTo>
                          <a:pt x="504" y="36"/>
                        </a:lnTo>
                        <a:lnTo>
                          <a:pt x="498" y="36"/>
                        </a:lnTo>
                        <a:lnTo>
                          <a:pt x="492" y="42"/>
                        </a:lnTo>
                        <a:lnTo>
                          <a:pt x="486" y="36"/>
                        </a:lnTo>
                        <a:lnTo>
                          <a:pt x="450" y="36"/>
                        </a:lnTo>
                        <a:lnTo>
                          <a:pt x="390" y="24"/>
                        </a:lnTo>
                        <a:lnTo>
                          <a:pt x="378" y="24"/>
                        </a:lnTo>
                        <a:lnTo>
                          <a:pt x="348" y="36"/>
                        </a:lnTo>
                        <a:lnTo>
                          <a:pt x="294" y="30"/>
                        </a:lnTo>
                        <a:lnTo>
                          <a:pt x="258" y="12"/>
                        </a:lnTo>
                        <a:lnTo>
                          <a:pt x="234" y="12"/>
                        </a:lnTo>
                        <a:lnTo>
                          <a:pt x="216" y="18"/>
                        </a:lnTo>
                        <a:lnTo>
                          <a:pt x="162" y="18"/>
                        </a:lnTo>
                        <a:lnTo>
                          <a:pt x="150" y="12"/>
                        </a:lnTo>
                        <a:lnTo>
                          <a:pt x="138" y="12"/>
                        </a:lnTo>
                        <a:lnTo>
                          <a:pt x="126" y="6"/>
                        </a:lnTo>
                        <a:lnTo>
                          <a:pt x="120" y="0"/>
                        </a:lnTo>
                        <a:lnTo>
                          <a:pt x="108" y="0"/>
                        </a:lnTo>
                        <a:lnTo>
                          <a:pt x="96" y="6"/>
                        </a:lnTo>
                        <a:lnTo>
                          <a:pt x="72" y="30"/>
                        </a:lnTo>
                        <a:lnTo>
                          <a:pt x="60" y="30"/>
                        </a:lnTo>
                        <a:lnTo>
                          <a:pt x="48" y="36"/>
                        </a:lnTo>
                        <a:lnTo>
                          <a:pt x="30" y="36"/>
                        </a:lnTo>
                        <a:lnTo>
                          <a:pt x="6" y="48"/>
                        </a:lnTo>
                        <a:lnTo>
                          <a:pt x="0" y="60"/>
                        </a:lnTo>
                        <a:lnTo>
                          <a:pt x="0" y="72"/>
                        </a:lnTo>
                        <a:lnTo>
                          <a:pt x="6" y="78"/>
                        </a:lnTo>
                        <a:lnTo>
                          <a:pt x="12" y="90"/>
                        </a:lnTo>
                        <a:lnTo>
                          <a:pt x="24" y="96"/>
                        </a:lnTo>
                        <a:lnTo>
                          <a:pt x="30" y="102"/>
                        </a:lnTo>
                        <a:lnTo>
                          <a:pt x="18" y="138"/>
                        </a:lnTo>
                        <a:lnTo>
                          <a:pt x="24" y="144"/>
                        </a:lnTo>
                        <a:lnTo>
                          <a:pt x="24" y="150"/>
                        </a:lnTo>
                        <a:lnTo>
                          <a:pt x="30" y="144"/>
                        </a:lnTo>
                        <a:lnTo>
                          <a:pt x="54" y="132"/>
                        </a:lnTo>
                        <a:lnTo>
                          <a:pt x="78" y="132"/>
                        </a:lnTo>
                        <a:lnTo>
                          <a:pt x="78" y="138"/>
                        </a:lnTo>
                        <a:lnTo>
                          <a:pt x="66" y="150"/>
                        </a:lnTo>
                        <a:lnTo>
                          <a:pt x="60" y="150"/>
                        </a:lnTo>
                        <a:lnTo>
                          <a:pt x="60" y="156"/>
                        </a:lnTo>
                        <a:lnTo>
                          <a:pt x="72" y="156"/>
                        </a:lnTo>
                        <a:lnTo>
                          <a:pt x="78" y="150"/>
                        </a:lnTo>
                        <a:lnTo>
                          <a:pt x="96" y="150"/>
                        </a:lnTo>
                        <a:lnTo>
                          <a:pt x="102" y="156"/>
                        </a:lnTo>
                        <a:lnTo>
                          <a:pt x="114" y="156"/>
                        </a:lnTo>
                        <a:lnTo>
                          <a:pt x="120" y="150"/>
                        </a:lnTo>
                        <a:lnTo>
                          <a:pt x="120" y="144"/>
                        </a:lnTo>
                        <a:lnTo>
                          <a:pt x="174" y="144"/>
                        </a:lnTo>
                        <a:lnTo>
                          <a:pt x="174" y="162"/>
                        </a:lnTo>
                        <a:lnTo>
                          <a:pt x="180" y="162"/>
                        </a:lnTo>
                        <a:lnTo>
                          <a:pt x="192" y="168"/>
                        </a:lnTo>
                        <a:lnTo>
                          <a:pt x="192" y="174"/>
                        </a:lnTo>
                        <a:lnTo>
                          <a:pt x="168" y="198"/>
                        </a:lnTo>
                        <a:lnTo>
                          <a:pt x="144" y="210"/>
                        </a:lnTo>
                        <a:lnTo>
                          <a:pt x="138" y="216"/>
                        </a:lnTo>
                        <a:lnTo>
                          <a:pt x="138" y="222"/>
                        </a:lnTo>
                        <a:lnTo>
                          <a:pt x="144" y="222"/>
                        </a:lnTo>
                        <a:lnTo>
                          <a:pt x="150" y="228"/>
                        </a:lnTo>
                        <a:lnTo>
                          <a:pt x="150" y="240"/>
                        </a:lnTo>
                        <a:lnTo>
                          <a:pt x="144" y="258"/>
                        </a:lnTo>
                        <a:lnTo>
                          <a:pt x="144" y="276"/>
                        </a:lnTo>
                        <a:lnTo>
                          <a:pt x="138" y="276"/>
                        </a:lnTo>
                        <a:lnTo>
                          <a:pt x="132" y="282"/>
                        </a:lnTo>
                        <a:lnTo>
                          <a:pt x="132" y="294"/>
                        </a:lnTo>
                        <a:lnTo>
                          <a:pt x="138" y="300"/>
                        </a:lnTo>
                        <a:lnTo>
                          <a:pt x="138" y="312"/>
                        </a:lnTo>
                        <a:lnTo>
                          <a:pt x="126" y="324"/>
                        </a:lnTo>
                        <a:lnTo>
                          <a:pt x="90" y="324"/>
                        </a:lnTo>
                        <a:lnTo>
                          <a:pt x="114" y="348"/>
                        </a:lnTo>
                        <a:lnTo>
                          <a:pt x="114" y="360"/>
                        </a:lnTo>
                        <a:lnTo>
                          <a:pt x="120" y="366"/>
                        </a:lnTo>
                        <a:lnTo>
                          <a:pt x="132" y="372"/>
                        </a:lnTo>
                        <a:lnTo>
                          <a:pt x="132" y="378"/>
                        </a:lnTo>
                        <a:lnTo>
                          <a:pt x="120" y="390"/>
                        </a:lnTo>
                        <a:lnTo>
                          <a:pt x="108" y="396"/>
                        </a:lnTo>
                        <a:lnTo>
                          <a:pt x="96" y="408"/>
                        </a:lnTo>
                        <a:lnTo>
                          <a:pt x="96" y="414"/>
                        </a:lnTo>
                        <a:lnTo>
                          <a:pt x="102" y="420"/>
                        </a:lnTo>
                        <a:lnTo>
                          <a:pt x="102" y="426"/>
                        </a:lnTo>
                        <a:lnTo>
                          <a:pt x="108" y="438"/>
                        </a:lnTo>
                        <a:lnTo>
                          <a:pt x="114" y="444"/>
                        </a:lnTo>
                        <a:lnTo>
                          <a:pt x="126" y="444"/>
                        </a:lnTo>
                        <a:lnTo>
                          <a:pt x="126" y="450"/>
                        </a:lnTo>
                        <a:lnTo>
                          <a:pt x="114" y="462"/>
                        </a:lnTo>
                        <a:lnTo>
                          <a:pt x="102" y="462"/>
                        </a:lnTo>
                        <a:lnTo>
                          <a:pt x="96" y="474"/>
                        </a:lnTo>
                        <a:lnTo>
                          <a:pt x="90" y="480"/>
                        </a:lnTo>
                        <a:lnTo>
                          <a:pt x="90" y="528"/>
                        </a:lnTo>
                        <a:lnTo>
                          <a:pt x="120" y="528"/>
                        </a:lnTo>
                        <a:lnTo>
                          <a:pt x="144" y="546"/>
                        </a:lnTo>
                        <a:lnTo>
                          <a:pt x="162" y="546"/>
                        </a:lnTo>
                        <a:lnTo>
                          <a:pt x="156" y="576"/>
                        </a:lnTo>
                        <a:lnTo>
                          <a:pt x="162" y="576"/>
                        </a:lnTo>
                        <a:lnTo>
                          <a:pt x="162" y="594"/>
                        </a:lnTo>
                        <a:lnTo>
                          <a:pt x="168" y="606"/>
                        </a:lnTo>
                        <a:lnTo>
                          <a:pt x="174" y="612"/>
                        </a:lnTo>
                        <a:lnTo>
                          <a:pt x="192" y="612"/>
                        </a:lnTo>
                        <a:lnTo>
                          <a:pt x="198" y="618"/>
                        </a:lnTo>
                        <a:lnTo>
                          <a:pt x="204" y="618"/>
                        </a:lnTo>
                        <a:lnTo>
                          <a:pt x="210" y="612"/>
                        </a:lnTo>
                        <a:lnTo>
                          <a:pt x="222" y="606"/>
                        </a:lnTo>
                        <a:lnTo>
                          <a:pt x="240" y="588"/>
                        </a:lnTo>
                        <a:lnTo>
                          <a:pt x="252" y="582"/>
                        </a:lnTo>
                        <a:lnTo>
                          <a:pt x="264" y="582"/>
                        </a:lnTo>
                        <a:lnTo>
                          <a:pt x="294" y="564"/>
                        </a:lnTo>
                        <a:lnTo>
                          <a:pt x="360" y="564"/>
                        </a:lnTo>
                        <a:lnTo>
                          <a:pt x="366" y="558"/>
                        </a:lnTo>
                        <a:lnTo>
                          <a:pt x="378" y="558"/>
                        </a:lnTo>
                        <a:lnTo>
                          <a:pt x="390" y="570"/>
                        </a:lnTo>
                        <a:lnTo>
                          <a:pt x="396" y="570"/>
                        </a:lnTo>
                        <a:lnTo>
                          <a:pt x="408" y="564"/>
                        </a:lnTo>
                        <a:lnTo>
                          <a:pt x="420" y="564"/>
                        </a:lnTo>
                        <a:lnTo>
                          <a:pt x="426" y="558"/>
                        </a:lnTo>
                        <a:lnTo>
                          <a:pt x="432" y="558"/>
                        </a:lnTo>
                        <a:lnTo>
                          <a:pt x="432" y="570"/>
                        </a:lnTo>
                        <a:lnTo>
                          <a:pt x="438" y="570"/>
                        </a:lnTo>
                        <a:lnTo>
                          <a:pt x="450" y="558"/>
                        </a:lnTo>
                        <a:lnTo>
                          <a:pt x="462" y="534"/>
                        </a:lnTo>
                        <a:lnTo>
                          <a:pt x="462" y="522"/>
                        </a:lnTo>
                        <a:lnTo>
                          <a:pt x="498" y="492"/>
                        </a:lnTo>
                        <a:lnTo>
                          <a:pt x="528" y="492"/>
                        </a:lnTo>
                        <a:lnTo>
                          <a:pt x="534" y="474"/>
                        </a:lnTo>
                        <a:lnTo>
                          <a:pt x="534" y="468"/>
                        </a:lnTo>
                        <a:lnTo>
                          <a:pt x="540" y="462"/>
                        </a:lnTo>
                        <a:lnTo>
                          <a:pt x="540" y="450"/>
                        </a:lnTo>
                        <a:lnTo>
                          <a:pt x="546" y="444"/>
                        </a:lnTo>
                        <a:lnTo>
                          <a:pt x="552" y="432"/>
                        </a:lnTo>
                        <a:lnTo>
                          <a:pt x="552" y="426"/>
                        </a:lnTo>
                        <a:lnTo>
                          <a:pt x="570" y="426"/>
                        </a:lnTo>
                        <a:lnTo>
                          <a:pt x="594" y="414"/>
                        </a:lnTo>
                        <a:lnTo>
                          <a:pt x="600" y="408"/>
                        </a:lnTo>
                        <a:lnTo>
                          <a:pt x="594" y="396"/>
                        </a:lnTo>
                        <a:lnTo>
                          <a:pt x="588" y="390"/>
                        </a:lnTo>
                        <a:lnTo>
                          <a:pt x="582" y="378"/>
                        </a:lnTo>
                        <a:lnTo>
                          <a:pt x="576" y="372"/>
                        </a:lnTo>
                        <a:lnTo>
                          <a:pt x="570" y="372"/>
                        </a:lnTo>
                        <a:lnTo>
                          <a:pt x="570" y="336"/>
                        </a:lnTo>
                        <a:lnTo>
                          <a:pt x="582" y="312"/>
                        </a:lnTo>
                        <a:lnTo>
                          <a:pt x="594" y="306"/>
                        </a:lnTo>
                        <a:lnTo>
                          <a:pt x="600" y="294"/>
                        </a:lnTo>
                        <a:lnTo>
                          <a:pt x="612" y="282"/>
                        </a:lnTo>
                        <a:lnTo>
                          <a:pt x="618" y="270"/>
                        </a:lnTo>
                        <a:lnTo>
                          <a:pt x="630" y="258"/>
                        </a:lnTo>
                        <a:lnTo>
                          <a:pt x="642" y="258"/>
                        </a:lnTo>
                        <a:lnTo>
                          <a:pt x="654" y="246"/>
                        </a:lnTo>
                        <a:lnTo>
                          <a:pt x="654" y="240"/>
                        </a:lnTo>
                        <a:lnTo>
                          <a:pt x="648" y="240"/>
                        </a:lnTo>
                        <a:lnTo>
                          <a:pt x="648" y="228"/>
                        </a:lnTo>
                        <a:lnTo>
                          <a:pt x="654" y="222"/>
                        </a:lnTo>
                        <a:lnTo>
                          <a:pt x="726" y="198"/>
                        </a:lnTo>
                        <a:lnTo>
                          <a:pt x="750" y="186"/>
                        </a:lnTo>
                        <a:lnTo>
                          <a:pt x="756" y="174"/>
                        </a:lnTo>
                        <a:lnTo>
                          <a:pt x="768" y="168"/>
                        </a:lnTo>
                        <a:lnTo>
                          <a:pt x="774" y="168"/>
                        </a:lnTo>
                        <a:lnTo>
                          <a:pt x="786" y="156"/>
                        </a:lnTo>
                        <a:lnTo>
                          <a:pt x="798" y="156"/>
                        </a:lnTo>
                        <a:lnTo>
                          <a:pt x="804" y="15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52" name="Somalia"/>
                  <p:cNvSpPr>
                    <a:spLocks/>
                  </p:cNvSpPr>
                  <p:nvPr/>
                </p:nvSpPr>
                <p:spPr bwMode="gray">
                  <a:xfrm>
                    <a:off x="3399" y="2062"/>
                    <a:ext cx="183" cy="283"/>
                  </a:xfrm>
                  <a:custGeom>
                    <a:avLst/>
                    <a:gdLst>
                      <a:gd name="T0" fmla="*/ 2147483647 w 714"/>
                      <a:gd name="T1" fmla="*/ 2147483647 h 1104"/>
                      <a:gd name="T2" fmla="*/ 2147483647 w 714"/>
                      <a:gd name="T3" fmla="*/ 2147483647 h 1104"/>
                      <a:gd name="T4" fmla="*/ 2147483647 w 714"/>
                      <a:gd name="T5" fmla="*/ 2147483647 h 1104"/>
                      <a:gd name="T6" fmla="*/ 2147483647 w 714"/>
                      <a:gd name="T7" fmla="*/ 2147483647 h 1104"/>
                      <a:gd name="T8" fmla="*/ 2147483647 w 714"/>
                      <a:gd name="T9" fmla="*/ 2147483647 h 1104"/>
                      <a:gd name="T10" fmla="*/ 2147483647 w 714"/>
                      <a:gd name="T11" fmla="*/ 2147483647 h 1104"/>
                      <a:gd name="T12" fmla="*/ 2147483647 w 714"/>
                      <a:gd name="T13" fmla="*/ 2147483647 h 1104"/>
                      <a:gd name="T14" fmla="*/ 2147483647 w 714"/>
                      <a:gd name="T15" fmla="*/ 2147483647 h 1104"/>
                      <a:gd name="T16" fmla="*/ 2147483647 w 714"/>
                      <a:gd name="T17" fmla="*/ 2147483647 h 1104"/>
                      <a:gd name="T18" fmla="*/ 2147483647 w 714"/>
                      <a:gd name="T19" fmla="*/ 2147483647 h 1104"/>
                      <a:gd name="T20" fmla="*/ 2147483647 w 714"/>
                      <a:gd name="T21" fmla="*/ 2147483647 h 1104"/>
                      <a:gd name="T22" fmla="*/ 2147483647 w 714"/>
                      <a:gd name="T23" fmla="*/ 2147483647 h 1104"/>
                      <a:gd name="T24" fmla="*/ 0 w 714"/>
                      <a:gd name="T25" fmla="*/ 2147483647 h 1104"/>
                      <a:gd name="T26" fmla="*/ 2147483647 w 714"/>
                      <a:gd name="T27" fmla="*/ 2147483647 h 1104"/>
                      <a:gd name="T28" fmla="*/ 2147483647 w 714"/>
                      <a:gd name="T29" fmla="*/ 2147483647 h 1104"/>
                      <a:gd name="T30" fmla="*/ 2147483647 w 714"/>
                      <a:gd name="T31" fmla="*/ 2147483647 h 1104"/>
                      <a:gd name="T32" fmla="*/ 2147483647 w 714"/>
                      <a:gd name="T33" fmla="*/ 2147483647 h 1104"/>
                      <a:gd name="T34" fmla="*/ 2147483647 w 714"/>
                      <a:gd name="T35" fmla="*/ 2147483647 h 1104"/>
                      <a:gd name="T36" fmla="*/ 2147483647 w 714"/>
                      <a:gd name="T37" fmla="*/ 2147483647 h 1104"/>
                      <a:gd name="T38" fmla="*/ 2147483647 w 714"/>
                      <a:gd name="T39" fmla="*/ 2147483647 h 1104"/>
                      <a:gd name="T40" fmla="*/ 2147483647 w 714"/>
                      <a:gd name="T41" fmla="*/ 2147483647 h 1104"/>
                      <a:gd name="T42" fmla="*/ 2147483647 w 714"/>
                      <a:gd name="T43" fmla="*/ 2147483647 h 1104"/>
                      <a:gd name="T44" fmla="*/ 2147483647 w 714"/>
                      <a:gd name="T45" fmla="*/ 2147483647 h 1104"/>
                      <a:gd name="T46" fmla="*/ 2147483647 w 714"/>
                      <a:gd name="T47" fmla="*/ 2147483647 h 1104"/>
                      <a:gd name="T48" fmla="*/ 2147483647 w 714"/>
                      <a:gd name="T49" fmla="*/ 2147483647 h 1104"/>
                      <a:gd name="T50" fmla="*/ 2147483647 w 714"/>
                      <a:gd name="T51" fmla="*/ 2147483647 h 1104"/>
                      <a:gd name="T52" fmla="*/ 2147483647 w 714"/>
                      <a:gd name="T53" fmla="*/ 2147483647 h 1104"/>
                      <a:gd name="T54" fmla="*/ 2147483647 w 714"/>
                      <a:gd name="T55" fmla="*/ 2147483647 h 1104"/>
                      <a:gd name="T56" fmla="*/ 2147483647 w 714"/>
                      <a:gd name="T57" fmla="*/ 2147483647 h 1104"/>
                      <a:gd name="T58" fmla="*/ 2147483647 w 714"/>
                      <a:gd name="T59" fmla="*/ 2147483647 h 1104"/>
                      <a:gd name="T60" fmla="*/ 2147483647 w 714"/>
                      <a:gd name="T61" fmla="*/ 2147483647 h 1104"/>
                      <a:gd name="T62" fmla="*/ 2147483647 w 714"/>
                      <a:gd name="T63" fmla="*/ 2147483647 h 1104"/>
                      <a:gd name="T64" fmla="*/ 2147483647 w 714"/>
                      <a:gd name="T65" fmla="*/ 2147483647 h 1104"/>
                      <a:gd name="T66" fmla="*/ 2147483647 w 714"/>
                      <a:gd name="T67" fmla="*/ 2147483647 h 1104"/>
                      <a:gd name="T68" fmla="*/ 2147483647 w 714"/>
                      <a:gd name="T69" fmla="*/ 2147483647 h 1104"/>
                      <a:gd name="T70" fmla="*/ 2147483647 w 714"/>
                      <a:gd name="T71" fmla="*/ 2147483647 h 1104"/>
                      <a:gd name="T72" fmla="*/ 2147483647 w 714"/>
                      <a:gd name="T73" fmla="*/ 2147483647 h 1104"/>
                      <a:gd name="T74" fmla="*/ 2147483647 w 714"/>
                      <a:gd name="T75" fmla="*/ 2147483647 h 1104"/>
                      <a:gd name="T76" fmla="*/ 2147483647 w 714"/>
                      <a:gd name="T77" fmla="*/ 2147483647 h 1104"/>
                      <a:gd name="T78" fmla="*/ 2147483647 w 714"/>
                      <a:gd name="T79" fmla="*/ 2147483647 h 1104"/>
                      <a:gd name="T80" fmla="*/ 2147483647 w 714"/>
                      <a:gd name="T81" fmla="*/ 2147483647 h 1104"/>
                      <a:gd name="T82" fmla="*/ 2147483647 w 714"/>
                      <a:gd name="T83" fmla="*/ 2147483647 h 1104"/>
                      <a:gd name="T84" fmla="*/ 2147483647 w 714"/>
                      <a:gd name="T85" fmla="*/ 2147483647 h 1104"/>
                      <a:gd name="T86" fmla="*/ 2147483647 w 714"/>
                      <a:gd name="T87" fmla="*/ 2147483647 h 110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714"/>
                      <a:gd name="T133" fmla="*/ 0 h 1104"/>
                      <a:gd name="T134" fmla="*/ 714 w 714"/>
                      <a:gd name="T135" fmla="*/ 1104 h 110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714" h="1104">
                        <a:moveTo>
                          <a:pt x="108" y="114"/>
                        </a:moveTo>
                        <a:lnTo>
                          <a:pt x="120" y="126"/>
                        </a:lnTo>
                        <a:lnTo>
                          <a:pt x="120" y="138"/>
                        </a:lnTo>
                        <a:lnTo>
                          <a:pt x="126" y="150"/>
                        </a:lnTo>
                        <a:lnTo>
                          <a:pt x="132" y="156"/>
                        </a:lnTo>
                        <a:lnTo>
                          <a:pt x="138" y="168"/>
                        </a:lnTo>
                        <a:lnTo>
                          <a:pt x="144" y="174"/>
                        </a:lnTo>
                        <a:lnTo>
                          <a:pt x="156" y="198"/>
                        </a:lnTo>
                        <a:lnTo>
                          <a:pt x="162" y="204"/>
                        </a:lnTo>
                        <a:lnTo>
                          <a:pt x="162" y="210"/>
                        </a:lnTo>
                        <a:lnTo>
                          <a:pt x="186" y="210"/>
                        </a:lnTo>
                        <a:lnTo>
                          <a:pt x="192" y="222"/>
                        </a:lnTo>
                        <a:lnTo>
                          <a:pt x="198" y="228"/>
                        </a:lnTo>
                        <a:lnTo>
                          <a:pt x="204" y="240"/>
                        </a:lnTo>
                        <a:lnTo>
                          <a:pt x="240" y="258"/>
                        </a:lnTo>
                        <a:lnTo>
                          <a:pt x="312" y="282"/>
                        </a:lnTo>
                        <a:lnTo>
                          <a:pt x="336" y="288"/>
                        </a:lnTo>
                        <a:lnTo>
                          <a:pt x="348" y="294"/>
                        </a:lnTo>
                        <a:lnTo>
                          <a:pt x="366" y="300"/>
                        </a:lnTo>
                        <a:lnTo>
                          <a:pt x="378" y="312"/>
                        </a:lnTo>
                        <a:lnTo>
                          <a:pt x="414" y="330"/>
                        </a:lnTo>
                        <a:lnTo>
                          <a:pt x="486" y="324"/>
                        </a:lnTo>
                        <a:lnTo>
                          <a:pt x="276" y="570"/>
                        </a:lnTo>
                        <a:lnTo>
                          <a:pt x="192" y="570"/>
                        </a:lnTo>
                        <a:lnTo>
                          <a:pt x="186" y="576"/>
                        </a:lnTo>
                        <a:lnTo>
                          <a:pt x="174" y="576"/>
                        </a:lnTo>
                        <a:lnTo>
                          <a:pt x="162" y="582"/>
                        </a:lnTo>
                        <a:lnTo>
                          <a:pt x="156" y="588"/>
                        </a:lnTo>
                        <a:lnTo>
                          <a:pt x="144" y="594"/>
                        </a:lnTo>
                        <a:lnTo>
                          <a:pt x="144" y="606"/>
                        </a:lnTo>
                        <a:lnTo>
                          <a:pt x="126" y="624"/>
                        </a:lnTo>
                        <a:lnTo>
                          <a:pt x="102" y="624"/>
                        </a:lnTo>
                        <a:lnTo>
                          <a:pt x="90" y="630"/>
                        </a:lnTo>
                        <a:lnTo>
                          <a:pt x="78" y="630"/>
                        </a:lnTo>
                        <a:lnTo>
                          <a:pt x="66" y="642"/>
                        </a:lnTo>
                        <a:lnTo>
                          <a:pt x="66" y="654"/>
                        </a:lnTo>
                        <a:lnTo>
                          <a:pt x="60" y="660"/>
                        </a:lnTo>
                        <a:lnTo>
                          <a:pt x="42" y="696"/>
                        </a:lnTo>
                        <a:lnTo>
                          <a:pt x="0" y="738"/>
                        </a:lnTo>
                        <a:lnTo>
                          <a:pt x="0" y="1038"/>
                        </a:lnTo>
                        <a:lnTo>
                          <a:pt x="42" y="1104"/>
                        </a:lnTo>
                        <a:lnTo>
                          <a:pt x="48" y="1086"/>
                        </a:lnTo>
                        <a:lnTo>
                          <a:pt x="84" y="1032"/>
                        </a:lnTo>
                        <a:lnTo>
                          <a:pt x="96" y="1008"/>
                        </a:lnTo>
                        <a:lnTo>
                          <a:pt x="114" y="996"/>
                        </a:lnTo>
                        <a:lnTo>
                          <a:pt x="144" y="966"/>
                        </a:lnTo>
                        <a:lnTo>
                          <a:pt x="150" y="954"/>
                        </a:lnTo>
                        <a:lnTo>
                          <a:pt x="162" y="936"/>
                        </a:lnTo>
                        <a:lnTo>
                          <a:pt x="192" y="906"/>
                        </a:lnTo>
                        <a:lnTo>
                          <a:pt x="216" y="876"/>
                        </a:lnTo>
                        <a:lnTo>
                          <a:pt x="246" y="846"/>
                        </a:lnTo>
                        <a:lnTo>
                          <a:pt x="264" y="840"/>
                        </a:lnTo>
                        <a:lnTo>
                          <a:pt x="276" y="828"/>
                        </a:lnTo>
                        <a:lnTo>
                          <a:pt x="294" y="816"/>
                        </a:lnTo>
                        <a:lnTo>
                          <a:pt x="318" y="804"/>
                        </a:lnTo>
                        <a:lnTo>
                          <a:pt x="336" y="786"/>
                        </a:lnTo>
                        <a:lnTo>
                          <a:pt x="372" y="756"/>
                        </a:lnTo>
                        <a:lnTo>
                          <a:pt x="420" y="708"/>
                        </a:lnTo>
                        <a:lnTo>
                          <a:pt x="438" y="684"/>
                        </a:lnTo>
                        <a:lnTo>
                          <a:pt x="462" y="654"/>
                        </a:lnTo>
                        <a:lnTo>
                          <a:pt x="492" y="618"/>
                        </a:lnTo>
                        <a:lnTo>
                          <a:pt x="516" y="570"/>
                        </a:lnTo>
                        <a:lnTo>
                          <a:pt x="528" y="540"/>
                        </a:lnTo>
                        <a:lnTo>
                          <a:pt x="546" y="516"/>
                        </a:lnTo>
                        <a:lnTo>
                          <a:pt x="558" y="498"/>
                        </a:lnTo>
                        <a:lnTo>
                          <a:pt x="564" y="492"/>
                        </a:lnTo>
                        <a:lnTo>
                          <a:pt x="570" y="480"/>
                        </a:lnTo>
                        <a:lnTo>
                          <a:pt x="576" y="474"/>
                        </a:lnTo>
                        <a:lnTo>
                          <a:pt x="576" y="450"/>
                        </a:lnTo>
                        <a:lnTo>
                          <a:pt x="582" y="432"/>
                        </a:lnTo>
                        <a:lnTo>
                          <a:pt x="588" y="420"/>
                        </a:lnTo>
                        <a:lnTo>
                          <a:pt x="588" y="402"/>
                        </a:lnTo>
                        <a:lnTo>
                          <a:pt x="594" y="390"/>
                        </a:lnTo>
                        <a:lnTo>
                          <a:pt x="606" y="378"/>
                        </a:lnTo>
                        <a:lnTo>
                          <a:pt x="612" y="366"/>
                        </a:lnTo>
                        <a:lnTo>
                          <a:pt x="624" y="354"/>
                        </a:lnTo>
                        <a:lnTo>
                          <a:pt x="624" y="324"/>
                        </a:lnTo>
                        <a:lnTo>
                          <a:pt x="636" y="318"/>
                        </a:lnTo>
                        <a:lnTo>
                          <a:pt x="642" y="306"/>
                        </a:lnTo>
                        <a:lnTo>
                          <a:pt x="660" y="252"/>
                        </a:lnTo>
                        <a:lnTo>
                          <a:pt x="672" y="252"/>
                        </a:lnTo>
                        <a:lnTo>
                          <a:pt x="672" y="246"/>
                        </a:lnTo>
                        <a:lnTo>
                          <a:pt x="684" y="234"/>
                        </a:lnTo>
                        <a:lnTo>
                          <a:pt x="684" y="138"/>
                        </a:lnTo>
                        <a:lnTo>
                          <a:pt x="708" y="126"/>
                        </a:lnTo>
                        <a:lnTo>
                          <a:pt x="702" y="54"/>
                        </a:lnTo>
                        <a:lnTo>
                          <a:pt x="708" y="42"/>
                        </a:lnTo>
                        <a:lnTo>
                          <a:pt x="708" y="36"/>
                        </a:lnTo>
                        <a:lnTo>
                          <a:pt x="714" y="24"/>
                        </a:lnTo>
                        <a:lnTo>
                          <a:pt x="714" y="12"/>
                        </a:lnTo>
                        <a:lnTo>
                          <a:pt x="690" y="0"/>
                        </a:lnTo>
                        <a:lnTo>
                          <a:pt x="672" y="0"/>
                        </a:lnTo>
                        <a:lnTo>
                          <a:pt x="666" y="12"/>
                        </a:lnTo>
                        <a:lnTo>
                          <a:pt x="654" y="18"/>
                        </a:lnTo>
                        <a:lnTo>
                          <a:pt x="648" y="30"/>
                        </a:lnTo>
                        <a:lnTo>
                          <a:pt x="624" y="42"/>
                        </a:lnTo>
                        <a:lnTo>
                          <a:pt x="612" y="42"/>
                        </a:lnTo>
                        <a:lnTo>
                          <a:pt x="594" y="48"/>
                        </a:lnTo>
                        <a:lnTo>
                          <a:pt x="582" y="54"/>
                        </a:lnTo>
                        <a:lnTo>
                          <a:pt x="564" y="54"/>
                        </a:lnTo>
                        <a:lnTo>
                          <a:pt x="546" y="48"/>
                        </a:lnTo>
                        <a:lnTo>
                          <a:pt x="534" y="42"/>
                        </a:lnTo>
                        <a:lnTo>
                          <a:pt x="516" y="48"/>
                        </a:lnTo>
                        <a:lnTo>
                          <a:pt x="510" y="54"/>
                        </a:lnTo>
                        <a:lnTo>
                          <a:pt x="498" y="60"/>
                        </a:lnTo>
                        <a:lnTo>
                          <a:pt x="492" y="72"/>
                        </a:lnTo>
                        <a:lnTo>
                          <a:pt x="486" y="78"/>
                        </a:lnTo>
                        <a:lnTo>
                          <a:pt x="474" y="78"/>
                        </a:lnTo>
                        <a:lnTo>
                          <a:pt x="462" y="72"/>
                        </a:lnTo>
                        <a:lnTo>
                          <a:pt x="456" y="60"/>
                        </a:lnTo>
                        <a:lnTo>
                          <a:pt x="444" y="60"/>
                        </a:lnTo>
                        <a:lnTo>
                          <a:pt x="438" y="66"/>
                        </a:lnTo>
                        <a:lnTo>
                          <a:pt x="426" y="72"/>
                        </a:lnTo>
                        <a:lnTo>
                          <a:pt x="396" y="102"/>
                        </a:lnTo>
                        <a:lnTo>
                          <a:pt x="384" y="108"/>
                        </a:lnTo>
                        <a:lnTo>
                          <a:pt x="372" y="108"/>
                        </a:lnTo>
                        <a:lnTo>
                          <a:pt x="360" y="102"/>
                        </a:lnTo>
                        <a:lnTo>
                          <a:pt x="354" y="96"/>
                        </a:lnTo>
                        <a:lnTo>
                          <a:pt x="342" y="90"/>
                        </a:lnTo>
                        <a:lnTo>
                          <a:pt x="330" y="90"/>
                        </a:lnTo>
                        <a:lnTo>
                          <a:pt x="306" y="102"/>
                        </a:lnTo>
                        <a:lnTo>
                          <a:pt x="294" y="114"/>
                        </a:lnTo>
                        <a:lnTo>
                          <a:pt x="270" y="126"/>
                        </a:lnTo>
                        <a:lnTo>
                          <a:pt x="210" y="126"/>
                        </a:lnTo>
                        <a:lnTo>
                          <a:pt x="192" y="108"/>
                        </a:lnTo>
                        <a:lnTo>
                          <a:pt x="186" y="96"/>
                        </a:lnTo>
                        <a:lnTo>
                          <a:pt x="174" y="90"/>
                        </a:lnTo>
                        <a:lnTo>
                          <a:pt x="168" y="78"/>
                        </a:lnTo>
                        <a:lnTo>
                          <a:pt x="168" y="66"/>
                        </a:lnTo>
                        <a:lnTo>
                          <a:pt x="156" y="54"/>
                        </a:lnTo>
                        <a:lnTo>
                          <a:pt x="150" y="54"/>
                        </a:lnTo>
                        <a:lnTo>
                          <a:pt x="126" y="78"/>
                        </a:lnTo>
                        <a:lnTo>
                          <a:pt x="108" y="1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53" name="Solomon Islands"/>
                  <p:cNvSpPr>
                    <a:spLocks noEditPoints="1"/>
                  </p:cNvSpPr>
                  <p:nvPr/>
                </p:nvSpPr>
                <p:spPr bwMode="gray">
                  <a:xfrm>
                    <a:off x="5498" y="2448"/>
                    <a:ext cx="95" cy="89"/>
                  </a:xfrm>
                  <a:custGeom>
                    <a:avLst/>
                    <a:gdLst>
                      <a:gd name="T0" fmla="*/ 2147483647 w 372"/>
                      <a:gd name="T1" fmla="*/ 0 h 348"/>
                      <a:gd name="T2" fmla="*/ 2147483647 w 372"/>
                      <a:gd name="T3" fmla="*/ 2147483647 h 348"/>
                      <a:gd name="T4" fmla="*/ 0 w 372"/>
                      <a:gd name="T5" fmla="*/ 2147483647 h 348"/>
                      <a:gd name="T6" fmla="*/ 2147483647 w 372"/>
                      <a:gd name="T7" fmla="*/ 2147483647 h 348"/>
                      <a:gd name="T8" fmla="*/ 0 w 372"/>
                      <a:gd name="T9" fmla="*/ 2147483647 h 348"/>
                      <a:gd name="T10" fmla="*/ 2147483647 w 372"/>
                      <a:gd name="T11" fmla="*/ 2147483647 h 348"/>
                      <a:gd name="T12" fmla="*/ 2147483647 w 372"/>
                      <a:gd name="T13" fmla="*/ 2147483647 h 348"/>
                      <a:gd name="T14" fmla="*/ 2147483647 w 372"/>
                      <a:gd name="T15" fmla="*/ 2147483647 h 348"/>
                      <a:gd name="T16" fmla="*/ 2147483647 w 372"/>
                      <a:gd name="T17" fmla="*/ 2147483647 h 348"/>
                      <a:gd name="T18" fmla="*/ 2147483647 w 372"/>
                      <a:gd name="T19" fmla="*/ 2147483647 h 348"/>
                      <a:gd name="T20" fmla="*/ 2147483647 w 372"/>
                      <a:gd name="T21" fmla="*/ 2147483647 h 348"/>
                      <a:gd name="T22" fmla="*/ 2147483647 w 372"/>
                      <a:gd name="T23" fmla="*/ 2147483647 h 348"/>
                      <a:gd name="T24" fmla="*/ 2147483647 w 372"/>
                      <a:gd name="T25" fmla="*/ 2147483647 h 348"/>
                      <a:gd name="T26" fmla="*/ 2147483647 w 372"/>
                      <a:gd name="T27" fmla="*/ 2147483647 h 348"/>
                      <a:gd name="T28" fmla="*/ 2147483647 w 372"/>
                      <a:gd name="T29" fmla="*/ 2147483647 h 348"/>
                      <a:gd name="T30" fmla="*/ 2147483647 w 372"/>
                      <a:gd name="T31" fmla="*/ 2147483647 h 348"/>
                      <a:gd name="T32" fmla="*/ 2147483647 w 372"/>
                      <a:gd name="T33" fmla="*/ 2147483647 h 348"/>
                      <a:gd name="T34" fmla="*/ 2147483647 w 372"/>
                      <a:gd name="T35" fmla="*/ 2147483647 h 348"/>
                      <a:gd name="T36" fmla="*/ 2147483647 w 372"/>
                      <a:gd name="T37" fmla="*/ 2147483647 h 348"/>
                      <a:gd name="T38" fmla="*/ 2147483647 w 372"/>
                      <a:gd name="T39" fmla="*/ 2147483647 h 348"/>
                      <a:gd name="T40" fmla="*/ 2147483647 w 372"/>
                      <a:gd name="T41" fmla="*/ 2147483647 h 348"/>
                      <a:gd name="T42" fmla="*/ 2147483647 w 372"/>
                      <a:gd name="T43" fmla="*/ 2147483647 h 348"/>
                      <a:gd name="T44" fmla="*/ 2147483647 w 372"/>
                      <a:gd name="T45" fmla="*/ 2147483647 h 348"/>
                      <a:gd name="T46" fmla="*/ 2147483647 w 372"/>
                      <a:gd name="T47" fmla="*/ 2147483647 h 348"/>
                      <a:gd name="T48" fmla="*/ 2147483647 w 372"/>
                      <a:gd name="T49" fmla="*/ 2147483647 h 348"/>
                      <a:gd name="T50" fmla="*/ 2147483647 w 372"/>
                      <a:gd name="T51" fmla="*/ 2147483647 h 348"/>
                      <a:gd name="T52" fmla="*/ 2147483647 w 372"/>
                      <a:gd name="T53" fmla="*/ 2147483647 h 348"/>
                      <a:gd name="T54" fmla="*/ 2147483647 w 372"/>
                      <a:gd name="T55" fmla="*/ 2147483647 h 348"/>
                      <a:gd name="T56" fmla="*/ 2147483647 w 372"/>
                      <a:gd name="T57" fmla="*/ 2147483647 h 348"/>
                      <a:gd name="T58" fmla="*/ 2147483647 w 372"/>
                      <a:gd name="T59" fmla="*/ 2147483647 h 348"/>
                      <a:gd name="T60" fmla="*/ 2147483647 w 372"/>
                      <a:gd name="T61" fmla="*/ 2147483647 h 348"/>
                      <a:gd name="T62" fmla="*/ 2147483647 w 372"/>
                      <a:gd name="T63" fmla="*/ 2147483647 h 34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372"/>
                      <a:gd name="T97" fmla="*/ 0 h 348"/>
                      <a:gd name="T98" fmla="*/ 372 w 372"/>
                      <a:gd name="T99" fmla="*/ 348 h 34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372" h="348">
                        <a:moveTo>
                          <a:pt x="30" y="18"/>
                        </a:moveTo>
                        <a:lnTo>
                          <a:pt x="12" y="0"/>
                        </a:lnTo>
                        <a:lnTo>
                          <a:pt x="6" y="24"/>
                        </a:lnTo>
                        <a:lnTo>
                          <a:pt x="24" y="48"/>
                        </a:lnTo>
                        <a:lnTo>
                          <a:pt x="30" y="18"/>
                        </a:lnTo>
                        <a:close/>
                        <a:moveTo>
                          <a:pt x="0" y="126"/>
                        </a:moveTo>
                        <a:lnTo>
                          <a:pt x="18" y="132"/>
                        </a:lnTo>
                        <a:lnTo>
                          <a:pt x="36" y="102"/>
                        </a:lnTo>
                        <a:lnTo>
                          <a:pt x="0" y="102"/>
                        </a:lnTo>
                        <a:lnTo>
                          <a:pt x="0" y="126"/>
                        </a:lnTo>
                        <a:close/>
                        <a:moveTo>
                          <a:pt x="78" y="120"/>
                        </a:moveTo>
                        <a:lnTo>
                          <a:pt x="36" y="120"/>
                        </a:lnTo>
                        <a:lnTo>
                          <a:pt x="42" y="144"/>
                        </a:lnTo>
                        <a:lnTo>
                          <a:pt x="78" y="132"/>
                        </a:lnTo>
                        <a:lnTo>
                          <a:pt x="78" y="120"/>
                        </a:lnTo>
                        <a:close/>
                        <a:moveTo>
                          <a:pt x="60" y="186"/>
                        </a:moveTo>
                        <a:lnTo>
                          <a:pt x="96" y="186"/>
                        </a:lnTo>
                        <a:lnTo>
                          <a:pt x="48" y="150"/>
                        </a:lnTo>
                        <a:lnTo>
                          <a:pt x="60" y="186"/>
                        </a:lnTo>
                        <a:close/>
                        <a:moveTo>
                          <a:pt x="246" y="222"/>
                        </a:moveTo>
                        <a:lnTo>
                          <a:pt x="222" y="210"/>
                        </a:lnTo>
                        <a:lnTo>
                          <a:pt x="192" y="210"/>
                        </a:lnTo>
                        <a:lnTo>
                          <a:pt x="192" y="228"/>
                        </a:lnTo>
                        <a:lnTo>
                          <a:pt x="198" y="234"/>
                        </a:lnTo>
                        <a:lnTo>
                          <a:pt x="204" y="246"/>
                        </a:lnTo>
                        <a:lnTo>
                          <a:pt x="216" y="252"/>
                        </a:lnTo>
                        <a:lnTo>
                          <a:pt x="252" y="264"/>
                        </a:lnTo>
                        <a:lnTo>
                          <a:pt x="264" y="264"/>
                        </a:lnTo>
                        <a:lnTo>
                          <a:pt x="276" y="258"/>
                        </a:lnTo>
                        <a:lnTo>
                          <a:pt x="276" y="252"/>
                        </a:lnTo>
                        <a:lnTo>
                          <a:pt x="270" y="246"/>
                        </a:lnTo>
                        <a:lnTo>
                          <a:pt x="264" y="234"/>
                        </a:lnTo>
                        <a:lnTo>
                          <a:pt x="246" y="222"/>
                        </a:lnTo>
                        <a:close/>
                        <a:moveTo>
                          <a:pt x="312" y="288"/>
                        </a:moveTo>
                        <a:lnTo>
                          <a:pt x="360" y="348"/>
                        </a:lnTo>
                        <a:lnTo>
                          <a:pt x="372" y="318"/>
                        </a:lnTo>
                        <a:lnTo>
                          <a:pt x="312" y="288"/>
                        </a:lnTo>
                        <a:close/>
                        <a:moveTo>
                          <a:pt x="288" y="126"/>
                        </a:moveTo>
                        <a:lnTo>
                          <a:pt x="288" y="132"/>
                        </a:lnTo>
                        <a:lnTo>
                          <a:pt x="282" y="138"/>
                        </a:lnTo>
                        <a:lnTo>
                          <a:pt x="282" y="150"/>
                        </a:lnTo>
                        <a:lnTo>
                          <a:pt x="276" y="162"/>
                        </a:lnTo>
                        <a:lnTo>
                          <a:pt x="276" y="192"/>
                        </a:lnTo>
                        <a:lnTo>
                          <a:pt x="312" y="228"/>
                        </a:lnTo>
                        <a:lnTo>
                          <a:pt x="324" y="234"/>
                        </a:lnTo>
                        <a:lnTo>
                          <a:pt x="330" y="240"/>
                        </a:lnTo>
                        <a:lnTo>
                          <a:pt x="288" y="126"/>
                        </a:lnTo>
                        <a:close/>
                        <a:moveTo>
                          <a:pt x="120" y="60"/>
                        </a:moveTo>
                        <a:lnTo>
                          <a:pt x="120" y="66"/>
                        </a:lnTo>
                        <a:lnTo>
                          <a:pt x="126" y="78"/>
                        </a:lnTo>
                        <a:lnTo>
                          <a:pt x="138" y="90"/>
                        </a:lnTo>
                        <a:lnTo>
                          <a:pt x="150" y="108"/>
                        </a:lnTo>
                        <a:lnTo>
                          <a:pt x="168" y="120"/>
                        </a:lnTo>
                        <a:lnTo>
                          <a:pt x="192" y="144"/>
                        </a:lnTo>
                        <a:lnTo>
                          <a:pt x="204" y="150"/>
                        </a:lnTo>
                        <a:lnTo>
                          <a:pt x="216" y="150"/>
                        </a:lnTo>
                        <a:lnTo>
                          <a:pt x="210" y="138"/>
                        </a:lnTo>
                        <a:lnTo>
                          <a:pt x="204" y="132"/>
                        </a:lnTo>
                        <a:lnTo>
                          <a:pt x="198" y="120"/>
                        </a:lnTo>
                        <a:lnTo>
                          <a:pt x="186" y="108"/>
                        </a:lnTo>
                        <a:lnTo>
                          <a:pt x="174" y="90"/>
                        </a:lnTo>
                        <a:lnTo>
                          <a:pt x="156" y="78"/>
                        </a:lnTo>
                        <a:lnTo>
                          <a:pt x="144" y="66"/>
                        </a:lnTo>
                        <a:lnTo>
                          <a:pt x="132" y="60"/>
                        </a:lnTo>
                        <a:lnTo>
                          <a:pt x="120"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54" name="Slovenia"/>
                  <p:cNvSpPr>
                    <a:spLocks/>
                  </p:cNvSpPr>
                  <p:nvPr/>
                </p:nvSpPr>
                <p:spPr bwMode="gray">
                  <a:xfrm>
                    <a:off x="2888" y="1344"/>
                    <a:ext cx="54" cy="31"/>
                  </a:xfrm>
                  <a:custGeom>
                    <a:avLst/>
                    <a:gdLst>
                      <a:gd name="T0" fmla="*/ 2147483647 w 210"/>
                      <a:gd name="T1" fmla="*/ 2147483647 h 120"/>
                      <a:gd name="T2" fmla="*/ 2147483647 w 210"/>
                      <a:gd name="T3" fmla="*/ 2147483647 h 120"/>
                      <a:gd name="T4" fmla="*/ 2147483647 w 210"/>
                      <a:gd name="T5" fmla="*/ 2147483647 h 120"/>
                      <a:gd name="T6" fmla="*/ 2147483647 w 210"/>
                      <a:gd name="T7" fmla="*/ 2147483647 h 120"/>
                      <a:gd name="T8" fmla="*/ 2147483647 w 210"/>
                      <a:gd name="T9" fmla="*/ 2147483647 h 120"/>
                      <a:gd name="T10" fmla="*/ 2147483647 w 210"/>
                      <a:gd name="T11" fmla="*/ 2147483647 h 120"/>
                      <a:gd name="T12" fmla="*/ 2147483647 w 210"/>
                      <a:gd name="T13" fmla="*/ 2147483647 h 120"/>
                      <a:gd name="T14" fmla="*/ 2147483647 w 210"/>
                      <a:gd name="T15" fmla="*/ 2147483647 h 120"/>
                      <a:gd name="T16" fmla="*/ 2147483647 w 210"/>
                      <a:gd name="T17" fmla="*/ 2147483647 h 120"/>
                      <a:gd name="T18" fmla="*/ 2147483647 w 210"/>
                      <a:gd name="T19" fmla="*/ 2147483647 h 120"/>
                      <a:gd name="T20" fmla="*/ 2147483647 w 210"/>
                      <a:gd name="T21" fmla="*/ 2147483647 h 120"/>
                      <a:gd name="T22" fmla="*/ 2147483647 w 210"/>
                      <a:gd name="T23" fmla="*/ 2147483647 h 120"/>
                      <a:gd name="T24" fmla="*/ 2147483647 w 210"/>
                      <a:gd name="T25" fmla="*/ 2147483647 h 120"/>
                      <a:gd name="T26" fmla="*/ 2147483647 w 210"/>
                      <a:gd name="T27" fmla="*/ 2147483647 h 120"/>
                      <a:gd name="T28" fmla="*/ 2147483647 w 210"/>
                      <a:gd name="T29" fmla="*/ 2147483647 h 120"/>
                      <a:gd name="T30" fmla="*/ 2147483647 w 210"/>
                      <a:gd name="T31" fmla="*/ 2147483647 h 120"/>
                      <a:gd name="T32" fmla="*/ 2147483647 w 210"/>
                      <a:gd name="T33" fmla="*/ 2147483647 h 120"/>
                      <a:gd name="T34" fmla="*/ 2147483647 w 210"/>
                      <a:gd name="T35" fmla="*/ 2147483647 h 120"/>
                      <a:gd name="T36" fmla="*/ 2147483647 w 210"/>
                      <a:gd name="T37" fmla="*/ 2147483647 h 120"/>
                      <a:gd name="T38" fmla="*/ 2147483647 w 210"/>
                      <a:gd name="T39" fmla="*/ 2147483647 h 120"/>
                      <a:gd name="T40" fmla="*/ 2147483647 w 210"/>
                      <a:gd name="T41" fmla="*/ 2147483647 h 120"/>
                      <a:gd name="T42" fmla="*/ 2147483647 w 210"/>
                      <a:gd name="T43" fmla="*/ 0 h 120"/>
                      <a:gd name="T44" fmla="*/ 2147483647 w 210"/>
                      <a:gd name="T45" fmla="*/ 2147483647 h 120"/>
                      <a:gd name="T46" fmla="*/ 2147483647 w 210"/>
                      <a:gd name="T47" fmla="*/ 2147483647 h 120"/>
                      <a:gd name="T48" fmla="*/ 2147483647 w 210"/>
                      <a:gd name="T49" fmla="*/ 2147483647 h 120"/>
                      <a:gd name="T50" fmla="*/ 2147483647 w 210"/>
                      <a:gd name="T51" fmla="*/ 2147483647 h 120"/>
                      <a:gd name="T52" fmla="*/ 2147483647 w 210"/>
                      <a:gd name="T53" fmla="*/ 2147483647 h 120"/>
                      <a:gd name="T54" fmla="*/ 2147483647 w 210"/>
                      <a:gd name="T55" fmla="*/ 2147483647 h 120"/>
                      <a:gd name="T56" fmla="*/ 2147483647 w 210"/>
                      <a:gd name="T57" fmla="*/ 2147483647 h 120"/>
                      <a:gd name="T58" fmla="*/ 2147483647 w 210"/>
                      <a:gd name="T59" fmla="*/ 2147483647 h 120"/>
                      <a:gd name="T60" fmla="*/ 2147483647 w 210"/>
                      <a:gd name="T61" fmla="*/ 2147483647 h 120"/>
                      <a:gd name="T62" fmla="*/ 2147483647 w 210"/>
                      <a:gd name="T63" fmla="*/ 2147483647 h 120"/>
                      <a:gd name="T64" fmla="*/ 2147483647 w 210"/>
                      <a:gd name="T65" fmla="*/ 2147483647 h 120"/>
                      <a:gd name="T66" fmla="*/ 2147483647 w 210"/>
                      <a:gd name="T67" fmla="*/ 2147483647 h 120"/>
                      <a:gd name="T68" fmla="*/ 0 w 210"/>
                      <a:gd name="T69" fmla="*/ 2147483647 h 120"/>
                      <a:gd name="T70" fmla="*/ 2147483647 w 210"/>
                      <a:gd name="T71" fmla="*/ 2147483647 h 120"/>
                      <a:gd name="T72" fmla="*/ 2147483647 w 210"/>
                      <a:gd name="T73" fmla="*/ 2147483647 h 120"/>
                      <a:gd name="T74" fmla="*/ 2147483647 w 210"/>
                      <a:gd name="T75" fmla="*/ 2147483647 h 120"/>
                      <a:gd name="T76" fmla="*/ 2147483647 w 210"/>
                      <a:gd name="T77" fmla="*/ 2147483647 h 120"/>
                      <a:gd name="T78" fmla="*/ 2147483647 w 210"/>
                      <a:gd name="T79" fmla="*/ 2147483647 h 120"/>
                      <a:gd name="T80" fmla="*/ 2147483647 w 210"/>
                      <a:gd name="T81" fmla="*/ 2147483647 h 120"/>
                      <a:gd name="T82" fmla="*/ 2147483647 w 210"/>
                      <a:gd name="T83" fmla="*/ 2147483647 h 120"/>
                      <a:gd name="T84" fmla="*/ 2147483647 w 210"/>
                      <a:gd name="T85" fmla="*/ 2147483647 h 120"/>
                      <a:gd name="T86" fmla="*/ 2147483647 w 210"/>
                      <a:gd name="T87" fmla="*/ 2147483647 h 12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120"/>
                      <a:gd name="T134" fmla="*/ 210 w 210"/>
                      <a:gd name="T135" fmla="*/ 120 h 12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120">
                        <a:moveTo>
                          <a:pt x="24" y="120"/>
                        </a:moveTo>
                        <a:lnTo>
                          <a:pt x="42" y="120"/>
                        </a:lnTo>
                        <a:lnTo>
                          <a:pt x="42" y="108"/>
                        </a:lnTo>
                        <a:lnTo>
                          <a:pt x="54" y="114"/>
                        </a:lnTo>
                        <a:lnTo>
                          <a:pt x="72" y="114"/>
                        </a:lnTo>
                        <a:lnTo>
                          <a:pt x="78" y="102"/>
                        </a:lnTo>
                        <a:lnTo>
                          <a:pt x="78" y="108"/>
                        </a:lnTo>
                        <a:lnTo>
                          <a:pt x="84" y="114"/>
                        </a:lnTo>
                        <a:lnTo>
                          <a:pt x="126" y="114"/>
                        </a:lnTo>
                        <a:lnTo>
                          <a:pt x="126" y="96"/>
                        </a:lnTo>
                        <a:lnTo>
                          <a:pt x="138" y="90"/>
                        </a:lnTo>
                        <a:lnTo>
                          <a:pt x="150" y="78"/>
                        </a:lnTo>
                        <a:lnTo>
                          <a:pt x="150" y="72"/>
                        </a:lnTo>
                        <a:lnTo>
                          <a:pt x="144" y="66"/>
                        </a:lnTo>
                        <a:lnTo>
                          <a:pt x="144" y="54"/>
                        </a:lnTo>
                        <a:lnTo>
                          <a:pt x="174" y="54"/>
                        </a:lnTo>
                        <a:lnTo>
                          <a:pt x="186" y="48"/>
                        </a:lnTo>
                        <a:lnTo>
                          <a:pt x="186" y="36"/>
                        </a:lnTo>
                        <a:lnTo>
                          <a:pt x="210" y="36"/>
                        </a:lnTo>
                        <a:lnTo>
                          <a:pt x="192" y="24"/>
                        </a:lnTo>
                        <a:lnTo>
                          <a:pt x="186" y="6"/>
                        </a:lnTo>
                        <a:lnTo>
                          <a:pt x="180" y="0"/>
                        </a:lnTo>
                        <a:lnTo>
                          <a:pt x="174" y="12"/>
                        </a:lnTo>
                        <a:lnTo>
                          <a:pt x="168" y="30"/>
                        </a:lnTo>
                        <a:lnTo>
                          <a:pt x="144" y="24"/>
                        </a:lnTo>
                        <a:lnTo>
                          <a:pt x="132" y="30"/>
                        </a:lnTo>
                        <a:lnTo>
                          <a:pt x="84" y="30"/>
                        </a:lnTo>
                        <a:lnTo>
                          <a:pt x="84" y="42"/>
                        </a:lnTo>
                        <a:lnTo>
                          <a:pt x="54" y="42"/>
                        </a:lnTo>
                        <a:lnTo>
                          <a:pt x="48" y="36"/>
                        </a:lnTo>
                        <a:lnTo>
                          <a:pt x="30" y="36"/>
                        </a:lnTo>
                        <a:lnTo>
                          <a:pt x="24" y="42"/>
                        </a:lnTo>
                        <a:lnTo>
                          <a:pt x="6" y="42"/>
                        </a:lnTo>
                        <a:lnTo>
                          <a:pt x="6" y="48"/>
                        </a:lnTo>
                        <a:lnTo>
                          <a:pt x="0" y="54"/>
                        </a:lnTo>
                        <a:lnTo>
                          <a:pt x="12" y="60"/>
                        </a:lnTo>
                        <a:lnTo>
                          <a:pt x="6" y="96"/>
                        </a:lnTo>
                        <a:lnTo>
                          <a:pt x="18" y="96"/>
                        </a:lnTo>
                        <a:lnTo>
                          <a:pt x="30" y="102"/>
                        </a:lnTo>
                        <a:lnTo>
                          <a:pt x="36" y="102"/>
                        </a:lnTo>
                        <a:lnTo>
                          <a:pt x="36" y="108"/>
                        </a:lnTo>
                        <a:lnTo>
                          <a:pt x="30" y="108"/>
                        </a:lnTo>
                        <a:lnTo>
                          <a:pt x="30" y="114"/>
                        </a:lnTo>
                        <a:lnTo>
                          <a:pt x="24" y="1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55" name="Slovakia"/>
                  <p:cNvSpPr>
                    <a:spLocks/>
                  </p:cNvSpPr>
                  <p:nvPr/>
                </p:nvSpPr>
                <p:spPr bwMode="gray">
                  <a:xfrm>
                    <a:off x="2943" y="1292"/>
                    <a:ext cx="91" cy="37"/>
                  </a:xfrm>
                  <a:custGeom>
                    <a:avLst/>
                    <a:gdLst>
                      <a:gd name="T0" fmla="*/ 2147483647 w 354"/>
                      <a:gd name="T1" fmla="*/ 2147483647 h 144"/>
                      <a:gd name="T2" fmla="*/ 2147483647 w 354"/>
                      <a:gd name="T3" fmla="*/ 2147483647 h 144"/>
                      <a:gd name="T4" fmla="*/ 2147483647 w 354"/>
                      <a:gd name="T5" fmla="*/ 2147483647 h 144"/>
                      <a:gd name="T6" fmla="*/ 2147483647 w 354"/>
                      <a:gd name="T7" fmla="*/ 2147483647 h 144"/>
                      <a:gd name="T8" fmla="*/ 2147483647 w 354"/>
                      <a:gd name="T9" fmla="*/ 2147483647 h 144"/>
                      <a:gd name="T10" fmla="*/ 2147483647 w 354"/>
                      <a:gd name="T11" fmla="*/ 2147483647 h 144"/>
                      <a:gd name="T12" fmla="*/ 2147483647 w 354"/>
                      <a:gd name="T13" fmla="*/ 2147483647 h 144"/>
                      <a:gd name="T14" fmla="*/ 2147483647 w 354"/>
                      <a:gd name="T15" fmla="*/ 0 h 144"/>
                      <a:gd name="T16" fmla="*/ 2147483647 w 354"/>
                      <a:gd name="T17" fmla="*/ 2147483647 h 144"/>
                      <a:gd name="T18" fmla="*/ 2147483647 w 354"/>
                      <a:gd name="T19" fmla="*/ 0 h 144"/>
                      <a:gd name="T20" fmla="*/ 2147483647 w 354"/>
                      <a:gd name="T21" fmla="*/ 2147483647 h 144"/>
                      <a:gd name="T22" fmla="*/ 2147483647 w 354"/>
                      <a:gd name="T23" fmla="*/ 2147483647 h 144"/>
                      <a:gd name="T24" fmla="*/ 2147483647 w 354"/>
                      <a:gd name="T25" fmla="*/ 2147483647 h 144"/>
                      <a:gd name="T26" fmla="*/ 2147483647 w 354"/>
                      <a:gd name="T27" fmla="*/ 2147483647 h 144"/>
                      <a:gd name="T28" fmla="*/ 2147483647 w 354"/>
                      <a:gd name="T29" fmla="*/ 2147483647 h 144"/>
                      <a:gd name="T30" fmla="*/ 0 w 354"/>
                      <a:gd name="T31" fmla="*/ 2147483647 h 144"/>
                      <a:gd name="T32" fmla="*/ 2147483647 w 354"/>
                      <a:gd name="T33" fmla="*/ 2147483647 h 144"/>
                      <a:gd name="T34" fmla="*/ 2147483647 w 354"/>
                      <a:gd name="T35" fmla="*/ 2147483647 h 144"/>
                      <a:gd name="T36" fmla="*/ 2147483647 w 354"/>
                      <a:gd name="T37" fmla="*/ 2147483647 h 144"/>
                      <a:gd name="T38" fmla="*/ 2147483647 w 354"/>
                      <a:gd name="T39" fmla="*/ 2147483647 h 144"/>
                      <a:gd name="T40" fmla="*/ 2147483647 w 354"/>
                      <a:gd name="T41" fmla="*/ 2147483647 h 144"/>
                      <a:gd name="T42" fmla="*/ 2147483647 w 354"/>
                      <a:gd name="T43" fmla="*/ 2147483647 h 144"/>
                      <a:gd name="T44" fmla="*/ 2147483647 w 354"/>
                      <a:gd name="T45" fmla="*/ 2147483647 h 144"/>
                      <a:gd name="T46" fmla="*/ 2147483647 w 354"/>
                      <a:gd name="T47" fmla="*/ 2147483647 h 144"/>
                      <a:gd name="T48" fmla="*/ 2147483647 w 354"/>
                      <a:gd name="T49" fmla="*/ 2147483647 h 144"/>
                      <a:gd name="T50" fmla="*/ 2147483647 w 354"/>
                      <a:gd name="T51" fmla="*/ 2147483647 h 144"/>
                      <a:gd name="T52" fmla="*/ 2147483647 w 354"/>
                      <a:gd name="T53" fmla="*/ 2147483647 h 144"/>
                      <a:gd name="T54" fmla="*/ 2147483647 w 354"/>
                      <a:gd name="T55" fmla="*/ 2147483647 h 144"/>
                      <a:gd name="T56" fmla="*/ 2147483647 w 354"/>
                      <a:gd name="T57" fmla="*/ 2147483647 h 144"/>
                      <a:gd name="T58" fmla="*/ 2147483647 w 354"/>
                      <a:gd name="T59" fmla="*/ 2147483647 h 144"/>
                      <a:gd name="T60" fmla="*/ 2147483647 w 354"/>
                      <a:gd name="T61" fmla="*/ 2147483647 h 144"/>
                      <a:gd name="T62" fmla="*/ 2147483647 w 354"/>
                      <a:gd name="T63" fmla="*/ 2147483647 h 144"/>
                      <a:gd name="T64" fmla="*/ 2147483647 w 354"/>
                      <a:gd name="T65" fmla="*/ 2147483647 h 144"/>
                      <a:gd name="T66" fmla="*/ 2147483647 w 354"/>
                      <a:gd name="T67" fmla="*/ 2147483647 h 144"/>
                      <a:gd name="T68" fmla="*/ 2147483647 w 354"/>
                      <a:gd name="T69" fmla="*/ 2147483647 h 14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54"/>
                      <a:gd name="T106" fmla="*/ 0 h 144"/>
                      <a:gd name="T107" fmla="*/ 354 w 354"/>
                      <a:gd name="T108" fmla="*/ 144 h 14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54" h="144">
                        <a:moveTo>
                          <a:pt x="348" y="30"/>
                        </a:moveTo>
                        <a:lnTo>
                          <a:pt x="324" y="30"/>
                        </a:lnTo>
                        <a:lnTo>
                          <a:pt x="300" y="6"/>
                        </a:lnTo>
                        <a:lnTo>
                          <a:pt x="276" y="6"/>
                        </a:lnTo>
                        <a:lnTo>
                          <a:pt x="270" y="12"/>
                        </a:lnTo>
                        <a:lnTo>
                          <a:pt x="258" y="18"/>
                        </a:lnTo>
                        <a:lnTo>
                          <a:pt x="246" y="18"/>
                        </a:lnTo>
                        <a:lnTo>
                          <a:pt x="240" y="12"/>
                        </a:lnTo>
                        <a:lnTo>
                          <a:pt x="210" y="12"/>
                        </a:lnTo>
                        <a:lnTo>
                          <a:pt x="210" y="18"/>
                        </a:lnTo>
                        <a:lnTo>
                          <a:pt x="204" y="24"/>
                        </a:lnTo>
                        <a:lnTo>
                          <a:pt x="192" y="24"/>
                        </a:lnTo>
                        <a:lnTo>
                          <a:pt x="186" y="18"/>
                        </a:lnTo>
                        <a:lnTo>
                          <a:pt x="186" y="12"/>
                        </a:lnTo>
                        <a:lnTo>
                          <a:pt x="180" y="12"/>
                        </a:lnTo>
                        <a:lnTo>
                          <a:pt x="168" y="0"/>
                        </a:lnTo>
                        <a:lnTo>
                          <a:pt x="156" y="0"/>
                        </a:lnTo>
                        <a:lnTo>
                          <a:pt x="144" y="12"/>
                        </a:lnTo>
                        <a:lnTo>
                          <a:pt x="138" y="12"/>
                        </a:lnTo>
                        <a:lnTo>
                          <a:pt x="126" y="0"/>
                        </a:lnTo>
                        <a:lnTo>
                          <a:pt x="108" y="12"/>
                        </a:lnTo>
                        <a:lnTo>
                          <a:pt x="84" y="18"/>
                        </a:lnTo>
                        <a:lnTo>
                          <a:pt x="84" y="42"/>
                        </a:lnTo>
                        <a:lnTo>
                          <a:pt x="72" y="48"/>
                        </a:lnTo>
                        <a:lnTo>
                          <a:pt x="66" y="54"/>
                        </a:lnTo>
                        <a:lnTo>
                          <a:pt x="54" y="60"/>
                        </a:lnTo>
                        <a:lnTo>
                          <a:pt x="36" y="60"/>
                        </a:lnTo>
                        <a:lnTo>
                          <a:pt x="36" y="54"/>
                        </a:lnTo>
                        <a:lnTo>
                          <a:pt x="30" y="60"/>
                        </a:lnTo>
                        <a:lnTo>
                          <a:pt x="12" y="60"/>
                        </a:lnTo>
                        <a:lnTo>
                          <a:pt x="6" y="66"/>
                        </a:lnTo>
                        <a:lnTo>
                          <a:pt x="0" y="90"/>
                        </a:lnTo>
                        <a:lnTo>
                          <a:pt x="0" y="102"/>
                        </a:lnTo>
                        <a:lnTo>
                          <a:pt x="6" y="102"/>
                        </a:lnTo>
                        <a:lnTo>
                          <a:pt x="6" y="114"/>
                        </a:lnTo>
                        <a:lnTo>
                          <a:pt x="12" y="114"/>
                        </a:lnTo>
                        <a:lnTo>
                          <a:pt x="12" y="126"/>
                        </a:lnTo>
                        <a:lnTo>
                          <a:pt x="6" y="132"/>
                        </a:lnTo>
                        <a:lnTo>
                          <a:pt x="18" y="138"/>
                        </a:lnTo>
                        <a:lnTo>
                          <a:pt x="30" y="120"/>
                        </a:lnTo>
                        <a:lnTo>
                          <a:pt x="36" y="126"/>
                        </a:lnTo>
                        <a:lnTo>
                          <a:pt x="42" y="138"/>
                        </a:lnTo>
                        <a:lnTo>
                          <a:pt x="48" y="144"/>
                        </a:lnTo>
                        <a:lnTo>
                          <a:pt x="90" y="144"/>
                        </a:lnTo>
                        <a:lnTo>
                          <a:pt x="108" y="138"/>
                        </a:lnTo>
                        <a:lnTo>
                          <a:pt x="120" y="138"/>
                        </a:lnTo>
                        <a:lnTo>
                          <a:pt x="132" y="114"/>
                        </a:lnTo>
                        <a:lnTo>
                          <a:pt x="168" y="120"/>
                        </a:lnTo>
                        <a:lnTo>
                          <a:pt x="174" y="108"/>
                        </a:lnTo>
                        <a:lnTo>
                          <a:pt x="198" y="108"/>
                        </a:lnTo>
                        <a:lnTo>
                          <a:pt x="210" y="102"/>
                        </a:lnTo>
                        <a:lnTo>
                          <a:pt x="216" y="102"/>
                        </a:lnTo>
                        <a:lnTo>
                          <a:pt x="228" y="90"/>
                        </a:lnTo>
                        <a:lnTo>
                          <a:pt x="234" y="78"/>
                        </a:lnTo>
                        <a:lnTo>
                          <a:pt x="258" y="78"/>
                        </a:lnTo>
                        <a:lnTo>
                          <a:pt x="258" y="90"/>
                        </a:lnTo>
                        <a:lnTo>
                          <a:pt x="276" y="96"/>
                        </a:lnTo>
                        <a:lnTo>
                          <a:pt x="276" y="78"/>
                        </a:lnTo>
                        <a:lnTo>
                          <a:pt x="288" y="78"/>
                        </a:lnTo>
                        <a:lnTo>
                          <a:pt x="288" y="90"/>
                        </a:lnTo>
                        <a:lnTo>
                          <a:pt x="300" y="90"/>
                        </a:lnTo>
                        <a:lnTo>
                          <a:pt x="312" y="84"/>
                        </a:lnTo>
                        <a:lnTo>
                          <a:pt x="336" y="84"/>
                        </a:lnTo>
                        <a:lnTo>
                          <a:pt x="336" y="90"/>
                        </a:lnTo>
                        <a:lnTo>
                          <a:pt x="336" y="72"/>
                        </a:lnTo>
                        <a:lnTo>
                          <a:pt x="342" y="72"/>
                        </a:lnTo>
                        <a:lnTo>
                          <a:pt x="348" y="66"/>
                        </a:lnTo>
                        <a:lnTo>
                          <a:pt x="348" y="60"/>
                        </a:lnTo>
                        <a:lnTo>
                          <a:pt x="354" y="54"/>
                        </a:lnTo>
                        <a:lnTo>
                          <a:pt x="354" y="30"/>
                        </a:lnTo>
                        <a:lnTo>
                          <a:pt x="348" y="3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56" name="Sierra Leone"/>
                  <p:cNvSpPr>
                    <a:spLocks/>
                  </p:cNvSpPr>
                  <p:nvPr/>
                </p:nvSpPr>
                <p:spPr bwMode="gray">
                  <a:xfrm>
                    <a:off x="2413" y="2102"/>
                    <a:ext cx="53" cy="69"/>
                  </a:xfrm>
                  <a:custGeom>
                    <a:avLst/>
                    <a:gdLst>
                      <a:gd name="T0" fmla="*/ 2147483647 w 210"/>
                      <a:gd name="T1" fmla="*/ 2147483647 h 270"/>
                      <a:gd name="T2" fmla="*/ 2147483647 w 210"/>
                      <a:gd name="T3" fmla="*/ 2147483647 h 270"/>
                      <a:gd name="T4" fmla="*/ 2147483647 w 210"/>
                      <a:gd name="T5" fmla="*/ 2147483647 h 270"/>
                      <a:gd name="T6" fmla="*/ 2147483647 w 210"/>
                      <a:gd name="T7" fmla="*/ 2147483647 h 270"/>
                      <a:gd name="T8" fmla="*/ 2147483647 w 210"/>
                      <a:gd name="T9" fmla="*/ 2147483647 h 270"/>
                      <a:gd name="T10" fmla="*/ 2147483647 w 210"/>
                      <a:gd name="T11" fmla="*/ 2147483647 h 270"/>
                      <a:gd name="T12" fmla="*/ 2147483647 w 210"/>
                      <a:gd name="T13" fmla="*/ 2147483647 h 270"/>
                      <a:gd name="T14" fmla="*/ 2147483647 w 210"/>
                      <a:gd name="T15" fmla="*/ 2147483647 h 270"/>
                      <a:gd name="T16" fmla="*/ 2147483647 w 210"/>
                      <a:gd name="T17" fmla="*/ 2147483647 h 270"/>
                      <a:gd name="T18" fmla="*/ 2147483647 w 210"/>
                      <a:gd name="T19" fmla="*/ 2147483647 h 270"/>
                      <a:gd name="T20" fmla="*/ 2147483647 w 210"/>
                      <a:gd name="T21" fmla="*/ 2147483647 h 270"/>
                      <a:gd name="T22" fmla="*/ 2147483647 w 210"/>
                      <a:gd name="T23" fmla="*/ 0 h 270"/>
                      <a:gd name="T24" fmla="*/ 2147483647 w 210"/>
                      <a:gd name="T25" fmla="*/ 0 h 270"/>
                      <a:gd name="T26" fmla="*/ 2147483647 w 210"/>
                      <a:gd name="T27" fmla="*/ 2147483647 h 270"/>
                      <a:gd name="T28" fmla="*/ 2147483647 w 210"/>
                      <a:gd name="T29" fmla="*/ 2147483647 h 270"/>
                      <a:gd name="T30" fmla="*/ 2147483647 w 210"/>
                      <a:gd name="T31" fmla="*/ 2147483647 h 270"/>
                      <a:gd name="T32" fmla="*/ 2147483647 w 210"/>
                      <a:gd name="T33" fmla="*/ 2147483647 h 270"/>
                      <a:gd name="T34" fmla="*/ 2147483647 w 210"/>
                      <a:gd name="T35" fmla="*/ 2147483647 h 270"/>
                      <a:gd name="T36" fmla="*/ 2147483647 w 210"/>
                      <a:gd name="T37" fmla="*/ 2147483647 h 270"/>
                      <a:gd name="T38" fmla="*/ 2147483647 w 210"/>
                      <a:gd name="T39" fmla="*/ 2147483647 h 270"/>
                      <a:gd name="T40" fmla="*/ 2147483647 w 210"/>
                      <a:gd name="T41" fmla="*/ 2147483647 h 270"/>
                      <a:gd name="T42" fmla="*/ 2147483647 w 210"/>
                      <a:gd name="T43" fmla="*/ 2147483647 h 270"/>
                      <a:gd name="T44" fmla="*/ 0 w 210"/>
                      <a:gd name="T45" fmla="*/ 2147483647 h 270"/>
                      <a:gd name="T46" fmla="*/ 2147483647 w 210"/>
                      <a:gd name="T47" fmla="*/ 2147483647 h 270"/>
                      <a:gd name="T48" fmla="*/ 2147483647 w 210"/>
                      <a:gd name="T49" fmla="*/ 2147483647 h 270"/>
                      <a:gd name="T50" fmla="*/ 0 w 210"/>
                      <a:gd name="T51" fmla="*/ 2147483647 h 270"/>
                      <a:gd name="T52" fmla="*/ 0 w 210"/>
                      <a:gd name="T53" fmla="*/ 2147483647 h 270"/>
                      <a:gd name="T54" fmla="*/ 2147483647 w 210"/>
                      <a:gd name="T55" fmla="*/ 2147483647 h 270"/>
                      <a:gd name="T56" fmla="*/ 2147483647 w 210"/>
                      <a:gd name="T57" fmla="*/ 2147483647 h 270"/>
                      <a:gd name="T58" fmla="*/ 2147483647 w 210"/>
                      <a:gd name="T59" fmla="*/ 2147483647 h 270"/>
                      <a:gd name="T60" fmla="*/ 2147483647 w 210"/>
                      <a:gd name="T61" fmla="*/ 2147483647 h 270"/>
                      <a:gd name="T62" fmla="*/ 2147483647 w 210"/>
                      <a:gd name="T63" fmla="*/ 2147483647 h 270"/>
                      <a:gd name="T64" fmla="*/ 2147483647 w 210"/>
                      <a:gd name="T65" fmla="*/ 2147483647 h 270"/>
                      <a:gd name="T66" fmla="*/ 2147483647 w 210"/>
                      <a:gd name="T67" fmla="*/ 2147483647 h 270"/>
                      <a:gd name="T68" fmla="*/ 2147483647 w 210"/>
                      <a:gd name="T69" fmla="*/ 2147483647 h 270"/>
                      <a:gd name="T70" fmla="*/ 2147483647 w 210"/>
                      <a:gd name="T71" fmla="*/ 2147483647 h 270"/>
                      <a:gd name="T72" fmla="*/ 2147483647 w 210"/>
                      <a:gd name="T73" fmla="*/ 2147483647 h 270"/>
                      <a:gd name="T74" fmla="*/ 2147483647 w 210"/>
                      <a:gd name="T75" fmla="*/ 2147483647 h 270"/>
                      <a:gd name="T76" fmla="*/ 2147483647 w 210"/>
                      <a:gd name="T77" fmla="*/ 2147483647 h 270"/>
                      <a:gd name="T78" fmla="*/ 2147483647 w 210"/>
                      <a:gd name="T79" fmla="*/ 2147483647 h 270"/>
                      <a:gd name="T80" fmla="*/ 2147483647 w 210"/>
                      <a:gd name="T81" fmla="*/ 2147483647 h 270"/>
                      <a:gd name="T82" fmla="*/ 2147483647 w 210"/>
                      <a:gd name="T83" fmla="*/ 2147483647 h 270"/>
                      <a:gd name="T84" fmla="*/ 2147483647 w 210"/>
                      <a:gd name="T85" fmla="*/ 2147483647 h 270"/>
                      <a:gd name="T86" fmla="*/ 2147483647 w 210"/>
                      <a:gd name="T87" fmla="*/ 2147483647 h 27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10"/>
                      <a:gd name="T133" fmla="*/ 0 h 270"/>
                      <a:gd name="T134" fmla="*/ 210 w 210"/>
                      <a:gd name="T135" fmla="*/ 270 h 27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10" h="270">
                        <a:moveTo>
                          <a:pt x="186" y="180"/>
                        </a:moveTo>
                        <a:lnTo>
                          <a:pt x="186" y="162"/>
                        </a:lnTo>
                        <a:lnTo>
                          <a:pt x="210" y="156"/>
                        </a:lnTo>
                        <a:lnTo>
                          <a:pt x="204" y="132"/>
                        </a:lnTo>
                        <a:lnTo>
                          <a:pt x="174" y="144"/>
                        </a:lnTo>
                        <a:lnTo>
                          <a:pt x="180" y="126"/>
                        </a:lnTo>
                        <a:lnTo>
                          <a:pt x="186" y="120"/>
                        </a:lnTo>
                        <a:lnTo>
                          <a:pt x="192" y="108"/>
                        </a:lnTo>
                        <a:lnTo>
                          <a:pt x="192" y="90"/>
                        </a:lnTo>
                        <a:lnTo>
                          <a:pt x="180" y="78"/>
                        </a:lnTo>
                        <a:lnTo>
                          <a:pt x="180" y="60"/>
                        </a:lnTo>
                        <a:lnTo>
                          <a:pt x="138" y="0"/>
                        </a:lnTo>
                        <a:lnTo>
                          <a:pt x="102" y="0"/>
                        </a:lnTo>
                        <a:lnTo>
                          <a:pt x="96" y="18"/>
                        </a:lnTo>
                        <a:lnTo>
                          <a:pt x="60" y="18"/>
                        </a:lnTo>
                        <a:lnTo>
                          <a:pt x="60" y="24"/>
                        </a:lnTo>
                        <a:lnTo>
                          <a:pt x="54" y="30"/>
                        </a:lnTo>
                        <a:lnTo>
                          <a:pt x="48" y="42"/>
                        </a:lnTo>
                        <a:lnTo>
                          <a:pt x="36" y="54"/>
                        </a:lnTo>
                        <a:lnTo>
                          <a:pt x="30" y="66"/>
                        </a:lnTo>
                        <a:lnTo>
                          <a:pt x="18" y="72"/>
                        </a:lnTo>
                        <a:lnTo>
                          <a:pt x="12" y="78"/>
                        </a:lnTo>
                        <a:lnTo>
                          <a:pt x="0" y="84"/>
                        </a:lnTo>
                        <a:lnTo>
                          <a:pt x="12" y="96"/>
                        </a:lnTo>
                        <a:lnTo>
                          <a:pt x="6" y="102"/>
                        </a:lnTo>
                        <a:lnTo>
                          <a:pt x="0" y="114"/>
                        </a:lnTo>
                        <a:lnTo>
                          <a:pt x="0" y="132"/>
                        </a:lnTo>
                        <a:lnTo>
                          <a:pt x="6" y="138"/>
                        </a:lnTo>
                        <a:lnTo>
                          <a:pt x="18" y="144"/>
                        </a:lnTo>
                        <a:lnTo>
                          <a:pt x="24" y="150"/>
                        </a:lnTo>
                        <a:lnTo>
                          <a:pt x="18" y="180"/>
                        </a:lnTo>
                        <a:lnTo>
                          <a:pt x="42" y="198"/>
                        </a:lnTo>
                        <a:lnTo>
                          <a:pt x="42" y="204"/>
                        </a:lnTo>
                        <a:lnTo>
                          <a:pt x="48" y="210"/>
                        </a:lnTo>
                        <a:lnTo>
                          <a:pt x="54" y="222"/>
                        </a:lnTo>
                        <a:lnTo>
                          <a:pt x="78" y="234"/>
                        </a:lnTo>
                        <a:lnTo>
                          <a:pt x="96" y="234"/>
                        </a:lnTo>
                        <a:lnTo>
                          <a:pt x="126" y="270"/>
                        </a:lnTo>
                        <a:lnTo>
                          <a:pt x="126" y="234"/>
                        </a:lnTo>
                        <a:lnTo>
                          <a:pt x="144" y="216"/>
                        </a:lnTo>
                        <a:lnTo>
                          <a:pt x="156" y="210"/>
                        </a:lnTo>
                        <a:lnTo>
                          <a:pt x="168" y="198"/>
                        </a:lnTo>
                        <a:lnTo>
                          <a:pt x="180" y="192"/>
                        </a:lnTo>
                        <a:lnTo>
                          <a:pt x="186" y="18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57" name="Senegal"/>
                  <p:cNvSpPr>
                    <a:spLocks/>
                  </p:cNvSpPr>
                  <p:nvPr/>
                </p:nvSpPr>
                <p:spPr bwMode="gray">
                  <a:xfrm>
                    <a:off x="2360" y="1963"/>
                    <a:ext cx="106" cy="94"/>
                  </a:xfrm>
                  <a:custGeom>
                    <a:avLst/>
                    <a:gdLst>
                      <a:gd name="T0" fmla="*/ 2147483647 w 414"/>
                      <a:gd name="T1" fmla="*/ 2147483647 h 366"/>
                      <a:gd name="T2" fmla="*/ 2147483647 w 414"/>
                      <a:gd name="T3" fmla="*/ 2147483647 h 366"/>
                      <a:gd name="T4" fmla="*/ 2147483647 w 414"/>
                      <a:gd name="T5" fmla="*/ 2147483647 h 366"/>
                      <a:gd name="T6" fmla="*/ 2147483647 w 414"/>
                      <a:gd name="T7" fmla="*/ 2147483647 h 366"/>
                      <a:gd name="T8" fmla="*/ 2147483647 w 414"/>
                      <a:gd name="T9" fmla="*/ 2147483647 h 366"/>
                      <a:gd name="T10" fmla="*/ 2147483647 w 414"/>
                      <a:gd name="T11" fmla="*/ 2147483647 h 366"/>
                      <a:gd name="T12" fmla="*/ 2147483647 w 414"/>
                      <a:gd name="T13" fmla="*/ 2147483647 h 366"/>
                      <a:gd name="T14" fmla="*/ 2147483647 w 414"/>
                      <a:gd name="T15" fmla="*/ 2147483647 h 366"/>
                      <a:gd name="T16" fmla="*/ 2147483647 w 414"/>
                      <a:gd name="T17" fmla="*/ 2147483647 h 366"/>
                      <a:gd name="T18" fmla="*/ 2147483647 w 414"/>
                      <a:gd name="T19" fmla="*/ 2147483647 h 366"/>
                      <a:gd name="T20" fmla="*/ 2147483647 w 414"/>
                      <a:gd name="T21" fmla="*/ 2147483647 h 366"/>
                      <a:gd name="T22" fmla="*/ 2147483647 w 414"/>
                      <a:gd name="T23" fmla="*/ 2147483647 h 366"/>
                      <a:gd name="T24" fmla="*/ 2147483647 w 414"/>
                      <a:gd name="T25" fmla="*/ 2147483647 h 366"/>
                      <a:gd name="T26" fmla="*/ 2147483647 w 414"/>
                      <a:gd name="T27" fmla="*/ 2147483647 h 366"/>
                      <a:gd name="T28" fmla="*/ 2147483647 w 414"/>
                      <a:gd name="T29" fmla="*/ 0 h 366"/>
                      <a:gd name="T30" fmla="*/ 2147483647 w 414"/>
                      <a:gd name="T31" fmla="*/ 2147483647 h 366"/>
                      <a:gd name="T32" fmla="*/ 2147483647 w 414"/>
                      <a:gd name="T33" fmla="*/ 2147483647 h 366"/>
                      <a:gd name="T34" fmla="*/ 2147483647 w 414"/>
                      <a:gd name="T35" fmla="*/ 2147483647 h 366"/>
                      <a:gd name="T36" fmla="*/ 2147483647 w 414"/>
                      <a:gd name="T37" fmla="*/ 2147483647 h 366"/>
                      <a:gd name="T38" fmla="*/ 2147483647 w 414"/>
                      <a:gd name="T39" fmla="*/ 2147483647 h 366"/>
                      <a:gd name="T40" fmla="*/ 2147483647 w 414"/>
                      <a:gd name="T41" fmla="*/ 2147483647 h 366"/>
                      <a:gd name="T42" fmla="*/ 0 w 414"/>
                      <a:gd name="T43" fmla="*/ 2147483647 h 366"/>
                      <a:gd name="T44" fmla="*/ 2147483647 w 414"/>
                      <a:gd name="T45" fmla="*/ 2147483647 h 366"/>
                      <a:gd name="T46" fmla="*/ 2147483647 w 414"/>
                      <a:gd name="T47" fmla="*/ 2147483647 h 366"/>
                      <a:gd name="T48" fmla="*/ 2147483647 w 414"/>
                      <a:gd name="T49" fmla="*/ 2147483647 h 366"/>
                      <a:gd name="T50" fmla="*/ 2147483647 w 414"/>
                      <a:gd name="T51" fmla="*/ 2147483647 h 366"/>
                      <a:gd name="T52" fmla="*/ 2147483647 w 414"/>
                      <a:gd name="T53" fmla="*/ 2147483647 h 366"/>
                      <a:gd name="T54" fmla="*/ 2147483647 w 414"/>
                      <a:gd name="T55" fmla="*/ 2147483647 h 366"/>
                      <a:gd name="T56" fmla="*/ 2147483647 w 414"/>
                      <a:gd name="T57" fmla="*/ 2147483647 h 366"/>
                      <a:gd name="T58" fmla="*/ 2147483647 w 414"/>
                      <a:gd name="T59" fmla="*/ 2147483647 h 366"/>
                      <a:gd name="T60" fmla="*/ 2147483647 w 414"/>
                      <a:gd name="T61" fmla="*/ 2147483647 h 366"/>
                      <a:gd name="T62" fmla="*/ 2147483647 w 414"/>
                      <a:gd name="T63" fmla="*/ 2147483647 h 366"/>
                      <a:gd name="T64" fmla="*/ 2147483647 w 414"/>
                      <a:gd name="T65" fmla="*/ 2147483647 h 366"/>
                      <a:gd name="T66" fmla="*/ 2147483647 w 414"/>
                      <a:gd name="T67" fmla="*/ 2147483647 h 366"/>
                      <a:gd name="T68" fmla="*/ 2147483647 w 414"/>
                      <a:gd name="T69" fmla="*/ 2147483647 h 366"/>
                      <a:gd name="T70" fmla="*/ 2147483647 w 414"/>
                      <a:gd name="T71" fmla="*/ 2147483647 h 366"/>
                      <a:gd name="T72" fmla="*/ 2147483647 w 414"/>
                      <a:gd name="T73" fmla="*/ 2147483647 h 366"/>
                      <a:gd name="T74" fmla="*/ 2147483647 w 414"/>
                      <a:gd name="T75" fmla="*/ 2147483647 h 366"/>
                      <a:gd name="T76" fmla="*/ 2147483647 w 414"/>
                      <a:gd name="T77" fmla="*/ 2147483647 h 366"/>
                      <a:gd name="T78" fmla="*/ 2147483647 w 414"/>
                      <a:gd name="T79" fmla="*/ 2147483647 h 366"/>
                      <a:gd name="T80" fmla="*/ 2147483647 w 414"/>
                      <a:gd name="T81" fmla="*/ 2147483647 h 366"/>
                      <a:gd name="T82" fmla="*/ 2147483647 w 414"/>
                      <a:gd name="T83" fmla="*/ 2147483647 h 366"/>
                      <a:gd name="T84" fmla="*/ 2147483647 w 414"/>
                      <a:gd name="T85" fmla="*/ 2147483647 h 366"/>
                      <a:gd name="T86" fmla="*/ 2147483647 w 414"/>
                      <a:gd name="T87" fmla="*/ 2147483647 h 366"/>
                      <a:gd name="T88" fmla="*/ 2147483647 w 414"/>
                      <a:gd name="T89" fmla="*/ 2147483647 h 366"/>
                      <a:gd name="T90" fmla="*/ 2147483647 w 414"/>
                      <a:gd name="T91" fmla="*/ 2147483647 h 366"/>
                      <a:gd name="T92" fmla="*/ 2147483647 w 414"/>
                      <a:gd name="T93" fmla="*/ 2147483647 h 366"/>
                      <a:gd name="T94" fmla="*/ 2147483647 w 414"/>
                      <a:gd name="T95" fmla="*/ 2147483647 h 366"/>
                      <a:gd name="T96" fmla="*/ 2147483647 w 414"/>
                      <a:gd name="T97" fmla="*/ 2147483647 h 366"/>
                      <a:gd name="T98" fmla="*/ 2147483647 w 414"/>
                      <a:gd name="T99" fmla="*/ 2147483647 h 366"/>
                      <a:gd name="T100" fmla="*/ 2147483647 w 414"/>
                      <a:gd name="T101" fmla="*/ 2147483647 h 366"/>
                      <a:gd name="T102" fmla="*/ 2147483647 w 414"/>
                      <a:gd name="T103" fmla="*/ 2147483647 h 366"/>
                      <a:gd name="T104" fmla="*/ 2147483647 w 414"/>
                      <a:gd name="T105" fmla="*/ 2147483647 h 3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14"/>
                      <a:gd name="T160" fmla="*/ 0 h 366"/>
                      <a:gd name="T161" fmla="*/ 414 w 414"/>
                      <a:gd name="T162" fmla="*/ 366 h 3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14" h="366">
                        <a:moveTo>
                          <a:pt x="402" y="270"/>
                        </a:moveTo>
                        <a:lnTo>
                          <a:pt x="396" y="270"/>
                        </a:lnTo>
                        <a:lnTo>
                          <a:pt x="396" y="276"/>
                        </a:lnTo>
                        <a:lnTo>
                          <a:pt x="384" y="276"/>
                        </a:lnTo>
                        <a:lnTo>
                          <a:pt x="378" y="270"/>
                        </a:lnTo>
                        <a:lnTo>
                          <a:pt x="378" y="246"/>
                        </a:lnTo>
                        <a:lnTo>
                          <a:pt x="384" y="240"/>
                        </a:lnTo>
                        <a:lnTo>
                          <a:pt x="384" y="222"/>
                        </a:lnTo>
                        <a:lnTo>
                          <a:pt x="372" y="210"/>
                        </a:lnTo>
                        <a:lnTo>
                          <a:pt x="372" y="204"/>
                        </a:lnTo>
                        <a:lnTo>
                          <a:pt x="360" y="186"/>
                        </a:lnTo>
                        <a:lnTo>
                          <a:pt x="360" y="162"/>
                        </a:lnTo>
                        <a:lnTo>
                          <a:pt x="348" y="138"/>
                        </a:lnTo>
                        <a:lnTo>
                          <a:pt x="318" y="132"/>
                        </a:lnTo>
                        <a:lnTo>
                          <a:pt x="318" y="108"/>
                        </a:lnTo>
                        <a:lnTo>
                          <a:pt x="312" y="102"/>
                        </a:lnTo>
                        <a:lnTo>
                          <a:pt x="294" y="102"/>
                        </a:lnTo>
                        <a:lnTo>
                          <a:pt x="294" y="72"/>
                        </a:lnTo>
                        <a:lnTo>
                          <a:pt x="288" y="60"/>
                        </a:lnTo>
                        <a:lnTo>
                          <a:pt x="288" y="54"/>
                        </a:lnTo>
                        <a:lnTo>
                          <a:pt x="282" y="48"/>
                        </a:lnTo>
                        <a:lnTo>
                          <a:pt x="264" y="48"/>
                        </a:lnTo>
                        <a:lnTo>
                          <a:pt x="252" y="54"/>
                        </a:lnTo>
                        <a:lnTo>
                          <a:pt x="246" y="42"/>
                        </a:lnTo>
                        <a:lnTo>
                          <a:pt x="234" y="30"/>
                        </a:lnTo>
                        <a:lnTo>
                          <a:pt x="228" y="18"/>
                        </a:lnTo>
                        <a:lnTo>
                          <a:pt x="222" y="18"/>
                        </a:lnTo>
                        <a:lnTo>
                          <a:pt x="210" y="12"/>
                        </a:lnTo>
                        <a:lnTo>
                          <a:pt x="186" y="12"/>
                        </a:lnTo>
                        <a:lnTo>
                          <a:pt x="162" y="0"/>
                        </a:lnTo>
                        <a:lnTo>
                          <a:pt x="162" y="18"/>
                        </a:lnTo>
                        <a:lnTo>
                          <a:pt x="132" y="12"/>
                        </a:lnTo>
                        <a:lnTo>
                          <a:pt x="120" y="18"/>
                        </a:lnTo>
                        <a:lnTo>
                          <a:pt x="114" y="18"/>
                        </a:lnTo>
                        <a:lnTo>
                          <a:pt x="108" y="12"/>
                        </a:lnTo>
                        <a:lnTo>
                          <a:pt x="102" y="12"/>
                        </a:lnTo>
                        <a:lnTo>
                          <a:pt x="90" y="18"/>
                        </a:lnTo>
                        <a:lnTo>
                          <a:pt x="84" y="24"/>
                        </a:lnTo>
                        <a:lnTo>
                          <a:pt x="66" y="60"/>
                        </a:lnTo>
                        <a:lnTo>
                          <a:pt x="60" y="66"/>
                        </a:lnTo>
                        <a:lnTo>
                          <a:pt x="60" y="90"/>
                        </a:lnTo>
                        <a:lnTo>
                          <a:pt x="48" y="96"/>
                        </a:lnTo>
                        <a:lnTo>
                          <a:pt x="30" y="132"/>
                        </a:lnTo>
                        <a:lnTo>
                          <a:pt x="0" y="162"/>
                        </a:lnTo>
                        <a:lnTo>
                          <a:pt x="6" y="168"/>
                        </a:lnTo>
                        <a:lnTo>
                          <a:pt x="12" y="168"/>
                        </a:lnTo>
                        <a:lnTo>
                          <a:pt x="18" y="174"/>
                        </a:lnTo>
                        <a:lnTo>
                          <a:pt x="24" y="186"/>
                        </a:lnTo>
                        <a:lnTo>
                          <a:pt x="24" y="204"/>
                        </a:lnTo>
                        <a:lnTo>
                          <a:pt x="42" y="222"/>
                        </a:lnTo>
                        <a:lnTo>
                          <a:pt x="42" y="246"/>
                        </a:lnTo>
                        <a:lnTo>
                          <a:pt x="48" y="252"/>
                        </a:lnTo>
                        <a:lnTo>
                          <a:pt x="126" y="252"/>
                        </a:lnTo>
                        <a:lnTo>
                          <a:pt x="126" y="240"/>
                        </a:lnTo>
                        <a:lnTo>
                          <a:pt x="180" y="240"/>
                        </a:lnTo>
                        <a:lnTo>
                          <a:pt x="180" y="252"/>
                        </a:lnTo>
                        <a:lnTo>
                          <a:pt x="192" y="246"/>
                        </a:lnTo>
                        <a:lnTo>
                          <a:pt x="198" y="252"/>
                        </a:lnTo>
                        <a:lnTo>
                          <a:pt x="204" y="264"/>
                        </a:lnTo>
                        <a:lnTo>
                          <a:pt x="216" y="264"/>
                        </a:lnTo>
                        <a:lnTo>
                          <a:pt x="222" y="258"/>
                        </a:lnTo>
                        <a:lnTo>
                          <a:pt x="246" y="258"/>
                        </a:lnTo>
                        <a:lnTo>
                          <a:pt x="252" y="264"/>
                        </a:lnTo>
                        <a:lnTo>
                          <a:pt x="252" y="270"/>
                        </a:lnTo>
                        <a:lnTo>
                          <a:pt x="246" y="276"/>
                        </a:lnTo>
                        <a:lnTo>
                          <a:pt x="234" y="282"/>
                        </a:lnTo>
                        <a:lnTo>
                          <a:pt x="228" y="288"/>
                        </a:lnTo>
                        <a:lnTo>
                          <a:pt x="204" y="288"/>
                        </a:lnTo>
                        <a:lnTo>
                          <a:pt x="186" y="282"/>
                        </a:lnTo>
                        <a:lnTo>
                          <a:pt x="180" y="270"/>
                        </a:lnTo>
                        <a:lnTo>
                          <a:pt x="168" y="264"/>
                        </a:lnTo>
                        <a:lnTo>
                          <a:pt x="162" y="258"/>
                        </a:lnTo>
                        <a:lnTo>
                          <a:pt x="156" y="264"/>
                        </a:lnTo>
                        <a:lnTo>
                          <a:pt x="150" y="276"/>
                        </a:lnTo>
                        <a:lnTo>
                          <a:pt x="126" y="276"/>
                        </a:lnTo>
                        <a:lnTo>
                          <a:pt x="120" y="282"/>
                        </a:lnTo>
                        <a:lnTo>
                          <a:pt x="108" y="282"/>
                        </a:lnTo>
                        <a:lnTo>
                          <a:pt x="108" y="294"/>
                        </a:lnTo>
                        <a:lnTo>
                          <a:pt x="36" y="294"/>
                        </a:lnTo>
                        <a:lnTo>
                          <a:pt x="36" y="318"/>
                        </a:lnTo>
                        <a:lnTo>
                          <a:pt x="30" y="324"/>
                        </a:lnTo>
                        <a:lnTo>
                          <a:pt x="30" y="336"/>
                        </a:lnTo>
                        <a:lnTo>
                          <a:pt x="36" y="342"/>
                        </a:lnTo>
                        <a:lnTo>
                          <a:pt x="42" y="354"/>
                        </a:lnTo>
                        <a:lnTo>
                          <a:pt x="48" y="360"/>
                        </a:lnTo>
                        <a:lnTo>
                          <a:pt x="60" y="366"/>
                        </a:lnTo>
                        <a:lnTo>
                          <a:pt x="66" y="366"/>
                        </a:lnTo>
                        <a:lnTo>
                          <a:pt x="72" y="360"/>
                        </a:lnTo>
                        <a:lnTo>
                          <a:pt x="78" y="360"/>
                        </a:lnTo>
                        <a:lnTo>
                          <a:pt x="90" y="348"/>
                        </a:lnTo>
                        <a:lnTo>
                          <a:pt x="126" y="348"/>
                        </a:lnTo>
                        <a:lnTo>
                          <a:pt x="156" y="324"/>
                        </a:lnTo>
                        <a:lnTo>
                          <a:pt x="294" y="330"/>
                        </a:lnTo>
                        <a:lnTo>
                          <a:pt x="294" y="336"/>
                        </a:lnTo>
                        <a:lnTo>
                          <a:pt x="300" y="348"/>
                        </a:lnTo>
                        <a:lnTo>
                          <a:pt x="318" y="348"/>
                        </a:lnTo>
                        <a:lnTo>
                          <a:pt x="324" y="342"/>
                        </a:lnTo>
                        <a:lnTo>
                          <a:pt x="330" y="348"/>
                        </a:lnTo>
                        <a:lnTo>
                          <a:pt x="336" y="360"/>
                        </a:lnTo>
                        <a:lnTo>
                          <a:pt x="342" y="366"/>
                        </a:lnTo>
                        <a:lnTo>
                          <a:pt x="354" y="366"/>
                        </a:lnTo>
                        <a:lnTo>
                          <a:pt x="366" y="360"/>
                        </a:lnTo>
                        <a:lnTo>
                          <a:pt x="372" y="354"/>
                        </a:lnTo>
                        <a:lnTo>
                          <a:pt x="414" y="354"/>
                        </a:lnTo>
                        <a:lnTo>
                          <a:pt x="414" y="288"/>
                        </a:lnTo>
                        <a:lnTo>
                          <a:pt x="408" y="276"/>
                        </a:lnTo>
                        <a:lnTo>
                          <a:pt x="402" y="27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58" name="Saudi Arabia"/>
                  <p:cNvSpPr>
                    <a:spLocks/>
                  </p:cNvSpPr>
                  <p:nvPr/>
                </p:nvSpPr>
                <p:spPr bwMode="gray">
                  <a:xfrm>
                    <a:off x="3269" y="1647"/>
                    <a:ext cx="380" cy="326"/>
                  </a:xfrm>
                  <a:custGeom>
                    <a:avLst/>
                    <a:gdLst>
                      <a:gd name="T0" fmla="*/ 2147483647 w 1488"/>
                      <a:gd name="T1" fmla="*/ 2147483647 h 1278"/>
                      <a:gd name="T2" fmla="*/ 2147483647 w 1488"/>
                      <a:gd name="T3" fmla="*/ 2147483647 h 1278"/>
                      <a:gd name="T4" fmla="*/ 2147483647 w 1488"/>
                      <a:gd name="T5" fmla="*/ 2147483647 h 1278"/>
                      <a:gd name="T6" fmla="*/ 2147483647 w 1488"/>
                      <a:gd name="T7" fmla="*/ 2147483647 h 1278"/>
                      <a:gd name="T8" fmla="*/ 2147483647 w 1488"/>
                      <a:gd name="T9" fmla="*/ 2147483647 h 1278"/>
                      <a:gd name="T10" fmla="*/ 2147483647 w 1488"/>
                      <a:gd name="T11" fmla="*/ 2147483647 h 1278"/>
                      <a:gd name="T12" fmla="*/ 2147483647 w 1488"/>
                      <a:gd name="T13" fmla="*/ 2147483647 h 1278"/>
                      <a:gd name="T14" fmla="*/ 2147483647 w 1488"/>
                      <a:gd name="T15" fmla="*/ 2147483647 h 1278"/>
                      <a:gd name="T16" fmla="*/ 2147483647 w 1488"/>
                      <a:gd name="T17" fmla="*/ 2147483647 h 1278"/>
                      <a:gd name="T18" fmla="*/ 2147483647 w 1488"/>
                      <a:gd name="T19" fmla="*/ 2147483647 h 1278"/>
                      <a:gd name="T20" fmla="*/ 2147483647 w 1488"/>
                      <a:gd name="T21" fmla="*/ 2147483647 h 1278"/>
                      <a:gd name="T22" fmla="*/ 2147483647 w 1488"/>
                      <a:gd name="T23" fmla="*/ 2147483647 h 1278"/>
                      <a:gd name="T24" fmla="*/ 2147483647 w 1488"/>
                      <a:gd name="T25" fmla="*/ 2147483647 h 1278"/>
                      <a:gd name="T26" fmla="*/ 2147483647 w 1488"/>
                      <a:gd name="T27" fmla="*/ 2147483647 h 1278"/>
                      <a:gd name="T28" fmla="*/ 2147483647 w 1488"/>
                      <a:gd name="T29" fmla="*/ 2147483647 h 1278"/>
                      <a:gd name="T30" fmla="*/ 2147483647 w 1488"/>
                      <a:gd name="T31" fmla="*/ 2147483647 h 1278"/>
                      <a:gd name="T32" fmla="*/ 2147483647 w 1488"/>
                      <a:gd name="T33" fmla="*/ 2147483647 h 1278"/>
                      <a:gd name="T34" fmla="*/ 2147483647 w 1488"/>
                      <a:gd name="T35" fmla="*/ 2147483647 h 1278"/>
                      <a:gd name="T36" fmla="*/ 2147483647 w 1488"/>
                      <a:gd name="T37" fmla="*/ 2147483647 h 1278"/>
                      <a:gd name="T38" fmla="*/ 2147483647 w 1488"/>
                      <a:gd name="T39" fmla="*/ 0 h 1278"/>
                      <a:gd name="T40" fmla="*/ 2147483647 w 1488"/>
                      <a:gd name="T41" fmla="*/ 2147483647 h 1278"/>
                      <a:gd name="T42" fmla="*/ 2147483647 w 1488"/>
                      <a:gd name="T43" fmla="*/ 2147483647 h 1278"/>
                      <a:gd name="T44" fmla="*/ 2147483647 w 1488"/>
                      <a:gd name="T45" fmla="*/ 2147483647 h 1278"/>
                      <a:gd name="T46" fmla="*/ 2147483647 w 1488"/>
                      <a:gd name="T47" fmla="*/ 2147483647 h 1278"/>
                      <a:gd name="T48" fmla="*/ 2147483647 w 1488"/>
                      <a:gd name="T49" fmla="*/ 2147483647 h 1278"/>
                      <a:gd name="T50" fmla="*/ 2147483647 w 1488"/>
                      <a:gd name="T51" fmla="*/ 2147483647 h 1278"/>
                      <a:gd name="T52" fmla="*/ 2147483647 w 1488"/>
                      <a:gd name="T53" fmla="*/ 2147483647 h 1278"/>
                      <a:gd name="T54" fmla="*/ 2147483647 w 1488"/>
                      <a:gd name="T55" fmla="*/ 2147483647 h 1278"/>
                      <a:gd name="T56" fmla="*/ 2147483647 w 1488"/>
                      <a:gd name="T57" fmla="*/ 2147483647 h 1278"/>
                      <a:gd name="T58" fmla="*/ 2147483647 w 1488"/>
                      <a:gd name="T59" fmla="*/ 2147483647 h 1278"/>
                      <a:gd name="T60" fmla="*/ 2147483647 w 1488"/>
                      <a:gd name="T61" fmla="*/ 2147483647 h 1278"/>
                      <a:gd name="T62" fmla="*/ 0 w 1488"/>
                      <a:gd name="T63" fmla="*/ 2147483647 h 1278"/>
                      <a:gd name="T64" fmla="*/ 2147483647 w 1488"/>
                      <a:gd name="T65" fmla="*/ 2147483647 h 1278"/>
                      <a:gd name="T66" fmla="*/ 2147483647 w 1488"/>
                      <a:gd name="T67" fmla="*/ 2147483647 h 1278"/>
                      <a:gd name="T68" fmla="*/ 2147483647 w 1488"/>
                      <a:gd name="T69" fmla="*/ 2147483647 h 1278"/>
                      <a:gd name="T70" fmla="*/ 2147483647 w 1488"/>
                      <a:gd name="T71" fmla="*/ 2147483647 h 1278"/>
                      <a:gd name="T72" fmla="*/ 2147483647 w 1488"/>
                      <a:gd name="T73" fmla="*/ 2147483647 h 1278"/>
                      <a:gd name="T74" fmla="*/ 2147483647 w 1488"/>
                      <a:gd name="T75" fmla="*/ 2147483647 h 1278"/>
                      <a:gd name="T76" fmla="*/ 2147483647 w 1488"/>
                      <a:gd name="T77" fmla="*/ 2147483647 h 1278"/>
                      <a:gd name="T78" fmla="*/ 2147483647 w 1488"/>
                      <a:gd name="T79" fmla="*/ 2147483647 h 1278"/>
                      <a:gd name="T80" fmla="*/ 2147483647 w 1488"/>
                      <a:gd name="T81" fmla="*/ 2147483647 h 1278"/>
                      <a:gd name="T82" fmla="*/ 2147483647 w 1488"/>
                      <a:gd name="T83" fmla="*/ 2147483647 h 1278"/>
                      <a:gd name="T84" fmla="*/ 2147483647 w 1488"/>
                      <a:gd name="T85" fmla="*/ 2147483647 h 1278"/>
                      <a:gd name="T86" fmla="*/ 2147483647 w 1488"/>
                      <a:gd name="T87" fmla="*/ 2147483647 h 1278"/>
                      <a:gd name="T88" fmla="*/ 2147483647 w 1488"/>
                      <a:gd name="T89" fmla="*/ 2147483647 h 1278"/>
                      <a:gd name="T90" fmla="*/ 2147483647 w 1488"/>
                      <a:gd name="T91" fmla="*/ 2147483647 h 1278"/>
                      <a:gd name="T92" fmla="*/ 2147483647 w 1488"/>
                      <a:gd name="T93" fmla="*/ 2147483647 h 1278"/>
                      <a:gd name="T94" fmla="*/ 2147483647 w 1488"/>
                      <a:gd name="T95" fmla="*/ 2147483647 h 1278"/>
                      <a:gd name="T96" fmla="*/ 2147483647 w 1488"/>
                      <a:gd name="T97" fmla="*/ 2147483647 h 1278"/>
                      <a:gd name="T98" fmla="*/ 2147483647 w 1488"/>
                      <a:gd name="T99" fmla="*/ 2147483647 h 1278"/>
                      <a:gd name="T100" fmla="*/ 2147483647 w 1488"/>
                      <a:gd name="T101" fmla="*/ 2147483647 h 1278"/>
                      <a:gd name="T102" fmla="*/ 2147483647 w 1488"/>
                      <a:gd name="T103" fmla="*/ 2147483647 h 1278"/>
                      <a:gd name="T104" fmla="*/ 2147483647 w 1488"/>
                      <a:gd name="T105" fmla="*/ 2147483647 h 1278"/>
                      <a:gd name="T106" fmla="*/ 2147483647 w 1488"/>
                      <a:gd name="T107" fmla="*/ 2147483647 h 1278"/>
                      <a:gd name="T108" fmla="*/ 2147483647 w 1488"/>
                      <a:gd name="T109" fmla="*/ 2147483647 h 1278"/>
                      <a:gd name="T110" fmla="*/ 2147483647 w 1488"/>
                      <a:gd name="T111" fmla="*/ 2147483647 h 1278"/>
                      <a:gd name="T112" fmla="*/ 2147483647 w 1488"/>
                      <a:gd name="T113" fmla="*/ 2147483647 h 1278"/>
                      <a:gd name="T114" fmla="*/ 2147483647 w 1488"/>
                      <a:gd name="T115" fmla="*/ 2147483647 h 1278"/>
                      <a:gd name="T116" fmla="*/ 2147483647 w 1488"/>
                      <a:gd name="T117" fmla="*/ 2147483647 h 1278"/>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488"/>
                      <a:gd name="T178" fmla="*/ 0 h 1278"/>
                      <a:gd name="T179" fmla="*/ 1488 w 1488"/>
                      <a:gd name="T180" fmla="*/ 1278 h 1278"/>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488" h="1278">
                        <a:moveTo>
                          <a:pt x="1464" y="792"/>
                        </a:moveTo>
                        <a:lnTo>
                          <a:pt x="1464" y="780"/>
                        </a:lnTo>
                        <a:lnTo>
                          <a:pt x="1458" y="774"/>
                        </a:lnTo>
                        <a:lnTo>
                          <a:pt x="1416" y="768"/>
                        </a:lnTo>
                        <a:lnTo>
                          <a:pt x="1320" y="756"/>
                        </a:lnTo>
                        <a:lnTo>
                          <a:pt x="1284" y="750"/>
                        </a:lnTo>
                        <a:lnTo>
                          <a:pt x="1266" y="750"/>
                        </a:lnTo>
                        <a:lnTo>
                          <a:pt x="1260" y="738"/>
                        </a:lnTo>
                        <a:lnTo>
                          <a:pt x="1248" y="732"/>
                        </a:lnTo>
                        <a:lnTo>
                          <a:pt x="1242" y="720"/>
                        </a:lnTo>
                        <a:lnTo>
                          <a:pt x="1218" y="696"/>
                        </a:lnTo>
                        <a:lnTo>
                          <a:pt x="1206" y="672"/>
                        </a:lnTo>
                        <a:lnTo>
                          <a:pt x="1188" y="654"/>
                        </a:lnTo>
                        <a:lnTo>
                          <a:pt x="1188" y="642"/>
                        </a:lnTo>
                        <a:lnTo>
                          <a:pt x="1182" y="636"/>
                        </a:lnTo>
                        <a:lnTo>
                          <a:pt x="1182" y="618"/>
                        </a:lnTo>
                        <a:lnTo>
                          <a:pt x="1176" y="624"/>
                        </a:lnTo>
                        <a:lnTo>
                          <a:pt x="1164" y="612"/>
                        </a:lnTo>
                        <a:lnTo>
                          <a:pt x="1146" y="612"/>
                        </a:lnTo>
                        <a:lnTo>
                          <a:pt x="1140" y="600"/>
                        </a:lnTo>
                        <a:lnTo>
                          <a:pt x="1134" y="594"/>
                        </a:lnTo>
                        <a:lnTo>
                          <a:pt x="1128" y="582"/>
                        </a:lnTo>
                        <a:lnTo>
                          <a:pt x="1122" y="564"/>
                        </a:lnTo>
                        <a:lnTo>
                          <a:pt x="1116" y="552"/>
                        </a:lnTo>
                        <a:lnTo>
                          <a:pt x="1116" y="540"/>
                        </a:lnTo>
                        <a:lnTo>
                          <a:pt x="1110" y="534"/>
                        </a:lnTo>
                        <a:lnTo>
                          <a:pt x="1098" y="528"/>
                        </a:lnTo>
                        <a:lnTo>
                          <a:pt x="1086" y="516"/>
                        </a:lnTo>
                        <a:lnTo>
                          <a:pt x="1074" y="510"/>
                        </a:lnTo>
                        <a:lnTo>
                          <a:pt x="1068" y="498"/>
                        </a:lnTo>
                        <a:lnTo>
                          <a:pt x="1068" y="462"/>
                        </a:lnTo>
                        <a:lnTo>
                          <a:pt x="1062" y="450"/>
                        </a:lnTo>
                        <a:lnTo>
                          <a:pt x="1062" y="438"/>
                        </a:lnTo>
                        <a:lnTo>
                          <a:pt x="1050" y="426"/>
                        </a:lnTo>
                        <a:lnTo>
                          <a:pt x="1002" y="402"/>
                        </a:lnTo>
                        <a:lnTo>
                          <a:pt x="996" y="396"/>
                        </a:lnTo>
                        <a:lnTo>
                          <a:pt x="990" y="384"/>
                        </a:lnTo>
                        <a:lnTo>
                          <a:pt x="990" y="360"/>
                        </a:lnTo>
                        <a:lnTo>
                          <a:pt x="972" y="342"/>
                        </a:lnTo>
                        <a:lnTo>
                          <a:pt x="966" y="330"/>
                        </a:lnTo>
                        <a:lnTo>
                          <a:pt x="960" y="324"/>
                        </a:lnTo>
                        <a:lnTo>
                          <a:pt x="960" y="300"/>
                        </a:lnTo>
                        <a:lnTo>
                          <a:pt x="954" y="300"/>
                        </a:lnTo>
                        <a:lnTo>
                          <a:pt x="948" y="294"/>
                        </a:lnTo>
                        <a:lnTo>
                          <a:pt x="882" y="294"/>
                        </a:lnTo>
                        <a:lnTo>
                          <a:pt x="876" y="288"/>
                        </a:lnTo>
                        <a:lnTo>
                          <a:pt x="876" y="252"/>
                        </a:lnTo>
                        <a:lnTo>
                          <a:pt x="852" y="246"/>
                        </a:lnTo>
                        <a:lnTo>
                          <a:pt x="804" y="246"/>
                        </a:lnTo>
                        <a:lnTo>
                          <a:pt x="750" y="240"/>
                        </a:lnTo>
                        <a:lnTo>
                          <a:pt x="684" y="240"/>
                        </a:lnTo>
                        <a:lnTo>
                          <a:pt x="492" y="96"/>
                        </a:lnTo>
                        <a:lnTo>
                          <a:pt x="480" y="90"/>
                        </a:lnTo>
                        <a:lnTo>
                          <a:pt x="474" y="84"/>
                        </a:lnTo>
                        <a:lnTo>
                          <a:pt x="426" y="60"/>
                        </a:lnTo>
                        <a:lnTo>
                          <a:pt x="414" y="48"/>
                        </a:lnTo>
                        <a:lnTo>
                          <a:pt x="402" y="42"/>
                        </a:lnTo>
                        <a:lnTo>
                          <a:pt x="372" y="12"/>
                        </a:lnTo>
                        <a:lnTo>
                          <a:pt x="306" y="12"/>
                        </a:lnTo>
                        <a:lnTo>
                          <a:pt x="294" y="0"/>
                        </a:lnTo>
                        <a:lnTo>
                          <a:pt x="288" y="6"/>
                        </a:lnTo>
                        <a:lnTo>
                          <a:pt x="276" y="12"/>
                        </a:lnTo>
                        <a:lnTo>
                          <a:pt x="270" y="12"/>
                        </a:lnTo>
                        <a:lnTo>
                          <a:pt x="264" y="18"/>
                        </a:lnTo>
                        <a:lnTo>
                          <a:pt x="252" y="24"/>
                        </a:lnTo>
                        <a:lnTo>
                          <a:pt x="210" y="24"/>
                        </a:lnTo>
                        <a:lnTo>
                          <a:pt x="198" y="48"/>
                        </a:lnTo>
                        <a:lnTo>
                          <a:pt x="132" y="48"/>
                        </a:lnTo>
                        <a:lnTo>
                          <a:pt x="120" y="54"/>
                        </a:lnTo>
                        <a:lnTo>
                          <a:pt x="108" y="54"/>
                        </a:lnTo>
                        <a:lnTo>
                          <a:pt x="108" y="60"/>
                        </a:lnTo>
                        <a:lnTo>
                          <a:pt x="132" y="60"/>
                        </a:lnTo>
                        <a:lnTo>
                          <a:pt x="144" y="66"/>
                        </a:lnTo>
                        <a:lnTo>
                          <a:pt x="156" y="66"/>
                        </a:lnTo>
                        <a:lnTo>
                          <a:pt x="180" y="90"/>
                        </a:lnTo>
                        <a:lnTo>
                          <a:pt x="192" y="114"/>
                        </a:lnTo>
                        <a:lnTo>
                          <a:pt x="198" y="120"/>
                        </a:lnTo>
                        <a:lnTo>
                          <a:pt x="198" y="132"/>
                        </a:lnTo>
                        <a:lnTo>
                          <a:pt x="192" y="138"/>
                        </a:lnTo>
                        <a:lnTo>
                          <a:pt x="192" y="150"/>
                        </a:lnTo>
                        <a:lnTo>
                          <a:pt x="186" y="156"/>
                        </a:lnTo>
                        <a:lnTo>
                          <a:pt x="180" y="168"/>
                        </a:lnTo>
                        <a:lnTo>
                          <a:pt x="174" y="174"/>
                        </a:lnTo>
                        <a:lnTo>
                          <a:pt x="162" y="180"/>
                        </a:lnTo>
                        <a:lnTo>
                          <a:pt x="150" y="180"/>
                        </a:lnTo>
                        <a:lnTo>
                          <a:pt x="138" y="186"/>
                        </a:lnTo>
                        <a:lnTo>
                          <a:pt x="132" y="186"/>
                        </a:lnTo>
                        <a:lnTo>
                          <a:pt x="120" y="198"/>
                        </a:lnTo>
                        <a:lnTo>
                          <a:pt x="120" y="210"/>
                        </a:lnTo>
                        <a:lnTo>
                          <a:pt x="108" y="234"/>
                        </a:lnTo>
                        <a:lnTo>
                          <a:pt x="96" y="246"/>
                        </a:lnTo>
                        <a:lnTo>
                          <a:pt x="60" y="246"/>
                        </a:lnTo>
                        <a:lnTo>
                          <a:pt x="36" y="234"/>
                        </a:lnTo>
                        <a:lnTo>
                          <a:pt x="6" y="234"/>
                        </a:lnTo>
                        <a:lnTo>
                          <a:pt x="6" y="264"/>
                        </a:lnTo>
                        <a:lnTo>
                          <a:pt x="0" y="306"/>
                        </a:lnTo>
                        <a:lnTo>
                          <a:pt x="0" y="348"/>
                        </a:lnTo>
                        <a:lnTo>
                          <a:pt x="6" y="372"/>
                        </a:lnTo>
                        <a:lnTo>
                          <a:pt x="24" y="378"/>
                        </a:lnTo>
                        <a:lnTo>
                          <a:pt x="36" y="390"/>
                        </a:lnTo>
                        <a:lnTo>
                          <a:pt x="54" y="390"/>
                        </a:lnTo>
                        <a:lnTo>
                          <a:pt x="72" y="408"/>
                        </a:lnTo>
                        <a:lnTo>
                          <a:pt x="90" y="438"/>
                        </a:lnTo>
                        <a:lnTo>
                          <a:pt x="102" y="474"/>
                        </a:lnTo>
                        <a:lnTo>
                          <a:pt x="120" y="504"/>
                        </a:lnTo>
                        <a:lnTo>
                          <a:pt x="132" y="516"/>
                        </a:lnTo>
                        <a:lnTo>
                          <a:pt x="150" y="528"/>
                        </a:lnTo>
                        <a:lnTo>
                          <a:pt x="162" y="540"/>
                        </a:lnTo>
                        <a:lnTo>
                          <a:pt x="174" y="558"/>
                        </a:lnTo>
                        <a:lnTo>
                          <a:pt x="180" y="570"/>
                        </a:lnTo>
                        <a:lnTo>
                          <a:pt x="186" y="594"/>
                        </a:lnTo>
                        <a:lnTo>
                          <a:pt x="192" y="612"/>
                        </a:lnTo>
                        <a:lnTo>
                          <a:pt x="198" y="636"/>
                        </a:lnTo>
                        <a:lnTo>
                          <a:pt x="210" y="648"/>
                        </a:lnTo>
                        <a:lnTo>
                          <a:pt x="234" y="660"/>
                        </a:lnTo>
                        <a:lnTo>
                          <a:pt x="264" y="660"/>
                        </a:lnTo>
                        <a:lnTo>
                          <a:pt x="282" y="666"/>
                        </a:lnTo>
                        <a:lnTo>
                          <a:pt x="294" y="678"/>
                        </a:lnTo>
                        <a:lnTo>
                          <a:pt x="312" y="708"/>
                        </a:lnTo>
                        <a:lnTo>
                          <a:pt x="330" y="756"/>
                        </a:lnTo>
                        <a:lnTo>
                          <a:pt x="336" y="804"/>
                        </a:lnTo>
                        <a:lnTo>
                          <a:pt x="342" y="840"/>
                        </a:lnTo>
                        <a:lnTo>
                          <a:pt x="348" y="870"/>
                        </a:lnTo>
                        <a:lnTo>
                          <a:pt x="366" y="906"/>
                        </a:lnTo>
                        <a:lnTo>
                          <a:pt x="384" y="924"/>
                        </a:lnTo>
                        <a:lnTo>
                          <a:pt x="390" y="936"/>
                        </a:lnTo>
                        <a:lnTo>
                          <a:pt x="414" y="936"/>
                        </a:lnTo>
                        <a:lnTo>
                          <a:pt x="438" y="948"/>
                        </a:lnTo>
                        <a:lnTo>
                          <a:pt x="456" y="972"/>
                        </a:lnTo>
                        <a:lnTo>
                          <a:pt x="480" y="1008"/>
                        </a:lnTo>
                        <a:lnTo>
                          <a:pt x="504" y="1056"/>
                        </a:lnTo>
                        <a:lnTo>
                          <a:pt x="552" y="1128"/>
                        </a:lnTo>
                        <a:lnTo>
                          <a:pt x="582" y="1170"/>
                        </a:lnTo>
                        <a:lnTo>
                          <a:pt x="606" y="1206"/>
                        </a:lnTo>
                        <a:lnTo>
                          <a:pt x="618" y="1236"/>
                        </a:lnTo>
                        <a:lnTo>
                          <a:pt x="618" y="1266"/>
                        </a:lnTo>
                        <a:lnTo>
                          <a:pt x="612" y="1278"/>
                        </a:lnTo>
                        <a:lnTo>
                          <a:pt x="624" y="1266"/>
                        </a:lnTo>
                        <a:lnTo>
                          <a:pt x="630" y="1254"/>
                        </a:lnTo>
                        <a:lnTo>
                          <a:pt x="636" y="1248"/>
                        </a:lnTo>
                        <a:lnTo>
                          <a:pt x="636" y="1200"/>
                        </a:lnTo>
                        <a:lnTo>
                          <a:pt x="642" y="1188"/>
                        </a:lnTo>
                        <a:lnTo>
                          <a:pt x="648" y="1182"/>
                        </a:lnTo>
                        <a:lnTo>
                          <a:pt x="654" y="1182"/>
                        </a:lnTo>
                        <a:lnTo>
                          <a:pt x="672" y="1200"/>
                        </a:lnTo>
                        <a:lnTo>
                          <a:pt x="696" y="1194"/>
                        </a:lnTo>
                        <a:lnTo>
                          <a:pt x="702" y="1188"/>
                        </a:lnTo>
                        <a:lnTo>
                          <a:pt x="792" y="1188"/>
                        </a:lnTo>
                        <a:lnTo>
                          <a:pt x="804" y="1194"/>
                        </a:lnTo>
                        <a:lnTo>
                          <a:pt x="810" y="1200"/>
                        </a:lnTo>
                        <a:lnTo>
                          <a:pt x="888" y="1200"/>
                        </a:lnTo>
                        <a:lnTo>
                          <a:pt x="894" y="1206"/>
                        </a:lnTo>
                        <a:lnTo>
                          <a:pt x="900" y="1218"/>
                        </a:lnTo>
                        <a:lnTo>
                          <a:pt x="912" y="1224"/>
                        </a:lnTo>
                        <a:lnTo>
                          <a:pt x="924" y="1224"/>
                        </a:lnTo>
                        <a:lnTo>
                          <a:pt x="930" y="1212"/>
                        </a:lnTo>
                        <a:lnTo>
                          <a:pt x="936" y="1206"/>
                        </a:lnTo>
                        <a:lnTo>
                          <a:pt x="936" y="1188"/>
                        </a:lnTo>
                        <a:lnTo>
                          <a:pt x="942" y="1176"/>
                        </a:lnTo>
                        <a:lnTo>
                          <a:pt x="948" y="1170"/>
                        </a:lnTo>
                        <a:lnTo>
                          <a:pt x="954" y="1158"/>
                        </a:lnTo>
                        <a:lnTo>
                          <a:pt x="966" y="1146"/>
                        </a:lnTo>
                        <a:lnTo>
                          <a:pt x="972" y="1134"/>
                        </a:lnTo>
                        <a:lnTo>
                          <a:pt x="990" y="1116"/>
                        </a:lnTo>
                        <a:lnTo>
                          <a:pt x="1020" y="1098"/>
                        </a:lnTo>
                        <a:lnTo>
                          <a:pt x="1050" y="1092"/>
                        </a:lnTo>
                        <a:lnTo>
                          <a:pt x="1068" y="1086"/>
                        </a:lnTo>
                        <a:lnTo>
                          <a:pt x="1092" y="1086"/>
                        </a:lnTo>
                        <a:lnTo>
                          <a:pt x="1140" y="1080"/>
                        </a:lnTo>
                        <a:lnTo>
                          <a:pt x="1188" y="1068"/>
                        </a:lnTo>
                        <a:lnTo>
                          <a:pt x="1230" y="1062"/>
                        </a:lnTo>
                        <a:lnTo>
                          <a:pt x="1248" y="1062"/>
                        </a:lnTo>
                        <a:lnTo>
                          <a:pt x="1452" y="990"/>
                        </a:lnTo>
                        <a:lnTo>
                          <a:pt x="1488" y="816"/>
                        </a:lnTo>
                        <a:lnTo>
                          <a:pt x="1482" y="810"/>
                        </a:lnTo>
                        <a:lnTo>
                          <a:pt x="1470" y="804"/>
                        </a:lnTo>
                        <a:lnTo>
                          <a:pt x="1464" y="798"/>
                        </a:lnTo>
                        <a:lnTo>
                          <a:pt x="1464" y="79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59" name="Rwanda"/>
                  <p:cNvSpPr>
                    <a:spLocks/>
                  </p:cNvSpPr>
                  <p:nvPr/>
                </p:nvSpPr>
                <p:spPr bwMode="gray">
                  <a:xfrm>
                    <a:off x="3177" y="2331"/>
                    <a:ext cx="38" cy="38"/>
                  </a:xfrm>
                  <a:custGeom>
                    <a:avLst/>
                    <a:gdLst>
                      <a:gd name="T0" fmla="*/ 2147483647 w 150"/>
                      <a:gd name="T1" fmla="*/ 2147483647 h 150"/>
                      <a:gd name="T2" fmla="*/ 2147483647 w 150"/>
                      <a:gd name="T3" fmla="*/ 2147483647 h 150"/>
                      <a:gd name="T4" fmla="*/ 2147483647 w 150"/>
                      <a:gd name="T5" fmla="*/ 2147483647 h 150"/>
                      <a:gd name="T6" fmla="*/ 2147483647 w 150"/>
                      <a:gd name="T7" fmla="*/ 2147483647 h 150"/>
                      <a:gd name="T8" fmla="*/ 2147483647 w 150"/>
                      <a:gd name="T9" fmla="*/ 2147483647 h 150"/>
                      <a:gd name="T10" fmla="*/ 2147483647 w 150"/>
                      <a:gd name="T11" fmla="*/ 2147483647 h 150"/>
                      <a:gd name="T12" fmla="*/ 2147483647 w 150"/>
                      <a:gd name="T13" fmla="*/ 2147483647 h 150"/>
                      <a:gd name="T14" fmla="*/ 2147483647 w 150"/>
                      <a:gd name="T15" fmla="*/ 2147483647 h 150"/>
                      <a:gd name="T16" fmla="*/ 2147483647 w 150"/>
                      <a:gd name="T17" fmla="*/ 2147483647 h 150"/>
                      <a:gd name="T18" fmla="*/ 2147483647 w 150"/>
                      <a:gd name="T19" fmla="*/ 2147483647 h 150"/>
                      <a:gd name="T20" fmla="*/ 2147483647 w 150"/>
                      <a:gd name="T21" fmla="*/ 2147483647 h 150"/>
                      <a:gd name="T22" fmla="*/ 2147483647 w 150"/>
                      <a:gd name="T23" fmla="*/ 2147483647 h 150"/>
                      <a:gd name="T24" fmla="*/ 2147483647 w 150"/>
                      <a:gd name="T25" fmla="*/ 2147483647 h 150"/>
                      <a:gd name="T26" fmla="*/ 2147483647 w 150"/>
                      <a:gd name="T27" fmla="*/ 0 h 150"/>
                      <a:gd name="T28" fmla="*/ 2147483647 w 150"/>
                      <a:gd name="T29" fmla="*/ 2147483647 h 150"/>
                      <a:gd name="T30" fmla="*/ 2147483647 w 150"/>
                      <a:gd name="T31" fmla="*/ 2147483647 h 150"/>
                      <a:gd name="T32" fmla="*/ 2147483647 w 150"/>
                      <a:gd name="T33" fmla="*/ 2147483647 h 150"/>
                      <a:gd name="T34" fmla="*/ 2147483647 w 150"/>
                      <a:gd name="T35" fmla="*/ 2147483647 h 150"/>
                      <a:gd name="T36" fmla="*/ 2147483647 w 150"/>
                      <a:gd name="T37" fmla="*/ 2147483647 h 150"/>
                      <a:gd name="T38" fmla="*/ 2147483647 w 150"/>
                      <a:gd name="T39" fmla="*/ 2147483647 h 150"/>
                      <a:gd name="T40" fmla="*/ 2147483647 w 150"/>
                      <a:gd name="T41" fmla="*/ 2147483647 h 150"/>
                      <a:gd name="T42" fmla="*/ 2147483647 w 150"/>
                      <a:gd name="T43" fmla="*/ 2147483647 h 150"/>
                      <a:gd name="T44" fmla="*/ 2147483647 w 150"/>
                      <a:gd name="T45" fmla="*/ 2147483647 h 150"/>
                      <a:gd name="T46" fmla="*/ 2147483647 w 150"/>
                      <a:gd name="T47" fmla="*/ 2147483647 h 150"/>
                      <a:gd name="T48" fmla="*/ 2147483647 w 150"/>
                      <a:gd name="T49" fmla="*/ 2147483647 h 150"/>
                      <a:gd name="T50" fmla="*/ 2147483647 w 150"/>
                      <a:gd name="T51" fmla="*/ 2147483647 h 150"/>
                      <a:gd name="T52" fmla="*/ 2147483647 w 150"/>
                      <a:gd name="T53" fmla="*/ 2147483647 h 150"/>
                      <a:gd name="T54" fmla="*/ 2147483647 w 150"/>
                      <a:gd name="T55" fmla="*/ 2147483647 h 150"/>
                      <a:gd name="T56" fmla="*/ 2147483647 w 150"/>
                      <a:gd name="T57" fmla="*/ 2147483647 h 150"/>
                      <a:gd name="T58" fmla="*/ 2147483647 w 150"/>
                      <a:gd name="T59" fmla="*/ 2147483647 h 150"/>
                      <a:gd name="T60" fmla="*/ 0 w 150"/>
                      <a:gd name="T61" fmla="*/ 2147483647 h 150"/>
                      <a:gd name="T62" fmla="*/ 0 w 150"/>
                      <a:gd name="T63" fmla="*/ 2147483647 h 150"/>
                      <a:gd name="T64" fmla="*/ 2147483647 w 150"/>
                      <a:gd name="T65" fmla="*/ 2147483647 h 150"/>
                      <a:gd name="T66" fmla="*/ 2147483647 w 150"/>
                      <a:gd name="T67" fmla="*/ 2147483647 h 150"/>
                      <a:gd name="T68" fmla="*/ 2147483647 w 150"/>
                      <a:gd name="T69" fmla="*/ 2147483647 h 150"/>
                      <a:gd name="T70" fmla="*/ 2147483647 w 150"/>
                      <a:gd name="T71" fmla="*/ 2147483647 h 150"/>
                      <a:gd name="T72" fmla="*/ 2147483647 w 150"/>
                      <a:gd name="T73" fmla="*/ 2147483647 h 15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50"/>
                      <a:gd name="T112" fmla="*/ 0 h 150"/>
                      <a:gd name="T113" fmla="*/ 150 w 150"/>
                      <a:gd name="T114" fmla="*/ 150 h 150"/>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50" h="150">
                        <a:moveTo>
                          <a:pt x="48" y="150"/>
                        </a:moveTo>
                        <a:lnTo>
                          <a:pt x="54" y="150"/>
                        </a:lnTo>
                        <a:lnTo>
                          <a:pt x="60" y="144"/>
                        </a:lnTo>
                        <a:lnTo>
                          <a:pt x="72" y="138"/>
                        </a:lnTo>
                        <a:lnTo>
                          <a:pt x="78" y="114"/>
                        </a:lnTo>
                        <a:lnTo>
                          <a:pt x="138" y="114"/>
                        </a:lnTo>
                        <a:lnTo>
                          <a:pt x="150" y="102"/>
                        </a:lnTo>
                        <a:lnTo>
                          <a:pt x="150" y="72"/>
                        </a:lnTo>
                        <a:lnTo>
                          <a:pt x="144" y="66"/>
                        </a:lnTo>
                        <a:lnTo>
                          <a:pt x="144" y="48"/>
                        </a:lnTo>
                        <a:lnTo>
                          <a:pt x="138" y="42"/>
                        </a:lnTo>
                        <a:lnTo>
                          <a:pt x="132" y="30"/>
                        </a:lnTo>
                        <a:lnTo>
                          <a:pt x="126" y="24"/>
                        </a:lnTo>
                        <a:lnTo>
                          <a:pt x="132" y="0"/>
                        </a:lnTo>
                        <a:lnTo>
                          <a:pt x="108" y="6"/>
                        </a:lnTo>
                        <a:lnTo>
                          <a:pt x="108" y="12"/>
                        </a:lnTo>
                        <a:lnTo>
                          <a:pt x="102" y="18"/>
                        </a:lnTo>
                        <a:lnTo>
                          <a:pt x="90" y="42"/>
                        </a:lnTo>
                        <a:lnTo>
                          <a:pt x="84" y="42"/>
                        </a:lnTo>
                        <a:lnTo>
                          <a:pt x="72" y="30"/>
                        </a:lnTo>
                        <a:lnTo>
                          <a:pt x="54" y="30"/>
                        </a:lnTo>
                        <a:lnTo>
                          <a:pt x="48" y="36"/>
                        </a:lnTo>
                        <a:lnTo>
                          <a:pt x="24" y="48"/>
                        </a:lnTo>
                        <a:lnTo>
                          <a:pt x="18" y="54"/>
                        </a:lnTo>
                        <a:lnTo>
                          <a:pt x="18" y="60"/>
                        </a:lnTo>
                        <a:lnTo>
                          <a:pt x="24" y="72"/>
                        </a:lnTo>
                        <a:lnTo>
                          <a:pt x="30" y="78"/>
                        </a:lnTo>
                        <a:lnTo>
                          <a:pt x="30" y="90"/>
                        </a:lnTo>
                        <a:lnTo>
                          <a:pt x="18" y="102"/>
                        </a:lnTo>
                        <a:lnTo>
                          <a:pt x="6" y="108"/>
                        </a:lnTo>
                        <a:lnTo>
                          <a:pt x="0" y="120"/>
                        </a:lnTo>
                        <a:lnTo>
                          <a:pt x="0" y="126"/>
                        </a:lnTo>
                        <a:lnTo>
                          <a:pt x="6" y="132"/>
                        </a:lnTo>
                        <a:lnTo>
                          <a:pt x="30" y="132"/>
                        </a:lnTo>
                        <a:lnTo>
                          <a:pt x="36" y="144"/>
                        </a:lnTo>
                        <a:lnTo>
                          <a:pt x="42" y="150"/>
                        </a:lnTo>
                        <a:lnTo>
                          <a:pt x="48" y="15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60" name="Russia (Urup,Simushir)"/>
                  <p:cNvSpPr>
                    <a:spLocks noEditPoints="1"/>
                  </p:cNvSpPr>
                  <p:nvPr/>
                </p:nvSpPr>
                <p:spPr bwMode="gray">
                  <a:xfrm>
                    <a:off x="5061" y="1103"/>
                    <a:ext cx="77" cy="306"/>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61" name="Russia"/>
                  <p:cNvSpPr>
                    <a:spLocks noEditPoints="1"/>
                  </p:cNvSpPr>
                  <p:nvPr/>
                </p:nvSpPr>
                <p:spPr bwMode="gray">
                  <a:xfrm>
                    <a:off x="2985" y="724"/>
                    <a:ext cx="2314" cy="737"/>
                  </a:xfrm>
                  <a:custGeom>
                    <a:avLst/>
                    <a:gdLst>
                      <a:gd name="T0" fmla="*/ 2147483647 w 9048"/>
                      <a:gd name="T1" fmla="*/ 2147483647 h 2880"/>
                      <a:gd name="T2" fmla="*/ 2147483647 w 9048"/>
                      <a:gd name="T3" fmla="*/ 2147483647 h 2880"/>
                      <a:gd name="T4" fmla="*/ 2147483647 w 9048"/>
                      <a:gd name="T5" fmla="*/ 2147483647 h 2880"/>
                      <a:gd name="T6" fmla="*/ 2147483647 w 9048"/>
                      <a:gd name="T7" fmla="*/ 2147483647 h 2880"/>
                      <a:gd name="T8" fmla="*/ 2147483647 w 9048"/>
                      <a:gd name="T9" fmla="*/ 2147483647 h 2880"/>
                      <a:gd name="T10" fmla="*/ 2147483647 w 9048"/>
                      <a:gd name="T11" fmla="*/ 2147483647 h 2880"/>
                      <a:gd name="T12" fmla="*/ 2147483647 w 9048"/>
                      <a:gd name="T13" fmla="*/ 2147483647 h 2880"/>
                      <a:gd name="T14" fmla="*/ 2147483647 w 9048"/>
                      <a:gd name="T15" fmla="*/ 2147483647 h 2880"/>
                      <a:gd name="T16" fmla="*/ 2147483647 w 9048"/>
                      <a:gd name="T17" fmla="*/ 2147483647 h 2880"/>
                      <a:gd name="T18" fmla="*/ 2147483647 w 9048"/>
                      <a:gd name="T19" fmla="*/ 2147483647 h 2880"/>
                      <a:gd name="T20" fmla="*/ 2147483647 w 9048"/>
                      <a:gd name="T21" fmla="*/ 2147483647 h 2880"/>
                      <a:gd name="T22" fmla="*/ 2147483647 w 9048"/>
                      <a:gd name="T23" fmla="*/ 2147483647 h 2880"/>
                      <a:gd name="T24" fmla="*/ 2147483647 w 9048"/>
                      <a:gd name="T25" fmla="*/ 2147483647 h 2880"/>
                      <a:gd name="T26" fmla="*/ 2147483647 w 9048"/>
                      <a:gd name="T27" fmla="*/ 2147483647 h 2880"/>
                      <a:gd name="T28" fmla="*/ 2147483647 w 9048"/>
                      <a:gd name="T29" fmla="*/ 2147483647 h 2880"/>
                      <a:gd name="T30" fmla="*/ 2147483647 w 9048"/>
                      <a:gd name="T31" fmla="*/ 2147483647 h 2880"/>
                      <a:gd name="T32" fmla="*/ 2147483647 w 9048"/>
                      <a:gd name="T33" fmla="*/ 2147483647 h 2880"/>
                      <a:gd name="T34" fmla="*/ 2147483647 w 9048"/>
                      <a:gd name="T35" fmla="*/ 2147483647 h 2880"/>
                      <a:gd name="T36" fmla="*/ 2147483647 w 9048"/>
                      <a:gd name="T37" fmla="*/ 2147483647 h 2880"/>
                      <a:gd name="T38" fmla="*/ 2147483647 w 9048"/>
                      <a:gd name="T39" fmla="*/ 2147483647 h 2880"/>
                      <a:gd name="T40" fmla="*/ 2147483647 w 9048"/>
                      <a:gd name="T41" fmla="*/ 2147483647 h 2880"/>
                      <a:gd name="T42" fmla="*/ 2147483647 w 9048"/>
                      <a:gd name="T43" fmla="*/ 2147483647 h 2880"/>
                      <a:gd name="T44" fmla="*/ 2147483647 w 9048"/>
                      <a:gd name="T45" fmla="*/ 2147483647 h 2880"/>
                      <a:gd name="T46" fmla="*/ 2147483647 w 9048"/>
                      <a:gd name="T47" fmla="*/ 2147483647 h 2880"/>
                      <a:gd name="T48" fmla="*/ 2147483647 w 9048"/>
                      <a:gd name="T49" fmla="*/ 2147483647 h 2880"/>
                      <a:gd name="T50" fmla="*/ 2147483647 w 9048"/>
                      <a:gd name="T51" fmla="*/ 2147483647 h 2880"/>
                      <a:gd name="T52" fmla="*/ 2147483647 w 9048"/>
                      <a:gd name="T53" fmla="*/ 2147483647 h 2880"/>
                      <a:gd name="T54" fmla="*/ 2147483647 w 9048"/>
                      <a:gd name="T55" fmla="*/ 2147483647 h 2880"/>
                      <a:gd name="T56" fmla="*/ 2147483647 w 9048"/>
                      <a:gd name="T57" fmla="*/ 2147483647 h 2880"/>
                      <a:gd name="T58" fmla="*/ 2147483647 w 9048"/>
                      <a:gd name="T59" fmla="*/ 2147483647 h 2880"/>
                      <a:gd name="T60" fmla="*/ 2147483647 w 9048"/>
                      <a:gd name="T61" fmla="*/ 2147483647 h 2880"/>
                      <a:gd name="T62" fmla="*/ 2147483647 w 9048"/>
                      <a:gd name="T63" fmla="*/ 2147483647 h 2880"/>
                      <a:gd name="T64" fmla="*/ 2147483647 w 9048"/>
                      <a:gd name="T65" fmla="*/ 2147483647 h 2880"/>
                      <a:gd name="T66" fmla="*/ 2147483647 w 9048"/>
                      <a:gd name="T67" fmla="*/ 2147483647 h 2880"/>
                      <a:gd name="T68" fmla="*/ 2147483647 w 9048"/>
                      <a:gd name="T69" fmla="*/ 2147483647 h 2880"/>
                      <a:gd name="T70" fmla="*/ 2147483647 w 9048"/>
                      <a:gd name="T71" fmla="*/ 2147483647 h 2880"/>
                      <a:gd name="T72" fmla="*/ 2147483647 w 9048"/>
                      <a:gd name="T73" fmla="*/ 2147483647 h 2880"/>
                      <a:gd name="T74" fmla="*/ 2147483647 w 9048"/>
                      <a:gd name="T75" fmla="*/ 2147483647 h 2880"/>
                      <a:gd name="T76" fmla="*/ 2147483647 w 9048"/>
                      <a:gd name="T77" fmla="*/ 2147483647 h 2880"/>
                      <a:gd name="T78" fmla="*/ 2147483647 w 9048"/>
                      <a:gd name="T79" fmla="*/ 2147483647 h 2880"/>
                      <a:gd name="T80" fmla="*/ 2147483647 w 9048"/>
                      <a:gd name="T81" fmla="*/ 2147483647 h 2880"/>
                      <a:gd name="T82" fmla="*/ 2147483647 w 9048"/>
                      <a:gd name="T83" fmla="*/ 2147483647 h 2880"/>
                      <a:gd name="T84" fmla="*/ 2147483647 w 9048"/>
                      <a:gd name="T85" fmla="*/ 2147483647 h 2880"/>
                      <a:gd name="T86" fmla="*/ 2147483647 w 9048"/>
                      <a:gd name="T87" fmla="*/ 2147483647 h 2880"/>
                      <a:gd name="T88" fmla="*/ 2147483647 w 9048"/>
                      <a:gd name="T89" fmla="*/ 2147483647 h 2880"/>
                      <a:gd name="T90" fmla="*/ 2147483647 w 9048"/>
                      <a:gd name="T91" fmla="*/ 2147483647 h 2880"/>
                      <a:gd name="T92" fmla="*/ 2147483647 w 9048"/>
                      <a:gd name="T93" fmla="*/ 2147483647 h 2880"/>
                      <a:gd name="T94" fmla="*/ 2147483647 w 9048"/>
                      <a:gd name="T95" fmla="*/ 2147483647 h 2880"/>
                      <a:gd name="T96" fmla="*/ 2147483647 w 9048"/>
                      <a:gd name="T97" fmla="*/ 2147483647 h 2880"/>
                      <a:gd name="T98" fmla="*/ 2147483647 w 9048"/>
                      <a:gd name="T99" fmla="*/ 2147483647 h 2880"/>
                      <a:gd name="T100" fmla="*/ 2147483647 w 9048"/>
                      <a:gd name="T101" fmla="*/ 2147483647 h 2880"/>
                      <a:gd name="T102" fmla="*/ 2147483647 w 9048"/>
                      <a:gd name="T103" fmla="*/ 2147483647 h 2880"/>
                      <a:gd name="T104" fmla="*/ 2147483647 w 9048"/>
                      <a:gd name="T105" fmla="*/ 2147483647 h 2880"/>
                      <a:gd name="T106" fmla="*/ 2147483647 w 9048"/>
                      <a:gd name="T107" fmla="*/ 2147483647 h 2880"/>
                      <a:gd name="T108" fmla="*/ 2147483647 w 9048"/>
                      <a:gd name="T109" fmla="*/ 2147483647 h 2880"/>
                      <a:gd name="T110" fmla="*/ 2147483647 w 9048"/>
                      <a:gd name="T111" fmla="*/ 2147483647 h 2880"/>
                      <a:gd name="T112" fmla="*/ 2147483647 w 9048"/>
                      <a:gd name="T113" fmla="*/ 2147483647 h 2880"/>
                      <a:gd name="T114" fmla="*/ 2147483647 w 9048"/>
                      <a:gd name="T115" fmla="*/ 2147483647 h 2880"/>
                      <a:gd name="T116" fmla="*/ 2147483647 w 9048"/>
                      <a:gd name="T117" fmla="*/ 2147483647 h 2880"/>
                      <a:gd name="T118" fmla="*/ 2147483647 w 9048"/>
                      <a:gd name="T119" fmla="*/ 2147483647 h 2880"/>
                      <a:gd name="T120" fmla="*/ 2147483647 w 9048"/>
                      <a:gd name="T121" fmla="*/ 2147483647 h 2880"/>
                      <a:gd name="T122" fmla="*/ 2147483647 w 9048"/>
                      <a:gd name="T123" fmla="*/ 2147483647 h 2880"/>
                      <a:gd name="T124" fmla="*/ 2147483647 w 9048"/>
                      <a:gd name="T125" fmla="*/ 2147483647 h 288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048"/>
                      <a:gd name="T190" fmla="*/ 0 h 2880"/>
                      <a:gd name="T191" fmla="*/ 9048 w 9048"/>
                      <a:gd name="T192" fmla="*/ 2880 h 288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048" h="2880">
                        <a:moveTo>
                          <a:pt x="2790" y="546"/>
                        </a:moveTo>
                        <a:lnTo>
                          <a:pt x="2760" y="540"/>
                        </a:lnTo>
                        <a:lnTo>
                          <a:pt x="2736" y="558"/>
                        </a:lnTo>
                        <a:lnTo>
                          <a:pt x="2778" y="570"/>
                        </a:lnTo>
                        <a:lnTo>
                          <a:pt x="2790" y="546"/>
                        </a:lnTo>
                        <a:close/>
                        <a:moveTo>
                          <a:pt x="2832" y="522"/>
                        </a:moveTo>
                        <a:lnTo>
                          <a:pt x="2820" y="516"/>
                        </a:lnTo>
                        <a:lnTo>
                          <a:pt x="2814" y="510"/>
                        </a:lnTo>
                        <a:lnTo>
                          <a:pt x="2808" y="510"/>
                        </a:lnTo>
                        <a:lnTo>
                          <a:pt x="2808" y="528"/>
                        </a:lnTo>
                        <a:lnTo>
                          <a:pt x="2820" y="534"/>
                        </a:lnTo>
                        <a:lnTo>
                          <a:pt x="2832" y="534"/>
                        </a:lnTo>
                        <a:lnTo>
                          <a:pt x="2844" y="540"/>
                        </a:lnTo>
                        <a:lnTo>
                          <a:pt x="2850" y="540"/>
                        </a:lnTo>
                        <a:lnTo>
                          <a:pt x="2850" y="534"/>
                        </a:lnTo>
                        <a:lnTo>
                          <a:pt x="2844" y="528"/>
                        </a:lnTo>
                        <a:lnTo>
                          <a:pt x="2832" y="522"/>
                        </a:lnTo>
                        <a:close/>
                        <a:moveTo>
                          <a:pt x="1704" y="18"/>
                        </a:moveTo>
                        <a:lnTo>
                          <a:pt x="1710" y="18"/>
                        </a:lnTo>
                        <a:lnTo>
                          <a:pt x="1716" y="12"/>
                        </a:lnTo>
                        <a:lnTo>
                          <a:pt x="1728" y="6"/>
                        </a:lnTo>
                        <a:lnTo>
                          <a:pt x="1734" y="0"/>
                        </a:lnTo>
                        <a:lnTo>
                          <a:pt x="1644" y="0"/>
                        </a:lnTo>
                        <a:lnTo>
                          <a:pt x="1638" y="12"/>
                        </a:lnTo>
                        <a:lnTo>
                          <a:pt x="1680" y="12"/>
                        </a:lnTo>
                        <a:lnTo>
                          <a:pt x="1686" y="18"/>
                        </a:lnTo>
                        <a:lnTo>
                          <a:pt x="1704" y="18"/>
                        </a:lnTo>
                        <a:close/>
                        <a:moveTo>
                          <a:pt x="1740" y="60"/>
                        </a:moveTo>
                        <a:lnTo>
                          <a:pt x="1746" y="60"/>
                        </a:lnTo>
                        <a:lnTo>
                          <a:pt x="1758" y="48"/>
                        </a:lnTo>
                        <a:lnTo>
                          <a:pt x="1764" y="48"/>
                        </a:lnTo>
                        <a:lnTo>
                          <a:pt x="1770" y="54"/>
                        </a:lnTo>
                        <a:lnTo>
                          <a:pt x="1782" y="54"/>
                        </a:lnTo>
                        <a:lnTo>
                          <a:pt x="1788" y="60"/>
                        </a:lnTo>
                        <a:lnTo>
                          <a:pt x="1800" y="60"/>
                        </a:lnTo>
                        <a:lnTo>
                          <a:pt x="1812" y="48"/>
                        </a:lnTo>
                        <a:lnTo>
                          <a:pt x="1812" y="36"/>
                        </a:lnTo>
                        <a:lnTo>
                          <a:pt x="1806" y="30"/>
                        </a:lnTo>
                        <a:lnTo>
                          <a:pt x="1794" y="24"/>
                        </a:lnTo>
                        <a:lnTo>
                          <a:pt x="1758" y="24"/>
                        </a:lnTo>
                        <a:lnTo>
                          <a:pt x="1710" y="48"/>
                        </a:lnTo>
                        <a:lnTo>
                          <a:pt x="1716" y="54"/>
                        </a:lnTo>
                        <a:lnTo>
                          <a:pt x="1728" y="60"/>
                        </a:lnTo>
                        <a:lnTo>
                          <a:pt x="1740" y="60"/>
                        </a:lnTo>
                        <a:close/>
                        <a:moveTo>
                          <a:pt x="2382" y="510"/>
                        </a:moveTo>
                        <a:lnTo>
                          <a:pt x="2400" y="504"/>
                        </a:lnTo>
                        <a:lnTo>
                          <a:pt x="2412" y="498"/>
                        </a:lnTo>
                        <a:lnTo>
                          <a:pt x="2412" y="486"/>
                        </a:lnTo>
                        <a:lnTo>
                          <a:pt x="2406" y="486"/>
                        </a:lnTo>
                        <a:lnTo>
                          <a:pt x="2400" y="480"/>
                        </a:lnTo>
                        <a:lnTo>
                          <a:pt x="2346" y="480"/>
                        </a:lnTo>
                        <a:lnTo>
                          <a:pt x="2346" y="492"/>
                        </a:lnTo>
                        <a:lnTo>
                          <a:pt x="2358" y="504"/>
                        </a:lnTo>
                        <a:lnTo>
                          <a:pt x="2370" y="510"/>
                        </a:lnTo>
                        <a:lnTo>
                          <a:pt x="2382" y="510"/>
                        </a:lnTo>
                        <a:close/>
                        <a:moveTo>
                          <a:pt x="1590" y="30"/>
                        </a:moveTo>
                        <a:lnTo>
                          <a:pt x="1548" y="24"/>
                        </a:lnTo>
                        <a:lnTo>
                          <a:pt x="1554" y="36"/>
                        </a:lnTo>
                        <a:lnTo>
                          <a:pt x="1590" y="30"/>
                        </a:lnTo>
                        <a:close/>
                        <a:moveTo>
                          <a:pt x="1890" y="696"/>
                        </a:moveTo>
                        <a:lnTo>
                          <a:pt x="1896" y="708"/>
                        </a:lnTo>
                        <a:lnTo>
                          <a:pt x="1920" y="720"/>
                        </a:lnTo>
                        <a:lnTo>
                          <a:pt x="1950" y="738"/>
                        </a:lnTo>
                        <a:lnTo>
                          <a:pt x="1974" y="744"/>
                        </a:lnTo>
                        <a:lnTo>
                          <a:pt x="1992" y="738"/>
                        </a:lnTo>
                        <a:lnTo>
                          <a:pt x="1980" y="720"/>
                        </a:lnTo>
                        <a:lnTo>
                          <a:pt x="1950" y="702"/>
                        </a:lnTo>
                        <a:lnTo>
                          <a:pt x="1914" y="696"/>
                        </a:lnTo>
                        <a:lnTo>
                          <a:pt x="1890" y="696"/>
                        </a:lnTo>
                        <a:close/>
                        <a:moveTo>
                          <a:pt x="3108" y="126"/>
                        </a:moveTo>
                        <a:lnTo>
                          <a:pt x="3120" y="108"/>
                        </a:lnTo>
                        <a:lnTo>
                          <a:pt x="3030" y="108"/>
                        </a:lnTo>
                        <a:lnTo>
                          <a:pt x="3108" y="126"/>
                        </a:lnTo>
                        <a:close/>
                        <a:moveTo>
                          <a:pt x="1560" y="102"/>
                        </a:moveTo>
                        <a:lnTo>
                          <a:pt x="1632" y="102"/>
                        </a:lnTo>
                        <a:lnTo>
                          <a:pt x="1608" y="84"/>
                        </a:lnTo>
                        <a:lnTo>
                          <a:pt x="1560" y="102"/>
                        </a:lnTo>
                        <a:close/>
                        <a:moveTo>
                          <a:pt x="1572" y="60"/>
                        </a:moveTo>
                        <a:lnTo>
                          <a:pt x="1584" y="66"/>
                        </a:lnTo>
                        <a:lnTo>
                          <a:pt x="1596" y="78"/>
                        </a:lnTo>
                        <a:lnTo>
                          <a:pt x="1620" y="66"/>
                        </a:lnTo>
                        <a:lnTo>
                          <a:pt x="1620" y="72"/>
                        </a:lnTo>
                        <a:lnTo>
                          <a:pt x="1644" y="72"/>
                        </a:lnTo>
                        <a:lnTo>
                          <a:pt x="1668" y="60"/>
                        </a:lnTo>
                        <a:lnTo>
                          <a:pt x="1674" y="54"/>
                        </a:lnTo>
                        <a:lnTo>
                          <a:pt x="1680" y="54"/>
                        </a:lnTo>
                        <a:lnTo>
                          <a:pt x="1626" y="48"/>
                        </a:lnTo>
                        <a:lnTo>
                          <a:pt x="1614" y="54"/>
                        </a:lnTo>
                        <a:lnTo>
                          <a:pt x="1608" y="54"/>
                        </a:lnTo>
                        <a:lnTo>
                          <a:pt x="1602" y="48"/>
                        </a:lnTo>
                        <a:lnTo>
                          <a:pt x="1584" y="48"/>
                        </a:lnTo>
                        <a:lnTo>
                          <a:pt x="1572" y="60"/>
                        </a:lnTo>
                        <a:close/>
                        <a:moveTo>
                          <a:pt x="1662" y="36"/>
                        </a:moveTo>
                        <a:lnTo>
                          <a:pt x="1602" y="36"/>
                        </a:lnTo>
                        <a:lnTo>
                          <a:pt x="1650" y="48"/>
                        </a:lnTo>
                        <a:lnTo>
                          <a:pt x="1662" y="36"/>
                        </a:lnTo>
                        <a:close/>
                        <a:moveTo>
                          <a:pt x="1542" y="522"/>
                        </a:moveTo>
                        <a:lnTo>
                          <a:pt x="1500" y="528"/>
                        </a:lnTo>
                        <a:lnTo>
                          <a:pt x="1512" y="552"/>
                        </a:lnTo>
                        <a:lnTo>
                          <a:pt x="1542" y="534"/>
                        </a:lnTo>
                        <a:lnTo>
                          <a:pt x="1524" y="558"/>
                        </a:lnTo>
                        <a:lnTo>
                          <a:pt x="1518" y="558"/>
                        </a:lnTo>
                        <a:lnTo>
                          <a:pt x="1512" y="564"/>
                        </a:lnTo>
                        <a:lnTo>
                          <a:pt x="1506" y="564"/>
                        </a:lnTo>
                        <a:lnTo>
                          <a:pt x="1494" y="570"/>
                        </a:lnTo>
                        <a:lnTo>
                          <a:pt x="1488" y="576"/>
                        </a:lnTo>
                        <a:lnTo>
                          <a:pt x="1488" y="582"/>
                        </a:lnTo>
                        <a:lnTo>
                          <a:pt x="1500" y="594"/>
                        </a:lnTo>
                        <a:lnTo>
                          <a:pt x="1524" y="606"/>
                        </a:lnTo>
                        <a:lnTo>
                          <a:pt x="1566" y="606"/>
                        </a:lnTo>
                        <a:lnTo>
                          <a:pt x="1590" y="612"/>
                        </a:lnTo>
                        <a:lnTo>
                          <a:pt x="1608" y="618"/>
                        </a:lnTo>
                        <a:lnTo>
                          <a:pt x="1614" y="624"/>
                        </a:lnTo>
                        <a:lnTo>
                          <a:pt x="1620" y="636"/>
                        </a:lnTo>
                        <a:lnTo>
                          <a:pt x="1620" y="648"/>
                        </a:lnTo>
                        <a:lnTo>
                          <a:pt x="1626" y="654"/>
                        </a:lnTo>
                        <a:lnTo>
                          <a:pt x="1626" y="660"/>
                        </a:lnTo>
                        <a:lnTo>
                          <a:pt x="1644" y="660"/>
                        </a:lnTo>
                        <a:lnTo>
                          <a:pt x="1662" y="666"/>
                        </a:lnTo>
                        <a:lnTo>
                          <a:pt x="1674" y="666"/>
                        </a:lnTo>
                        <a:lnTo>
                          <a:pt x="1692" y="672"/>
                        </a:lnTo>
                        <a:lnTo>
                          <a:pt x="1704" y="672"/>
                        </a:lnTo>
                        <a:lnTo>
                          <a:pt x="1818" y="666"/>
                        </a:lnTo>
                        <a:lnTo>
                          <a:pt x="1806" y="666"/>
                        </a:lnTo>
                        <a:lnTo>
                          <a:pt x="1734" y="642"/>
                        </a:lnTo>
                        <a:lnTo>
                          <a:pt x="1704" y="618"/>
                        </a:lnTo>
                        <a:lnTo>
                          <a:pt x="1692" y="600"/>
                        </a:lnTo>
                        <a:lnTo>
                          <a:pt x="1686" y="588"/>
                        </a:lnTo>
                        <a:lnTo>
                          <a:pt x="1674" y="582"/>
                        </a:lnTo>
                        <a:lnTo>
                          <a:pt x="1674" y="570"/>
                        </a:lnTo>
                        <a:lnTo>
                          <a:pt x="1668" y="564"/>
                        </a:lnTo>
                        <a:lnTo>
                          <a:pt x="1692" y="516"/>
                        </a:lnTo>
                        <a:lnTo>
                          <a:pt x="1686" y="510"/>
                        </a:lnTo>
                        <a:lnTo>
                          <a:pt x="1686" y="504"/>
                        </a:lnTo>
                        <a:lnTo>
                          <a:pt x="1674" y="504"/>
                        </a:lnTo>
                        <a:lnTo>
                          <a:pt x="1710" y="498"/>
                        </a:lnTo>
                        <a:lnTo>
                          <a:pt x="1698" y="480"/>
                        </a:lnTo>
                        <a:lnTo>
                          <a:pt x="1734" y="480"/>
                        </a:lnTo>
                        <a:lnTo>
                          <a:pt x="1710" y="468"/>
                        </a:lnTo>
                        <a:lnTo>
                          <a:pt x="1734" y="474"/>
                        </a:lnTo>
                        <a:lnTo>
                          <a:pt x="1740" y="462"/>
                        </a:lnTo>
                        <a:lnTo>
                          <a:pt x="1722" y="450"/>
                        </a:lnTo>
                        <a:lnTo>
                          <a:pt x="1764" y="450"/>
                        </a:lnTo>
                        <a:lnTo>
                          <a:pt x="1770" y="444"/>
                        </a:lnTo>
                        <a:lnTo>
                          <a:pt x="1752" y="426"/>
                        </a:lnTo>
                        <a:lnTo>
                          <a:pt x="1782" y="432"/>
                        </a:lnTo>
                        <a:lnTo>
                          <a:pt x="1782" y="402"/>
                        </a:lnTo>
                        <a:lnTo>
                          <a:pt x="1788" y="408"/>
                        </a:lnTo>
                        <a:lnTo>
                          <a:pt x="1800" y="414"/>
                        </a:lnTo>
                        <a:lnTo>
                          <a:pt x="1812" y="414"/>
                        </a:lnTo>
                        <a:lnTo>
                          <a:pt x="1830" y="408"/>
                        </a:lnTo>
                        <a:lnTo>
                          <a:pt x="1842" y="402"/>
                        </a:lnTo>
                        <a:lnTo>
                          <a:pt x="1860" y="390"/>
                        </a:lnTo>
                        <a:lnTo>
                          <a:pt x="1878" y="372"/>
                        </a:lnTo>
                        <a:lnTo>
                          <a:pt x="1896" y="372"/>
                        </a:lnTo>
                        <a:lnTo>
                          <a:pt x="1938" y="366"/>
                        </a:lnTo>
                        <a:lnTo>
                          <a:pt x="1992" y="354"/>
                        </a:lnTo>
                        <a:lnTo>
                          <a:pt x="2046" y="348"/>
                        </a:lnTo>
                        <a:lnTo>
                          <a:pt x="2094" y="336"/>
                        </a:lnTo>
                        <a:lnTo>
                          <a:pt x="2124" y="330"/>
                        </a:lnTo>
                        <a:lnTo>
                          <a:pt x="2136" y="324"/>
                        </a:lnTo>
                        <a:lnTo>
                          <a:pt x="2154" y="318"/>
                        </a:lnTo>
                        <a:lnTo>
                          <a:pt x="2160" y="312"/>
                        </a:lnTo>
                        <a:lnTo>
                          <a:pt x="2166" y="300"/>
                        </a:lnTo>
                        <a:lnTo>
                          <a:pt x="2166" y="294"/>
                        </a:lnTo>
                        <a:lnTo>
                          <a:pt x="2154" y="282"/>
                        </a:lnTo>
                        <a:lnTo>
                          <a:pt x="2136" y="276"/>
                        </a:lnTo>
                        <a:lnTo>
                          <a:pt x="2088" y="270"/>
                        </a:lnTo>
                        <a:lnTo>
                          <a:pt x="2046" y="276"/>
                        </a:lnTo>
                        <a:lnTo>
                          <a:pt x="2016" y="288"/>
                        </a:lnTo>
                        <a:lnTo>
                          <a:pt x="1980" y="300"/>
                        </a:lnTo>
                        <a:lnTo>
                          <a:pt x="1938" y="318"/>
                        </a:lnTo>
                        <a:lnTo>
                          <a:pt x="1860" y="318"/>
                        </a:lnTo>
                        <a:lnTo>
                          <a:pt x="1842" y="312"/>
                        </a:lnTo>
                        <a:lnTo>
                          <a:pt x="1824" y="312"/>
                        </a:lnTo>
                        <a:lnTo>
                          <a:pt x="1806" y="336"/>
                        </a:lnTo>
                        <a:lnTo>
                          <a:pt x="1782" y="318"/>
                        </a:lnTo>
                        <a:lnTo>
                          <a:pt x="1728" y="342"/>
                        </a:lnTo>
                        <a:lnTo>
                          <a:pt x="1698" y="342"/>
                        </a:lnTo>
                        <a:lnTo>
                          <a:pt x="1668" y="366"/>
                        </a:lnTo>
                        <a:lnTo>
                          <a:pt x="1692" y="372"/>
                        </a:lnTo>
                        <a:lnTo>
                          <a:pt x="1644" y="372"/>
                        </a:lnTo>
                        <a:lnTo>
                          <a:pt x="1614" y="378"/>
                        </a:lnTo>
                        <a:lnTo>
                          <a:pt x="1614" y="396"/>
                        </a:lnTo>
                        <a:lnTo>
                          <a:pt x="1638" y="378"/>
                        </a:lnTo>
                        <a:lnTo>
                          <a:pt x="1644" y="396"/>
                        </a:lnTo>
                        <a:lnTo>
                          <a:pt x="1668" y="396"/>
                        </a:lnTo>
                        <a:lnTo>
                          <a:pt x="1662" y="408"/>
                        </a:lnTo>
                        <a:lnTo>
                          <a:pt x="1620" y="408"/>
                        </a:lnTo>
                        <a:lnTo>
                          <a:pt x="1614" y="420"/>
                        </a:lnTo>
                        <a:lnTo>
                          <a:pt x="1644" y="426"/>
                        </a:lnTo>
                        <a:lnTo>
                          <a:pt x="1596" y="432"/>
                        </a:lnTo>
                        <a:lnTo>
                          <a:pt x="1632" y="438"/>
                        </a:lnTo>
                        <a:lnTo>
                          <a:pt x="1584" y="444"/>
                        </a:lnTo>
                        <a:lnTo>
                          <a:pt x="1584" y="462"/>
                        </a:lnTo>
                        <a:lnTo>
                          <a:pt x="1554" y="474"/>
                        </a:lnTo>
                        <a:lnTo>
                          <a:pt x="1560" y="486"/>
                        </a:lnTo>
                        <a:lnTo>
                          <a:pt x="1602" y="468"/>
                        </a:lnTo>
                        <a:lnTo>
                          <a:pt x="1590" y="498"/>
                        </a:lnTo>
                        <a:lnTo>
                          <a:pt x="1554" y="498"/>
                        </a:lnTo>
                        <a:lnTo>
                          <a:pt x="1542" y="504"/>
                        </a:lnTo>
                        <a:lnTo>
                          <a:pt x="1542" y="522"/>
                        </a:lnTo>
                        <a:close/>
                        <a:moveTo>
                          <a:pt x="5778" y="498"/>
                        </a:moveTo>
                        <a:lnTo>
                          <a:pt x="5850" y="486"/>
                        </a:lnTo>
                        <a:lnTo>
                          <a:pt x="5958" y="504"/>
                        </a:lnTo>
                        <a:lnTo>
                          <a:pt x="5952" y="492"/>
                        </a:lnTo>
                        <a:lnTo>
                          <a:pt x="5940" y="486"/>
                        </a:lnTo>
                        <a:lnTo>
                          <a:pt x="5928" y="474"/>
                        </a:lnTo>
                        <a:lnTo>
                          <a:pt x="5904" y="462"/>
                        </a:lnTo>
                        <a:lnTo>
                          <a:pt x="5844" y="462"/>
                        </a:lnTo>
                        <a:lnTo>
                          <a:pt x="5808" y="468"/>
                        </a:lnTo>
                        <a:lnTo>
                          <a:pt x="5796" y="468"/>
                        </a:lnTo>
                        <a:lnTo>
                          <a:pt x="5778" y="498"/>
                        </a:lnTo>
                        <a:close/>
                        <a:moveTo>
                          <a:pt x="5784" y="378"/>
                        </a:moveTo>
                        <a:lnTo>
                          <a:pt x="5838" y="384"/>
                        </a:lnTo>
                        <a:lnTo>
                          <a:pt x="5844" y="378"/>
                        </a:lnTo>
                        <a:lnTo>
                          <a:pt x="5850" y="366"/>
                        </a:lnTo>
                        <a:lnTo>
                          <a:pt x="5838" y="354"/>
                        </a:lnTo>
                        <a:lnTo>
                          <a:pt x="5802" y="354"/>
                        </a:lnTo>
                        <a:lnTo>
                          <a:pt x="5742" y="342"/>
                        </a:lnTo>
                        <a:lnTo>
                          <a:pt x="5724" y="342"/>
                        </a:lnTo>
                        <a:lnTo>
                          <a:pt x="5718" y="348"/>
                        </a:lnTo>
                        <a:lnTo>
                          <a:pt x="5730" y="354"/>
                        </a:lnTo>
                        <a:lnTo>
                          <a:pt x="5742" y="366"/>
                        </a:lnTo>
                        <a:lnTo>
                          <a:pt x="5754" y="372"/>
                        </a:lnTo>
                        <a:lnTo>
                          <a:pt x="5772" y="372"/>
                        </a:lnTo>
                        <a:lnTo>
                          <a:pt x="5778" y="378"/>
                        </a:lnTo>
                        <a:lnTo>
                          <a:pt x="5784" y="378"/>
                        </a:lnTo>
                        <a:close/>
                        <a:moveTo>
                          <a:pt x="5724" y="432"/>
                        </a:moveTo>
                        <a:lnTo>
                          <a:pt x="5712" y="444"/>
                        </a:lnTo>
                        <a:lnTo>
                          <a:pt x="5712" y="456"/>
                        </a:lnTo>
                        <a:lnTo>
                          <a:pt x="5724" y="462"/>
                        </a:lnTo>
                        <a:lnTo>
                          <a:pt x="5772" y="462"/>
                        </a:lnTo>
                        <a:lnTo>
                          <a:pt x="5778" y="456"/>
                        </a:lnTo>
                        <a:lnTo>
                          <a:pt x="5778" y="450"/>
                        </a:lnTo>
                        <a:lnTo>
                          <a:pt x="5766" y="438"/>
                        </a:lnTo>
                        <a:lnTo>
                          <a:pt x="5742" y="426"/>
                        </a:lnTo>
                        <a:lnTo>
                          <a:pt x="5730" y="426"/>
                        </a:lnTo>
                        <a:lnTo>
                          <a:pt x="5724" y="432"/>
                        </a:lnTo>
                        <a:close/>
                        <a:moveTo>
                          <a:pt x="3072" y="96"/>
                        </a:moveTo>
                        <a:lnTo>
                          <a:pt x="3192" y="96"/>
                        </a:lnTo>
                        <a:lnTo>
                          <a:pt x="3204" y="90"/>
                        </a:lnTo>
                        <a:lnTo>
                          <a:pt x="3228" y="90"/>
                        </a:lnTo>
                        <a:lnTo>
                          <a:pt x="3240" y="84"/>
                        </a:lnTo>
                        <a:lnTo>
                          <a:pt x="3240" y="72"/>
                        </a:lnTo>
                        <a:lnTo>
                          <a:pt x="3222" y="60"/>
                        </a:lnTo>
                        <a:lnTo>
                          <a:pt x="3192" y="42"/>
                        </a:lnTo>
                        <a:lnTo>
                          <a:pt x="3156" y="30"/>
                        </a:lnTo>
                        <a:lnTo>
                          <a:pt x="3132" y="24"/>
                        </a:lnTo>
                        <a:lnTo>
                          <a:pt x="3120" y="18"/>
                        </a:lnTo>
                        <a:lnTo>
                          <a:pt x="3108" y="18"/>
                        </a:lnTo>
                        <a:lnTo>
                          <a:pt x="3096" y="12"/>
                        </a:lnTo>
                        <a:lnTo>
                          <a:pt x="3060" y="12"/>
                        </a:lnTo>
                        <a:lnTo>
                          <a:pt x="3048" y="18"/>
                        </a:lnTo>
                        <a:lnTo>
                          <a:pt x="3036" y="18"/>
                        </a:lnTo>
                        <a:lnTo>
                          <a:pt x="3030" y="30"/>
                        </a:lnTo>
                        <a:lnTo>
                          <a:pt x="3030" y="42"/>
                        </a:lnTo>
                        <a:lnTo>
                          <a:pt x="3036" y="54"/>
                        </a:lnTo>
                        <a:lnTo>
                          <a:pt x="3048" y="66"/>
                        </a:lnTo>
                        <a:lnTo>
                          <a:pt x="3054" y="78"/>
                        </a:lnTo>
                        <a:lnTo>
                          <a:pt x="3072" y="96"/>
                        </a:lnTo>
                        <a:close/>
                        <a:moveTo>
                          <a:pt x="6138" y="408"/>
                        </a:moveTo>
                        <a:lnTo>
                          <a:pt x="6144" y="402"/>
                        </a:lnTo>
                        <a:lnTo>
                          <a:pt x="6132" y="396"/>
                        </a:lnTo>
                        <a:lnTo>
                          <a:pt x="6102" y="390"/>
                        </a:lnTo>
                        <a:lnTo>
                          <a:pt x="6036" y="390"/>
                        </a:lnTo>
                        <a:lnTo>
                          <a:pt x="6012" y="366"/>
                        </a:lnTo>
                        <a:lnTo>
                          <a:pt x="6000" y="360"/>
                        </a:lnTo>
                        <a:lnTo>
                          <a:pt x="5970" y="360"/>
                        </a:lnTo>
                        <a:lnTo>
                          <a:pt x="5958" y="366"/>
                        </a:lnTo>
                        <a:lnTo>
                          <a:pt x="5910" y="366"/>
                        </a:lnTo>
                        <a:lnTo>
                          <a:pt x="5946" y="390"/>
                        </a:lnTo>
                        <a:lnTo>
                          <a:pt x="5964" y="396"/>
                        </a:lnTo>
                        <a:lnTo>
                          <a:pt x="6000" y="402"/>
                        </a:lnTo>
                        <a:lnTo>
                          <a:pt x="6054" y="414"/>
                        </a:lnTo>
                        <a:lnTo>
                          <a:pt x="6102" y="414"/>
                        </a:lnTo>
                        <a:lnTo>
                          <a:pt x="6138" y="408"/>
                        </a:lnTo>
                        <a:close/>
                        <a:moveTo>
                          <a:pt x="7602" y="744"/>
                        </a:moveTo>
                        <a:lnTo>
                          <a:pt x="7596" y="732"/>
                        </a:lnTo>
                        <a:lnTo>
                          <a:pt x="7572" y="726"/>
                        </a:lnTo>
                        <a:lnTo>
                          <a:pt x="7512" y="714"/>
                        </a:lnTo>
                        <a:lnTo>
                          <a:pt x="7500" y="714"/>
                        </a:lnTo>
                        <a:lnTo>
                          <a:pt x="7512" y="726"/>
                        </a:lnTo>
                        <a:lnTo>
                          <a:pt x="7548" y="738"/>
                        </a:lnTo>
                        <a:lnTo>
                          <a:pt x="7584" y="744"/>
                        </a:lnTo>
                        <a:lnTo>
                          <a:pt x="7602" y="744"/>
                        </a:lnTo>
                        <a:close/>
                        <a:moveTo>
                          <a:pt x="3162" y="120"/>
                        </a:moveTo>
                        <a:lnTo>
                          <a:pt x="3216" y="138"/>
                        </a:lnTo>
                        <a:lnTo>
                          <a:pt x="3246" y="144"/>
                        </a:lnTo>
                        <a:lnTo>
                          <a:pt x="3264" y="144"/>
                        </a:lnTo>
                        <a:lnTo>
                          <a:pt x="3312" y="138"/>
                        </a:lnTo>
                        <a:lnTo>
                          <a:pt x="3372" y="156"/>
                        </a:lnTo>
                        <a:lnTo>
                          <a:pt x="3432" y="156"/>
                        </a:lnTo>
                        <a:lnTo>
                          <a:pt x="3426" y="138"/>
                        </a:lnTo>
                        <a:lnTo>
                          <a:pt x="3402" y="102"/>
                        </a:lnTo>
                        <a:lnTo>
                          <a:pt x="3384" y="96"/>
                        </a:lnTo>
                        <a:lnTo>
                          <a:pt x="3372" y="90"/>
                        </a:lnTo>
                        <a:lnTo>
                          <a:pt x="3354" y="96"/>
                        </a:lnTo>
                        <a:lnTo>
                          <a:pt x="3318" y="114"/>
                        </a:lnTo>
                        <a:lnTo>
                          <a:pt x="3294" y="90"/>
                        </a:lnTo>
                        <a:lnTo>
                          <a:pt x="3282" y="90"/>
                        </a:lnTo>
                        <a:lnTo>
                          <a:pt x="3210" y="102"/>
                        </a:lnTo>
                        <a:lnTo>
                          <a:pt x="3174" y="114"/>
                        </a:lnTo>
                        <a:lnTo>
                          <a:pt x="3162" y="120"/>
                        </a:lnTo>
                        <a:close/>
                        <a:moveTo>
                          <a:pt x="3582" y="198"/>
                        </a:moveTo>
                        <a:lnTo>
                          <a:pt x="3744" y="192"/>
                        </a:lnTo>
                        <a:lnTo>
                          <a:pt x="3702" y="168"/>
                        </a:lnTo>
                        <a:lnTo>
                          <a:pt x="3696" y="168"/>
                        </a:lnTo>
                        <a:lnTo>
                          <a:pt x="3690" y="162"/>
                        </a:lnTo>
                        <a:lnTo>
                          <a:pt x="3666" y="150"/>
                        </a:lnTo>
                        <a:lnTo>
                          <a:pt x="3648" y="144"/>
                        </a:lnTo>
                        <a:lnTo>
                          <a:pt x="3636" y="138"/>
                        </a:lnTo>
                        <a:lnTo>
                          <a:pt x="3618" y="138"/>
                        </a:lnTo>
                        <a:lnTo>
                          <a:pt x="3606" y="144"/>
                        </a:lnTo>
                        <a:lnTo>
                          <a:pt x="3600" y="150"/>
                        </a:lnTo>
                        <a:lnTo>
                          <a:pt x="3588" y="156"/>
                        </a:lnTo>
                        <a:lnTo>
                          <a:pt x="3588" y="150"/>
                        </a:lnTo>
                        <a:lnTo>
                          <a:pt x="3582" y="144"/>
                        </a:lnTo>
                        <a:lnTo>
                          <a:pt x="3576" y="132"/>
                        </a:lnTo>
                        <a:lnTo>
                          <a:pt x="3570" y="126"/>
                        </a:lnTo>
                        <a:lnTo>
                          <a:pt x="3546" y="114"/>
                        </a:lnTo>
                        <a:lnTo>
                          <a:pt x="3522" y="126"/>
                        </a:lnTo>
                        <a:lnTo>
                          <a:pt x="3504" y="162"/>
                        </a:lnTo>
                        <a:lnTo>
                          <a:pt x="3498" y="192"/>
                        </a:lnTo>
                        <a:lnTo>
                          <a:pt x="3492" y="210"/>
                        </a:lnTo>
                        <a:lnTo>
                          <a:pt x="3516" y="222"/>
                        </a:lnTo>
                        <a:lnTo>
                          <a:pt x="3534" y="216"/>
                        </a:lnTo>
                        <a:lnTo>
                          <a:pt x="3546" y="216"/>
                        </a:lnTo>
                        <a:lnTo>
                          <a:pt x="3582" y="198"/>
                        </a:lnTo>
                        <a:close/>
                        <a:moveTo>
                          <a:pt x="5622" y="420"/>
                        </a:moveTo>
                        <a:lnTo>
                          <a:pt x="5640" y="390"/>
                        </a:lnTo>
                        <a:lnTo>
                          <a:pt x="5754" y="390"/>
                        </a:lnTo>
                        <a:lnTo>
                          <a:pt x="5688" y="360"/>
                        </a:lnTo>
                        <a:lnTo>
                          <a:pt x="5700" y="336"/>
                        </a:lnTo>
                        <a:lnTo>
                          <a:pt x="5610" y="318"/>
                        </a:lnTo>
                        <a:lnTo>
                          <a:pt x="5628" y="348"/>
                        </a:lnTo>
                        <a:lnTo>
                          <a:pt x="5616" y="342"/>
                        </a:lnTo>
                        <a:lnTo>
                          <a:pt x="5592" y="336"/>
                        </a:lnTo>
                        <a:lnTo>
                          <a:pt x="5556" y="330"/>
                        </a:lnTo>
                        <a:lnTo>
                          <a:pt x="5514" y="318"/>
                        </a:lnTo>
                        <a:lnTo>
                          <a:pt x="5454" y="318"/>
                        </a:lnTo>
                        <a:lnTo>
                          <a:pt x="5448" y="330"/>
                        </a:lnTo>
                        <a:lnTo>
                          <a:pt x="5460" y="354"/>
                        </a:lnTo>
                        <a:lnTo>
                          <a:pt x="5496" y="372"/>
                        </a:lnTo>
                        <a:lnTo>
                          <a:pt x="5538" y="390"/>
                        </a:lnTo>
                        <a:lnTo>
                          <a:pt x="5574" y="408"/>
                        </a:lnTo>
                        <a:lnTo>
                          <a:pt x="5610" y="414"/>
                        </a:lnTo>
                        <a:lnTo>
                          <a:pt x="5622" y="420"/>
                        </a:lnTo>
                        <a:close/>
                        <a:moveTo>
                          <a:pt x="4320" y="432"/>
                        </a:moveTo>
                        <a:lnTo>
                          <a:pt x="4368" y="444"/>
                        </a:lnTo>
                        <a:lnTo>
                          <a:pt x="4380" y="444"/>
                        </a:lnTo>
                        <a:lnTo>
                          <a:pt x="4392" y="438"/>
                        </a:lnTo>
                        <a:lnTo>
                          <a:pt x="4398" y="438"/>
                        </a:lnTo>
                        <a:lnTo>
                          <a:pt x="4404" y="432"/>
                        </a:lnTo>
                        <a:lnTo>
                          <a:pt x="4404" y="426"/>
                        </a:lnTo>
                        <a:lnTo>
                          <a:pt x="4398" y="426"/>
                        </a:lnTo>
                        <a:lnTo>
                          <a:pt x="4362" y="414"/>
                        </a:lnTo>
                        <a:lnTo>
                          <a:pt x="4344" y="420"/>
                        </a:lnTo>
                        <a:lnTo>
                          <a:pt x="4332" y="420"/>
                        </a:lnTo>
                        <a:lnTo>
                          <a:pt x="4320" y="432"/>
                        </a:lnTo>
                        <a:close/>
                        <a:moveTo>
                          <a:pt x="5424" y="354"/>
                        </a:moveTo>
                        <a:lnTo>
                          <a:pt x="5370" y="336"/>
                        </a:lnTo>
                        <a:lnTo>
                          <a:pt x="5394" y="366"/>
                        </a:lnTo>
                        <a:lnTo>
                          <a:pt x="5424" y="354"/>
                        </a:lnTo>
                        <a:close/>
                        <a:moveTo>
                          <a:pt x="7986" y="666"/>
                        </a:moveTo>
                        <a:lnTo>
                          <a:pt x="8034" y="654"/>
                        </a:lnTo>
                        <a:lnTo>
                          <a:pt x="8088" y="654"/>
                        </a:lnTo>
                        <a:lnTo>
                          <a:pt x="8100" y="648"/>
                        </a:lnTo>
                        <a:lnTo>
                          <a:pt x="8106" y="642"/>
                        </a:lnTo>
                        <a:lnTo>
                          <a:pt x="8106" y="636"/>
                        </a:lnTo>
                        <a:lnTo>
                          <a:pt x="8100" y="630"/>
                        </a:lnTo>
                        <a:lnTo>
                          <a:pt x="8088" y="630"/>
                        </a:lnTo>
                        <a:lnTo>
                          <a:pt x="8052" y="618"/>
                        </a:lnTo>
                        <a:lnTo>
                          <a:pt x="8028" y="612"/>
                        </a:lnTo>
                        <a:lnTo>
                          <a:pt x="8010" y="606"/>
                        </a:lnTo>
                        <a:lnTo>
                          <a:pt x="7968" y="606"/>
                        </a:lnTo>
                        <a:lnTo>
                          <a:pt x="7944" y="618"/>
                        </a:lnTo>
                        <a:lnTo>
                          <a:pt x="7938" y="630"/>
                        </a:lnTo>
                        <a:lnTo>
                          <a:pt x="7938" y="654"/>
                        </a:lnTo>
                        <a:lnTo>
                          <a:pt x="7944" y="666"/>
                        </a:lnTo>
                        <a:lnTo>
                          <a:pt x="7950" y="666"/>
                        </a:lnTo>
                        <a:lnTo>
                          <a:pt x="7962" y="672"/>
                        </a:lnTo>
                        <a:lnTo>
                          <a:pt x="7968" y="672"/>
                        </a:lnTo>
                        <a:lnTo>
                          <a:pt x="7980" y="666"/>
                        </a:lnTo>
                        <a:lnTo>
                          <a:pt x="7986" y="666"/>
                        </a:lnTo>
                        <a:close/>
                        <a:moveTo>
                          <a:pt x="162" y="1788"/>
                        </a:moveTo>
                        <a:lnTo>
                          <a:pt x="150" y="1788"/>
                        </a:lnTo>
                        <a:lnTo>
                          <a:pt x="138" y="1794"/>
                        </a:lnTo>
                        <a:lnTo>
                          <a:pt x="114" y="1794"/>
                        </a:lnTo>
                        <a:lnTo>
                          <a:pt x="108" y="1788"/>
                        </a:lnTo>
                        <a:lnTo>
                          <a:pt x="96" y="1788"/>
                        </a:lnTo>
                        <a:lnTo>
                          <a:pt x="96" y="1782"/>
                        </a:lnTo>
                        <a:lnTo>
                          <a:pt x="84" y="1782"/>
                        </a:lnTo>
                        <a:lnTo>
                          <a:pt x="84" y="1788"/>
                        </a:lnTo>
                        <a:lnTo>
                          <a:pt x="72" y="1800"/>
                        </a:lnTo>
                        <a:lnTo>
                          <a:pt x="12" y="1800"/>
                        </a:lnTo>
                        <a:lnTo>
                          <a:pt x="0" y="1812"/>
                        </a:lnTo>
                        <a:lnTo>
                          <a:pt x="0" y="1818"/>
                        </a:lnTo>
                        <a:lnTo>
                          <a:pt x="12" y="1830"/>
                        </a:lnTo>
                        <a:lnTo>
                          <a:pt x="6" y="1842"/>
                        </a:lnTo>
                        <a:lnTo>
                          <a:pt x="12" y="1848"/>
                        </a:lnTo>
                        <a:lnTo>
                          <a:pt x="18" y="1848"/>
                        </a:lnTo>
                        <a:lnTo>
                          <a:pt x="24" y="1842"/>
                        </a:lnTo>
                        <a:lnTo>
                          <a:pt x="48" y="1842"/>
                        </a:lnTo>
                        <a:lnTo>
                          <a:pt x="54" y="1848"/>
                        </a:lnTo>
                        <a:lnTo>
                          <a:pt x="66" y="1848"/>
                        </a:lnTo>
                        <a:lnTo>
                          <a:pt x="72" y="1854"/>
                        </a:lnTo>
                        <a:lnTo>
                          <a:pt x="162" y="1854"/>
                        </a:lnTo>
                        <a:lnTo>
                          <a:pt x="162" y="1848"/>
                        </a:lnTo>
                        <a:lnTo>
                          <a:pt x="168" y="1848"/>
                        </a:lnTo>
                        <a:lnTo>
                          <a:pt x="162" y="1830"/>
                        </a:lnTo>
                        <a:lnTo>
                          <a:pt x="174" y="1818"/>
                        </a:lnTo>
                        <a:lnTo>
                          <a:pt x="174" y="1800"/>
                        </a:lnTo>
                        <a:lnTo>
                          <a:pt x="168" y="1788"/>
                        </a:lnTo>
                        <a:lnTo>
                          <a:pt x="162" y="1788"/>
                        </a:lnTo>
                        <a:close/>
                        <a:moveTo>
                          <a:pt x="1038" y="90"/>
                        </a:moveTo>
                        <a:lnTo>
                          <a:pt x="1062" y="72"/>
                        </a:lnTo>
                        <a:lnTo>
                          <a:pt x="1032" y="72"/>
                        </a:lnTo>
                        <a:lnTo>
                          <a:pt x="1032" y="84"/>
                        </a:lnTo>
                        <a:lnTo>
                          <a:pt x="1038" y="90"/>
                        </a:lnTo>
                        <a:close/>
                        <a:moveTo>
                          <a:pt x="990" y="72"/>
                        </a:moveTo>
                        <a:lnTo>
                          <a:pt x="1074" y="54"/>
                        </a:lnTo>
                        <a:lnTo>
                          <a:pt x="1044" y="42"/>
                        </a:lnTo>
                        <a:lnTo>
                          <a:pt x="996" y="54"/>
                        </a:lnTo>
                        <a:lnTo>
                          <a:pt x="948" y="54"/>
                        </a:lnTo>
                        <a:lnTo>
                          <a:pt x="966" y="66"/>
                        </a:lnTo>
                        <a:lnTo>
                          <a:pt x="990" y="72"/>
                        </a:lnTo>
                        <a:close/>
                        <a:moveTo>
                          <a:pt x="1122" y="90"/>
                        </a:moveTo>
                        <a:lnTo>
                          <a:pt x="1128" y="78"/>
                        </a:lnTo>
                        <a:lnTo>
                          <a:pt x="1152" y="78"/>
                        </a:lnTo>
                        <a:lnTo>
                          <a:pt x="1164" y="66"/>
                        </a:lnTo>
                        <a:lnTo>
                          <a:pt x="1218" y="66"/>
                        </a:lnTo>
                        <a:lnTo>
                          <a:pt x="1218" y="60"/>
                        </a:lnTo>
                        <a:lnTo>
                          <a:pt x="1206" y="54"/>
                        </a:lnTo>
                        <a:lnTo>
                          <a:pt x="1182" y="54"/>
                        </a:lnTo>
                        <a:lnTo>
                          <a:pt x="1182" y="48"/>
                        </a:lnTo>
                        <a:lnTo>
                          <a:pt x="1176" y="48"/>
                        </a:lnTo>
                        <a:lnTo>
                          <a:pt x="1164" y="42"/>
                        </a:lnTo>
                        <a:lnTo>
                          <a:pt x="1140" y="42"/>
                        </a:lnTo>
                        <a:lnTo>
                          <a:pt x="1134" y="48"/>
                        </a:lnTo>
                        <a:lnTo>
                          <a:pt x="1128" y="60"/>
                        </a:lnTo>
                        <a:lnTo>
                          <a:pt x="1128" y="66"/>
                        </a:lnTo>
                        <a:lnTo>
                          <a:pt x="1122" y="66"/>
                        </a:lnTo>
                        <a:lnTo>
                          <a:pt x="1116" y="72"/>
                        </a:lnTo>
                        <a:lnTo>
                          <a:pt x="1104" y="72"/>
                        </a:lnTo>
                        <a:lnTo>
                          <a:pt x="1086" y="78"/>
                        </a:lnTo>
                        <a:lnTo>
                          <a:pt x="1080" y="78"/>
                        </a:lnTo>
                        <a:lnTo>
                          <a:pt x="1074" y="84"/>
                        </a:lnTo>
                        <a:lnTo>
                          <a:pt x="1080" y="84"/>
                        </a:lnTo>
                        <a:lnTo>
                          <a:pt x="1092" y="90"/>
                        </a:lnTo>
                        <a:lnTo>
                          <a:pt x="1122" y="90"/>
                        </a:lnTo>
                        <a:close/>
                        <a:moveTo>
                          <a:pt x="1176" y="78"/>
                        </a:moveTo>
                        <a:lnTo>
                          <a:pt x="1158" y="90"/>
                        </a:lnTo>
                        <a:lnTo>
                          <a:pt x="1176" y="102"/>
                        </a:lnTo>
                        <a:lnTo>
                          <a:pt x="1194" y="108"/>
                        </a:lnTo>
                        <a:lnTo>
                          <a:pt x="1248" y="102"/>
                        </a:lnTo>
                        <a:lnTo>
                          <a:pt x="1242" y="90"/>
                        </a:lnTo>
                        <a:lnTo>
                          <a:pt x="1212" y="90"/>
                        </a:lnTo>
                        <a:lnTo>
                          <a:pt x="1176" y="78"/>
                        </a:lnTo>
                        <a:close/>
                        <a:moveTo>
                          <a:pt x="7812" y="2436"/>
                        </a:moveTo>
                        <a:lnTo>
                          <a:pt x="7782" y="2400"/>
                        </a:lnTo>
                        <a:lnTo>
                          <a:pt x="7776" y="2400"/>
                        </a:lnTo>
                        <a:lnTo>
                          <a:pt x="7770" y="2394"/>
                        </a:lnTo>
                        <a:lnTo>
                          <a:pt x="7752" y="2388"/>
                        </a:lnTo>
                        <a:lnTo>
                          <a:pt x="7728" y="2364"/>
                        </a:lnTo>
                        <a:lnTo>
                          <a:pt x="7722" y="2352"/>
                        </a:lnTo>
                        <a:lnTo>
                          <a:pt x="7704" y="2298"/>
                        </a:lnTo>
                        <a:lnTo>
                          <a:pt x="7698" y="2286"/>
                        </a:lnTo>
                        <a:lnTo>
                          <a:pt x="7698" y="2274"/>
                        </a:lnTo>
                        <a:lnTo>
                          <a:pt x="7674" y="2250"/>
                        </a:lnTo>
                        <a:lnTo>
                          <a:pt x="7680" y="2244"/>
                        </a:lnTo>
                        <a:lnTo>
                          <a:pt x="7698" y="2244"/>
                        </a:lnTo>
                        <a:lnTo>
                          <a:pt x="7770" y="2268"/>
                        </a:lnTo>
                        <a:lnTo>
                          <a:pt x="7800" y="2280"/>
                        </a:lnTo>
                        <a:lnTo>
                          <a:pt x="7812" y="2286"/>
                        </a:lnTo>
                        <a:lnTo>
                          <a:pt x="7740" y="2232"/>
                        </a:lnTo>
                        <a:lnTo>
                          <a:pt x="7734" y="2226"/>
                        </a:lnTo>
                        <a:lnTo>
                          <a:pt x="7722" y="2202"/>
                        </a:lnTo>
                        <a:lnTo>
                          <a:pt x="7710" y="2196"/>
                        </a:lnTo>
                        <a:lnTo>
                          <a:pt x="7704" y="2184"/>
                        </a:lnTo>
                        <a:lnTo>
                          <a:pt x="7698" y="2178"/>
                        </a:lnTo>
                        <a:lnTo>
                          <a:pt x="7674" y="2166"/>
                        </a:lnTo>
                        <a:lnTo>
                          <a:pt x="7668" y="2160"/>
                        </a:lnTo>
                        <a:lnTo>
                          <a:pt x="7656" y="2154"/>
                        </a:lnTo>
                        <a:lnTo>
                          <a:pt x="7578" y="2070"/>
                        </a:lnTo>
                        <a:lnTo>
                          <a:pt x="7554" y="2070"/>
                        </a:lnTo>
                        <a:lnTo>
                          <a:pt x="7542" y="2040"/>
                        </a:lnTo>
                        <a:lnTo>
                          <a:pt x="7524" y="2040"/>
                        </a:lnTo>
                        <a:lnTo>
                          <a:pt x="7512" y="2028"/>
                        </a:lnTo>
                        <a:lnTo>
                          <a:pt x="7500" y="2004"/>
                        </a:lnTo>
                        <a:lnTo>
                          <a:pt x="7500" y="1980"/>
                        </a:lnTo>
                        <a:lnTo>
                          <a:pt x="7470" y="1944"/>
                        </a:lnTo>
                        <a:lnTo>
                          <a:pt x="7446" y="1950"/>
                        </a:lnTo>
                        <a:lnTo>
                          <a:pt x="7434" y="1920"/>
                        </a:lnTo>
                        <a:lnTo>
                          <a:pt x="7392" y="1890"/>
                        </a:lnTo>
                        <a:lnTo>
                          <a:pt x="7380" y="1866"/>
                        </a:lnTo>
                        <a:lnTo>
                          <a:pt x="7368" y="1860"/>
                        </a:lnTo>
                        <a:lnTo>
                          <a:pt x="7362" y="1854"/>
                        </a:lnTo>
                        <a:lnTo>
                          <a:pt x="7344" y="1854"/>
                        </a:lnTo>
                        <a:lnTo>
                          <a:pt x="7344" y="1860"/>
                        </a:lnTo>
                        <a:lnTo>
                          <a:pt x="7392" y="1908"/>
                        </a:lnTo>
                        <a:lnTo>
                          <a:pt x="7392" y="1914"/>
                        </a:lnTo>
                        <a:lnTo>
                          <a:pt x="7386" y="1914"/>
                        </a:lnTo>
                        <a:lnTo>
                          <a:pt x="7380" y="1908"/>
                        </a:lnTo>
                        <a:lnTo>
                          <a:pt x="7368" y="1908"/>
                        </a:lnTo>
                        <a:lnTo>
                          <a:pt x="7362" y="1914"/>
                        </a:lnTo>
                        <a:lnTo>
                          <a:pt x="7362" y="1926"/>
                        </a:lnTo>
                        <a:lnTo>
                          <a:pt x="7374" y="1950"/>
                        </a:lnTo>
                        <a:lnTo>
                          <a:pt x="7386" y="1962"/>
                        </a:lnTo>
                        <a:lnTo>
                          <a:pt x="7392" y="1974"/>
                        </a:lnTo>
                        <a:lnTo>
                          <a:pt x="7404" y="1980"/>
                        </a:lnTo>
                        <a:lnTo>
                          <a:pt x="7404" y="1992"/>
                        </a:lnTo>
                        <a:lnTo>
                          <a:pt x="7416" y="2016"/>
                        </a:lnTo>
                        <a:lnTo>
                          <a:pt x="7422" y="2022"/>
                        </a:lnTo>
                        <a:lnTo>
                          <a:pt x="7440" y="2034"/>
                        </a:lnTo>
                        <a:lnTo>
                          <a:pt x="7470" y="2052"/>
                        </a:lnTo>
                        <a:lnTo>
                          <a:pt x="7500" y="2076"/>
                        </a:lnTo>
                        <a:lnTo>
                          <a:pt x="7518" y="2100"/>
                        </a:lnTo>
                        <a:lnTo>
                          <a:pt x="7524" y="2112"/>
                        </a:lnTo>
                        <a:lnTo>
                          <a:pt x="7536" y="2130"/>
                        </a:lnTo>
                        <a:lnTo>
                          <a:pt x="7536" y="2142"/>
                        </a:lnTo>
                        <a:lnTo>
                          <a:pt x="7548" y="2154"/>
                        </a:lnTo>
                        <a:lnTo>
                          <a:pt x="7554" y="2166"/>
                        </a:lnTo>
                        <a:lnTo>
                          <a:pt x="7572" y="2184"/>
                        </a:lnTo>
                        <a:lnTo>
                          <a:pt x="7590" y="2208"/>
                        </a:lnTo>
                        <a:lnTo>
                          <a:pt x="7608" y="2238"/>
                        </a:lnTo>
                        <a:lnTo>
                          <a:pt x="7620" y="2262"/>
                        </a:lnTo>
                        <a:lnTo>
                          <a:pt x="7626" y="2268"/>
                        </a:lnTo>
                        <a:lnTo>
                          <a:pt x="7626" y="2280"/>
                        </a:lnTo>
                        <a:lnTo>
                          <a:pt x="7632" y="2292"/>
                        </a:lnTo>
                        <a:lnTo>
                          <a:pt x="7644" y="2304"/>
                        </a:lnTo>
                        <a:lnTo>
                          <a:pt x="7656" y="2304"/>
                        </a:lnTo>
                        <a:lnTo>
                          <a:pt x="7668" y="2310"/>
                        </a:lnTo>
                        <a:lnTo>
                          <a:pt x="7674" y="2322"/>
                        </a:lnTo>
                        <a:lnTo>
                          <a:pt x="7686" y="2334"/>
                        </a:lnTo>
                        <a:lnTo>
                          <a:pt x="7698" y="2358"/>
                        </a:lnTo>
                        <a:lnTo>
                          <a:pt x="7698" y="2376"/>
                        </a:lnTo>
                        <a:lnTo>
                          <a:pt x="7740" y="2412"/>
                        </a:lnTo>
                        <a:lnTo>
                          <a:pt x="7752" y="2466"/>
                        </a:lnTo>
                        <a:lnTo>
                          <a:pt x="7794" y="2508"/>
                        </a:lnTo>
                        <a:lnTo>
                          <a:pt x="7794" y="2502"/>
                        </a:lnTo>
                        <a:lnTo>
                          <a:pt x="7788" y="2496"/>
                        </a:lnTo>
                        <a:lnTo>
                          <a:pt x="7788" y="2484"/>
                        </a:lnTo>
                        <a:lnTo>
                          <a:pt x="7782" y="2472"/>
                        </a:lnTo>
                        <a:lnTo>
                          <a:pt x="7782" y="2460"/>
                        </a:lnTo>
                        <a:lnTo>
                          <a:pt x="7776" y="2448"/>
                        </a:lnTo>
                        <a:lnTo>
                          <a:pt x="7782" y="2442"/>
                        </a:lnTo>
                        <a:lnTo>
                          <a:pt x="7788" y="2442"/>
                        </a:lnTo>
                        <a:lnTo>
                          <a:pt x="7800" y="2454"/>
                        </a:lnTo>
                        <a:lnTo>
                          <a:pt x="7830" y="2454"/>
                        </a:lnTo>
                        <a:lnTo>
                          <a:pt x="7866" y="2496"/>
                        </a:lnTo>
                        <a:lnTo>
                          <a:pt x="7866" y="2472"/>
                        </a:lnTo>
                        <a:lnTo>
                          <a:pt x="7836" y="2430"/>
                        </a:lnTo>
                        <a:lnTo>
                          <a:pt x="7812" y="2436"/>
                        </a:lnTo>
                        <a:close/>
                        <a:moveTo>
                          <a:pt x="1344" y="84"/>
                        </a:moveTo>
                        <a:lnTo>
                          <a:pt x="1350" y="72"/>
                        </a:lnTo>
                        <a:lnTo>
                          <a:pt x="1308" y="66"/>
                        </a:lnTo>
                        <a:lnTo>
                          <a:pt x="1284" y="78"/>
                        </a:lnTo>
                        <a:lnTo>
                          <a:pt x="1290" y="90"/>
                        </a:lnTo>
                        <a:lnTo>
                          <a:pt x="1344" y="84"/>
                        </a:lnTo>
                        <a:close/>
                        <a:moveTo>
                          <a:pt x="9048" y="996"/>
                        </a:moveTo>
                        <a:lnTo>
                          <a:pt x="9036" y="984"/>
                        </a:lnTo>
                        <a:lnTo>
                          <a:pt x="9024" y="978"/>
                        </a:lnTo>
                        <a:lnTo>
                          <a:pt x="9006" y="972"/>
                        </a:lnTo>
                        <a:lnTo>
                          <a:pt x="8994" y="966"/>
                        </a:lnTo>
                        <a:lnTo>
                          <a:pt x="8982" y="966"/>
                        </a:lnTo>
                        <a:lnTo>
                          <a:pt x="8940" y="948"/>
                        </a:lnTo>
                        <a:lnTo>
                          <a:pt x="8898" y="948"/>
                        </a:lnTo>
                        <a:lnTo>
                          <a:pt x="8868" y="930"/>
                        </a:lnTo>
                        <a:lnTo>
                          <a:pt x="8778" y="924"/>
                        </a:lnTo>
                        <a:lnTo>
                          <a:pt x="8736" y="906"/>
                        </a:lnTo>
                        <a:lnTo>
                          <a:pt x="8700" y="906"/>
                        </a:lnTo>
                        <a:lnTo>
                          <a:pt x="8754" y="942"/>
                        </a:lnTo>
                        <a:lnTo>
                          <a:pt x="8808" y="966"/>
                        </a:lnTo>
                        <a:lnTo>
                          <a:pt x="8796" y="966"/>
                        </a:lnTo>
                        <a:lnTo>
                          <a:pt x="8784" y="972"/>
                        </a:lnTo>
                        <a:lnTo>
                          <a:pt x="8754" y="972"/>
                        </a:lnTo>
                        <a:lnTo>
                          <a:pt x="8730" y="960"/>
                        </a:lnTo>
                        <a:lnTo>
                          <a:pt x="8676" y="906"/>
                        </a:lnTo>
                        <a:lnTo>
                          <a:pt x="8580" y="870"/>
                        </a:lnTo>
                        <a:lnTo>
                          <a:pt x="8496" y="846"/>
                        </a:lnTo>
                        <a:lnTo>
                          <a:pt x="8442" y="834"/>
                        </a:lnTo>
                        <a:lnTo>
                          <a:pt x="8370" y="822"/>
                        </a:lnTo>
                        <a:lnTo>
                          <a:pt x="8280" y="804"/>
                        </a:lnTo>
                        <a:lnTo>
                          <a:pt x="8190" y="780"/>
                        </a:lnTo>
                        <a:lnTo>
                          <a:pt x="8112" y="762"/>
                        </a:lnTo>
                        <a:lnTo>
                          <a:pt x="8052" y="750"/>
                        </a:lnTo>
                        <a:lnTo>
                          <a:pt x="7998" y="738"/>
                        </a:lnTo>
                        <a:lnTo>
                          <a:pt x="7956" y="732"/>
                        </a:lnTo>
                        <a:lnTo>
                          <a:pt x="7758" y="732"/>
                        </a:lnTo>
                        <a:lnTo>
                          <a:pt x="7746" y="714"/>
                        </a:lnTo>
                        <a:lnTo>
                          <a:pt x="7698" y="720"/>
                        </a:lnTo>
                        <a:lnTo>
                          <a:pt x="7680" y="708"/>
                        </a:lnTo>
                        <a:lnTo>
                          <a:pt x="7626" y="708"/>
                        </a:lnTo>
                        <a:lnTo>
                          <a:pt x="7650" y="726"/>
                        </a:lnTo>
                        <a:lnTo>
                          <a:pt x="7644" y="744"/>
                        </a:lnTo>
                        <a:lnTo>
                          <a:pt x="7656" y="744"/>
                        </a:lnTo>
                        <a:lnTo>
                          <a:pt x="7680" y="756"/>
                        </a:lnTo>
                        <a:lnTo>
                          <a:pt x="7716" y="762"/>
                        </a:lnTo>
                        <a:lnTo>
                          <a:pt x="7740" y="774"/>
                        </a:lnTo>
                        <a:lnTo>
                          <a:pt x="7758" y="786"/>
                        </a:lnTo>
                        <a:lnTo>
                          <a:pt x="7752" y="798"/>
                        </a:lnTo>
                        <a:lnTo>
                          <a:pt x="7728" y="804"/>
                        </a:lnTo>
                        <a:lnTo>
                          <a:pt x="7698" y="804"/>
                        </a:lnTo>
                        <a:lnTo>
                          <a:pt x="7686" y="798"/>
                        </a:lnTo>
                        <a:lnTo>
                          <a:pt x="7680" y="792"/>
                        </a:lnTo>
                        <a:lnTo>
                          <a:pt x="7656" y="774"/>
                        </a:lnTo>
                        <a:lnTo>
                          <a:pt x="7584" y="774"/>
                        </a:lnTo>
                        <a:lnTo>
                          <a:pt x="7530" y="738"/>
                        </a:lnTo>
                        <a:lnTo>
                          <a:pt x="7524" y="738"/>
                        </a:lnTo>
                        <a:lnTo>
                          <a:pt x="7518" y="744"/>
                        </a:lnTo>
                        <a:lnTo>
                          <a:pt x="7506" y="744"/>
                        </a:lnTo>
                        <a:lnTo>
                          <a:pt x="7500" y="750"/>
                        </a:lnTo>
                        <a:lnTo>
                          <a:pt x="7446" y="750"/>
                        </a:lnTo>
                        <a:lnTo>
                          <a:pt x="7440" y="738"/>
                        </a:lnTo>
                        <a:lnTo>
                          <a:pt x="7344" y="744"/>
                        </a:lnTo>
                        <a:lnTo>
                          <a:pt x="7320" y="726"/>
                        </a:lnTo>
                        <a:lnTo>
                          <a:pt x="7314" y="732"/>
                        </a:lnTo>
                        <a:lnTo>
                          <a:pt x="7212" y="732"/>
                        </a:lnTo>
                        <a:lnTo>
                          <a:pt x="7206" y="738"/>
                        </a:lnTo>
                        <a:lnTo>
                          <a:pt x="7212" y="744"/>
                        </a:lnTo>
                        <a:lnTo>
                          <a:pt x="7218" y="756"/>
                        </a:lnTo>
                        <a:lnTo>
                          <a:pt x="7254" y="792"/>
                        </a:lnTo>
                        <a:lnTo>
                          <a:pt x="7248" y="792"/>
                        </a:lnTo>
                        <a:lnTo>
                          <a:pt x="7242" y="786"/>
                        </a:lnTo>
                        <a:lnTo>
                          <a:pt x="7230" y="780"/>
                        </a:lnTo>
                        <a:lnTo>
                          <a:pt x="7218" y="768"/>
                        </a:lnTo>
                        <a:lnTo>
                          <a:pt x="7206" y="762"/>
                        </a:lnTo>
                        <a:lnTo>
                          <a:pt x="7194" y="750"/>
                        </a:lnTo>
                        <a:lnTo>
                          <a:pt x="7176" y="744"/>
                        </a:lnTo>
                        <a:lnTo>
                          <a:pt x="7104" y="732"/>
                        </a:lnTo>
                        <a:lnTo>
                          <a:pt x="7086" y="732"/>
                        </a:lnTo>
                        <a:lnTo>
                          <a:pt x="7086" y="726"/>
                        </a:lnTo>
                        <a:lnTo>
                          <a:pt x="7056" y="696"/>
                        </a:lnTo>
                        <a:lnTo>
                          <a:pt x="7032" y="684"/>
                        </a:lnTo>
                        <a:lnTo>
                          <a:pt x="6990" y="666"/>
                        </a:lnTo>
                        <a:lnTo>
                          <a:pt x="6948" y="660"/>
                        </a:lnTo>
                        <a:lnTo>
                          <a:pt x="6912" y="654"/>
                        </a:lnTo>
                        <a:lnTo>
                          <a:pt x="6882" y="654"/>
                        </a:lnTo>
                        <a:lnTo>
                          <a:pt x="6864" y="648"/>
                        </a:lnTo>
                        <a:lnTo>
                          <a:pt x="6834" y="648"/>
                        </a:lnTo>
                        <a:lnTo>
                          <a:pt x="6786" y="636"/>
                        </a:lnTo>
                        <a:lnTo>
                          <a:pt x="6774" y="642"/>
                        </a:lnTo>
                        <a:lnTo>
                          <a:pt x="6714" y="642"/>
                        </a:lnTo>
                        <a:lnTo>
                          <a:pt x="6696" y="660"/>
                        </a:lnTo>
                        <a:lnTo>
                          <a:pt x="6684" y="666"/>
                        </a:lnTo>
                        <a:lnTo>
                          <a:pt x="6648" y="666"/>
                        </a:lnTo>
                        <a:lnTo>
                          <a:pt x="6630" y="660"/>
                        </a:lnTo>
                        <a:lnTo>
                          <a:pt x="6594" y="660"/>
                        </a:lnTo>
                        <a:lnTo>
                          <a:pt x="6582" y="654"/>
                        </a:lnTo>
                        <a:lnTo>
                          <a:pt x="6576" y="648"/>
                        </a:lnTo>
                        <a:lnTo>
                          <a:pt x="6552" y="636"/>
                        </a:lnTo>
                        <a:lnTo>
                          <a:pt x="6534" y="630"/>
                        </a:lnTo>
                        <a:lnTo>
                          <a:pt x="6522" y="624"/>
                        </a:lnTo>
                        <a:lnTo>
                          <a:pt x="6498" y="624"/>
                        </a:lnTo>
                        <a:lnTo>
                          <a:pt x="6486" y="630"/>
                        </a:lnTo>
                        <a:lnTo>
                          <a:pt x="6474" y="612"/>
                        </a:lnTo>
                        <a:lnTo>
                          <a:pt x="6438" y="612"/>
                        </a:lnTo>
                        <a:lnTo>
                          <a:pt x="6372" y="606"/>
                        </a:lnTo>
                        <a:lnTo>
                          <a:pt x="6408" y="594"/>
                        </a:lnTo>
                        <a:lnTo>
                          <a:pt x="6372" y="570"/>
                        </a:lnTo>
                        <a:lnTo>
                          <a:pt x="6360" y="570"/>
                        </a:lnTo>
                        <a:lnTo>
                          <a:pt x="6324" y="564"/>
                        </a:lnTo>
                        <a:lnTo>
                          <a:pt x="6282" y="558"/>
                        </a:lnTo>
                        <a:lnTo>
                          <a:pt x="6246" y="558"/>
                        </a:lnTo>
                        <a:lnTo>
                          <a:pt x="6228" y="564"/>
                        </a:lnTo>
                        <a:lnTo>
                          <a:pt x="6228" y="594"/>
                        </a:lnTo>
                        <a:lnTo>
                          <a:pt x="6222" y="600"/>
                        </a:lnTo>
                        <a:lnTo>
                          <a:pt x="6192" y="600"/>
                        </a:lnTo>
                        <a:lnTo>
                          <a:pt x="6180" y="594"/>
                        </a:lnTo>
                        <a:lnTo>
                          <a:pt x="6168" y="594"/>
                        </a:lnTo>
                        <a:lnTo>
                          <a:pt x="6186" y="582"/>
                        </a:lnTo>
                        <a:lnTo>
                          <a:pt x="6168" y="570"/>
                        </a:lnTo>
                        <a:lnTo>
                          <a:pt x="6096" y="570"/>
                        </a:lnTo>
                        <a:lnTo>
                          <a:pt x="6114" y="558"/>
                        </a:lnTo>
                        <a:lnTo>
                          <a:pt x="6156" y="558"/>
                        </a:lnTo>
                        <a:lnTo>
                          <a:pt x="6216" y="588"/>
                        </a:lnTo>
                        <a:lnTo>
                          <a:pt x="6216" y="564"/>
                        </a:lnTo>
                        <a:lnTo>
                          <a:pt x="6162" y="540"/>
                        </a:lnTo>
                        <a:lnTo>
                          <a:pt x="6048" y="546"/>
                        </a:lnTo>
                        <a:lnTo>
                          <a:pt x="6048" y="534"/>
                        </a:lnTo>
                        <a:lnTo>
                          <a:pt x="5928" y="540"/>
                        </a:lnTo>
                        <a:lnTo>
                          <a:pt x="5880" y="522"/>
                        </a:lnTo>
                        <a:lnTo>
                          <a:pt x="5862" y="522"/>
                        </a:lnTo>
                        <a:lnTo>
                          <a:pt x="5898" y="546"/>
                        </a:lnTo>
                        <a:lnTo>
                          <a:pt x="5850" y="546"/>
                        </a:lnTo>
                        <a:lnTo>
                          <a:pt x="5838" y="552"/>
                        </a:lnTo>
                        <a:lnTo>
                          <a:pt x="5832" y="552"/>
                        </a:lnTo>
                        <a:lnTo>
                          <a:pt x="5832" y="558"/>
                        </a:lnTo>
                        <a:lnTo>
                          <a:pt x="5844" y="564"/>
                        </a:lnTo>
                        <a:lnTo>
                          <a:pt x="5850" y="570"/>
                        </a:lnTo>
                        <a:lnTo>
                          <a:pt x="5862" y="576"/>
                        </a:lnTo>
                        <a:lnTo>
                          <a:pt x="5892" y="576"/>
                        </a:lnTo>
                        <a:lnTo>
                          <a:pt x="5892" y="582"/>
                        </a:lnTo>
                        <a:lnTo>
                          <a:pt x="5952" y="618"/>
                        </a:lnTo>
                        <a:lnTo>
                          <a:pt x="5904" y="618"/>
                        </a:lnTo>
                        <a:lnTo>
                          <a:pt x="5898" y="612"/>
                        </a:lnTo>
                        <a:lnTo>
                          <a:pt x="5886" y="606"/>
                        </a:lnTo>
                        <a:lnTo>
                          <a:pt x="5874" y="606"/>
                        </a:lnTo>
                        <a:lnTo>
                          <a:pt x="5862" y="600"/>
                        </a:lnTo>
                        <a:lnTo>
                          <a:pt x="5844" y="618"/>
                        </a:lnTo>
                        <a:lnTo>
                          <a:pt x="5868" y="636"/>
                        </a:lnTo>
                        <a:lnTo>
                          <a:pt x="5814" y="630"/>
                        </a:lnTo>
                        <a:lnTo>
                          <a:pt x="5808" y="630"/>
                        </a:lnTo>
                        <a:lnTo>
                          <a:pt x="5802" y="624"/>
                        </a:lnTo>
                        <a:lnTo>
                          <a:pt x="5784" y="618"/>
                        </a:lnTo>
                        <a:lnTo>
                          <a:pt x="5766" y="618"/>
                        </a:lnTo>
                        <a:lnTo>
                          <a:pt x="5754" y="612"/>
                        </a:lnTo>
                        <a:lnTo>
                          <a:pt x="5736" y="606"/>
                        </a:lnTo>
                        <a:lnTo>
                          <a:pt x="5724" y="606"/>
                        </a:lnTo>
                        <a:lnTo>
                          <a:pt x="5712" y="612"/>
                        </a:lnTo>
                        <a:lnTo>
                          <a:pt x="5700" y="612"/>
                        </a:lnTo>
                        <a:lnTo>
                          <a:pt x="5688" y="618"/>
                        </a:lnTo>
                        <a:lnTo>
                          <a:pt x="5682" y="624"/>
                        </a:lnTo>
                        <a:lnTo>
                          <a:pt x="5676" y="624"/>
                        </a:lnTo>
                        <a:lnTo>
                          <a:pt x="5610" y="618"/>
                        </a:lnTo>
                        <a:lnTo>
                          <a:pt x="5604" y="618"/>
                        </a:lnTo>
                        <a:lnTo>
                          <a:pt x="5598" y="612"/>
                        </a:lnTo>
                        <a:lnTo>
                          <a:pt x="5562" y="594"/>
                        </a:lnTo>
                        <a:lnTo>
                          <a:pt x="5556" y="594"/>
                        </a:lnTo>
                        <a:lnTo>
                          <a:pt x="5550" y="588"/>
                        </a:lnTo>
                        <a:lnTo>
                          <a:pt x="5538" y="588"/>
                        </a:lnTo>
                        <a:lnTo>
                          <a:pt x="5538" y="606"/>
                        </a:lnTo>
                        <a:lnTo>
                          <a:pt x="5544" y="612"/>
                        </a:lnTo>
                        <a:lnTo>
                          <a:pt x="5550" y="624"/>
                        </a:lnTo>
                        <a:lnTo>
                          <a:pt x="5556" y="630"/>
                        </a:lnTo>
                        <a:lnTo>
                          <a:pt x="5562" y="642"/>
                        </a:lnTo>
                        <a:lnTo>
                          <a:pt x="5562" y="660"/>
                        </a:lnTo>
                        <a:lnTo>
                          <a:pt x="5556" y="666"/>
                        </a:lnTo>
                        <a:lnTo>
                          <a:pt x="5532" y="660"/>
                        </a:lnTo>
                        <a:lnTo>
                          <a:pt x="5424" y="624"/>
                        </a:lnTo>
                        <a:lnTo>
                          <a:pt x="5412" y="618"/>
                        </a:lnTo>
                        <a:lnTo>
                          <a:pt x="5406" y="618"/>
                        </a:lnTo>
                        <a:lnTo>
                          <a:pt x="5400" y="612"/>
                        </a:lnTo>
                        <a:lnTo>
                          <a:pt x="5394" y="600"/>
                        </a:lnTo>
                        <a:lnTo>
                          <a:pt x="5382" y="594"/>
                        </a:lnTo>
                        <a:lnTo>
                          <a:pt x="5376" y="588"/>
                        </a:lnTo>
                        <a:lnTo>
                          <a:pt x="5376" y="606"/>
                        </a:lnTo>
                        <a:lnTo>
                          <a:pt x="5322" y="588"/>
                        </a:lnTo>
                        <a:lnTo>
                          <a:pt x="5292" y="570"/>
                        </a:lnTo>
                        <a:lnTo>
                          <a:pt x="5298" y="570"/>
                        </a:lnTo>
                        <a:lnTo>
                          <a:pt x="5304" y="576"/>
                        </a:lnTo>
                        <a:lnTo>
                          <a:pt x="5328" y="576"/>
                        </a:lnTo>
                        <a:lnTo>
                          <a:pt x="5340" y="582"/>
                        </a:lnTo>
                        <a:lnTo>
                          <a:pt x="5352" y="582"/>
                        </a:lnTo>
                        <a:lnTo>
                          <a:pt x="5358" y="576"/>
                        </a:lnTo>
                        <a:lnTo>
                          <a:pt x="5358" y="570"/>
                        </a:lnTo>
                        <a:lnTo>
                          <a:pt x="5346" y="564"/>
                        </a:lnTo>
                        <a:lnTo>
                          <a:pt x="5334" y="552"/>
                        </a:lnTo>
                        <a:lnTo>
                          <a:pt x="5292" y="552"/>
                        </a:lnTo>
                        <a:lnTo>
                          <a:pt x="5304" y="540"/>
                        </a:lnTo>
                        <a:lnTo>
                          <a:pt x="5298" y="534"/>
                        </a:lnTo>
                        <a:lnTo>
                          <a:pt x="5286" y="528"/>
                        </a:lnTo>
                        <a:lnTo>
                          <a:pt x="5256" y="528"/>
                        </a:lnTo>
                        <a:lnTo>
                          <a:pt x="5268" y="510"/>
                        </a:lnTo>
                        <a:lnTo>
                          <a:pt x="5262" y="510"/>
                        </a:lnTo>
                        <a:lnTo>
                          <a:pt x="5256" y="504"/>
                        </a:lnTo>
                        <a:lnTo>
                          <a:pt x="5232" y="504"/>
                        </a:lnTo>
                        <a:lnTo>
                          <a:pt x="5220" y="498"/>
                        </a:lnTo>
                        <a:lnTo>
                          <a:pt x="5208" y="498"/>
                        </a:lnTo>
                        <a:lnTo>
                          <a:pt x="5202" y="492"/>
                        </a:lnTo>
                        <a:lnTo>
                          <a:pt x="5190" y="492"/>
                        </a:lnTo>
                        <a:lnTo>
                          <a:pt x="5184" y="486"/>
                        </a:lnTo>
                        <a:lnTo>
                          <a:pt x="5142" y="486"/>
                        </a:lnTo>
                        <a:lnTo>
                          <a:pt x="5130" y="492"/>
                        </a:lnTo>
                        <a:lnTo>
                          <a:pt x="5094" y="492"/>
                        </a:lnTo>
                        <a:lnTo>
                          <a:pt x="5076" y="486"/>
                        </a:lnTo>
                        <a:lnTo>
                          <a:pt x="5070" y="480"/>
                        </a:lnTo>
                        <a:lnTo>
                          <a:pt x="5064" y="480"/>
                        </a:lnTo>
                        <a:lnTo>
                          <a:pt x="5040" y="486"/>
                        </a:lnTo>
                        <a:lnTo>
                          <a:pt x="5040" y="474"/>
                        </a:lnTo>
                        <a:lnTo>
                          <a:pt x="4992" y="468"/>
                        </a:lnTo>
                        <a:lnTo>
                          <a:pt x="4980" y="456"/>
                        </a:lnTo>
                        <a:lnTo>
                          <a:pt x="4974" y="474"/>
                        </a:lnTo>
                        <a:lnTo>
                          <a:pt x="4956" y="480"/>
                        </a:lnTo>
                        <a:lnTo>
                          <a:pt x="4986" y="498"/>
                        </a:lnTo>
                        <a:lnTo>
                          <a:pt x="5010" y="528"/>
                        </a:lnTo>
                        <a:lnTo>
                          <a:pt x="4962" y="522"/>
                        </a:lnTo>
                        <a:lnTo>
                          <a:pt x="4956" y="516"/>
                        </a:lnTo>
                        <a:lnTo>
                          <a:pt x="4890" y="522"/>
                        </a:lnTo>
                        <a:lnTo>
                          <a:pt x="4872" y="528"/>
                        </a:lnTo>
                        <a:lnTo>
                          <a:pt x="4872" y="516"/>
                        </a:lnTo>
                        <a:lnTo>
                          <a:pt x="4824" y="522"/>
                        </a:lnTo>
                        <a:lnTo>
                          <a:pt x="4818" y="510"/>
                        </a:lnTo>
                        <a:lnTo>
                          <a:pt x="4764" y="510"/>
                        </a:lnTo>
                        <a:lnTo>
                          <a:pt x="4728" y="504"/>
                        </a:lnTo>
                        <a:lnTo>
                          <a:pt x="4746" y="480"/>
                        </a:lnTo>
                        <a:lnTo>
                          <a:pt x="4620" y="480"/>
                        </a:lnTo>
                        <a:lnTo>
                          <a:pt x="4608" y="468"/>
                        </a:lnTo>
                        <a:lnTo>
                          <a:pt x="4602" y="474"/>
                        </a:lnTo>
                        <a:lnTo>
                          <a:pt x="4590" y="468"/>
                        </a:lnTo>
                        <a:lnTo>
                          <a:pt x="4542" y="474"/>
                        </a:lnTo>
                        <a:lnTo>
                          <a:pt x="4548" y="486"/>
                        </a:lnTo>
                        <a:lnTo>
                          <a:pt x="4488" y="480"/>
                        </a:lnTo>
                        <a:lnTo>
                          <a:pt x="4476" y="486"/>
                        </a:lnTo>
                        <a:lnTo>
                          <a:pt x="4506" y="498"/>
                        </a:lnTo>
                        <a:lnTo>
                          <a:pt x="4464" y="492"/>
                        </a:lnTo>
                        <a:lnTo>
                          <a:pt x="4464" y="474"/>
                        </a:lnTo>
                        <a:lnTo>
                          <a:pt x="4434" y="456"/>
                        </a:lnTo>
                        <a:lnTo>
                          <a:pt x="4416" y="456"/>
                        </a:lnTo>
                        <a:lnTo>
                          <a:pt x="4428" y="474"/>
                        </a:lnTo>
                        <a:lnTo>
                          <a:pt x="4374" y="474"/>
                        </a:lnTo>
                        <a:lnTo>
                          <a:pt x="4368" y="468"/>
                        </a:lnTo>
                        <a:lnTo>
                          <a:pt x="4356" y="468"/>
                        </a:lnTo>
                        <a:lnTo>
                          <a:pt x="4350" y="456"/>
                        </a:lnTo>
                        <a:lnTo>
                          <a:pt x="4320" y="456"/>
                        </a:lnTo>
                        <a:lnTo>
                          <a:pt x="4296" y="444"/>
                        </a:lnTo>
                        <a:lnTo>
                          <a:pt x="4266" y="468"/>
                        </a:lnTo>
                        <a:lnTo>
                          <a:pt x="4320" y="474"/>
                        </a:lnTo>
                        <a:lnTo>
                          <a:pt x="4332" y="474"/>
                        </a:lnTo>
                        <a:lnTo>
                          <a:pt x="4326" y="480"/>
                        </a:lnTo>
                        <a:lnTo>
                          <a:pt x="4314" y="486"/>
                        </a:lnTo>
                        <a:lnTo>
                          <a:pt x="4308" y="492"/>
                        </a:lnTo>
                        <a:lnTo>
                          <a:pt x="4272" y="492"/>
                        </a:lnTo>
                        <a:lnTo>
                          <a:pt x="4266" y="498"/>
                        </a:lnTo>
                        <a:lnTo>
                          <a:pt x="4254" y="504"/>
                        </a:lnTo>
                        <a:lnTo>
                          <a:pt x="4182" y="504"/>
                        </a:lnTo>
                        <a:lnTo>
                          <a:pt x="4146" y="510"/>
                        </a:lnTo>
                        <a:lnTo>
                          <a:pt x="4134" y="534"/>
                        </a:lnTo>
                        <a:lnTo>
                          <a:pt x="4110" y="528"/>
                        </a:lnTo>
                        <a:lnTo>
                          <a:pt x="4110" y="516"/>
                        </a:lnTo>
                        <a:lnTo>
                          <a:pt x="4116" y="504"/>
                        </a:lnTo>
                        <a:lnTo>
                          <a:pt x="4122" y="498"/>
                        </a:lnTo>
                        <a:lnTo>
                          <a:pt x="4134" y="492"/>
                        </a:lnTo>
                        <a:lnTo>
                          <a:pt x="4152" y="492"/>
                        </a:lnTo>
                        <a:lnTo>
                          <a:pt x="4164" y="480"/>
                        </a:lnTo>
                        <a:lnTo>
                          <a:pt x="4206" y="474"/>
                        </a:lnTo>
                        <a:lnTo>
                          <a:pt x="4248" y="438"/>
                        </a:lnTo>
                        <a:lnTo>
                          <a:pt x="4248" y="426"/>
                        </a:lnTo>
                        <a:lnTo>
                          <a:pt x="4254" y="420"/>
                        </a:lnTo>
                        <a:lnTo>
                          <a:pt x="4266" y="414"/>
                        </a:lnTo>
                        <a:lnTo>
                          <a:pt x="4278" y="414"/>
                        </a:lnTo>
                        <a:lnTo>
                          <a:pt x="4290" y="408"/>
                        </a:lnTo>
                        <a:lnTo>
                          <a:pt x="4302" y="408"/>
                        </a:lnTo>
                        <a:lnTo>
                          <a:pt x="4320" y="402"/>
                        </a:lnTo>
                        <a:lnTo>
                          <a:pt x="4332" y="402"/>
                        </a:lnTo>
                        <a:lnTo>
                          <a:pt x="4344" y="396"/>
                        </a:lnTo>
                        <a:lnTo>
                          <a:pt x="4350" y="390"/>
                        </a:lnTo>
                        <a:lnTo>
                          <a:pt x="4356" y="378"/>
                        </a:lnTo>
                        <a:lnTo>
                          <a:pt x="4350" y="366"/>
                        </a:lnTo>
                        <a:lnTo>
                          <a:pt x="4344" y="360"/>
                        </a:lnTo>
                        <a:lnTo>
                          <a:pt x="4332" y="354"/>
                        </a:lnTo>
                        <a:lnTo>
                          <a:pt x="4326" y="348"/>
                        </a:lnTo>
                        <a:lnTo>
                          <a:pt x="4290" y="348"/>
                        </a:lnTo>
                        <a:lnTo>
                          <a:pt x="4320" y="336"/>
                        </a:lnTo>
                        <a:lnTo>
                          <a:pt x="4314" y="330"/>
                        </a:lnTo>
                        <a:lnTo>
                          <a:pt x="4302" y="324"/>
                        </a:lnTo>
                        <a:lnTo>
                          <a:pt x="4290" y="312"/>
                        </a:lnTo>
                        <a:lnTo>
                          <a:pt x="4284" y="312"/>
                        </a:lnTo>
                        <a:lnTo>
                          <a:pt x="4278" y="318"/>
                        </a:lnTo>
                        <a:lnTo>
                          <a:pt x="4254" y="318"/>
                        </a:lnTo>
                        <a:lnTo>
                          <a:pt x="4248" y="312"/>
                        </a:lnTo>
                        <a:lnTo>
                          <a:pt x="4242" y="300"/>
                        </a:lnTo>
                        <a:lnTo>
                          <a:pt x="4236" y="294"/>
                        </a:lnTo>
                        <a:lnTo>
                          <a:pt x="4194" y="294"/>
                        </a:lnTo>
                        <a:lnTo>
                          <a:pt x="4188" y="300"/>
                        </a:lnTo>
                        <a:lnTo>
                          <a:pt x="4182" y="300"/>
                        </a:lnTo>
                        <a:lnTo>
                          <a:pt x="4128" y="288"/>
                        </a:lnTo>
                        <a:lnTo>
                          <a:pt x="3990" y="282"/>
                        </a:lnTo>
                        <a:lnTo>
                          <a:pt x="3990" y="300"/>
                        </a:lnTo>
                        <a:lnTo>
                          <a:pt x="3924" y="300"/>
                        </a:lnTo>
                        <a:lnTo>
                          <a:pt x="3942" y="282"/>
                        </a:lnTo>
                        <a:lnTo>
                          <a:pt x="3942" y="276"/>
                        </a:lnTo>
                        <a:lnTo>
                          <a:pt x="3936" y="270"/>
                        </a:lnTo>
                        <a:lnTo>
                          <a:pt x="3912" y="264"/>
                        </a:lnTo>
                        <a:lnTo>
                          <a:pt x="3882" y="264"/>
                        </a:lnTo>
                        <a:lnTo>
                          <a:pt x="3852" y="270"/>
                        </a:lnTo>
                        <a:lnTo>
                          <a:pt x="3840" y="270"/>
                        </a:lnTo>
                        <a:lnTo>
                          <a:pt x="3780" y="264"/>
                        </a:lnTo>
                        <a:lnTo>
                          <a:pt x="3792" y="264"/>
                        </a:lnTo>
                        <a:lnTo>
                          <a:pt x="3810" y="258"/>
                        </a:lnTo>
                        <a:lnTo>
                          <a:pt x="3822" y="258"/>
                        </a:lnTo>
                        <a:lnTo>
                          <a:pt x="3834" y="252"/>
                        </a:lnTo>
                        <a:lnTo>
                          <a:pt x="3840" y="252"/>
                        </a:lnTo>
                        <a:lnTo>
                          <a:pt x="3840" y="246"/>
                        </a:lnTo>
                        <a:lnTo>
                          <a:pt x="3834" y="240"/>
                        </a:lnTo>
                        <a:lnTo>
                          <a:pt x="3822" y="240"/>
                        </a:lnTo>
                        <a:lnTo>
                          <a:pt x="3804" y="234"/>
                        </a:lnTo>
                        <a:lnTo>
                          <a:pt x="3762" y="234"/>
                        </a:lnTo>
                        <a:lnTo>
                          <a:pt x="3720" y="228"/>
                        </a:lnTo>
                        <a:lnTo>
                          <a:pt x="3714" y="240"/>
                        </a:lnTo>
                        <a:lnTo>
                          <a:pt x="3684" y="240"/>
                        </a:lnTo>
                        <a:lnTo>
                          <a:pt x="3672" y="246"/>
                        </a:lnTo>
                        <a:lnTo>
                          <a:pt x="3660" y="246"/>
                        </a:lnTo>
                        <a:lnTo>
                          <a:pt x="3648" y="252"/>
                        </a:lnTo>
                        <a:lnTo>
                          <a:pt x="3648" y="258"/>
                        </a:lnTo>
                        <a:lnTo>
                          <a:pt x="3654" y="270"/>
                        </a:lnTo>
                        <a:lnTo>
                          <a:pt x="3678" y="282"/>
                        </a:lnTo>
                        <a:lnTo>
                          <a:pt x="3696" y="294"/>
                        </a:lnTo>
                        <a:lnTo>
                          <a:pt x="3708" y="294"/>
                        </a:lnTo>
                        <a:lnTo>
                          <a:pt x="3714" y="300"/>
                        </a:lnTo>
                        <a:lnTo>
                          <a:pt x="3720" y="300"/>
                        </a:lnTo>
                        <a:lnTo>
                          <a:pt x="3576" y="294"/>
                        </a:lnTo>
                        <a:lnTo>
                          <a:pt x="3630" y="312"/>
                        </a:lnTo>
                        <a:lnTo>
                          <a:pt x="3576" y="324"/>
                        </a:lnTo>
                        <a:lnTo>
                          <a:pt x="3564" y="330"/>
                        </a:lnTo>
                        <a:lnTo>
                          <a:pt x="3534" y="336"/>
                        </a:lnTo>
                        <a:lnTo>
                          <a:pt x="3498" y="342"/>
                        </a:lnTo>
                        <a:lnTo>
                          <a:pt x="3474" y="342"/>
                        </a:lnTo>
                        <a:lnTo>
                          <a:pt x="3468" y="336"/>
                        </a:lnTo>
                        <a:lnTo>
                          <a:pt x="3474" y="324"/>
                        </a:lnTo>
                        <a:lnTo>
                          <a:pt x="3486" y="312"/>
                        </a:lnTo>
                        <a:lnTo>
                          <a:pt x="3420" y="312"/>
                        </a:lnTo>
                        <a:lnTo>
                          <a:pt x="3408" y="318"/>
                        </a:lnTo>
                        <a:lnTo>
                          <a:pt x="3390" y="318"/>
                        </a:lnTo>
                        <a:lnTo>
                          <a:pt x="3378" y="324"/>
                        </a:lnTo>
                        <a:lnTo>
                          <a:pt x="3366" y="336"/>
                        </a:lnTo>
                        <a:lnTo>
                          <a:pt x="3348" y="336"/>
                        </a:lnTo>
                        <a:lnTo>
                          <a:pt x="3318" y="342"/>
                        </a:lnTo>
                        <a:lnTo>
                          <a:pt x="3276" y="342"/>
                        </a:lnTo>
                        <a:lnTo>
                          <a:pt x="3246" y="348"/>
                        </a:lnTo>
                        <a:lnTo>
                          <a:pt x="3234" y="354"/>
                        </a:lnTo>
                        <a:lnTo>
                          <a:pt x="3216" y="354"/>
                        </a:lnTo>
                        <a:lnTo>
                          <a:pt x="3204" y="360"/>
                        </a:lnTo>
                        <a:lnTo>
                          <a:pt x="3186" y="360"/>
                        </a:lnTo>
                        <a:lnTo>
                          <a:pt x="3180" y="366"/>
                        </a:lnTo>
                        <a:lnTo>
                          <a:pt x="3174" y="366"/>
                        </a:lnTo>
                        <a:lnTo>
                          <a:pt x="3132" y="396"/>
                        </a:lnTo>
                        <a:lnTo>
                          <a:pt x="3114" y="396"/>
                        </a:lnTo>
                        <a:lnTo>
                          <a:pt x="3108" y="402"/>
                        </a:lnTo>
                        <a:lnTo>
                          <a:pt x="3102" y="402"/>
                        </a:lnTo>
                        <a:lnTo>
                          <a:pt x="3096" y="408"/>
                        </a:lnTo>
                        <a:lnTo>
                          <a:pt x="3102" y="414"/>
                        </a:lnTo>
                        <a:lnTo>
                          <a:pt x="3120" y="426"/>
                        </a:lnTo>
                        <a:lnTo>
                          <a:pt x="3132" y="438"/>
                        </a:lnTo>
                        <a:lnTo>
                          <a:pt x="3150" y="444"/>
                        </a:lnTo>
                        <a:lnTo>
                          <a:pt x="3156" y="450"/>
                        </a:lnTo>
                        <a:lnTo>
                          <a:pt x="3162" y="450"/>
                        </a:lnTo>
                        <a:lnTo>
                          <a:pt x="3120" y="462"/>
                        </a:lnTo>
                        <a:lnTo>
                          <a:pt x="3096" y="474"/>
                        </a:lnTo>
                        <a:lnTo>
                          <a:pt x="2994" y="474"/>
                        </a:lnTo>
                        <a:lnTo>
                          <a:pt x="2988" y="480"/>
                        </a:lnTo>
                        <a:lnTo>
                          <a:pt x="2952" y="468"/>
                        </a:lnTo>
                        <a:lnTo>
                          <a:pt x="2934" y="474"/>
                        </a:lnTo>
                        <a:lnTo>
                          <a:pt x="2880" y="474"/>
                        </a:lnTo>
                        <a:lnTo>
                          <a:pt x="2874" y="480"/>
                        </a:lnTo>
                        <a:lnTo>
                          <a:pt x="2874" y="498"/>
                        </a:lnTo>
                        <a:lnTo>
                          <a:pt x="2880" y="510"/>
                        </a:lnTo>
                        <a:lnTo>
                          <a:pt x="2892" y="522"/>
                        </a:lnTo>
                        <a:lnTo>
                          <a:pt x="2898" y="522"/>
                        </a:lnTo>
                        <a:lnTo>
                          <a:pt x="2904" y="528"/>
                        </a:lnTo>
                        <a:lnTo>
                          <a:pt x="2910" y="540"/>
                        </a:lnTo>
                        <a:lnTo>
                          <a:pt x="2916" y="546"/>
                        </a:lnTo>
                        <a:lnTo>
                          <a:pt x="2922" y="546"/>
                        </a:lnTo>
                        <a:lnTo>
                          <a:pt x="2928" y="552"/>
                        </a:lnTo>
                        <a:lnTo>
                          <a:pt x="2940" y="552"/>
                        </a:lnTo>
                        <a:lnTo>
                          <a:pt x="2952" y="558"/>
                        </a:lnTo>
                        <a:lnTo>
                          <a:pt x="2964" y="558"/>
                        </a:lnTo>
                        <a:lnTo>
                          <a:pt x="2976" y="564"/>
                        </a:lnTo>
                        <a:lnTo>
                          <a:pt x="2994" y="564"/>
                        </a:lnTo>
                        <a:lnTo>
                          <a:pt x="3012" y="570"/>
                        </a:lnTo>
                        <a:lnTo>
                          <a:pt x="3024" y="570"/>
                        </a:lnTo>
                        <a:lnTo>
                          <a:pt x="3036" y="576"/>
                        </a:lnTo>
                        <a:lnTo>
                          <a:pt x="3042" y="576"/>
                        </a:lnTo>
                        <a:lnTo>
                          <a:pt x="3054" y="588"/>
                        </a:lnTo>
                        <a:lnTo>
                          <a:pt x="3054" y="594"/>
                        </a:lnTo>
                        <a:lnTo>
                          <a:pt x="3060" y="600"/>
                        </a:lnTo>
                        <a:lnTo>
                          <a:pt x="3030" y="600"/>
                        </a:lnTo>
                        <a:lnTo>
                          <a:pt x="3012" y="606"/>
                        </a:lnTo>
                        <a:lnTo>
                          <a:pt x="3000" y="606"/>
                        </a:lnTo>
                        <a:lnTo>
                          <a:pt x="2964" y="588"/>
                        </a:lnTo>
                        <a:lnTo>
                          <a:pt x="2928" y="576"/>
                        </a:lnTo>
                        <a:lnTo>
                          <a:pt x="2904" y="570"/>
                        </a:lnTo>
                        <a:lnTo>
                          <a:pt x="2886" y="564"/>
                        </a:lnTo>
                        <a:lnTo>
                          <a:pt x="2862" y="564"/>
                        </a:lnTo>
                        <a:lnTo>
                          <a:pt x="2844" y="558"/>
                        </a:lnTo>
                        <a:lnTo>
                          <a:pt x="2802" y="558"/>
                        </a:lnTo>
                        <a:lnTo>
                          <a:pt x="2796" y="564"/>
                        </a:lnTo>
                        <a:lnTo>
                          <a:pt x="2796" y="576"/>
                        </a:lnTo>
                        <a:lnTo>
                          <a:pt x="2802" y="582"/>
                        </a:lnTo>
                        <a:lnTo>
                          <a:pt x="2808" y="582"/>
                        </a:lnTo>
                        <a:lnTo>
                          <a:pt x="2820" y="594"/>
                        </a:lnTo>
                        <a:lnTo>
                          <a:pt x="2784" y="594"/>
                        </a:lnTo>
                        <a:lnTo>
                          <a:pt x="2772" y="582"/>
                        </a:lnTo>
                        <a:lnTo>
                          <a:pt x="2754" y="582"/>
                        </a:lnTo>
                        <a:lnTo>
                          <a:pt x="2748" y="576"/>
                        </a:lnTo>
                        <a:lnTo>
                          <a:pt x="2724" y="576"/>
                        </a:lnTo>
                        <a:lnTo>
                          <a:pt x="2724" y="582"/>
                        </a:lnTo>
                        <a:lnTo>
                          <a:pt x="2730" y="600"/>
                        </a:lnTo>
                        <a:lnTo>
                          <a:pt x="2736" y="612"/>
                        </a:lnTo>
                        <a:lnTo>
                          <a:pt x="2748" y="618"/>
                        </a:lnTo>
                        <a:lnTo>
                          <a:pt x="2766" y="624"/>
                        </a:lnTo>
                        <a:lnTo>
                          <a:pt x="2802" y="624"/>
                        </a:lnTo>
                        <a:lnTo>
                          <a:pt x="2820" y="630"/>
                        </a:lnTo>
                        <a:lnTo>
                          <a:pt x="2844" y="630"/>
                        </a:lnTo>
                        <a:lnTo>
                          <a:pt x="2856" y="636"/>
                        </a:lnTo>
                        <a:lnTo>
                          <a:pt x="2862" y="648"/>
                        </a:lnTo>
                        <a:lnTo>
                          <a:pt x="2874" y="654"/>
                        </a:lnTo>
                        <a:lnTo>
                          <a:pt x="2844" y="654"/>
                        </a:lnTo>
                        <a:lnTo>
                          <a:pt x="2838" y="648"/>
                        </a:lnTo>
                        <a:lnTo>
                          <a:pt x="2826" y="642"/>
                        </a:lnTo>
                        <a:lnTo>
                          <a:pt x="2772" y="642"/>
                        </a:lnTo>
                        <a:lnTo>
                          <a:pt x="2760" y="636"/>
                        </a:lnTo>
                        <a:lnTo>
                          <a:pt x="2730" y="636"/>
                        </a:lnTo>
                        <a:lnTo>
                          <a:pt x="2724" y="624"/>
                        </a:lnTo>
                        <a:lnTo>
                          <a:pt x="2700" y="624"/>
                        </a:lnTo>
                        <a:lnTo>
                          <a:pt x="2694" y="606"/>
                        </a:lnTo>
                        <a:lnTo>
                          <a:pt x="2664" y="594"/>
                        </a:lnTo>
                        <a:lnTo>
                          <a:pt x="2670" y="588"/>
                        </a:lnTo>
                        <a:lnTo>
                          <a:pt x="2682" y="582"/>
                        </a:lnTo>
                        <a:lnTo>
                          <a:pt x="2688" y="576"/>
                        </a:lnTo>
                        <a:lnTo>
                          <a:pt x="2688" y="564"/>
                        </a:lnTo>
                        <a:lnTo>
                          <a:pt x="2658" y="534"/>
                        </a:lnTo>
                        <a:lnTo>
                          <a:pt x="2646" y="528"/>
                        </a:lnTo>
                        <a:lnTo>
                          <a:pt x="2616" y="528"/>
                        </a:lnTo>
                        <a:lnTo>
                          <a:pt x="2628" y="534"/>
                        </a:lnTo>
                        <a:lnTo>
                          <a:pt x="2652" y="558"/>
                        </a:lnTo>
                        <a:lnTo>
                          <a:pt x="2640" y="570"/>
                        </a:lnTo>
                        <a:lnTo>
                          <a:pt x="2616" y="582"/>
                        </a:lnTo>
                        <a:lnTo>
                          <a:pt x="2604" y="582"/>
                        </a:lnTo>
                        <a:lnTo>
                          <a:pt x="2586" y="624"/>
                        </a:lnTo>
                        <a:lnTo>
                          <a:pt x="2658" y="660"/>
                        </a:lnTo>
                        <a:lnTo>
                          <a:pt x="2676" y="660"/>
                        </a:lnTo>
                        <a:lnTo>
                          <a:pt x="2676" y="696"/>
                        </a:lnTo>
                        <a:lnTo>
                          <a:pt x="2670" y="708"/>
                        </a:lnTo>
                        <a:lnTo>
                          <a:pt x="2670" y="720"/>
                        </a:lnTo>
                        <a:lnTo>
                          <a:pt x="2676" y="738"/>
                        </a:lnTo>
                        <a:lnTo>
                          <a:pt x="2712" y="744"/>
                        </a:lnTo>
                        <a:lnTo>
                          <a:pt x="2712" y="768"/>
                        </a:lnTo>
                        <a:lnTo>
                          <a:pt x="2772" y="780"/>
                        </a:lnTo>
                        <a:lnTo>
                          <a:pt x="2778" y="780"/>
                        </a:lnTo>
                        <a:lnTo>
                          <a:pt x="2784" y="774"/>
                        </a:lnTo>
                        <a:lnTo>
                          <a:pt x="2796" y="774"/>
                        </a:lnTo>
                        <a:lnTo>
                          <a:pt x="2814" y="768"/>
                        </a:lnTo>
                        <a:lnTo>
                          <a:pt x="2850" y="768"/>
                        </a:lnTo>
                        <a:lnTo>
                          <a:pt x="2868" y="774"/>
                        </a:lnTo>
                        <a:lnTo>
                          <a:pt x="2874" y="780"/>
                        </a:lnTo>
                        <a:lnTo>
                          <a:pt x="2886" y="786"/>
                        </a:lnTo>
                        <a:lnTo>
                          <a:pt x="2904" y="786"/>
                        </a:lnTo>
                        <a:lnTo>
                          <a:pt x="2916" y="792"/>
                        </a:lnTo>
                        <a:lnTo>
                          <a:pt x="2952" y="804"/>
                        </a:lnTo>
                        <a:lnTo>
                          <a:pt x="2976" y="828"/>
                        </a:lnTo>
                        <a:lnTo>
                          <a:pt x="2976" y="834"/>
                        </a:lnTo>
                        <a:lnTo>
                          <a:pt x="2964" y="834"/>
                        </a:lnTo>
                        <a:lnTo>
                          <a:pt x="2958" y="840"/>
                        </a:lnTo>
                        <a:lnTo>
                          <a:pt x="2946" y="840"/>
                        </a:lnTo>
                        <a:lnTo>
                          <a:pt x="2940" y="846"/>
                        </a:lnTo>
                        <a:lnTo>
                          <a:pt x="2946" y="852"/>
                        </a:lnTo>
                        <a:lnTo>
                          <a:pt x="2958" y="858"/>
                        </a:lnTo>
                        <a:lnTo>
                          <a:pt x="2976" y="876"/>
                        </a:lnTo>
                        <a:lnTo>
                          <a:pt x="3024" y="876"/>
                        </a:lnTo>
                        <a:lnTo>
                          <a:pt x="3012" y="882"/>
                        </a:lnTo>
                        <a:lnTo>
                          <a:pt x="3006" y="882"/>
                        </a:lnTo>
                        <a:lnTo>
                          <a:pt x="2994" y="888"/>
                        </a:lnTo>
                        <a:lnTo>
                          <a:pt x="2970" y="888"/>
                        </a:lnTo>
                        <a:lnTo>
                          <a:pt x="2958" y="882"/>
                        </a:lnTo>
                        <a:lnTo>
                          <a:pt x="2952" y="876"/>
                        </a:lnTo>
                        <a:lnTo>
                          <a:pt x="2940" y="870"/>
                        </a:lnTo>
                        <a:lnTo>
                          <a:pt x="2940" y="858"/>
                        </a:lnTo>
                        <a:lnTo>
                          <a:pt x="2928" y="834"/>
                        </a:lnTo>
                        <a:lnTo>
                          <a:pt x="2916" y="822"/>
                        </a:lnTo>
                        <a:lnTo>
                          <a:pt x="2892" y="810"/>
                        </a:lnTo>
                        <a:lnTo>
                          <a:pt x="2886" y="804"/>
                        </a:lnTo>
                        <a:lnTo>
                          <a:pt x="2880" y="804"/>
                        </a:lnTo>
                        <a:lnTo>
                          <a:pt x="2874" y="798"/>
                        </a:lnTo>
                        <a:lnTo>
                          <a:pt x="2874" y="786"/>
                        </a:lnTo>
                        <a:lnTo>
                          <a:pt x="2868" y="780"/>
                        </a:lnTo>
                        <a:lnTo>
                          <a:pt x="2844" y="780"/>
                        </a:lnTo>
                        <a:lnTo>
                          <a:pt x="2832" y="786"/>
                        </a:lnTo>
                        <a:lnTo>
                          <a:pt x="2814" y="786"/>
                        </a:lnTo>
                        <a:lnTo>
                          <a:pt x="2802" y="792"/>
                        </a:lnTo>
                        <a:lnTo>
                          <a:pt x="2778" y="792"/>
                        </a:lnTo>
                        <a:lnTo>
                          <a:pt x="2760" y="810"/>
                        </a:lnTo>
                        <a:lnTo>
                          <a:pt x="2766" y="816"/>
                        </a:lnTo>
                        <a:lnTo>
                          <a:pt x="2772" y="828"/>
                        </a:lnTo>
                        <a:lnTo>
                          <a:pt x="2784" y="834"/>
                        </a:lnTo>
                        <a:lnTo>
                          <a:pt x="2802" y="852"/>
                        </a:lnTo>
                        <a:lnTo>
                          <a:pt x="2814" y="858"/>
                        </a:lnTo>
                        <a:lnTo>
                          <a:pt x="2814" y="864"/>
                        </a:lnTo>
                        <a:lnTo>
                          <a:pt x="2790" y="888"/>
                        </a:lnTo>
                        <a:lnTo>
                          <a:pt x="2784" y="888"/>
                        </a:lnTo>
                        <a:lnTo>
                          <a:pt x="2778" y="930"/>
                        </a:lnTo>
                        <a:lnTo>
                          <a:pt x="2736" y="948"/>
                        </a:lnTo>
                        <a:lnTo>
                          <a:pt x="2736" y="954"/>
                        </a:lnTo>
                        <a:lnTo>
                          <a:pt x="2730" y="966"/>
                        </a:lnTo>
                        <a:lnTo>
                          <a:pt x="2724" y="972"/>
                        </a:lnTo>
                        <a:lnTo>
                          <a:pt x="2694" y="972"/>
                        </a:lnTo>
                        <a:lnTo>
                          <a:pt x="2682" y="966"/>
                        </a:lnTo>
                        <a:lnTo>
                          <a:pt x="2652" y="966"/>
                        </a:lnTo>
                        <a:lnTo>
                          <a:pt x="2592" y="960"/>
                        </a:lnTo>
                        <a:lnTo>
                          <a:pt x="2586" y="960"/>
                        </a:lnTo>
                        <a:lnTo>
                          <a:pt x="2580" y="954"/>
                        </a:lnTo>
                        <a:lnTo>
                          <a:pt x="2568" y="948"/>
                        </a:lnTo>
                        <a:lnTo>
                          <a:pt x="2556" y="948"/>
                        </a:lnTo>
                        <a:lnTo>
                          <a:pt x="2544" y="936"/>
                        </a:lnTo>
                        <a:lnTo>
                          <a:pt x="2598" y="936"/>
                        </a:lnTo>
                        <a:lnTo>
                          <a:pt x="2616" y="942"/>
                        </a:lnTo>
                        <a:lnTo>
                          <a:pt x="2640" y="924"/>
                        </a:lnTo>
                        <a:lnTo>
                          <a:pt x="2652" y="924"/>
                        </a:lnTo>
                        <a:lnTo>
                          <a:pt x="2664" y="930"/>
                        </a:lnTo>
                        <a:lnTo>
                          <a:pt x="2682" y="930"/>
                        </a:lnTo>
                        <a:lnTo>
                          <a:pt x="2694" y="924"/>
                        </a:lnTo>
                        <a:lnTo>
                          <a:pt x="2694" y="906"/>
                        </a:lnTo>
                        <a:lnTo>
                          <a:pt x="2700" y="894"/>
                        </a:lnTo>
                        <a:lnTo>
                          <a:pt x="2700" y="882"/>
                        </a:lnTo>
                        <a:lnTo>
                          <a:pt x="2724" y="876"/>
                        </a:lnTo>
                        <a:lnTo>
                          <a:pt x="2724" y="852"/>
                        </a:lnTo>
                        <a:lnTo>
                          <a:pt x="2712" y="852"/>
                        </a:lnTo>
                        <a:lnTo>
                          <a:pt x="2718" y="846"/>
                        </a:lnTo>
                        <a:lnTo>
                          <a:pt x="2724" y="834"/>
                        </a:lnTo>
                        <a:lnTo>
                          <a:pt x="2724" y="822"/>
                        </a:lnTo>
                        <a:lnTo>
                          <a:pt x="2718" y="816"/>
                        </a:lnTo>
                        <a:lnTo>
                          <a:pt x="2712" y="816"/>
                        </a:lnTo>
                        <a:lnTo>
                          <a:pt x="2700" y="810"/>
                        </a:lnTo>
                        <a:lnTo>
                          <a:pt x="2682" y="810"/>
                        </a:lnTo>
                        <a:lnTo>
                          <a:pt x="2664" y="804"/>
                        </a:lnTo>
                        <a:lnTo>
                          <a:pt x="2652" y="804"/>
                        </a:lnTo>
                        <a:lnTo>
                          <a:pt x="2634" y="786"/>
                        </a:lnTo>
                        <a:lnTo>
                          <a:pt x="2634" y="744"/>
                        </a:lnTo>
                        <a:lnTo>
                          <a:pt x="2628" y="732"/>
                        </a:lnTo>
                        <a:lnTo>
                          <a:pt x="2616" y="720"/>
                        </a:lnTo>
                        <a:lnTo>
                          <a:pt x="2604" y="714"/>
                        </a:lnTo>
                        <a:lnTo>
                          <a:pt x="2598" y="702"/>
                        </a:lnTo>
                        <a:lnTo>
                          <a:pt x="2592" y="696"/>
                        </a:lnTo>
                        <a:lnTo>
                          <a:pt x="2586" y="660"/>
                        </a:lnTo>
                        <a:lnTo>
                          <a:pt x="2520" y="624"/>
                        </a:lnTo>
                        <a:lnTo>
                          <a:pt x="2532" y="612"/>
                        </a:lnTo>
                        <a:lnTo>
                          <a:pt x="2544" y="588"/>
                        </a:lnTo>
                        <a:lnTo>
                          <a:pt x="2544" y="576"/>
                        </a:lnTo>
                        <a:lnTo>
                          <a:pt x="2538" y="564"/>
                        </a:lnTo>
                        <a:lnTo>
                          <a:pt x="2514" y="540"/>
                        </a:lnTo>
                        <a:lnTo>
                          <a:pt x="2496" y="540"/>
                        </a:lnTo>
                        <a:lnTo>
                          <a:pt x="2484" y="534"/>
                        </a:lnTo>
                        <a:lnTo>
                          <a:pt x="2472" y="534"/>
                        </a:lnTo>
                        <a:lnTo>
                          <a:pt x="2340" y="522"/>
                        </a:lnTo>
                        <a:lnTo>
                          <a:pt x="2328" y="552"/>
                        </a:lnTo>
                        <a:lnTo>
                          <a:pt x="2346" y="570"/>
                        </a:lnTo>
                        <a:lnTo>
                          <a:pt x="2334" y="600"/>
                        </a:lnTo>
                        <a:lnTo>
                          <a:pt x="2280" y="624"/>
                        </a:lnTo>
                        <a:lnTo>
                          <a:pt x="2268" y="654"/>
                        </a:lnTo>
                        <a:lnTo>
                          <a:pt x="2304" y="660"/>
                        </a:lnTo>
                        <a:lnTo>
                          <a:pt x="2334" y="708"/>
                        </a:lnTo>
                        <a:lnTo>
                          <a:pt x="2322" y="726"/>
                        </a:lnTo>
                        <a:lnTo>
                          <a:pt x="2352" y="750"/>
                        </a:lnTo>
                        <a:lnTo>
                          <a:pt x="2388" y="744"/>
                        </a:lnTo>
                        <a:lnTo>
                          <a:pt x="2394" y="750"/>
                        </a:lnTo>
                        <a:lnTo>
                          <a:pt x="2400" y="762"/>
                        </a:lnTo>
                        <a:lnTo>
                          <a:pt x="2412" y="768"/>
                        </a:lnTo>
                        <a:lnTo>
                          <a:pt x="2418" y="774"/>
                        </a:lnTo>
                        <a:lnTo>
                          <a:pt x="2430" y="780"/>
                        </a:lnTo>
                        <a:lnTo>
                          <a:pt x="2472" y="780"/>
                        </a:lnTo>
                        <a:lnTo>
                          <a:pt x="2466" y="840"/>
                        </a:lnTo>
                        <a:lnTo>
                          <a:pt x="2448" y="816"/>
                        </a:lnTo>
                        <a:lnTo>
                          <a:pt x="2430" y="828"/>
                        </a:lnTo>
                        <a:lnTo>
                          <a:pt x="2418" y="822"/>
                        </a:lnTo>
                        <a:lnTo>
                          <a:pt x="2388" y="804"/>
                        </a:lnTo>
                        <a:lnTo>
                          <a:pt x="2352" y="792"/>
                        </a:lnTo>
                        <a:lnTo>
                          <a:pt x="2328" y="780"/>
                        </a:lnTo>
                        <a:lnTo>
                          <a:pt x="2268" y="780"/>
                        </a:lnTo>
                        <a:lnTo>
                          <a:pt x="2250" y="762"/>
                        </a:lnTo>
                        <a:lnTo>
                          <a:pt x="2244" y="780"/>
                        </a:lnTo>
                        <a:lnTo>
                          <a:pt x="2220" y="756"/>
                        </a:lnTo>
                        <a:lnTo>
                          <a:pt x="2214" y="756"/>
                        </a:lnTo>
                        <a:lnTo>
                          <a:pt x="2208" y="750"/>
                        </a:lnTo>
                        <a:lnTo>
                          <a:pt x="2196" y="744"/>
                        </a:lnTo>
                        <a:lnTo>
                          <a:pt x="2178" y="744"/>
                        </a:lnTo>
                        <a:lnTo>
                          <a:pt x="2154" y="732"/>
                        </a:lnTo>
                        <a:lnTo>
                          <a:pt x="2130" y="732"/>
                        </a:lnTo>
                        <a:lnTo>
                          <a:pt x="2118" y="738"/>
                        </a:lnTo>
                        <a:lnTo>
                          <a:pt x="2088" y="738"/>
                        </a:lnTo>
                        <a:lnTo>
                          <a:pt x="2076" y="732"/>
                        </a:lnTo>
                        <a:lnTo>
                          <a:pt x="2022" y="732"/>
                        </a:lnTo>
                        <a:lnTo>
                          <a:pt x="2016" y="738"/>
                        </a:lnTo>
                        <a:lnTo>
                          <a:pt x="2010" y="738"/>
                        </a:lnTo>
                        <a:lnTo>
                          <a:pt x="2004" y="744"/>
                        </a:lnTo>
                        <a:lnTo>
                          <a:pt x="2004" y="750"/>
                        </a:lnTo>
                        <a:lnTo>
                          <a:pt x="2016" y="762"/>
                        </a:lnTo>
                        <a:lnTo>
                          <a:pt x="2028" y="768"/>
                        </a:lnTo>
                        <a:lnTo>
                          <a:pt x="2040" y="780"/>
                        </a:lnTo>
                        <a:lnTo>
                          <a:pt x="2046" y="780"/>
                        </a:lnTo>
                        <a:lnTo>
                          <a:pt x="2022" y="810"/>
                        </a:lnTo>
                        <a:lnTo>
                          <a:pt x="2010" y="798"/>
                        </a:lnTo>
                        <a:lnTo>
                          <a:pt x="2010" y="828"/>
                        </a:lnTo>
                        <a:lnTo>
                          <a:pt x="1998" y="828"/>
                        </a:lnTo>
                        <a:lnTo>
                          <a:pt x="1986" y="822"/>
                        </a:lnTo>
                        <a:lnTo>
                          <a:pt x="1980" y="822"/>
                        </a:lnTo>
                        <a:lnTo>
                          <a:pt x="1974" y="816"/>
                        </a:lnTo>
                        <a:lnTo>
                          <a:pt x="1974" y="786"/>
                        </a:lnTo>
                        <a:lnTo>
                          <a:pt x="1968" y="780"/>
                        </a:lnTo>
                        <a:lnTo>
                          <a:pt x="1950" y="780"/>
                        </a:lnTo>
                        <a:lnTo>
                          <a:pt x="1938" y="786"/>
                        </a:lnTo>
                        <a:lnTo>
                          <a:pt x="1920" y="792"/>
                        </a:lnTo>
                        <a:lnTo>
                          <a:pt x="1908" y="804"/>
                        </a:lnTo>
                        <a:lnTo>
                          <a:pt x="1884" y="816"/>
                        </a:lnTo>
                        <a:lnTo>
                          <a:pt x="1866" y="816"/>
                        </a:lnTo>
                        <a:lnTo>
                          <a:pt x="1842" y="804"/>
                        </a:lnTo>
                        <a:lnTo>
                          <a:pt x="1824" y="804"/>
                        </a:lnTo>
                        <a:lnTo>
                          <a:pt x="1800" y="810"/>
                        </a:lnTo>
                        <a:lnTo>
                          <a:pt x="1782" y="816"/>
                        </a:lnTo>
                        <a:lnTo>
                          <a:pt x="1764" y="828"/>
                        </a:lnTo>
                        <a:lnTo>
                          <a:pt x="1752" y="834"/>
                        </a:lnTo>
                        <a:lnTo>
                          <a:pt x="1746" y="840"/>
                        </a:lnTo>
                        <a:lnTo>
                          <a:pt x="1680" y="840"/>
                        </a:lnTo>
                        <a:lnTo>
                          <a:pt x="1692" y="816"/>
                        </a:lnTo>
                        <a:lnTo>
                          <a:pt x="1692" y="780"/>
                        </a:lnTo>
                        <a:lnTo>
                          <a:pt x="1680" y="780"/>
                        </a:lnTo>
                        <a:lnTo>
                          <a:pt x="1668" y="786"/>
                        </a:lnTo>
                        <a:lnTo>
                          <a:pt x="1650" y="792"/>
                        </a:lnTo>
                        <a:lnTo>
                          <a:pt x="1638" y="792"/>
                        </a:lnTo>
                        <a:lnTo>
                          <a:pt x="1626" y="804"/>
                        </a:lnTo>
                        <a:lnTo>
                          <a:pt x="1626" y="816"/>
                        </a:lnTo>
                        <a:lnTo>
                          <a:pt x="1632" y="822"/>
                        </a:lnTo>
                        <a:lnTo>
                          <a:pt x="1632" y="828"/>
                        </a:lnTo>
                        <a:lnTo>
                          <a:pt x="1608" y="834"/>
                        </a:lnTo>
                        <a:lnTo>
                          <a:pt x="1608" y="810"/>
                        </a:lnTo>
                        <a:lnTo>
                          <a:pt x="1584" y="816"/>
                        </a:lnTo>
                        <a:lnTo>
                          <a:pt x="1530" y="822"/>
                        </a:lnTo>
                        <a:lnTo>
                          <a:pt x="1488" y="852"/>
                        </a:lnTo>
                        <a:lnTo>
                          <a:pt x="1440" y="858"/>
                        </a:lnTo>
                        <a:lnTo>
                          <a:pt x="1452" y="876"/>
                        </a:lnTo>
                        <a:lnTo>
                          <a:pt x="1440" y="876"/>
                        </a:lnTo>
                        <a:lnTo>
                          <a:pt x="1428" y="870"/>
                        </a:lnTo>
                        <a:lnTo>
                          <a:pt x="1422" y="870"/>
                        </a:lnTo>
                        <a:lnTo>
                          <a:pt x="1410" y="876"/>
                        </a:lnTo>
                        <a:lnTo>
                          <a:pt x="1404" y="882"/>
                        </a:lnTo>
                        <a:lnTo>
                          <a:pt x="1404" y="924"/>
                        </a:lnTo>
                        <a:lnTo>
                          <a:pt x="1332" y="930"/>
                        </a:lnTo>
                        <a:lnTo>
                          <a:pt x="1326" y="924"/>
                        </a:lnTo>
                        <a:lnTo>
                          <a:pt x="1314" y="918"/>
                        </a:lnTo>
                        <a:lnTo>
                          <a:pt x="1308" y="912"/>
                        </a:lnTo>
                        <a:lnTo>
                          <a:pt x="1266" y="912"/>
                        </a:lnTo>
                        <a:lnTo>
                          <a:pt x="1260" y="906"/>
                        </a:lnTo>
                        <a:lnTo>
                          <a:pt x="1260" y="876"/>
                        </a:lnTo>
                        <a:lnTo>
                          <a:pt x="1266" y="870"/>
                        </a:lnTo>
                        <a:lnTo>
                          <a:pt x="1266" y="864"/>
                        </a:lnTo>
                        <a:lnTo>
                          <a:pt x="1272" y="858"/>
                        </a:lnTo>
                        <a:lnTo>
                          <a:pt x="1284" y="864"/>
                        </a:lnTo>
                        <a:lnTo>
                          <a:pt x="1344" y="864"/>
                        </a:lnTo>
                        <a:lnTo>
                          <a:pt x="1332" y="858"/>
                        </a:lnTo>
                        <a:lnTo>
                          <a:pt x="1326" y="846"/>
                        </a:lnTo>
                        <a:lnTo>
                          <a:pt x="1314" y="840"/>
                        </a:lnTo>
                        <a:lnTo>
                          <a:pt x="1302" y="828"/>
                        </a:lnTo>
                        <a:lnTo>
                          <a:pt x="1290" y="822"/>
                        </a:lnTo>
                        <a:lnTo>
                          <a:pt x="1278" y="810"/>
                        </a:lnTo>
                        <a:lnTo>
                          <a:pt x="1152" y="810"/>
                        </a:lnTo>
                        <a:lnTo>
                          <a:pt x="1164" y="822"/>
                        </a:lnTo>
                        <a:lnTo>
                          <a:pt x="1188" y="822"/>
                        </a:lnTo>
                        <a:lnTo>
                          <a:pt x="1200" y="828"/>
                        </a:lnTo>
                        <a:lnTo>
                          <a:pt x="1200" y="846"/>
                        </a:lnTo>
                        <a:lnTo>
                          <a:pt x="1194" y="864"/>
                        </a:lnTo>
                        <a:lnTo>
                          <a:pt x="1194" y="876"/>
                        </a:lnTo>
                        <a:lnTo>
                          <a:pt x="1188" y="894"/>
                        </a:lnTo>
                        <a:lnTo>
                          <a:pt x="1188" y="918"/>
                        </a:lnTo>
                        <a:lnTo>
                          <a:pt x="1194" y="918"/>
                        </a:lnTo>
                        <a:lnTo>
                          <a:pt x="1206" y="924"/>
                        </a:lnTo>
                        <a:lnTo>
                          <a:pt x="1230" y="924"/>
                        </a:lnTo>
                        <a:lnTo>
                          <a:pt x="1236" y="930"/>
                        </a:lnTo>
                        <a:lnTo>
                          <a:pt x="1242" y="930"/>
                        </a:lnTo>
                        <a:lnTo>
                          <a:pt x="1236" y="966"/>
                        </a:lnTo>
                        <a:lnTo>
                          <a:pt x="1248" y="996"/>
                        </a:lnTo>
                        <a:lnTo>
                          <a:pt x="1212" y="972"/>
                        </a:lnTo>
                        <a:lnTo>
                          <a:pt x="1194" y="996"/>
                        </a:lnTo>
                        <a:lnTo>
                          <a:pt x="1188" y="966"/>
                        </a:lnTo>
                        <a:lnTo>
                          <a:pt x="1116" y="948"/>
                        </a:lnTo>
                        <a:lnTo>
                          <a:pt x="1086" y="984"/>
                        </a:lnTo>
                        <a:lnTo>
                          <a:pt x="1062" y="984"/>
                        </a:lnTo>
                        <a:lnTo>
                          <a:pt x="1056" y="996"/>
                        </a:lnTo>
                        <a:lnTo>
                          <a:pt x="1044" y="1002"/>
                        </a:lnTo>
                        <a:lnTo>
                          <a:pt x="1038" y="1008"/>
                        </a:lnTo>
                        <a:lnTo>
                          <a:pt x="1026" y="1014"/>
                        </a:lnTo>
                        <a:lnTo>
                          <a:pt x="1014" y="1014"/>
                        </a:lnTo>
                        <a:lnTo>
                          <a:pt x="1002" y="1020"/>
                        </a:lnTo>
                        <a:lnTo>
                          <a:pt x="1002" y="1032"/>
                        </a:lnTo>
                        <a:lnTo>
                          <a:pt x="1008" y="1038"/>
                        </a:lnTo>
                        <a:lnTo>
                          <a:pt x="1020" y="1044"/>
                        </a:lnTo>
                        <a:lnTo>
                          <a:pt x="1032" y="1056"/>
                        </a:lnTo>
                        <a:lnTo>
                          <a:pt x="1044" y="1062"/>
                        </a:lnTo>
                        <a:lnTo>
                          <a:pt x="1050" y="1068"/>
                        </a:lnTo>
                        <a:lnTo>
                          <a:pt x="1062" y="1074"/>
                        </a:lnTo>
                        <a:lnTo>
                          <a:pt x="1080" y="1104"/>
                        </a:lnTo>
                        <a:lnTo>
                          <a:pt x="1050" y="1086"/>
                        </a:lnTo>
                        <a:lnTo>
                          <a:pt x="1038" y="1092"/>
                        </a:lnTo>
                        <a:lnTo>
                          <a:pt x="1032" y="1098"/>
                        </a:lnTo>
                        <a:lnTo>
                          <a:pt x="1020" y="1098"/>
                        </a:lnTo>
                        <a:lnTo>
                          <a:pt x="1008" y="1092"/>
                        </a:lnTo>
                        <a:lnTo>
                          <a:pt x="996" y="1092"/>
                        </a:lnTo>
                        <a:lnTo>
                          <a:pt x="978" y="1086"/>
                        </a:lnTo>
                        <a:lnTo>
                          <a:pt x="966" y="1080"/>
                        </a:lnTo>
                        <a:lnTo>
                          <a:pt x="948" y="1080"/>
                        </a:lnTo>
                        <a:lnTo>
                          <a:pt x="936" y="1074"/>
                        </a:lnTo>
                        <a:lnTo>
                          <a:pt x="924" y="1074"/>
                        </a:lnTo>
                        <a:lnTo>
                          <a:pt x="918" y="1068"/>
                        </a:lnTo>
                        <a:lnTo>
                          <a:pt x="918" y="1056"/>
                        </a:lnTo>
                        <a:lnTo>
                          <a:pt x="906" y="1050"/>
                        </a:lnTo>
                        <a:lnTo>
                          <a:pt x="888" y="1050"/>
                        </a:lnTo>
                        <a:lnTo>
                          <a:pt x="864" y="1062"/>
                        </a:lnTo>
                        <a:lnTo>
                          <a:pt x="858" y="1068"/>
                        </a:lnTo>
                        <a:lnTo>
                          <a:pt x="840" y="1068"/>
                        </a:lnTo>
                        <a:lnTo>
                          <a:pt x="882" y="1104"/>
                        </a:lnTo>
                        <a:lnTo>
                          <a:pt x="900" y="1104"/>
                        </a:lnTo>
                        <a:lnTo>
                          <a:pt x="912" y="1110"/>
                        </a:lnTo>
                        <a:lnTo>
                          <a:pt x="924" y="1110"/>
                        </a:lnTo>
                        <a:lnTo>
                          <a:pt x="936" y="1116"/>
                        </a:lnTo>
                        <a:lnTo>
                          <a:pt x="942" y="1116"/>
                        </a:lnTo>
                        <a:lnTo>
                          <a:pt x="942" y="1122"/>
                        </a:lnTo>
                        <a:lnTo>
                          <a:pt x="936" y="1134"/>
                        </a:lnTo>
                        <a:lnTo>
                          <a:pt x="924" y="1140"/>
                        </a:lnTo>
                        <a:lnTo>
                          <a:pt x="918" y="1146"/>
                        </a:lnTo>
                        <a:lnTo>
                          <a:pt x="852" y="1128"/>
                        </a:lnTo>
                        <a:lnTo>
                          <a:pt x="840" y="1122"/>
                        </a:lnTo>
                        <a:lnTo>
                          <a:pt x="834" y="1116"/>
                        </a:lnTo>
                        <a:lnTo>
                          <a:pt x="822" y="1110"/>
                        </a:lnTo>
                        <a:lnTo>
                          <a:pt x="762" y="1110"/>
                        </a:lnTo>
                        <a:lnTo>
                          <a:pt x="756" y="1104"/>
                        </a:lnTo>
                        <a:lnTo>
                          <a:pt x="756" y="1056"/>
                        </a:lnTo>
                        <a:lnTo>
                          <a:pt x="738" y="1044"/>
                        </a:lnTo>
                        <a:lnTo>
                          <a:pt x="750" y="1032"/>
                        </a:lnTo>
                        <a:lnTo>
                          <a:pt x="756" y="1020"/>
                        </a:lnTo>
                        <a:lnTo>
                          <a:pt x="756" y="1002"/>
                        </a:lnTo>
                        <a:lnTo>
                          <a:pt x="738" y="990"/>
                        </a:lnTo>
                        <a:lnTo>
                          <a:pt x="702" y="978"/>
                        </a:lnTo>
                        <a:lnTo>
                          <a:pt x="672" y="972"/>
                        </a:lnTo>
                        <a:lnTo>
                          <a:pt x="660" y="966"/>
                        </a:lnTo>
                        <a:lnTo>
                          <a:pt x="630" y="948"/>
                        </a:lnTo>
                        <a:lnTo>
                          <a:pt x="606" y="930"/>
                        </a:lnTo>
                        <a:lnTo>
                          <a:pt x="594" y="912"/>
                        </a:lnTo>
                        <a:lnTo>
                          <a:pt x="630" y="912"/>
                        </a:lnTo>
                        <a:lnTo>
                          <a:pt x="630" y="924"/>
                        </a:lnTo>
                        <a:lnTo>
                          <a:pt x="642" y="924"/>
                        </a:lnTo>
                        <a:lnTo>
                          <a:pt x="654" y="930"/>
                        </a:lnTo>
                        <a:lnTo>
                          <a:pt x="672" y="930"/>
                        </a:lnTo>
                        <a:lnTo>
                          <a:pt x="690" y="936"/>
                        </a:lnTo>
                        <a:lnTo>
                          <a:pt x="720" y="936"/>
                        </a:lnTo>
                        <a:lnTo>
                          <a:pt x="732" y="942"/>
                        </a:lnTo>
                        <a:lnTo>
                          <a:pt x="738" y="954"/>
                        </a:lnTo>
                        <a:lnTo>
                          <a:pt x="762" y="966"/>
                        </a:lnTo>
                        <a:lnTo>
                          <a:pt x="816" y="966"/>
                        </a:lnTo>
                        <a:lnTo>
                          <a:pt x="846" y="972"/>
                        </a:lnTo>
                        <a:lnTo>
                          <a:pt x="858" y="972"/>
                        </a:lnTo>
                        <a:lnTo>
                          <a:pt x="870" y="978"/>
                        </a:lnTo>
                        <a:lnTo>
                          <a:pt x="894" y="984"/>
                        </a:lnTo>
                        <a:lnTo>
                          <a:pt x="930" y="990"/>
                        </a:lnTo>
                        <a:lnTo>
                          <a:pt x="978" y="984"/>
                        </a:lnTo>
                        <a:lnTo>
                          <a:pt x="1026" y="972"/>
                        </a:lnTo>
                        <a:lnTo>
                          <a:pt x="1062" y="954"/>
                        </a:lnTo>
                        <a:lnTo>
                          <a:pt x="1080" y="936"/>
                        </a:lnTo>
                        <a:lnTo>
                          <a:pt x="1074" y="912"/>
                        </a:lnTo>
                        <a:lnTo>
                          <a:pt x="1032" y="870"/>
                        </a:lnTo>
                        <a:lnTo>
                          <a:pt x="1014" y="858"/>
                        </a:lnTo>
                        <a:lnTo>
                          <a:pt x="996" y="852"/>
                        </a:lnTo>
                        <a:lnTo>
                          <a:pt x="948" y="840"/>
                        </a:lnTo>
                        <a:lnTo>
                          <a:pt x="900" y="822"/>
                        </a:lnTo>
                        <a:lnTo>
                          <a:pt x="828" y="798"/>
                        </a:lnTo>
                        <a:lnTo>
                          <a:pt x="792" y="780"/>
                        </a:lnTo>
                        <a:lnTo>
                          <a:pt x="756" y="774"/>
                        </a:lnTo>
                        <a:lnTo>
                          <a:pt x="624" y="774"/>
                        </a:lnTo>
                        <a:lnTo>
                          <a:pt x="612" y="756"/>
                        </a:lnTo>
                        <a:lnTo>
                          <a:pt x="588" y="762"/>
                        </a:lnTo>
                        <a:lnTo>
                          <a:pt x="552" y="744"/>
                        </a:lnTo>
                        <a:lnTo>
                          <a:pt x="588" y="738"/>
                        </a:lnTo>
                        <a:lnTo>
                          <a:pt x="606" y="726"/>
                        </a:lnTo>
                        <a:lnTo>
                          <a:pt x="600" y="726"/>
                        </a:lnTo>
                        <a:lnTo>
                          <a:pt x="594" y="720"/>
                        </a:lnTo>
                        <a:lnTo>
                          <a:pt x="582" y="720"/>
                        </a:lnTo>
                        <a:lnTo>
                          <a:pt x="564" y="714"/>
                        </a:lnTo>
                        <a:lnTo>
                          <a:pt x="546" y="714"/>
                        </a:lnTo>
                        <a:lnTo>
                          <a:pt x="534" y="708"/>
                        </a:lnTo>
                        <a:lnTo>
                          <a:pt x="522" y="720"/>
                        </a:lnTo>
                        <a:lnTo>
                          <a:pt x="522" y="726"/>
                        </a:lnTo>
                        <a:lnTo>
                          <a:pt x="516" y="732"/>
                        </a:lnTo>
                        <a:lnTo>
                          <a:pt x="498" y="732"/>
                        </a:lnTo>
                        <a:lnTo>
                          <a:pt x="486" y="744"/>
                        </a:lnTo>
                        <a:lnTo>
                          <a:pt x="450" y="744"/>
                        </a:lnTo>
                        <a:lnTo>
                          <a:pt x="444" y="756"/>
                        </a:lnTo>
                        <a:lnTo>
                          <a:pt x="420" y="762"/>
                        </a:lnTo>
                        <a:lnTo>
                          <a:pt x="420" y="768"/>
                        </a:lnTo>
                        <a:lnTo>
                          <a:pt x="414" y="780"/>
                        </a:lnTo>
                        <a:lnTo>
                          <a:pt x="390" y="780"/>
                        </a:lnTo>
                        <a:lnTo>
                          <a:pt x="384" y="792"/>
                        </a:lnTo>
                        <a:lnTo>
                          <a:pt x="396" y="804"/>
                        </a:lnTo>
                        <a:lnTo>
                          <a:pt x="396" y="810"/>
                        </a:lnTo>
                        <a:lnTo>
                          <a:pt x="378" y="810"/>
                        </a:lnTo>
                        <a:lnTo>
                          <a:pt x="378" y="822"/>
                        </a:lnTo>
                        <a:lnTo>
                          <a:pt x="384" y="834"/>
                        </a:lnTo>
                        <a:lnTo>
                          <a:pt x="384" y="840"/>
                        </a:lnTo>
                        <a:lnTo>
                          <a:pt x="390" y="846"/>
                        </a:lnTo>
                        <a:lnTo>
                          <a:pt x="396" y="846"/>
                        </a:lnTo>
                        <a:lnTo>
                          <a:pt x="402" y="840"/>
                        </a:lnTo>
                        <a:lnTo>
                          <a:pt x="420" y="840"/>
                        </a:lnTo>
                        <a:lnTo>
                          <a:pt x="468" y="888"/>
                        </a:lnTo>
                        <a:lnTo>
                          <a:pt x="468" y="900"/>
                        </a:lnTo>
                        <a:lnTo>
                          <a:pt x="462" y="900"/>
                        </a:lnTo>
                        <a:lnTo>
                          <a:pt x="450" y="906"/>
                        </a:lnTo>
                        <a:lnTo>
                          <a:pt x="444" y="906"/>
                        </a:lnTo>
                        <a:lnTo>
                          <a:pt x="444" y="918"/>
                        </a:lnTo>
                        <a:lnTo>
                          <a:pt x="438" y="918"/>
                        </a:lnTo>
                        <a:lnTo>
                          <a:pt x="426" y="924"/>
                        </a:lnTo>
                        <a:lnTo>
                          <a:pt x="420" y="930"/>
                        </a:lnTo>
                        <a:lnTo>
                          <a:pt x="438" y="948"/>
                        </a:lnTo>
                        <a:lnTo>
                          <a:pt x="450" y="954"/>
                        </a:lnTo>
                        <a:lnTo>
                          <a:pt x="456" y="966"/>
                        </a:lnTo>
                        <a:lnTo>
                          <a:pt x="468" y="972"/>
                        </a:lnTo>
                        <a:lnTo>
                          <a:pt x="492" y="996"/>
                        </a:lnTo>
                        <a:lnTo>
                          <a:pt x="504" y="1002"/>
                        </a:lnTo>
                        <a:lnTo>
                          <a:pt x="510" y="1008"/>
                        </a:lnTo>
                        <a:lnTo>
                          <a:pt x="510" y="1014"/>
                        </a:lnTo>
                        <a:lnTo>
                          <a:pt x="504" y="1020"/>
                        </a:lnTo>
                        <a:lnTo>
                          <a:pt x="492" y="1020"/>
                        </a:lnTo>
                        <a:lnTo>
                          <a:pt x="480" y="1014"/>
                        </a:lnTo>
                        <a:lnTo>
                          <a:pt x="474" y="1014"/>
                        </a:lnTo>
                        <a:lnTo>
                          <a:pt x="468" y="1044"/>
                        </a:lnTo>
                        <a:lnTo>
                          <a:pt x="480" y="1056"/>
                        </a:lnTo>
                        <a:lnTo>
                          <a:pt x="480" y="1068"/>
                        </a:lnTo>
                        <a:lnTo>
                          <a:pt x="492" y="1068"/>
                        </a:lnTo>
                        <a:lnTo>
                          <a:pt x="498" y="1074"/>
                        </a:lnTo>
                        <a:lnTo>
                          <a:pt x="504" y="1074"/>
                        </a:lnTo>
                        <a:lnTo>
                          <a:pt x="510" y="1080"/>
                        </a:lnTo>
                        <a:lnTo>
                          <a:pt x="510" y="1086"/>
                        </a:lnTo>
                        <a:lnTo>
                          <a:pt x="504" y="1092"/>
                        </a:lnTo>
                        <a:lnTo>
                          <a:pt x="498" y="1104"/>
                        </a:lnTo>
                        <a:lnTo>
                          <a:pt x="522" y="1110"/>
                        </a:lnTo>
                        <a:lnTo>
                          <a:pt x="534" y="1116"/>
                        </a:lnTo>
                        <a:lnTo>
                          <a:pt x="540" y="1122"/>
                        </a:lnTo>
                        <a:lnTo>
                          <a:pt x="540" y="1128"/>
                        </a:lnTo>
                        <a:lnTo>
                          <a:pt x="516" y="1152"/>
                        </a:lnTo>
                        <a:lnTo>
                          <a:pt x="510" y="1152"/>
                        </a:lnTo>
                        <a:lnTo>
                          <a:pt x="582" y="1188"/>
                        </a:lnTo>
                        <a:lnTo>
                          <a:pt x="588" y="1200"/>
                        </a:lnTo>
                        <a:lnTo>
                          <a:pt x="594" y="1206"/>
                        </a:lnTo>
                        <a:lnTo>
                          <a:pt x="600" y="1218"/>
                        </a:lnTo>
                        <a:lnTo>
                          <a:pt x="600" y="1230"/>
                        </a:lnTo>
                        <a:lnTo>
                          <a:pt x="594" y="1236"/>
                        </a:lnTo>
                        <a:lnTo>
                          <a:pt x="588" y="1248"/>
                        </a:lnTo>
                        <a:lnTo>
                          <a:pt x="552" y="1284"/>
                        </a:lnTo>
                        <a:lnTo>
                          <a:pt x="546" y="1284"/>
                        </a:lnTo>
                        <a:lnTo>
                          <a:pt x="486" y="1344"/>
                        </a:lnTo>
                        <a:lnTo>
                          <a:pt x="426" y="1374"/>
                        </a:lnTo>
                        <a:lnTo>
                          <a:pt x="432" y="1386"/>
                        </a:lnTo>
                        <a:lnTo>
                          <a:pt x="462" y="1368"/>
                        </a:lnTo>
                        <a:lnTo>
                          <a:pt x="468" y="1386"/>
                        </a:lnTo>
                        <a:lnTo>
                          <a:pt x="480" y="1398"/>
                        </a:lnTo>
                        <a:lnTo>
                          <a:pt x="492" y="1404"/>
                        </a:lnTo>
                        <a:lnTo>
                          <a:pt x="498" y="1410"/>
                        </a:lnTo>
                        <a:lnTo>
                          <a:pt x="546" y="1410"/>
                        </a:lnTo>
                        <a:lnTo>
                          <a:pt x="558" y="1428"/>
                        </a:lnTo>
                        <a:lnTo>
                          <a:pt x="546" y="1428"/>
                        </a:lnTo>
                        <a:lnTo>
                          <a:pt x="534" y="1422"/>
                        </a:lnTo>
                        <a:lnTo>
                          <a:pt x="504" y="1422"/>
                        </a:lnTo>
                        <a:lnTo>
                          <a:pt x="492" y="1434"/>
                        </a:lnTo>
                        <a:lnTo>
                          <a:pt x="492" y="1440"/>
                        </a:lnTo>
                        <a:lnTo>
                          <a:pt x="456" y="1440"/>
                        </a:lnTo>
                        <a:lnTo>
                          <a:pt x="450" y="1470"/>
                        </a:lnTo>
                        <a:lnTo>
                          <a:pt x="438" y="1470"/>
                        </a:lnTo>
                        <a:lnTo>
                          <a:pt x="432" y="1482"/>
                        </a:lnTo>
                        <a:lnTo>
                          <a:pt x="438" y="1494"/>
                        </a:lnTo>
                        <a:lnTo>
                          <a:pt x="432" y="1500"/>
                        </a:lnTo>
                        <a:lnTo>
                          <a:pt x="426" y="1500"/>
                        </a:lnTo>
                        <a:lnTo>
                          <a:pt x="414" y="1512"/>
                        </a:lnTo>
                        <a:lnTo>
                          <a:pt x="414" y="1530"/>
                        </a:lnTo>
                        <a:lnTo>
                          <a:pt x="432" y="1536"/>
                        </a:lnTo>
                        <a:lnTo>
                          <a:pt x="420" y="1560"/>
                        </a:lnTo>
                        <a:lnTo>
                          <a:pt x="432" y="1566"/>
                        </a:lnTo>
                        <a:lnTo>
                          <a:pt x="444" y="1584"/>
                        </a:lnTo>
                        <a:lnTo>
                          <a:pt x="426" y="1596"/>
                        </a:lnTo>
                        <a:lnTo>
                          <a:pt x="426" y="1608"/>
                        </a:lnTo>
                        <a:lnTo>
                          <a:pt x="432" y="1608"/>
                        </a:lnTo>
                        <a:lnTo>
                          <a:pt x="444" y="1620"/>
                        </a:lnTo>
                        <a:lnTo>
                          <a:pt x="456" y="1626"/>
                        </a:lnTo>
                        <a:lnTo>
                          <a:pt x="462" y="1632"/>
                        </a:lnTo>
                        <a:lnTo>
                          <a:pt x="462" y="1638"/>
                        </a:lnTo>
                        <a:lnTo>
                          <a:pt x="444" y="1638"/>
                        </a:lnTo>
                        <a:lnTo>
                          <a:pt x="438" y="1656"/>
                        </a:lnTo>
                        <a:lnTo>
                          <a:pt x="462" y="1662"/>
                        </a:lnTo>
                        <a:lnTo>
                          <a:pt x="468" y="1668"/>
                        </a:lnTo>
                        <a:lnTo>
                          <a:pt x="474" y="1680"/>
                        </a:lnTo>
                        <a:lnTo>
                          <a:pt x="486" y="1692"/>
                        </a:lnTo>
                        <a:lnTo>
                          <a:pt x="486" y="1716"/>
                        </a:lnTo>
                        <a:lnTo>
                          <a:pt x="510" y="1716"/>
                        </a:lnTo>
                        <a:lnTo>
                          <a:pt x="516" y="1722"/>
                        </a:lnTo>
                        <a:lnTo>
                          <a:pt x="516" y="1728"/>
                        </a:lnTo>
                        <a:lnTo>
                          <a:pt x="528" y="1722"/>
                        </a:lnTo>
                        <a:lnTo>
                          <a:pt x="564" y="1728"/>
                        </a:lnTo>
                        <a:lnTo>
                          <a:pt x="570" y="1746"/>
                        </a:lnTo>
                        <a:lnTo>
                          <a:pt x="600" y="1728"/>
                        </a:lnTo>
                        <a:lnTo>
                          <a:pt x="606" y="1728"/>
                        </a:lnTo>
                        <a:lnTo>
                          <a:pt x="612" y="1734"/>
                        </a:lnTo>
                        <a:lnTo>
                          <a:pt x="648" y="1752"/>
                        </a:lnTo>
                        <a:lnTo>
                          <a:pt x="654" y="1758"/>
                        </a:lnTo>
                        <a:lnTo>
                          <a:pt x="654" y="1770"/>
                        </a:lnTo>
                        <a:lnTo>
                          <a:pt x="648" y="1776"/>
                        </a:lnTo>
                        <a:lnTo>
                          <a:pt x="660" y="1794"/>
                        </a:lnTo>
                        <a:lnTo>
                          <a:pt x="654" y="1812"/>
                        </a:lnTo>
                        <a:lnTo>
                          <a:pt x="660" y="1818"/>
                        </a:lnTo>
                        <a:lnTo>
                          <a:pt x="672" y="1824"/>
                        </a:lnTo>
                        <a:lnTo>
                          <a:pt x="690" y="1842"/>
                        </a:lnTo>
                        <a:lnTo>
                          <a:pt x="690" y="1854"/>
                        </a:lnTo>
                        <a:lnTo>
                          <a:pt x="720" y="1866"/>
                        </a:lnTo>
                        <a:lnTo>
                          <a:pt x="720" y="1890"/>
                        </a:lnTo>
                        <a:lnTo>
                          <a:pt x="756" y="1890"/>
                        </a:lnTo>
                        <a:lnTo>
                          <a:pt x="762" y="1896"/>
                        </a:lnTo>
                        <a:lnTo>
                          <a:pt x="768" y="1896"/>
                        </a:lnTo>
                        <a:lnTo>
                          <a:pt x="768" y="1902"/>
                        </a:lnTo>
                        <a:lnTo>
                          <a:pt x="762" y="1908"/>
                        </a:lnTo>
                        <a:lnTo>
                          <a:pt x="786" y="1920"/>
                        </a:lnTo>
                        <a:lnTo>
                          <a:pt x="774" y="1926"/>
                        </a:lnTo>
                        <a:lnTo>
                          <a:pt x="768" y="1938"/>
                        </a:lnTo>
                        <a:lnTo>
                          <a:pt x="744" y="1950"/>
                        </a:lnTo>
                        <a:lnTo>
                          <a:pt x="738" y="1950"/>
                        </a:lnTo>
                        <a:lnTo>
                          <a:pt x="732" y="1944"/>
                        </a:lnTo>
                        <a:lnTo>
                          <a:pt x="726" y="1944"/>
                        </a:lnTo>
                        <a:lnTo>
                          <a:pt x="726" y="1938"/>
                        </a:lnTo>
                        <a:lnTo>
                          <a:pt x="702" y="1938"/>
                        </a:lnTo>
                        <a:lnTo>
                          <a:pt x="696" y="1944"/>
                        </a:lnTo>
                        <a:lnTo>
                          <a:pt x="696" y="1950"/>
                        </a:lnTo>
                        <a:lnTo>
                          <a:pt x="720" y="1974"/>
                        </a:lnTo>
                        <a:lnTo>
                          <a:pt x="720" y="1992"/>
                        </a:lnTo>
                        <a:lnTo>
                          <a:pt x="726" y="1998"/>
                        </a:lnTo>
                        <a:lnTo>
                          <a:pt x="732" y="2010"/>
                        </a:lnTo>
                        <a:lnTo>
                          <a:pt x="732" y="2028"/>
                        </a:lnTo>
                        <a:lnTo>
                          <a:pt x="720" y="2028"/>
                        </a:lnTo>
                        <a:lnTo>
                          <a:pt x="714" y="2022"/>
                        </a:lnTo>
                        <a:lnTo>
                          <a:pt x="708" y="2022"/>
                        </a:lnTo>
                        <a:lnTo>
                          <a:pt x="720" y="2028"/>
                        </a:lnTo>
                        <a:lnTo>
                          <a:pt x="768" y="2028"/>
                        </a:lnTo>
                        <a:lnTo>
                          <a:pt x="774" y="2022"/>
                        </a:lnTo>
                        <a:lnTo>
                          <a:pt x="774" y="2010"/>
                        </a:lnTo>
                        <a:lnTo>
                          <a:pt x="804" y="2010"/>
                        </a:lnTo>
                        <a:lnTo>
                          <a:pt x="816" y="2004"/>
                        </a:lnTo>
                        <a:lnTo>
                          <a:pt x="864" y="2004"/>
                        </a:lnTo>
                        <a:lnTo>
                          <a:pt x="870" y="2022"/>
                        </a:lnTo>
                        <a:lnTo>
                          <a:pt x="876" y="2022"/>
                        </a:lnTo>
                        <a:lnTo>
                          <a:pt x="882" y="2028"/>
                        </a:lnTo>
                        <a:lnTo>
                          <a:pt x="894" y="2034"/>
                        </a:lnTo>
                        <a:lnTo>
                          <a:pt x="900" y="2034"/>
                        </a:lnTo>
                        <a:lnTo>
                          <a:pt x="900" y="2046"/>
                        </a:lnTo>
                        <a:lnTo>
                          <a:pt x="894" y="2052"/>
                        </a:lnTo>
                        <a:lnTo>
                          <a:pt x="888" y="2052"/>
                        </a:lnTo>
                        <a:lnTo>
                          <a:pt x="894" y="2070"/>
                        </a:lnTo>
                        <a:lnTo>
                          <a:pt x="894" y="2088"/>
                        </a:lnTo>
                        <a:lnTo>
                          <a:pt x="930" y="2088"/>
                        </a:lnTo>
                        <a:lnTo>
                          <a:pt x="972" y="2106"/>
                        </a:lnTo>
                        <a:lnTo>
                          <a:pt x="984" y="2154"/>
                        </a:lnTo>
                        <a:lnTo>
                          <a:pt x="990" y="2154"/>
                        </a:lnTo>
                        <a:lnTo>
                          <a:pt x="1014" y="2148"/>
                        </a:lnTo>
                        <a:lnTo>
                          <a:pt x="1020" y="2154"/>
                        </a:lnTo>
                        <a:lnTo>
                          <a:pt x="1032" y="2154"/>
                        </a:lnTo>
                        <a:lnTo>
                          <a:pt x="1038" y="2160"/>
                        </a:lnTo>
                        <a:lnTo>
                          <a:pt x="1086" y="2160"/>
                        </a:lnTo>
                        <a:lnTo>
                          <a:pt x="1092" y="2166"/>
                        </a:lnTo>
                        <a:lnTo>
                          <a:pt x="1092" y="2160"/>
                        </a:lnTo>
                        <a:lnTo>
                          <a:pt x="1098" y="2154"/>
                        </a:lnTo>
                        <a:lnTo>
                          <a:pt x="1110" y="2154"/>
                        </a:lnTo>
                        <a:lnTo>
                          <a:pt x="1116" y="2166"/>
                        </a:lnTo>
                        <a:lnTo>
                          <a:pt x="1140" y="2190"/>
                        </a:lnTo>
                        <a:lnTo>
                          <a:pt x="1152" y="2184"/>
                        </a:lnTo>
                        <a:lnTo>
                          <a:pt x="1170" y="2184"/>
                        </a:lnTo>
                        <a:lnTo>
                          <a:pt x="1176" y="2190"/>
                        </a:lnTo>
                        <a:lnTo>
                          <a:pt x="1188" y="2196"/>
                        </a:lnTo>
                        <a:lnTo>
                          <a:pt x="1230" y="2196"/>
                        </a:lnTo>
                        <a:lnTo>
                          <a:pt x="1230" y="2202"/>
                        </a:lnTo>
                        <a:lnTo>
                          <a:pt x="1236" y="2208"/>
                        </a:lnTo>
                        <a:lnTo>
                          <a:pt x="1254" y="2220"/>
                        </a:lnTo>
                        <a:lnTo>
                          <a:pt x="1278" y="2220"/>
                        </a:lnTo>
                        <a:lnTo>
                          <a:pt x="1284" y="2226"/>
                        </a:lnTo>
                        <a:lnTo>
                          <a:pt x="1284" y="2250"/>
                        </a:lnTo>
                        <a:lnTo>
                          <a:pt x="1266" y="2262"/>
                        </a:lnTo>
                        <a:lnTo>
                          <a:pt x="1272" y="2262"/>
                        </a:lnTo>
                        <a:lnTo>
                          <a:pt x="1278" y="2268"/>
                        </a:lnTo>
                        <a:lnTo>
                          <a:pt x="1284" y="2268"/>
                        </a:lnTo>
                        <a:lnTo>
                          <a:pt x="1290" y="2274"/>
                        </a:lnTo>
                        <a:lnTo>
                          <a:pt x="1284" y="2280"/>
                        </a:lnTo>
                        <a:lnTo>
                          <a:pt x="1266" y="2280"/>
                        </a:lnTo>
                        <a:lnTo>
                          <a:pt x="1260" y="2286"/>
                        </a:lnTo>
                        <a:lnTo>
                          <a:pt x="1272" y="2298"/>
                        </a:lnTo>
                        <a:lnTo>
                          <a:pt x="1284" y="2304"/>
                        </a:lnTo>
                        <a:lnTo>
                          <a:pt x="1284" y="2316"/>
                        </a:lnTo>
                        <a:lnTo>
                          <a:pt x="1290" y="2328"/>
                        </a:lnTo>
                        <a:lnTo>
                          <a:pt x="1290" y="2334"/>
                        </a:lnTo>
                        <a:lnTo>
                          <a:pt x="1278" y="2346"/>
                        </a:lnTo>
                        <a:lnTo>
                          <a:pt x="1266" y="2346"/>
                        </a:lnTo>
                        <a:lnTo>
                          <a:pt x="1254" y="2352"/>
                        </a:lnTo>
                        <a:lnTo>
                          <a:pt x="1224" y="2352"/>
                        </a:lnTo>
                        <a:lnTo>
                          <a:pt x="1212" y="2364"/>
                        </a:lnTo>
                        <a:lnTo>
                          <a:pt x="1212" y="2370"/>
                        </a:lnTo>
                        <a:lnTo>
                          <a:pt x="1206" y="2376"/>
                        </a:lnTo>
                        <a:lnTo>
                          <a:pt x="1188" y="2376"/>
                        </a:lnTo>
                        <a:lnTo>
                          <a:pt x="1188" y="2412"/>
                        </a:lnTo>
                        <a:lnTo>
                          <a:pt x="1194" y="2412"/>
                        </a:lnTo>
                        <a:lnTo>
                          <a:pt x="1200" y="2406"/>
                        </a:lnTo>
                        <a:lnTo>
                          <a:pt x="1212" y="2406"/>
                        </a:lnTo>
                        <a:lnTo>
                          <a:pt x="1224" y="2400"/>
                        </a:lnTo>
                        <a:lnTo>
                          <a:pt x="1254" y="2400"/>
                        </a:lnTo>
                        <a:lnTo>
                          <a:pt x="1254" y="2412"/>
                        </a:lnTo>
                        <a:lnTo>
                          <a:pt x="1248" y="2418"/>
                        </a:lnTo>
                        <a:lnTo>
                          <a:pt x="1242" y="2430"/>
                        </a:lnTo>
                        <a:lnTo>
                          <a:pt x="1230" y="2436"/>
                        </a:lnTo>
                        <a:lnTo>
                          <a:pt x="1224" y="2442"/>
                        </a:lnTo>
                        <a:lnTo>
                          <a:pt x="1170" y="2454"/>
                        </a:lnTo>
                        <a:lnTo>
                          <a:pt x="1218" y="2490"/>
                        </a:lnTo>
                        <a:lnTo>
                          <a:pt x="1212" y="2490"/>
                        </a:lnTo>
                        <a:lnTo>
                          <a:pt x="1206" y="2496"/>
                        </a:lnTo>
                        <a:lnTo>
                          <a:pt x="1194" y="2496"/>
                        </a:lnTo>
                        <a:lnTo>
                          <a:pt x="1188" y="2502"/>
                        </a:lnTo>
                        <a:lnTo>
                          <a:pt x="1176" y="2526"/>
                        </a:lnTo>
                        <a:lnTo>
                          <a:pt x="1176" y="2544"/>
                        </a:lnTo>
                        <a:lnTo>
                          <a:pt x="1164" y="2550"/>
                        </a:lnTo>
                        <a:lnTo>
                          <a:pt x="1158" y="2556"/>
                        </a:lnTo>
                        <a:lnTo>
                          <a:pt x="1146" y="2556"/>
                        </a:lnTo>
                        <a:lnTo>
                          <a:pt x="1140" y="2550"/>
                        </a:lnTo>
                        <a:lnTo>
                          <a:pt x="1128" y="2544"/>
                        </a:lnTo>
                        <a:lnTo>
                          <a:pt x="1122" y="2538"/>
                        </a:lnTo>
                        <a:lnTo>
                          <a:pt x="1116" y="2556"/>
                        </a:lnTo>
                        <a:lnTo>
                          <a:pt x="1122" y="2562"/>
                        </a:lnTo>
                        <a:lnTo>
                          <a:pt x="1128" y="2574"/>
                        </a:lnTo>
                        <a:lnTo>
                          <a:pt x="1134" y="2580"/>
                        </a:lnTo>
                        <a:lnTo>
                          <a:pt x="1146" y="2580"/>
                        </a:lnTo>
                        <a:lnTo>
                          <a:pt x="1146" y="2586"/>
                        </a:lnTo>
                        <a:lnTo>
                          <a:pt x="1152" y="2598"/>
                        </a:lnTo>
                        <a:lnTo>
                          <a:pt x="1158" y="2604"/>
                        </a:lnTo>
                        <a:lnTo>
                          <a:pt x="1194" y="2604"/>
                        </a:lnTo>
                        <a:lnTo>
                          <a:pt x="1200" y="2610"/>
                        </a:lnTo>
                        <a:lnTo>
                          <a:pt x="1212" y="2616"/>
                        </a:lnTo>
                        <a:lnTo>
                          <a:pt x="1218" y="2628"/>
                        </a:lnTo>
                        <a:lnTo>
                          <a:pt x="1224" y="2634"/>
                        </a:lnTo>
                        <a:lnTo>
                          <a:pt x="1254" y="2634"/>
                        </a:lnTo>
                        <a:lnTo>
                          <a:pt x="1272" y="2652"/>
                        </a:lnTo>
                        <a:lnTo>
                          <a:pt x="1278" y="2664"/>
                        </a:lnTo>
                        <a:lnTo>
                          <a:pt x="1290" y="2670"/>
                        </a:lnTo>
                        <a:lnTo>
                          <a:pt x="1314" y="2694"/>
                        </a:lnTo>
                        <a:lnTo>
                          <a:pt x="1320" y="2694"/>
                        </a:lnTo>
                        <a:lnTo>
                          <a:pt x="1332" y="2700"/>
                        </a:lnTo>
                        <a:lnTo>
                          <a:pt x="1338" y="2700"/>
                        </a:lnTo>
                        <a:lnTo>
                          <a:pt x="1350" y="2706"/>
                        </a:lnTo>
                        <a:lnTo>
                          <a:pt x="1344" y="2706"/>
                        </a:lnTo>
                        <a:lnTo>
                          <a:pt x="1368" y="2688"/>
                        </a:lnTo>
                        <a:lnTo>
                          <a:pt x="1380" y="2688"/>
                        </a:lnTo>
                        <a:lnTo>
                          <a:pt x="1398" y="2694"/>
                        </a:lnTo>
                        <a:lnTo>
                          <a:pt x="1410" y="2700"/>
                        </a:lnTo>
                        <a:lnTo>
                          <a:pt x="1428" y="2706"/>
                        </a:lnTo>
                        <a:lnTo>
                          <a:pt x="1488" y="2718"/>
                        </a:lnTo>
                        <a:lnTo>
                          <a:pt x="1524" y="2718"/>
                        </a:lnTo>
                        <a:lnTo>
                          <a:pt x="1530" y="2724"/>
                        </a:lnTo>
                        <a:lnTo>
                          <a:pt x="1536" y="2724"/>
                        </a:lnTo>
                        <a:lnTo>
                          <a:pt x="1584" y="2754"/>
                        </a:lnTo>
                        <a:lnTo>
                          <a:pt x="1584" y="2760"/>
                        </a:lnTo>
                        <a:lnTo>
                          <a:pt x="1590" y="2760"/>
                        </a:lnTo>
                        <a:lnTo>
                          <a:pt x="1602" y="2766"/>
                        </a:lnTo>
                        <a:lnTo>
                          <a:pt x="1626" y="2766"/>
                        </a:lnTo>
                        <a:lnTo>
                          <a:pt x="1632" y="2760"/>
                        </a:lnTo>
                        <a:lnTo>
                          <a:pt x="1644" y="2760"/>
                        </a:lnTo>
                        <a:lnTo>
                          <a:pt x="1644" y="2754"/>
                        </a:lnTo>
                        <a:lnTo>
                          <a:pt x="1674" y="2754"/>
                        </a:lnTo>
                        <a:lnTo>
                          <a:pt x="1686" y="2760"/>
                        </a:lnTo>
                        <a:lnTo>
                          <a:pt x="1698" y="2772"/>
                        </a:lnTo>
                        <a:lnTo>
                          <a:pt x="1728" y="2778"/>
                        </a:lnTo>
                        <a:lnTo>
                          <a:pt x="1728" y="2790"/>
                        </a:lnTo>
                        <a:lnTo>
                          <a:pt x="1722" y="2796"/>
                        </a:lnTo>
                        <a:lnTo>
                          <a:pt x="1722" y="2802"/>
                        </a:lnTo>
                        <a:lnTo>
                          <a:pt x="1740" y="2802"/>
                        </a:lnTo>
                        <a:lnTo>
                          <a:pt x="1752" y="2814"/>
                        </a:lnTo>
                        <a:lnTo>
                          <a:pt x="1764" y="2820"/>
                        </a:lnTo>
                        <a:lnTo>
                          <a:pt x="1776" y="2832"/>
                        </a:lnTo>
                        <a:lnTo>
                          <a:pt x="1788" y="2826"/>
                        </a:lnTo>
                        <a:lnTo>
                          <a:pt x="1794" y="2826"/>
                        </a:lnTo>
                        <a:lnTo>
                          <a:pt x="1818" y="2838"/>
                        </a:lnTo>
                        <a:lnTo>
                          <a:pt x="1836" y="2856"/>
                        </a:lnTo>
                        <a:lnTo>
                          <a:pt x="1842" y="2868"/>
                        </a:lnTo>
                        <a:lnTo>
                          <a:pt x="1854" y="2874"/>
                        </a:lnTo>
                        <a:lnTo>
                          <a:pt x="1860" y="2880"/>
                        </a:lnTo>
                        <a:lnTo>
                          <a:pt x="1884" y="2880"/>
                        </a:lnTo>
                        <a:lnTo>
                          <a:pt x="1890" y="2874"/>
                        </a:lnTo>
                        <a:lnTo>
                          <a:pt x="1890" y="2862"/>
                        </a:lnTo>
                        <a:lnTo>
                          <a:pt x="1908" y="2862"/>
                        </a:lnTo>
                        <a:lnTo>
                          <a:pt x="1914" y="2856"/>
                        </a:lnTo>
                        <a:lnTo>
                          <a:pt x="1914" y="2826"/>
                        </a:lnTo>
                        <a:lnTo>
                          <a:pt x="1908" y="2820"/>
                        </a:lnTo>
                        <a:lnTo>
                          <a:pt x="1908" y="2814"/>
                        </a:lnTo>
                        <a:lnTo>
                          <a:pt x="1896" y="2802"/>
                        </a:lnTo>
                        <a:lnTo>
                          <a:pt x="1890" y="2790"/>
                        </a:lnTo>
                        <a:lnTo>
                          <a:pt x="1884" y="2784"/>
                        </a:lnTo>
                        <a:lnTo>
                          <a:pt x="1872" y="2778"/>
                        </a:lnTo>
                        <a:lnTo>
                          <a:pt x="1866" y="2772"/>
                        </a:lnTo>
                        <a:lnTo>
                          <a:pt x="1854" y="2772"/>
                        </a:lnTo>
                        <a:lnTo>
                          <a:pt x="1854" y="2748"/>
                        </a:lnTo>
                        <a:lnTo>
                          <a:pt x="1848" y="2742"/>
                        </a:lnTo>
                        <a:lnTo>
                          <a:pt x="1836" y="2736"/>
                        </a:lnTo>
                        <a:lnTo>
                          <a:pt x="1830" y="2724"/>
                        </a:lnTo>
                        <a:lnTo>
                          <a:pt x="1824" y="2718"/>
                        </a:lnTo>
                        <a:lnTo>
                          <a:pt x="1824" y="2706"/>
                        </a:lnTo>
                        <a:lnTo>
                          <a:pt x="1830" y="2694"/>
                        </a:lnTo>
                        <a:lnTo>
                          <a:pt x="1830" y="2682"/>
                        </a:lnTo>
                        <a:lnTo>
                          <a:pt x="1818" y="2658"/>
                        </a:lnTo>
                        <a:lnTo>
                          <a:pt x="1812" y="2652"/>
                        </a:lnTo>
                        <a:lnTo>
                          <a:pt x="1806" y="2640"/>
                        </a:lnTo>
                        <a:lnTo>
                          <a:pt x="1794" y="2634"/>
                        </a:lnTo>
                        <a:lnTo>
                          <a:pt x="1788" y="2628"/>
                        </a:lnTo>
                        <a:lnTo>
                          <a:pt x="1776" y="2628"/>
                        </a:lnTo>
                        <a:lnTo>
                          <a:pt x="1758" y="2622"/>
                        </a:lnTo>
                        <a:lnTo>
                          <a:pt x="1758" y="2604"/>
                        </a:lnTo>
                        <a:lnTo>
                          <a:pt x="1794" y="2568"/>
                        </a:lnTo>
                        <a:lnTo>
                          <a:pt x="1800" y="2556"/>
                        </a:lnTo>
                        <a:lnTo>
                          <a:pt x="1806" y="2550"/>
                        </a:lnTo>
                        <a:lnTo>
                          <a:pt x="1806" y="2544"/>
                        </a:lnTo>
                        <a:lnTo>
                          <a:pt x="1800" y="2532"/>
                        </a:lnTo>
                        <a:lnTo>
                          <a:pt x="1788" y="2520"/>
                        </a:lnTo>
                        <a:lnTo>
                          <a:pt x="1800" y="2520"/>
                        </a:lnTo>
                        <a:lnTo>
                          <a:pt x="1812" y="2526"/>
                        </a:lnTo>
                        <a:lnTo>
                          <a:pt x="1830" y="2526"/>
                        </a:lnTo>
                        <a:lnTo>
                          <a:pt x="1842" y="2514"/>
                        </a:lnTo>
                        <a:lnTo>
                          <a:pt x="1872" y="2514"/>
                        </a:lnTo>
                        <a:lnTo>
                          <a:pt x="1878" y="2508"/>
                        </a:lnTo>
                        <a:lnTo>
                          <a:pt x="1860" y="2490"/>
                        </a:lnTo>
                        <a:lnTo>
                          <a:pt x="1890" y="2490"/>
                        </a:lnTo>
                        <a:lnTo>
                          <a:pt x="1890" y="2472"/>
                        </a:lnTo>
                        <a:lnTo>
                          <a:pt x="1878" y="2472"/>
                        </a:lnTo>
                        <a:lnTo>
                          <a:pt x="1854" y="2460"/>
                        </a:lnTo>
                        <a:lnTo>
                          <a:pt x="1842" y="2448"/>
                        </a:lnTo>
                        <a:lnTo>
                          <a:pt x="1842" y="2442"/>
                        </a:lnTo>
                        <a:lnTo>
                          <a:pt x="1878" y="2442"/>
                        </a:lnTo>
                        <a:lnTo>
                          <a:pt x="1878" y="2430"/>
                        </a:lnTo>
                        <a:lnTo>
                          <a:pt x="1866" y="2418"/>
                        </a:lnTo>
                        <a:lnTo>
                          <a:pt x="1860" y="2406"/>
                        </a:lnTo>
                        <a:lnTo>
                          <a:pt x="1812" y="2358"/>
                        </a:lnTo>
                        <a:lnTo>
                          <a:pt x="1800" y="2358"/>
                        </a:lnTo>
                        <a:lnTo>
                          <a:pt x="1788" y="2364"/>
                        </a:lnTo>
                        <a:lnTo>
                          <a:pt x="1746" y="2364"/>
                        </a:lnTo>
                        <a:lnTo>
                          <a:pt x="1740" y="2358"/>
                        </a:lnTo>
                        <a:lnTo>
                          <a:pt x="1740" y="2328"/>
                        </a:lnTo>
                        <a:lnTo>
                          <a:pt x="1734" y="2322"/>
                        </a:lnTo>
                        <a:lnTo>
                          <a:pt x="1710" y="2322"/>
                        </a:lnTo>
                        <a:lnTo>
                          <a:pt x="1704" y="2316"/>
                        </a:lnTo>
                        <a:lnTo>
                          <a:pt x="1698" y="2316"/>
                        </a:lnTo>
                        <a:lnTo>
                          <a:pt x="1698" y="2286"/>
                        </a:lnTo>
                        <a:lnTo>
                          <a:pt x="1710" y="2262"/>
                        </a:lnTo>
                        <a:lnTo>
                          <a:pt x="1710" y="2238"/>
                        </a:lnTo>
                        <a:lnTo>
                          <a:pt x="1704" y="2232"/>
                        </a:lnTo>
                        <a:lnTo>
                          <a:pt x="1698" y="2196"/>
                        </a:lnTo>
                        <a:lnTo>
                          <a:pt x="1722" y="2196"/>
                        </a:lnTo>
                        <a:lnTo>
                          <a:pt x="1722" y="2172"/>
                        </a:lnTo>
                        <a:lnTo>
                          <a:pt x="1716" y="2166"/>
                        </a:lnTo>
                        <a:lnTo>
                          <a:pt x="1716" y="2154"/>
                        </a:lnTo>
                        <a:lnTo>
                          <a:pt x="1722" y="2148"/>
                        </a:lnTo>
                        <a:lnTo>
                          <a:pt x="1734" y="2148"/>
                        </a:lnTo>
                        <a:lnTo>
                          <a:pt x="1746" y="2154"/>
                        </a:lnTo>
                        <a:lnTo>
                          <a:pt x="1758" y="2166"/>
                        </a:lnTo>
                        <a:lnTo>
                          <a:pt x="1770" y="2172"/>
                        </a:lnTo>
                        <a:lnTo>
                          <a:pt x="1776" y="2184"/>
                        </a:lnTo>
                        <a:lnTo>
                          <a:pt x="1788" y="2190"/>
                        </a:lnTo>
                        <a:lnTo>
                          <a:pt x="1800" y="2190"/>
                        </a:lnTo>
                        <a:lnTo>
                          <a:pt x="1806" y="2184"/>
                        </a:lnTo>
                        <a:lnTo>
                          <a:pt x="1812" y="2172"/>
                        </a:lnTo>
                        <a:lnTo>
                          <a:pt x="1818" y="2166"/>
                        </a:lnTo>
                        <a:lnTo>
                          <a:pt x="1812" y="2154"/>
                        </a:lnTo>
                        <a:lnTo>
                          <a:pt x="1800" y="2142"/>
                        </a:lnTo>
                        <a:lnTo>
                          <a:pt x="1830" y="2130"/>
                        </a:lnTo>
                        <a:lnTo>
                          <a:pt x="1830" y="2106"/>
                        </a:lnTo>
                        <a:lnTo>
                          <a:pt x="1836" y="2106"/>
                        </a:lnTo>
                        <a:lnTo>
                          <a:pt x="1848" y="2100"/>
                        </a:lnTo>
                        <a:lnTo>
                          <a:pt x="1860" y="2100"/>
                        </a:lnTo>
                        <a:lnTo>
                          <a:pt x="1872" y="2094"/>
                        </a:lnTo>
                        <a:lnTo>
                          <a:pt x="1884" y="2082"/>
                        </a:lnTo>
                        <a:lnTo>
                          <a:pt x="1884" y="2064"/>
                        </a:lnTo>
                        <a:lnTo>
                          <a:pt x="1878" y="2058"/>
                        </a:lnTo>
                        <a:lnTo>
                          <a:pt x="1878" y="2052"/>
                        </a:lnTo>
                        <a:lnTo>
                          <a:pt x="1908" y="2052"/>
                        </a:lnTo>
                        <a:lnTo>
                          <a:pt x="1920" y="2058"/>
                        </a:lnTo>
                        <a:lnTo>
                          <a:pt x="1926" y="2058"/>
                        </a:lnTo>
                        <a:lnTo>
                          <a:pt x="1926" y="2064"/>
                        </a:lnTo>
                        <a:lnTo>
                          <a:pt x="1932" y="2070"/>
                        </a:lnTo>
                        <a:lnTo>
                          <a:pt x="1962" y="2070"/>
                        </a:lnTo>
                        <a:lnTo>
                          <a:pt x="1974" y="2058"/>
                        </a:lnTo>
                        <a:lnTo>
                          <a:pt x="1986" y="2052"/>
                        </a:lnTo>
                        <a:lnTo>
                          <a:pt x="2004" y="2052"/>
                        </a:lnTo>
                        <a:lnTo>
                          <a:pt x="2010" y="2058"/>
                        </a:lnTo>
                        <a:lnTo>
                          <a:pt x="2016" y="2070"/>
                        </a:lnTo>
                        <a:lnTo>
                          <a:pt x="2076" y="2070"/>
                        </a:lnTo>
                        <a:lnTo>
                          <a:pt x="2082" y="2076"/>
                        </a:lnTo>
                        <a:lnTo>
                          <a:pt x="2082" y="2082"/>
                        </a:lnTo>
                        <a:lnTo>
                          <a:pt x="2088" y="2094"/>
                        </a:lnTo>
                        <a:lnTo>
                          <a:pt x="2124" y="2094"/>
                        </a:lnTo>
                        <a:lnTo>
                          <a:pt x="2136" y="2124"/>
                        </a:lnTo>
                        <a:lnTo>
                          <a:pt x="2136" y="2130"/>
                        </a:lnTo>
                        <a:lnTo>
                          <a:pt x="2148" y="2142"/>
                        </a:lnTo>
                        <a:lnTo>
                          <a:pt x="2160" y="2142"/>
                        </a:lnTo>
                        <a:lnTo>
                          <a:pt x="2160" y="2124"/>
                        </a:lnTo>
                        <a:lnTo>
                          <a:pt x="2148" y="2112"/>
                        </a:lnTo>
                        <a:lnTo>
                          <a:pt x="2148" y="2106"/>
                        </a:lnTo>
                        <a:lnTo>
                          <a:pt x="2160" y="2106"/>
                        </a:lnTo>
                        <a:lnTo>
                          <a:pt x="2232" y="2142"/>
                        </a:lnTo>
                        <a:lnTo>
                          <a:pt x="2238" y="2136"/>
                        </a:lnTo>
                        <a:lnTo>
                          <a:pt x="2244" y="2124"/>
                        </a:lnTo>
                        <a:lnTo>
                          <a:pt x="2256" y="2118"/>
                        </a:lnTo>
                        <a:lnTo>
                          <a:pt x="2268" y="2106"/>
                        </a:lnTo>
                        <a:lnTo>
                          <a:pt x="2280" y="2100"/>
                        </a:lnTo>
                        <a:lnTo>
                          <a:pt x="2286" y="2100"/>
                        </a:lnTo>
                        <a:lnTo>
                          <a:pt x="2322" y="2118"/>
                        </a:lnTo>
                        <a:lnTo>
                          <a:pt x="2334" y="2118"/>
                        </a:lnTo>
                        <a:lnTo>
                          <a:pt x="2352" y="2112"/>
                        </a:lnTo>
                        <a:lnTo>
                          <a:pt x="2364" y="2106"/>
                        </a:lnTo>
                        <a:lnTo>
                          <a:pt x="2370" y="2100"/>
                        </a:lnTo>
                        <a:lnTo>
                          <a:pt x="2382" y="2100"/>
                        </a:lnTo>
                        <a:lnTo>
                          <a:pt x="2388" y="2106"/>
                        </a:lnTo>
                        <a:lnTo>
                          <a:pt x="2400" y="2112"/>
                        </a:lnTo>
                        <a:lnTo>
                          <a:pt x="2406" y="2124"/>
                        </a:lnTo>
                        <a:lnTo>
                          <a:pt x="2430" y="2136"/>
                        </a:lnTo>
                        <a:lnTo>
                          <a:pt x="2454" y="2136"/>
                        </a:lnTo>
                        <a:lnTo>
                          <a:pt x="2466" y="2142"/>
                        </a:lnTo>
                        <a:lnTo>
                          <a:pt x="2478" y="2142"/>
                        </a:lnTo>
                        <a:lnTo>
                          <a:pt x="2490" y="2118"/>
                        </a:lnTo>
                        <a:lnTo>
                          <a:pt x="2496" y="2124"/>
                        </a:lnTo>
                        <a:lnTo>
                          <a:pt x="2508" y="2124"/>
                        </a:lnTo>
                        <a:lnTo>
                          <a:pt x="2514" y="2130"/>
                        </a:lnTo>
                        <a:lnTo>
                          <a:pt x="2526" y="2136"/>
                        </a:lnTo>
                        <a:lnTo>
                          <a:pt x="2562" y="2136"/>
                        </a:lnTo>
                        <a:lnTo>
                          <a:pt x="2568" y="2130"/>
                        </a:lnTo>
                        <a:lnTo>
                          <a:pt x="2574" y="2118"/>
                        </a:lnTo>
                        <a:lnTo>
                          <a:pt x="2574" y="2106"/>
                        </a:lnTo>
                        <a:lnTo>
                          <a:pt x="2568" y="2088"/>
                        </a:lnTo>
                        <a:lnTo>
                          <a:pt x="2544" y="2064"/>
                        </a:lnTo>
                        <a:lnTo>
                          <a:pt x="2532" y="2058"/>
                        </a:lnTo>
                        <a:lnTo>
                          <a:pt x="2514" y="2052"/>
                        </a:lnTo>
                        <a:lnTo>
                          <a:pt x="2490" y="2052"/>
                        </a:lnTo>
                        <a:lnTo>
                          <a:pt x="2460" y="2022"/>
                        </a:lnTo>
                        <a:lnTo>
                          <a:pt x="2472" y="2022"/>
                        </a:lnTo>
                        <a:lnTo>
                          <a:pt x="2484" y="2016"/>
                        </a:lnTo>
                        <a:lnTo>
                          <a:pt x="2496" y="2016"/>
                        </a:lnTo>
                        <a:lnTo>
                          <a:pt x="2508" y="2004"/>
                        </a:lnTo>
                        <a:lnTo>
                          <a:pt x="2508" y="1992"/>
                        </a:lnTo>
                        <a:lnTo>
                          <a:pt x="2502" y="1986"/>
                        </a:lnTo>
                        <a:lnTo>
                          <a:pt x="2496" y="1974"/>
                        </a:lnTo>
                        <a:lnTo>
                          <a:pt x="2490" y="1968"/>
                        </a:lnTo>
                        <a:lnTo>
                          <a:pt x="2502" y="1956"/>
                        </a:lnTo>
                        <a:lnTo>
                          <a:pt x="2556" y="1956"/>
                        </a:lnTo>
                        <a:lnTo>
                          <a:pt x="2544" y="1944"/>
                        </a:lnTo>
                        <a:lnTo>
                          <a:pt x="2532" y="1944"/>
                        </a:lnTo>
                        <a:lnTo>
                          <a:pt x="2508" y="1932"/>
                        </a:lnTo>
                        <a:lnTo>
                          <a:pt x="2496" y="1932"/>
                        </a:lnTo>
                        <a:lnTo>
                          <a:pt x="2508" y="1914"/>
                        </a:lnTo>
                        <a:lnTo>
                          <a:pt x="2484" y="1914"/>
                        </a:lnTo>
                        <a:lnTo>
                          <a:pt x="2484" y="1908"/>
                        </a:lnTo>
                        <a:lnTo>
                          <a:pt x="2478" y="1902"/>
                        </a:lnTo>
                        <a:lnTo>
                          <a:pt x="2478" y="1896"/>
                        </a:lnTo>
                        <a:lnTo>
                          <a:pt x="2490" y="1884"/>
                        </a:lnTo>
                        <a:lnTo>
                          <a:pt x="2526" y="1872"/>
                        </a:lnTo>
                        <a:lnTo>
                          <a:pt x="2586" y="1866"/>
                        </a:lnTo>
                        <a:lnTo>
                          <a:pt x="2640" y="1866"/>
                        </a:lnTo>
                        <a:lnTo>
                          <a:pt x="2646" y="1848"/>
                        </a:lnTo>
                        <a:lnTo>
                          <a:pt x="2712" y="1848"/>
                        </a:lnTo>
                        <a:lnTo>
                          <a:pt x="2712" y="1830"/>
                        </a:lnTo>
                        <a:lnTo>
                          <a:pt x="2718" y="1824"/>
                        </a:lnTo>
                        <a:lnTo>
                          <a:pt x="2808" y="1824"/>
                        </a:lnTo>
                        <a:lnTo>
                          <a:pt x="2862" y="1806"/>
                        </a:lnTo>
                        <a:lnTo>
                          <a:pt x="2874" y="1806"/>
                        </a:lnTo>
                        <a:lnTo>
                          <a:pt x="2874" y="1794"/>
                        </a:lnTo>
                        <a:lnTo>
                          <a:pt x="2886" y="1782"/>
                        </a:lnTo>
                        <a:lnTo>
                          <a:pt x="2898" y="1776"/>
                        </a:lnTo>
                        <a:lnTo>
                          <a:pt x="2916" y="1770"/>
                        </a:lnTo>
                        <a:lnTo>
                          <a:pt x="2940" y="1770"/>
                        </a:lnTo>
                        <a:lnTo>
                          <a:pt x="2958" y="1776"/>
                        </a:lnTo>
                        <a:lnTo>
                          <a:pt x="2976" y="1776"/>
                        </a:lnTo>
                        <a:lnTo>
                          <a:pt x="2988" y="1788"/>
                        </a:lnTo>
                        <a:lnTo>
                          <a:pt x="3000" y="1788"/>
                        </a:lnTo>
                        <a:lnTo>
                          <a:pt x="3012" y="1776"/>
                        </a:lnTo>
                        <a:lnTo>
                          <a:pt x="3018" y="1776"/>
                        </a:lnTo>
                        <a:lnTo>
                          <a:pt x="3036" y="1794"/>
                        </a:lnTo>
                        <a:lnTo>
                          <a:pt x="3042" y="1806"/>
                        </a:lnTo>
                        <a:lnTo>
                          <a:pt x="3048" y="1812"/>
                        </a:lnTo>
                        <a:lnTo>
                          <a:pt x="3060" y="1812"/>
                        </a:lnTo>
                        <a:lnTo>
                          <a:pt x="3066" y="1818"/>
                        </a:lnTo>
                        <a:lnTo>
                          <a:pt x="3066" y="1860"/>
                        </a:lnTo>
                        <a:lnTo>
                          <a:pt x="3072" y="1866"/>
                        </a:lnTo>
                        <a:lnTo>
                          <a:pt x="3090" y="1866"/>
                        </a:lnTo>
                        <a:lnTo>
                          <a:pt x="3102" y="1860"/>
                        </a:lnTo>
                        <a:lnTo>
                          <a:pt x="3120" y="1860"/>
                        </a:lnTo>
                        <a:lnTo>
                          <a:pt x="3132" y="1842"/>
                        </a:lnTo>
                        <a:lnTo>
                          <a:pt x="3156" y="1878"/>
                        </a:lnTo>
                        <a:lnTo>
                          <a:pt x="3180" y="1866"/>
                        </a:lnTo>
                        <a:lnTo>
                          <a:pt x="3204" y="1878"/>
                        </a:lnTo>
                        <a:lnTo>
                          <a:pt x="3210" y="1872"/>
                        </a:lnTo>
                        <a:lnTo>
                          <a:pt x="3216" y="1872"/>
                        </a:lnTo>
                        <a:lnTo>
                          <a:pt x="3228" y="1878"/>
                        </a:lnTo>
                        <a:lnTo>
                          <a:pt x="3228" y="1902"/>
                        </a:lnTo>
                        <a:lnTo>
                          <a:pt x="3222" y="1908"/>
                        </a:lnTo>
                        <a:lnTo>
                          <a:pt x="3222" y="1914"/>
                        </a:lnTo>
                        <a:lnTo>
                          <a:pt x="3228" y="1914"/>
                        </a:lnTo>
                        <a:lnTo>
                          <a:pt x="3234" y="1908"/>
                        </a:lnTo>
                        <a:lnTo>
                          <a:pt x="3240" y="1908"/>
                        </a:lnTo>
                        <a:lnTo>
                          <a:pt x="3246" y="1902"/>
                        </a:lnTo>
                        <a:lnTo>
                          <a:pt x="3252" y="1902"/>
                        </a:lnTo>
                        <a:lnTo>
                          <a:pt x="3258" y="1908"/>
                        </a:lnTo>
                        <a:lnTo>
                          <a:pt x="3270" y="1914"/>
                        </a:lnTo>
                        <a:lnTo>
                          <a:pt x="3276" y="1920"/>
                        </a:lnTo>
                        <a:lnTo>
                          <a:pt x="3288" y="1926"/>
                        </a:lnTo>
                        <a:lnTo>
                          <a:pt x="3300" y="1914"/>
                        </a:lnTo>
                        <a:lnTo>
                          <a:pt x="3300" y="1896"/>
                        </a:lnTo>
                        <a:lnTo>
                          <a:pt x="3306" y="1890"/>
                        </a:lnTo>
                        <a:lnTo>
                          <a:pt x="3318" y="1884"/>
                        </a:lnTo>
                        <a:lnTo>
                          <a:pt x="3330" y="1884"/>
                        </a:lnTo>
                        <a:lnTo>
                          <a:pt x="3342" y="1866"/>
                        </a:lnTo>
                        <a:lnTo>
                          <a:pt x="3378" y="1854"/>
                        </a:lnTo>
                        <a:lnTo>
                          <a:pt x="3396" y="1836"/>
                        </a:lnTo>
                        <a:lnTo>
                          <a:pt x="3402" y="1836"/>
                        </a:lnTo>
                        <a:lnTo>
                          <a:pt x="3408" y="1842"/>
                        </a:lnTo>
                        <a:lnTo>
                          <a:pt x="3408" y="1860"/>
                        </a:lnTo>
                        <a:lnTo>
                          <a:pt x="3396" y="1872"/>
                        </a:lnTo>
                        <a:lnTo>
                          <a:pt x="3390" y="1872"/>
                        </a:lnTo>
                        <a:lnTo>
                          <a:pt x="3426" y="1890"/>
                        </a:lnTo>
                        <a:lnTo>
                          <a:pt x="3456" y="1902"/>
                        </a:lnTo>
                        <a:lnTo>
                          <a:pt x="3486" y="1920"/>
                        </a:lnTo>
                        <a:lnTo>
                          <a:pt x="3498" y="1926"/>
                        </a:lnTo>
                        <a:lnTo>
                          <a:pt x="3516" y="1938"/>
                        </a:lnTo>
                        <a:lnTo>
                          <a:pt x="3546" y="1968"/>
                        </a:lnTo>
                        <a:lnTo>
                          <a:pt x="3618" y="2028"/>
                        </a:lnTo>
                        <a:lnTo>
                          <a:pt x="3636" y="2052"/>
                        </a:lnTo>
                        <a:lnTo>
                          <a:pt x="3672" y="2088"/>
                        </a:lnTo>
                        <a:lnTo>
                          <a:pt x="3684" y="2106"/>
                        </a:lnTo>
                        <a:lnTo>
                          <a:pt x="3696" y="2118"/>
                        </a:lnTo>
                        <a:lnTo>
                          <a:pt x="3708" y="2124"/>
                        </a:lnTo>
                        <a:lnTo>
                          <a:pt x="3720" y="2124"/>
                        </a:lnTo>
                        <a:lnTo>
                          <a:pt x="3732" y="2118"/>
                        </a:lnTo>
                        <a:lnTo>
                          <a:pt x="3744" y="2106"/>
                        </a:lnTo>
                        <a:lnTo>
                          <a:pt x="3744" y="2094"/>
                        </a:lnTo>
                        <a:lnTo>
                          <a:pt x="3750" y="2088"/>
                        </a:lnTo>
                        <a:lnTo>
                          <a:pt x="3750" y="2082"/>
                        </a:lnTo>
                        <a:lnTo>
                          <a:pt x="3762" y="2082"/>
                        </a:lnTo>
                        <a:lnTo>
                          <a:pt x="3768" y="2088"/>
                        </a:lnTo>
                        <a:lnTo>
                          <a:pt x="3768" y="2100"/>
                        </a:lnTo>
                        <a:lnTo>
                          <a:pt x="3774" y="2106"/>
                        </a:lnTo>
                        <a:lnTo>
                          <a:pt x="3774" y="2112"/>
                        </a:lnTo>
                        <a:lnTo>
                          <a:pt x="3804" y="2112"/>
                        </a:lnTo>
                        <a:lnTo>
                          <a:pt x="3816" y="2118"/>
                        </a:lnTo>
                        <a:lnTo>
                          <a:pt x="3822" y="2130"/>
                        </a:lnTo>
                        <a:lnTo>
                          <a:pt x="3834" y="2136"/>
                        </a:lnTo>
                        <a:lnTo>
                          <a:pt x="3858" y="2136"/>
                        </a:lnTo>
                        <a:lnTo>
                          <a:pt x="3864" y="2124"/>
                        </a:lnTo>
                        <a:lnTo>
                          <a:pt x="3876" y="2118"/>
                        </a:lnTo>
                        <a:lnTo>
                          <a:pt x="3894" y="2112"/>
                        </a:lnTo>
                        <a:lnTo>
                          <a:pt x="3906" y="2106"/>
                        </a:lnTo>
                        <a:lnTo>
                          <a:pt x="3924" y="2106"/>
                        </a:lnTo>
                        <a:lnTo>
                          <a:pt x="3948" y="2118"/>
                        </a:lnTo>
                        <a:lnTo>
                          <a:pt x="3972" y="2142"/>
                        </a:lnTo>
                        <a:lnTo>
                          <a:pt x="3984" y="2148"/>
                        </a:lnTo>
                        <a:lnTo>
                          <a:pt x="3990" y="2160"/>
                        </a:lnTo>
                        <a:lnTo>
                          <a:pt x="4002" y="2160"/>
                        </a:lnTo>
                        <a:lnTo>
                          <a:pt x="4014" y="2166"/>
                        </a:lnTo>
                        <a:lnTo>
                          <a:pt x="4026" y="2166"/>
                        </a:lnTo>
                        <a:lnTo>
                          <a:pt x="4038" y="2172"/>
                        </a:lnTo>
                        <a:lnTo>
                          <a:pt x="4044" y="2172"/>
                        </a:lnTo>
                        <a:lnTo>
                          <a:pt x="4044" y="2178"/>
                        </a:lnTo>
                        <a:lnTo>
                          <a:pt x="4050" y="2190"/>
                        </a:lnTo>
                        <a:lnTo>
                          <a:pt x="4056" y="2196"/>
                        </a:lnTo>
                        <a:lnTo>
                          <a:pt x="4062" y="2208"/>
                        </a:lnTo>
                        <a:lnTo>
                          <a:pt x="4068" y="2214"/>
                        </a:lnTo>
                        <a:lnTo>
                          <a:pt x="4068" y="2220"/>
                        </a:lnTo>
                        <a:lnTo>
                          <a:pt x="4140" y="2226"/>
                        </a:lnTo>
                        <a:lnTo>
                          <a:pt x="4152" y="2190"/>
                        </a:lnTo>
                        <a:lnTo>
                          <a:pt x="4176" y="2214"/>
                        </a:lnTo>
                        <a:lnTo>
                          <a:pt x="4212" y="2256"/>
                        </a:lnTo>
                        <a:lnTo>
                          <a:pt x="4254" y="2256"/>
                        </a:lnTo>
                        <a:lnTo>
                          <a:pt x="4266" y="2244"/>
                        </a:lnTo>
                        <a:lnTo>
                          <a:pt x="4266" y="2226"/>
                        </a:lnTo>
                        <a:lnTo>
                          <a:pt x="4326" y="2226"/>
                        </a:lnTo>
                        <a:lnTo>
                          <a:pt x="4320" y="2214"/>
                        </a:lnTo>
                        <a:lnTo>
                          <a:pt x="4344" y="2214"/>
                        </a:lnTo>
                        <a:lnTo>
                          <a:pt x="4338" y="2208"/>
                        </a:lnTo>
                        <a:lnTo>
                          <a:pt x="4338" y="2202"/>
                        </a:lnTo>
                        <a:lnTo>
                          <a:pt x="4374" y="2166"/>
                        </a:lnTo>
                        <a:lnTo>
                          <a:pt x="4392" y="2166"/>
                        </a:lnTo>
                        <a:lnTo>
                          <a:pt x="4404" y="2148"/>
                        </a:lnTo>
                        <a:lnTo>
                          <a:pt x="4428" y="2148"/>
                        </a:lnTo>
                        <a:lnTo>
                          <a:pt x="4428" y="2142"/>
                        </a:lnTo>
                        <a:lnTo>
                          <a:pt x="4434" y="2136"/>
                        </a:lnTo>
                        <a:lnTo>
                          <a:pt x="4434" y="2130"/>
                        </a:lnTo>
                        <a:lnTo>
                          <a:pt x="4440" y="2124"/>
                        </a:lnTo>
                        <a:lnTo>
                          <a:pt x="4458" y="2124"/>
                        </a:lnTo>
                        <a:lnTo>
                          <a:pt x="4464" y="2130"/>
                        </a:lnTo>
                        <a:lnTo>
                          <a:pt x="4482" y="2124"/>
                        </a:lnTo>
                        <a:lnTo>
                          <a:pt x="4482" y="2130"/>
                        </a:lnTo>
                        <a:lnTo>
                          <a:pt x="4518" y="2130"/>
                        </a:lnTo>
                        <a:lnTo>
                          <a:pt x="4524" y="2148"/>
                        </a:lnTo>
                        <a:lnTo>
                          <a:pt x="4548" y="2148"/>
                        </a:lnTo>
                        <a:lnTo>
                          <a:pt x="4566" y="2142"/>
                        </a:lnTo>
                        <a:lnTo>
                          <a:pt x="4608" y="2142"/>
                        </a:lnTo>
                        <a:lnTo>
                          <a:pt x="4608" y="2148"/>
                        </a:lnTo>
                        <a:lnTo>
                          <a:pt x="4614" y="2154"/>
                        </a:lnTo>
                        <a:lnTo>
                          <a:pt x="4614" y="2166"/>
                        </a:lnTo>
                        <a:lnTo>
                          <a:pt x="4620" y="2172"/>
                        </a:lnTo>
                        <a:lnTo>
                          <a:pt x="4638" y="2178"/>
                        </a:lnTo>
                        <a:lnTo>
                          <a:pt x="4668" y="2178"/>
                        </a:lnTo>
                        <a:lnTo>
                          <a:pt x="4674" y="2190"/>
                        </a:lnTo>
                        <a:lnTo>
                          <a:pt x="4698" y="2184"/>
                        </a:lnTo>
                        <a:lnTo>
                          <a:pt x="4704" y="2196"/>
                        </a:lnTo>
                        <a:lnTo>
                          <a:pt x="4704" y="2190"/>
                        </a:lnTo>
                        <a:lnTo>
                          <a:pt x="4710" y="2184"/>
                        </a:lnTo>
                        <a:lnTo>
                          <a:pt x="4752" y="2184"/>
                        </a:lnTo>
                        <a:lnTo>
                          <a:pt x="4752" y="2196"/>
                        </a:lnTo>
                        <a:lnTo>
                          <a:pt x="4800" y="2190"/>
                        </a:lnTo>
                        <a:lnTo>
                          <a:pt x="4800" y="2202"/>
                        </a:lnTo>
                        <a:lnTo>
                          <a:pt x="4806" y="2208"/>
                        </a:lnTo>
                        <a:lnTo>
                          <a:pt x="4830" y="2196"/>
                        </a:lnTo>
                        <a:lnTo>
                          <a:pt x="4836" y="2190"/>
                        </a:lnTo>
                        <a:lnTo>
                          <a:pt x="4836" y="2184"/>
                        </a:lnTo>
                        <a:lnTo>
                          <a:pt x="4854" y="2184"/>
                        </a:lnTo>
                        <a:lnTo>
                          <a:pt x="4854" y="2160"/>
                        </a:lnTo>
                        <a:lnTo>
                          <a:pt x="4848" y="2148"/>
                        </a:lnTo>
                        <a:lnTo>
                          <a:pt x="4842" y="2142"/>
                        </a:lnTo>
                        <a:lnTo>
                          <a:pt x="4836" y="2142"/>
                        </a:lnTo>
                        <a:lnTo>
                          <a:pt x="4812" y="2106"/>
                        </a:lnTo>
                        <a:lnTo>
                          <a:pt x="4806" y="2088"/>
                        </a:lnTo>
                        <a:lnTo>
                          <a:pt x="4794" y="2076"/>
                        </a:lnTo>
                        <a:lnTo>
                          <a:pt x="4794" y="2064"/>
                        </a:lnTo>
                        <a:lnTo>
                          <a:pt x="4812" y="2064"/>
                        </a:lnTo>
                        <a:lnTo>
                          <a:pt x="4806" y="2052"/>
                        </a:lnTo>
                        <a:lnTo>
                          <a:pt x="4812" y="2052"/>
                        </a:lnTo>
                        <a:lnTo>
                          <a:pt x="4824" y="2046"/>
                        </a:lnTo>
                        <a:lnTo>
                          <a:pt x="4830" y="2034"/>
                        </a:lnTo>
                        <a:lnTo>
                          <a:pt x="4830" y="2016"/>
                        </a:lnTo>
                        <a:lnTo>
                          <a:pt x="4890" y="2046"/>
                        </a:lnTo>
                        <a:lnTo>
                          <a:pt x="4902" y="2046"/>
                        </a:lnTo>
                        <a:lnTo>
                          <a:pt x="4926" y="2052"/>
                        </a:lnTo>
                        <a:lnTo>
                          <a:pt x="4962" y="2052"/>
                        </a:lnTo>
                        <a:lnTo>
                          <a:pt x="4974" y="2058"/>
                        </a:lnTo>
                        <a:lnTo>
                          <a:pt x="4980" y="2064"/>
                        </a:lnTo>
                        <a:lnTo>
                          <a:pt x="5004" y="2076"/>
                        </a:lnTo>
                        <a:lnTo>
                          <a:pt x="5010" y="2076"/>
                        </a:lnTo>
                        <a:lnTo>
                          <a:pt x="5022" y="2070"/>
                        </a:lnTo>
                        <a:lnTo>
                          <a:pt x="5040" y="2070"/>
                        </a:lnTo>
                        <a:lnTo>
                          <a:pt x="5052" y="2076"/>
                        </a:lnTo>
                        <a:lnTo>
                          <a:pt x="5058" y="2082"/>
                        </a:lnTo>
                        <a:lnTo>
                          <a:pt x="5064" y="2094"/>
                        </a:lnTo>
                        <a:lnTo>
                          <a:pt x="5076" y="2106"/>
                        </a:lnTo>
                        <a:lnTo>
                          <a:pt x="5088" y="2130"/>
                        </a:lnTo>
                        <a:lnTo>
                          <a:pt x="5094" y="2136"/>
                        </a:lnTo>
                        <a:lnTo>
                          <a:pt x="5094" y="2142"/>
                        </a:lnTo>
                        <a:lnTo>
                          <a:pt x="5118" y="2136"/>
                        </a:lnTo>
                        <a:lnTo>
                          <a:pt x="5118" y="2142"/>
                        </a:lnTo>
                        <a:lnTo>
                          <a:pt x="5136" y="2160"/>
                        </a:lnTo>
                        <a:lnTo>
                          <a:pt x="5166" y="2160"/>
                        </a:lnTo>
                        <a:lnTo>
                          <a:pt x="5172" y="2166"/>
                        </a:lnTo>
                        <a:lnTo>
                          <a:pt x="5184" y="2166"/>
                        </a:lnTo>
                        <a:lnTo>
                          <a:pt x="5196" y="2172"/>
                        </a:lnTo>
                        <a:lnTo>
                          <a:pt x="5208" y="2172"/>
                        </a:lnTo>
                        <a:lnTo>
                          <a:pt x="5220" y="2166"/>
                        </a:lnTo>
                        <a:lnTo>
                          <a:pt x="5274" y="2148"/>
                        </a:lnTo>
                        <a:lnTo>
                          <a:pt x="5322" y="2148"/>
                        </a:lnTo>
                        <a:lnTo>
                          <a:pt x="5334" y="2154"/>
                        </a:lnTo>
                        <a:lnTo>
                          <a:pt x="5340" y="2154"/>
                        </a:lnTo>
                        <a:lnTo>
                          <a:pt x="5346" y="2160"/>
                        </a:lnTo>
                        <a:lnTo>
                          <a:pt x="5382" y="2160"/>
                        </a:lnTo>
                        <a:lnTo>
                          <a:pt x="5406" y="2184"/>
                        </a:lnTo>
                        <a:lnTo>
                          <a:pt x="5466" y="2184"/>
                        </a:lnTo>
                        <a:lnTo>
                          <a:pt x="5472" y="2190"/>
                        </a:lnTo>
                        <a:lnTo>
                          <a:pt x="5472" y="2196"/>
                        </a:lnTo>
                        <a:lnTo>
                          <a:pt x="5484" y="2208"/>
                        </a:lnTo>
                        <a:lnTo>
                          <a:pt x="5484" y="2214"/>
                        </a:lnTo>
                        <a:lnTo>
                          <a:pt x="5502" y="2214"/>
                        </a:lnTo>
                        <a:lnTo>
                          <a:pt x="5514" y="2220"/>
                        </a:lnTo>
                        <a:lnTo>
                          <a:pt x="5514" y="2232"/>
                        </a:lnTo>
                        <a:lnTo>
                          <a:pt x="5520" y="2238"/>
                        </a:lnTo>
                        <a:lnTo>
                          <a:pt x="5586" y="2238"/>
                        </a:lnTo>
                        <a:lnTo>
                          <a:pt x="5592" y="2244"/>
                        </a:lnTo>
                        <a:lnTo>
                          <a:pt x="5598" y="2244"/>
                        </a:lnTo>
                        <a:lnTo>
                          <a:pt x="5610" y="2250"/>
                        </a:lnTo>
                        <a:lnTo>
                          <a:pt x="5634" y="2250"/>
                        </a:lnTo>
                        <a:lnTo>
                          <a:pt x="5646" y="2244"/>
                        </a:lnTo>
                        <a:lnTo>
                          <a:pt x="5664" y="2244"/>
                        </a:lnTo>
                        <a:lnTo>
                          <a:pt x="5670" y="2250"/>
                        </a:lnTo>
                        <a:lnTo>
                          <a:pt x="5670" y="2256"/>
                        </a:lnTo>
                        <a:lnTo>
                          <a:pt x="5676" y="2256"/>
                        </a:lnTo>
                        <a:lnTo>
                          <a:pt x="5694" y="2238"/>
                        </a:lnTo>
                        <a:lnTo>
                          <a:pt x="5694" y="2232"/>
                        </a:lnTo>
                        <a:lnTo>
                          <a:pt x="5742" y="2232"/>
                        </a:lnTo>
                        <a:lnTo>
                          <a:pt x="5754" y="2220"/>
                        </a:lnTo>
                        <a:lnTo>
                          <a:pt x="5790" y="2220"/>
                        </a:lnTo>
                        <a:lnTo>
                          <a:pt x="5802" y="2208"/>
                        </a:lnTo>
                        <a:lnTo>
                          <a:pt x="5802" y="2196"/>
                        </a:lnTo>
                        <a:lnTo>
                          <a:pt x="5832" y="2166"/>
                        </a:lnTo>
                        <a:lnTo>
                          <a:pt x="5850" y="2166"/>
                        </a:lnTo>
                        <a:lnTo>
                          <a:pt x="5862" y="2172"/>
                        </a:lnTo>
                        <a:lnTo>
                          <a:pt x="5898" y="2172"/>
                        </a:lnTo>
                        <a:lnTo>
                          <a:pt x="5916" y="2190"/>
                        </a:lnTo>
                        <a:lnTo>
                          <a:pt x="5928" y="2196"/>
                        </a:lnTo>
                        <a:lnTo>
                          <a:pt x="5952" y="2196"/>
                        </a:lnTo>
                        <a:lnTo>
                          <a:pt x="5964" y="2190"/>
                        </a:lnTo>
                        <a:lnTo>
                          <a:pt x="5970" y="2184"/>
                        </a:lnTo>
                        <a:lnTo>
                          <a:pt x="5994" y="2190"/>
                        </a:lnTo>
                        <a:lnTo>
                          <a:pt x="6012" y="2190"/>
                        </a:lnTo>
                        <a:lnTo>
                          <a:pt x="6048" y="2214"/>
                        </a:lnTo>
                        <a:lnTo>
                          <a:pt x="6084" y="2214"/>
                        </a:lnTo>
                        <a:lnTo>
                          <a:pt x="6090" y="2220"/>
                        </a:lnTo>
                        <a:lnTo>
                          <a:pt x="6102" y="2220"/>
                        </a:lnTo>
                        <a:lnTo>
                          <a:pt x="6120" y="2202"/>
                        </a:lnTo>
                        <a:lnTo>
                          <a:pt x="6120" y="2190"/>
                        </a:lnTo>
                        <a:lnTo>
                          <a:pt x="6144" y="2190"/>
                        </a:lnTo>
                        <a:lnTo>
                          <a:pt x="6156" y="2184"/>
                        </a:lnTo>
                        <a:lnTo>
                          <a:pt x="6162" y="2178"/>
                        </a:lnTo>
                        <a:lnTo>
                          <a:pt x="6162" y="2166"/>
                        </a:lnTo>
                        <a:lnTo>
                          <a:pt x="6150" y="2166"/>
                        </a:lnTo>
                        <a:lnTo>
                          <a:pt x="6144" y="2160"/>
                        </a:lnTo>
                        <a:lnTo>
                          <a:pt x="6138" y="2118"/>
                        </a:lnTo>
                        <a:lnTo>
                          <a:pt x="6138" y="2046"/>
                        </a:lnTo>
                        <a:lnTo>
                          <a:pt x="6156" y="2028"/>
                        </a:lnTo>
                        <a:lnTo>
                          <a:pt x="6156" y="2016"/>
                        </a:lnTo>
                        <a:lnTo>
                          <a:pt x="6150" y="2010"/>
                        </a:lnTo>
                        <a:lnTo>
                          <a:pt x="6138" y="2004"/>
                        </a:lnTo>
                        <a:lnTo>
                          <a:pt x="6126" y="1992"/>
                        </a:lnTo>
                        <a:lnTo>
                          <a:pt x="6114" y="1992"/>
                        </a:lnTo>
                        <a:lnTo>
                          <a:pt x="6108" y="1986"/>
                        </a:lnTo>
                        <a:lnTo>
                          <a:pt x="6096" y="1986"/>
                        </a:lnTo>
                        <a:lnTo>
                          <a:pt x="6078" y="1980"/>
                        </a:lnTo>
                        <a:lnTo>
                          <a:pt x="6072" y="1980"/>
                        </a:lnTo>
                        <a:lnTo>
                          <a:pt x="6072" y="1968"/>
                        </a:lnTo>
                        <a:lnTo>
                          <a:pt x="6078" y="1968"/>
                        </a:lnTo>
                        <a:lnTo>
                          <a:pt x="6120" y="1926"/>
                        </a:lnTo>
                        <a:lnTo>
                          <a:pt x="6156" y="1920"/>
                        </a:lnTo>
                        <a:lnTo>
                          <a:pt x="6162" y="1908"/>
                        </a:lnTo>
                        <a:lnTo>
                          <a:pt x="6204" y="1914"/>
                        </a:lnTo>
                        <a:lnTo>
                          <a:pt x="6258" y="1902"/>
                        </a:lnTo>
                        <a:lnTo>
                          <a:pt x="6294" y="1920"/>
                        </a:lnTo>
                        <a:lnTo>
                          <a:pt x="6330" y="1944"/>
                        </a:lnTo>
                        <a:lnTo>
                          <a:pt x="6402" y="1944"/>
                        </a:lnTo>
                        <a:lnTo>
                          <a:pt x="6408" y="1950"/>
                        </a:lnTo>
                        <a:lnTo>
                          <a:pt x="6420" y="1956"/>
                        </a:lnTo>
                        <a:lnTo>
                          <a:pt x="6426" y="1962"/>
                        </a:lnTo>
                        <a:lnTo>
                          <a:pt x="6438" y="1968"/>
                        </a:lnTo>
                        <a:lnTo>
                          <a:pt x="6438" y="1980"/>
                        </a:lnTo>
                        <a:lnTo>
                          <a:pt x="6444" y="1980"/>
                        </a:lnTo>
                        <a:lnTo>
                          <a:pt x="6456" y="1992"/>
                        </a:lnTo>
                        <a:lnTo>
                          <a:pt x="6468" y="1998"/>
                        </a:lnTo>
                        <a:lnTo>
                          <a:pt x="6480" y="2010"/>
                        </a:lnTo>
                        <a:lnTo>
                          <a:pt x="6492" y="2010"/>
                        </a:lnTo>
                        <a:lnTo>
                          <a:pt x="6498" y="2016"/>
                        </a:lnTo>
                        <a:lnTo>
                          <a:pt x="6504" y="2016"/>
                        </a:lnTo>
                        <a:lnTo>
                          <a:pt x="6510" y="2046"/>
                        </a:lnTo>
                        <a:lnTo>
                          <a:pt x="6558" y="2070"/>
                        </a:lnTo>
                        <a:lnTo>
                          <a:pt x="6570" y="2100"/>
                        </a:lnTo>
                        <a:lnTo>
                          <a:pt x="6582" y="2100"/>
                        </a:lnTo>
                        <a:lnTo>
                          <a:pt x="6630" y="2124"/>
                        </a:lnTo>
                        <a:lnTo>
                          <a:pt x="6636" y="2136"/>
                        </a:lnTo>
                        <a:lnTo>
                          <a:pt x="6654" y="2154"/>
                        </a:lnTo>
                        <a:lnTo>
                          <a:pt x="6660" y="2166"/>
                        </a:lnTo>
                        <a:lnTo>
                          <a:pt x="6672" y="2166"/>
                        </a:lnTo>
                        <a:lnTo>
                          <a:pt x="6678" y="2190"/>
                        </a:lnTo>
                        <a:lnTo>
                          <a:pt x="6684" y="2190"/>
                        </a:lnTo>
                        <a:lnTo>
                          <a:pt x="6690" y="2196"/>
                        </a:lnTo>
                        <a:lnTo>
                          <a:pt x="6714" y="2208"/>
                        </a:lnTo>
                        <a:lnTo>
                          <a:pt x="6720" y="2214"/>
                        </a:lnTo>
                        <a:lnTo>
                          <a:pt x="6732" y="2220"/>
                        </a:lnTo>
                        <a:lnTo>
                          <a:pt x="6780" y="2220"/>
                        </a:lnTo>
                        <a:lnTo>
                          <a:pt x="6792" y="2226"/>
                        </a:lnTo>
                        <a:lnTo>
                          <a:pt x="6798" y="2232"/>
                        </a:lnTo>
                        <a:lnTo>
                          <a:pt x="6810" y="2238"/>
                        </a:lnTo>
                        <a:lnTo>
                          <a:pt x="6822" y="2226"/>
                        </a:lnTo>
                        <a:lnTo>
                          <a:pt x="6834" y="2226"/>
                        </a:lnTo>
                        <a:lnTo>
                          <a:pt x="6852" y="2244"/>
                        </a:lnTo>
                        <a:lnTo>
                          <a:pt x="6864" y="2250"/>
                        </a:lnTo>
                        <a:lnTo>
                          <a:pt x="6882" y="2268"/>
                        </a:lnTo>
                        <a:lnTo>
                          <a:pt x="6924" y="2268"/>
                        </a:lnTo>
                        <a:lnTo>
                          <a:pt x="6942" y="2298"/>
                        </a:lnTo>
                        <a:lnTo>
                          <a:pt x="6960" y="2298"/>
                        </a:lnTo>
                        <a:lnTo>
                          <a:pt x="6966" y="2304"/>
                        </a:lnTo>
                        <a:lnTo>
                          <a:pt x="6966" y="2310"/>
                        </a:lnTo>
                        <a:lnTo>
                          <a:pt x="6972" y="2322"/>
                        </a:lnTo>
                        <a:lnTo>
                          <a:pt x="6972" y="2334"/>
                        </a:lnTo>
                        <a:lnTo>
                          <a:pt x="7014" y="2364"/>
                        </a:lnTo>
                        <a:lnTo>
                          <a:pt x="7038" y="2358"/>
                        </a:lnTo>
                        <a:lnTo>
                          <a:pt x="7050" y="2370"/>
                        </a:lnTo>
                        <a:lnTo>
                          <a:pt x="7068" y="2370"/>
                        </a:lnTo>
                        <a:lnTo>
                          <a:pt x="7068" y="2358"/>
                        </a:lnTo>
                        <a:lnTo>
                          <a:pt x="7098" y="2364"/>
                        </a:lnTo>
                        <a:lnTo>
                          <a:pt x="7098" y="2346"/>
                        </a:lnTo>
                        <a:lnTo>
                          <a:pt x="7104" y="2340"/>
                        </a:lnTo>
                        <a:lnTo>
                          <a:pt x="7110" y="2340"/>
                        </a:lnTo>
                        <a:lnTo>
                          <a:pt x="7122" y="2334"/>
                        </a:lnTo>
                        <a:lnTo>
                          <a:pt x="7152" y="2334"/>
                        </a:lnTo>
                        <a:lnTo>
                          <a:pt x="7158" y="2310"/>
                        </a:lnTo>
                        <a:lnTo>
                          <a:pt x="7200" y="2310"/>
                        </a:lnTo>
                        <a:lnTo>
                          <a:pt x="7212" y="2316"/>
                        </a:lnTo>
                        <a:lnTo>
                          <a:pt x="7218" y="2328"/>
                        </a:lnTo>
                        <a:lnTo>
                          <a:pt x="7218" y="2346"/>
                        </a:lnTo>
                        <a:lnTo>
                          <a:pt x="7242" y="2358"/>
                        </a:lnTo>
                        <a:lnTo>
                          <a:pt x="7242" y="2388"/>
                        </a:lnTo>
                        <a:lnTo>
                          <a:pt x="7224" y="2394"/>
                        </a:lnTo>
                        <a:lnTo>
                          <a:pt x="7236" y="2412"/>
                        </a:lnTo>
                        <a:lnTo>
                          <a:pt x="7236" y="2430"/>
                        </a:lnTo>
                        <a:lnTo>
                          <a:pt x="7248" y="2442"/>
                        </a:lnTo>
                        <a:lnTo>
                          <a:pt x="7248" y="2466"/>
                        </a:lnTo>
                        <a:lnTo>
                          <a:pt x="7266" y="2472"/>
                        </a:lnTo>
                        <a:lnTo>
                          <a:pt x="7260" y="2502"/>
                        </a:lnTo>
                        <a:lnTo>
                          <a:pt x="7266" y="2526"/>
                        </a:lnTo>
                        <a:lnTo>
                          <a:pt x="7260" y="2532"/>
                        </a:lnTo>
                        <a:lnTo>
                          <a:pt x="7254" y="2532"/>
                        </a:lnTo>
                        <a:lnTo>
                          <a:pt x="7254" y="2550"/>
                        </a:lnTo>
                        <a:lnTo>
                          <a:pt x="7260" y="2562"/>
                        </a:lnTo>
                        <a:lnTo>
                          <a:pt x="7260" y="2574"/>
                        </a:lnTo>
                        <a:lnTo>
                          <a:pt x="7254" y="2580"/>
                        </a:lnTo>
                        <a:lnTo>
                          <a:pt x="7248" y="2580"/>
                        </a:lnTo>
                        <a:lnTo>
                          <a:pt x="7236" y="2574"/>
                        </a:lnTo>
                        <a:lnTo>
                          <a:pt x="7224" y="2574"/>
                        </a:lnTo>
                        <a:lnTo>
                          <a:pt x="7206" y="2568"/>
                        </a:lnTo>
                        <a:lnTo>
                          <a:pt x="7194" y="2562"/>
                        </a:lnTo>
                        <a:lnTo>
                          <a:pt x="7170" y="2562"/>
                        </a:lnTo>
                        <a:lnTo>
                          <a:pt x="7164" y="2568"/>
                        </a:lnTo>
                        <a:lnTo>
                          <a:pt x="7170" y="2574"/>
                        </a:lnTo>
                        <a:lnTo>
                          <a:pt x="7170" y="2586"/>
                        </a:lnTo>
                        <a:lnTo>
                          <a:pt x="7146" y="2586"/>
                        </a:lnTo>
                        <a:lnTo>
                          <a:pt x="7146" y="2598"/>
                        </a:lnTo>
                        <a:lnTo>
                          <a:pt x="7152" y="2610"/>
                        </a:lnTo>
                        <a:lnTo>
                          <a:pt x="7158" y="2610"/>
                        </a:lnTo>
                        <a:lnTo>
                          <a:pt x="7170" y="2622"/>
                        </a:lnTo>
                        <a:lnTo>
                          <a:pt x="7182" y="2628"/>
                        </a:lnTo>
                        <a:lnTo>
                          <a:pt x="7194" y="2646"/>
                        </a:lnTo>
                        <a:lnTo>
                          <a:pt x="7206" y="2658"/>
                        </a:lnTo>
                        <a:lnTo>
                          <a:pt x="7212" y="2676"/>
                        </a:lnTo>
                        <a:lnTo>
                          <a:pt x="7212" y="2688"/>
                        </a:lnTo>
                        <a:lnTo>
                          <a:pt x="7224" y="2700"/>
                        </a:lnTo>
                        <a:lnTo>
                          <a:pt x="7230" y="2712"/>
                        </a:lnTo>
                        <a:lnTo>
                          <a:pt x="7236" y="2748"/>
                        </a:lnTo>
                        <a:lnTo>
                          <a:pt x="7206" y="2742"/>
                        </a:lnTo>
                        <a:lnTo>
                          <a:pt x="7200" y="2766"/>
                        </a:lnTo>
                        <a:lnTo>
                          <a:pt x="7224" y="2778"/>
                        </a:lnTo>
                        <a:lnTo>
                          <a:pt x="7260" y="2778"/>
                        </a:lnTo>
                        <a:lnTo>
                          <a:pt x="7260" y="2718"/>
                        </a:lnTo>
                        <a:lnTo>
                          <a:pt x="7266" y="2712"/>
                        </a:lnTo>
                        <a:lnTo>
                          <a:pt x="7272" y="2712"/>
                        </a:lnTo>
                        <a:lnTo>
                          <a:pt x="7284" y="2718"/>
                        </a:lnTo>
                        <a:lnTo>
                          <a:pt x="7290" y="2724"/>
                        </a:lnTo>
                        <a:lnTo>
                          <a:pt x="7302" y="2712"/>
                        </a:lnTo>
                        <a:lnTo>
                          <a:pt x="7308" y="2724"/>
                        </a:lnTo>
                        <a:lnTo>
                          <a:pt x="7314" y="2730"/>
                        </a:lnTo>
                        <a:lnTo>
                          <a:pt x="7320" y="2742"/>
                        </a:lnTo>
                        <a:lnTo>
                          <a:pt x="7332" y="2754"/>
                        </a:lnTo>
                        <a:lnTo>
                          <a:pt x="7344" y="2754"/>
                        </a:lnTo>
                        <a:lnTo>
                          <a:pt x="7356" y="2748"/>
                        </a:lnTo>
                        <a:lnTo>
                          <a:pt x="7368" y="2748"/>
                        </a:lnTo>
                        <a:lnTo>
                          <a:pt x="7374" y="2742"/>
                        </a:lnTo>
                        <a:lnTo>
                          <a:pt x="7380" y="2742"/>
                        </a:lnTo>
                        <a:lnTo>
                          <a:pt x="7380" y="2760"/>
                        </a:lnTo>
                        <a:lnTo>
                          <a:pt x="7386" y="2760"/>
                        </a:lnTo>
                        <a:lnTo>
                          <a:pt x="7392" y="2754"/>
                        </a:lnTo>
                        <a:lnTo>
                          <a:pt x="7404" y="2748"/>
                        </a:lnTo>
                        <a:lnTo>
                          <a:pt x="7422" y="2742"/>
                        </a:lnTo>
                        <a:lnTo>
                          <a:pt x="7440" y="2730"/>
                        </a:lnTo>
                        <a:lnTo>
                          <a:pt x="7452" y="2724"/>
                        </a:lnTo>
                        <a:lnTo>
                          <a:pt x="7464" y="2700"/>
                        </a:lnTo>
                        <a:lnTo>
                          <a:pt x="7464" y="2682"/>
                        </a:lnTo>
                        <a:lnTo>
                          <a:pt x="7470" y="2664"/>
                        </a:lnTo>
                        <a:lnTo>
                          <a:pt x="7470" y="2628"/>
                        </a:lnTo>
                        <a:lnTo>
                          <a:pt x="7494" y="2622"/>
                        </a:lnTo>
                        <a:lnTo>
                          <a:pt x="7494" y="2562"/>
                        </a:lnTo>
                        <a:lnTo>
                          <a:pt x="7500" y="2550"/>
                        </a:lnTo>
                        <a:lnTo>
                          <a:pt x="7506" y="2544"/>
                        </a:lnTo>
                        <a:lnTo>
                          <a:pt x="7518" y="2520"/>
                        </a:lnTo>
                        <a:lnTo>
                          <a:pt x="7518" y="2490"/>
                        </a:lnTo>
                        <a:lnTo>
                          <a:pt x="7524" y="2472"/>
                        </a:lnTo>
                        <a:lnTo>
                          <a:pt x="7524" y="2454"/>
                        </a:lnTo>
                        <a:lnTo>
                          <a:pt x="7518" y="2442"/>
                        </a:lnTo>
                        <a:lnTo>
                          <a:pt x="7518" y="2424"/>
                        </a:lnTo>
                        <a:lnTo>
                          <a:pt x="7512" y="2418"/>
                        </a:lnTo>
                        <a:lnTo>
                          <a:pt x="7512" y="2412"/>
                        </a:lnTo>
                        <a:lnTo>
                          <a:pt x="7518" y="2400"/>
                        </a:lnTo>
                        <a:lnTo>
                          <a:pt x="7524" y="2394"/>
                        </a:lnTo>
                        <a:lnTo>
                          <a:pt x="7524" y="2382"/>
                        </a:lnTo>
                        <a:lnTo>
                          <a:pt x="7530" y="2376"/>
                        </a:lnTo>
                        <a:lnTo>
                          <a:pt x="7530" y="2364"/>
                        </a:lnTo>
                        <a:lnTo>
                          <a:pt x="7524" y="2358"/>
                        </a:lnTo>
                        <a:lnTo>
                          <a:pt x="7518" y="2346"/>
                        </a:lnTo>
                        <a:lnTo>
                          <a:pt x="7524" y="2334"/>
                        </a:lnTo>
                        <a:lnTo>
                          <a:pt x="7530" y="2328"/>
                        </a:lnTo>
                        <a:lnTo>
                          <a:pt x="7536" y="2316"/>
                        </a:lnTo>
                        <a:lnTo>
                          <a:pt x="7536" y="2298"/>
                        </a:lnTo>
                        <a:lnTo>
                          <a:pt x="7530" y="2292"/>
                        </a:lnTo>
                        <a:lnTo>
                          <a:pt x="7530" y="2280"/>
                        </a:lnTo>
                        <a:lnTo>
                          <a:pt x="7518" y="2256"/>
                        </a:lnTo>
                        <a:lnTo>
                          <a:pt x="7512" y="2250"/>
                        </a:lnTo>
                        <a:lnTo>
                          <a:pt x="7512" y="2238"/>
                        </a:lnTo>
                        <a:lnTo>
                          <a:pt x="7506" y="2232"/>
                        </a:lnTo>
                        <a:lnTo>
                          <a:pt x="7506" y="2220"/>
                        </a:lnTo>
                        <a:lnTo>
                          <a:pt x="7500" y="2214"/>
                        </a:lnTo>
                        <a:lnTo>
                          <a:pt x="7500" y="2202"/>
                        </a:lnTo>
                        <a:lnTo>
                          <a:pt x="7494" y="2196"/>
                        </a:lnTo>
                        <a:lnTo>
                          <a:pt x="7482" y="2190"/>
                        </a:lnTo>
                        <a:lnTo>
                          <a:pt x="7476" y="2184"/>
                        </a:lnTo>
                        <a:lnTo>
                          <a:pt x="7482" y="2178"/>
                        </a:lnTo>
                        <a:lnTo>
                          <a:pt x="7476" y="2178"/>
                        </a:lnTo>
                        <a:lnTo>
                          <a:pt x="7470" y="2172"/>
                        </a:lnTo>
                        <a:lnTo>
                          <a:pt x="7458" y="2166"/>
                        </a:lnTo>
                        <a:lnTo>
                          <a:pt x="7446" y="2154"/>
                        </a:lnTo>
                        <a:lnTo>
                          <a:pt x="7440" y="2142"/>
                        </a:lnTo>
                        <a:lnTo>
                          <a:pt x="7434" y="2124"/>
                        </a:lnTo>
                        <a:lnTo>
                          <a:pt x="7434" y="2112"/>
                        </a:lnTo>
                        <a:lnTo>
                          <a:pt x="7428" y="2106"/>
                        </a:lnTo>
                        <a:lnTo>
                          <a:pt x="7428" y="2100"/>
                        </a:lnTo>
                        <a:lnTo>
                          <a:pt x="7416" y="2094"/>
                        </a:lnTo>
                        <a:lnTo>
                          <a:pt x="7416" y="2082"/>
                        </a:lnTo>
                        <a:lnTo>
                          <a:pt x="7422" y="2070"/>
                        </a:lnTo>
                        <a:lnTo>
                          <a:pt x="7422" y="2040"/>
                        </a:lnTo>
                        <a:lnTo>
                          <a:pt x="7410" y="2028"/>
                        </a:lnTo>
                        <a:lnTo>
                          <a:pt x="7404" y="2016"/>
                        </a:lnTo>
                        <a:lnTo>
                          <a:pt x="7398" y="2010"/>
                        </a:lnTo>
                        <a:lnTo>
                          <a:pt x="7380" y="2004"/>
                        </a:lnTo>
                        <a:lnTo>
                          <a:pt x="7380" y="1998"/>
                        </a:lnTo>
                        <a:lnTo>
                          <a:pt x="7374" y="1992"/>
                        </a:lnTo>
                        <a:lnTo>
                          <a:pt x="7368" y="1980"/>
                        </a:lnTo>
                        <a:lnTo>
                          <a:pt x="7356" y="1968"/>
                        </a:lnTo>
                        <a:lnTo>
                          <a:pt x="7344" y="1968"/>
                        </a:lnTo>
                        <a:lnTo>
                          <a:pt x="7332" y="1956"/>
                        </a:lnTo>
                        <a:lnTo>
                          <a:pt x="7326" y="1956"/>
                        </a:lnTo>
                        <a:lnTo>
                          <a:pt x="7308" y="1950"/>
                        </a:lnTo>
                        <a:lnTo>
                          <a:pt x="7302" y="1938"/>
                        </a:lnTo>
                        <a:lnTo>
                          <a:pt x="7308" y="1938"/>
                        </a:lnTo>
                        <a:lnTo>
                          <a:pt x="7314" y="1944"/>
                        </a:lnTo>
                        <a:lnTo>
                          <a:pt x="7326" y="1944"/>
                        </a:lnTo>
                        <a:lnTo>
                          <a:pt x="7332" y="1950"/>
                        </a:lnTo>
                        <a:lnTo>
                          <a:pt x="7344" y="1950"/>
                        </a:lnTo>
                        <a:lnTo>
                          <a:pt x="7350" y="1944"/>
                        </a:lnTo>
                        <a:lnTo>
                          <a:pt x="7350" y="1938"/>
                        </a:lnTo>
                        <a:lnTo>
                          <a:pt x="7344" y="1938"/>
                        </a:lnTo>
                        <a:lnTo>
                          <a:pt x="7332" y="1932"/>
                        </a:lnTo>
                        <a:lnTo>
                          <a:pt x="7326" y="1926"/>
                        </a:lnTo>
                        <a:lnTo>
                          <a:pt x="7320" y="1926"/>
                        </a:lnTo>
                        <a:lnTo>
                          <a:pt x="7242" y="1890"/>
                        </a:lnTo>
                        <a:lnTo>
                          <a:pt x="7236" y="1890"/>
                        </a:lnTo>
                        <a:lnTo>
                          <a:pt x="7230" y="1884"/>
                        </a:lnTo>
                        <a:lnTo>
                          <a:pt x="7218" y="1878"/>
                        </a:lnTo>
                        <a:lnTo>
                          <a:pt x="7206" y="1866"/>
                        </a:lnTo>
                        <a:lnTo>
                          <a:pt x="7194" y="1860"/>
                        </a:lnTo>
                        <a:lnTo>
                          <a:pt x="7188" y="1854"/>
                        </a:lnTo>
                        <a:lnTo>
                          <a:pt x="7170" y="1854"/>
                        </a:lnTo>
                        <a:lnTo>
                          <a:pt x="7164" y="1860"/>
                        </a:lnTo>
                        <a:lnTo>
                          <a:pt x="7152" y="1866"/>
                        </a:lnTo>
                        <a:lnTo>
                          <a:pt x="7116" y="1854"/>
                        </a:lnTo>
                        <a:lnTo>
                          <a:pt x="7152" y="1896"/>
                        </a:lnTo>
                        <a:lnTo>
                          <a:pt x="7146" y="1920"/>
                        </a:lnTo>
                        <a:lnTo>
                          <a:pt x="7134" y="1920"/>
                        </a:lnTo>
                        <a:lnTo>
                          <a:pt x="7134" y="1890"/>
                        </a:lnTo>
                        <a:lnTo>
                          <a:pt x="7116" y="1878"/>
                        </a:lnTo>
                        <a:lnTo>
                          <a:pt x="7116" y="1908"/>
                        </a:lnTo>
                        <a:lnTo>
                          <a:pt x="7068" y="1908"/>
                        </a:lnTo>
                        <a:lnTo>
                          <a:pt x="7074" y="1902"/>
                        </a:lnTo>
                        <a:lnTo>
                          <a:pt x="7074" y="1884"/>
                        </a:lnTo>
                        <a:lnTo>
                          <a:pt x="7068" y="1878"/>
                        </a:lnTo>
                        <a:lnTo>
                          <a:pt x="7044" y="1878"/>
                        </a:lnTo>
                        <a:lnTo>
                          <a:pt x="7038" y="1890"/>
                        </a:lnTo>
                        <a:lnTo>
                          <a:pt x="7014" y="1890"/>
                        </a:lnTo>
                        <a:lnTo>
                          <a:pt x="7002" y="1854"/>
                        </a:lnTo>
                        <a:lnTo>
                          <a:pt x="6996" y="1854"/>
                        </a:lnTo>
                        <a:lnTo>
                          <a:pt x="6984" y="1830"/>
                        </a:lnTo>
                        <a:lnTo>
                          <a:pt x="6912" y="1836"/>
                        </a:lnTo>
                        <a:lnTo>
                          <a:pt x="6906" y="1824"/>
                        </a:lnTo>
                        <a:lnTo>
                          <a:pt x="6882" y="1824"/>
                        </a:lnTo>
                        <a:lnTo>
                          <a:pt x="6870" y="1818"/>
                        </a:lnTo>
                        <a:lnTo>
                          <a:pt x="6864" y="1812"/>
                        </a:lnTo>
                        <a:lnTo>
                          <a:pt x="6864" y="1794"/>
                        </a:lnTo>
                        <a:lnTo>
                          <a:pt x="6876" y="1788"/>
                        </a:lnTo>
                        <a:lnTo>
                          <a:pt x="6888" y="1776"/>
                        </a:lnTo>
                        <a:lnTo>
                          <a:pt x="6900" y="1776"/>
                        </a:lnTo>
                        <a:lnTo>
                          <a:pt x="6900" y="1752"/>
                        </a:lnTo>
                        <a:lnTo>
                          <a:pt x="6906" y="1752"/>
                        </a:lnTo>
                        <a:lnTo>
                          <a:pt x="6918" y="1746"/>
                        </a:lnTo>
                        <a:lnTo>
                          <a:pt x="6930" y="1734"/>
                        </a:lnTo>
                        <a:lnTo>
                          <a:pt x="6930" y="1728"/>
                        </a:lnTo>
                        <a:lnTo>
                          <a:pt x="6936" y="1716"/>
                        </a:lnTo>
                        <a:lnTo>
                          <a:pt x="6936" y="1710"/>
                        </a:lnTo>
                        <a:lnTo>
                          <a:pt x="6942" y="1698"/>
                        </a:lnTo>
                        <a:lnTo>
                          <a:pt x="6930" y="1686"/>
                        </a:lnTo>
                        <a:lnTo>
                          <a:pt x="6942" y="1662"/>
                        </a:lnTo>
                        <a:lnTo>
                          <a:pt x="6930" y="1650"/>
                        </a:lnTo>
                        <a:lnTo>
                          <a:pt x="6948" y="1632"/>
                        </a:lnTo>
                        <a:lnTo>
                          <a:pt x="6972" y="1626"/>
                        </a:lnTo>
                        <a:lnTo>
                          <a:pt x="6960" y="1596"/>
                        </a:lnTo>
                        <a:lnTo>
                          <a:pt x="6984" y="1590"/>
                        </a:lnTo>
                        <a:lnTo>
                          <a:pt x="6960" y="1554"/>
                        </a:lnTo>
                        <a:lnTo>
                          <a:pt x="6990" y="1542"/>
                        </a:lnTo>
                        <a:lnTo>
                          <a:pt x="6990" y="1500"/>
                        </a:lnTo>
                        <a:lnTo>
                          <a:pt x="6996" y="1488"/>
                        </a:lnTo>
                        <a:lnTo>
                          <a:pt x="7002" y="1482"/>
                        </a:lnTo>
                        <a:lnTo>
                          <a:pt x="7020" y="1470"/>
                        </a:lnTo>
                        <a:lnTo>
                          <a:pt x="7032" y="1464"/>
                        </a:lnTo>
                        <a:lnTo>
                          <a:pt x="7050" y="1464"/>
                        </a:lnTo>
                        <a:lnTo>
                          <a:pt x="7068" y="1470"/>
                        </a:lnTo>
                        <a:lnTo>
                          <a:pt x="7188" y="1470"/>
                        </a:lnTo>
                        <a:lnTo>
                          <a:pt x="7206" y="1488"/>
                        </a:lnTo>
                        <a:lnTo>
                          <a:pt x="7224" y="1482"/>
                        </a:lnTo>
                        <a:lnTo>
                          <a:pt x="7218" y="1464"/>
                        </a:lnTo>
                        <a:lnTo>
                          <a:pt x="7290" y="1482"/>
                        </a:lnTo>
                        <a:lnTo>
                          <a:pt x="7320" y="1464"/>
                        </a:lnTo>
                        <a:lnTo>
                          <a:pt x="7350" y="1488"/>
                        </a:lnTo>
                        <a:lnTo>
                          <a:pt x="7356" y="1452"/>
                        </a:lnTo>
                        <a:lnTo>
                          <a:pt x="7434" y="1452"/>
                        </a:lnTo>
                        <a:lnTo>
                          <a:pt x="7446" y="1458"/>
                        </a:lnTo>
                        <a:lnTo>
                          <a:pt x="7452" y="1470"/>
                        </a:lnTo>
                        <a:lnTo>
                          <a:pt x="7458" y="1470"/>
                        </a:lnTo>
                        <a:lnTo>
                          <a:pt x="7464" y="1464"/>
                        </a:lnTo>
                        <a:lnTo>
                          <a:pt x="7476" y="1464"/>
                        </a:lnTo>
                        <a:lnTo>
                          <a:pt x="7482" y="1458"/>
                        </a:lnTo>
                        <a:lnTo>
                          <a:pt x="7494" y="1452"/>
                        </a:lnTo>
                        <a:lnTo>
                          <a:pt x="7518" y="1470"/>
                        </a:lnTo>
                        <a:lnTo>
                          <a:pt x="7560" y="1476"/>
                        </a:lnTo>
                        <a:lnTo>
                          <a:pt x="7506" y="1488"/>
                        </a:lnTo>
                        <a:lnTo>
                          <a:pt x="7506" y="1494"/>
                        </a:lnTo>
                        <a:lnTo>
                          <a:pt x="7512" y="1500"/>
                        </a:lnTo>
                        <a:lnTo>
                          <a:pt x="7524" y="1506"/>
                        </a:lnTo>
                        <a:lnTo>
                          <a:pt x="7530" y="1512"/>
                        </a:lnTo>
                        <a:lnTo>
                          <a:pt x="7542" y="1512"/>
                        </a:lnTo>
                        <a:lnTo>
                          <a:pt x="7548" y="1506"/>
                        </a:lnTo>
                        <a:lnTo>
                          <a:pt x="7560" y="1506"/>
                        </a:lnTo>
                        <a:lnTo>
                          <a:pt x="7572" y="1500"/>
                        </a:lnTo>
                        <a:lnTo>
                          <a:pt x="7578" y="1494"/>
                        </a:lnTo>
                        <a:lnTo>
                          <a:pt x="7584" y="1494"/>
                        </a:lnTo>
                        <a:lnTo>
                          <a:pt x="7614" y="1506"/>
                        </a:lnTo>
                        <a:lnTo>
                          <a:pt x="7638" y="1488"/>
                        </a:lnTo>
                        <a:lnTo>
                          <a:pt x="7644" y="1488"/>
                        </a:lnTo>
                        <a:lnTo>
                          <a:pt x="7650" y="1494"/>
                        </a:lnTo>
                        <a:lnTo>
                          <a:pt x="7686" y="1494"/>
                        </a:lnTo>
                        <a:lnTo>
                          <a:pt x="7692" y="1488"/>
                        </a:lnTo>
                        <a:lnTo>
                          <a:pt x="7692" y="1476"/>
                        </a:lnTo>
                        <a:lnTo>
                          <a:pt x="7728" y="1482"/>
                        </a:lnTo>
                        <a:lnTo>
                          <a:pt x="7680" y="1452"/>
                        </a:lnTo>
                        <a:lnTo>
                          <a:pt x="7650" y="1464"/>
                        </a:lnTo>
                        <a:lnTo>
                          <a:pt x="7644" y="1446"/>
                        </a:lnTo>
                        <a:lnTo>
                          <a:pt x="7638" y="1434"/>
                        </a:lnTo>
                        <a:lnTo>
                          <a:pt x="7632" y="1428"/>
                        </a:lnTo>
                        <a:lnTo>
                          <a:pt x="7626" y="1416"/>
                        </a:lnTo>
                        <a:lnTo>
                          <a:pt x="7626" y="1398"/>
                        </a:lnTo>
                        <a:lnTo>
                          <a:pt x="7650" y="1374"/>
                        </a:lnTo>
                        <a:lnTo>
                          <a:pt x="7644" y="1344"/>
                        </a:lnTo>
                        <a:lnTo>
                          <a:pt x="7662" y="1332"/>
                        </a:lnTo>
                        <a:lnTo>
                          <a:pt x="7650" y="1326"/>
                        </a:lnTo>
                        <a:lnTo>
                          <a:pt x="7638" y="1314"/>
                        </a:lnTo>
                        <a:lnTo>
                          <a:pt x="7638" y="1302"/>
                        </a:lnTo>
                        <a:lnTo>
                          <a:pt x="7644" y="1296"/>
                        </a:lnTo>
                        <a:lnTo>
                          <a:pt x="7662" y="1290"/>
                        </a:lnTo>
                        <a:lnTo>
                          <a:pt x="7698" y="1290"/>
                        </a:lnTo>
                        <a:lnTo>
                          <a:pt x="7710" y="1296"/>
                        </a:lnTo>
                        <a:lnTo>
                          <a:pt x="7728" y="1296"/>
                        </a:lnTo>
                        <a:lnTo>
                          <a:pt x="7746" y="1278"/>
                        </a:lnTo>
                        <a:lnTo>
                          <a:pt x="7782" y="1308"/>
                        </a:lnTo>
                        <a:lnTo>
                          <a:pt x="7806" y="1290"/>
                        </a:lnTo>
                        <a:lnTo>
                          <a:pt x="7812" y="1302"/>
                        </a:lnTo>
                        <a:lnTo>
                          <a:pt x="7818" y="1308"/>
                        </a:lnTo>
                        <a:lnTo>
                          <a:pt x="7830" y="1332"/>
                        </a:lnTo>
                        <a:lnTo>
                          <a:pt x="7830" y="1338"/>
                        </a:lnTo>
                        <a:lnTo>
                          <a:pt x="7836" y="1344"/>
                        </a:lnTo>
                        <a:lnTo>
                          <a:pt x="7878" y="1344"/>
                        </a:lnTo>
                        <a:lnTo>
                          <a:pt x="7878" y="1362"/>
                        </a:lnTo>
                        <a:lnTo>
                          <a:pt x="7884" y="1374"/>
                        </a:lnTo>
                        <a:lnTo>
                          <a:pt x="7890" y="1380"/>
                        </a:lnTo>
                        <a:lnTo>
                          <a:pt x="7896" y="1380"/>
                        </a:lnTo>
                        <a:lnTo>
                          <a:pt x="7914" y="1362"/>
                        </a:lnTo>
                        <a:lnTo>
                          <a:pt x="7932" y="1326"/>
                        </a:lnTo>
                        <a:lnTo>
                          <a:pt x="7938" y="1320"/>
                        </a:lnTo>
                        <a:lnTo>
                          <a:pt x="7938" y="1314"/>
                        </a:lnTo>
                        <a:lnTo>
                          <a:pt x="7962" y="1302"/>
                        </a:lnTo>
                        <a:lnTo>
                          <a:pt x="7992" y="1314"/>
                        </a:lnTo>
                        <a:lnTo>
                          <a:pt x="7986" y="1302"/>
                        </a:lnTo>
                        <a:lnTo>
                          <a:pt x="7962" y="1284"/>
                        </a:lnTo>
                        <a:lnTo>
                          <a:pt x="7956" y="1278"/>
                        </a:lnTo>
                        <a:lnTo>
                          <a:pt x="7932" y="1266"/>
                        </a:lnTo>
                        <a:lnTo>
                          <a:pt x="7926" y="1254"/>
                        </a:lnTo>
                        <a:lnTo>
                          <a:pt x="7914" y="1248"/>
                        </a:lnTo>
                        <a:lnTo>
                          <a:pt x="7908" y="1242"/>
                        </a:lnTo>
                        <a:lnTo>
                          <a:pt x="7908" y="1230"/>
                        </a:lnTo>
                        <a:lnTo>
                          <a:pt x="7962" y="1230"/>
                        </a:lnTo>
                        <a:lnTo>
                          <a:pt x="7992" y="1236"/>
                        </a:lnTo>
                        <a:lnTo>
                          <a:pt x="8052" y="1236"/>
                        </a:lnTo>
                        <a:lnTo>
                          <a:pt x="8052" y="1254"/>
                        </a:lnTo>
                        <a:lnTo>
                          <a:pt x="8040" y="1254"/>
                        </a:lnTo>
                        <a:lnTo>
                          <a:pt x="8028" y="1248"/>
                        </a:lnTo>
                        <a:lnTo>
                          <a:pt x="7992" y="1248"/>
                        </a:lnTo>
                        <a:lnTo>
                          <a:pt x="7992" y="1266"/>
                        </a:lnTo>
                        <a:lnTo>
                          <a:pt x="8016" y="1290"/>
                        </a:lnTo>
                        <a:lnTo>
                          <a:pt x="8028" y="1296"/>
                        </a:lnTo>
                        <a:lnTo>
                          <a:pt x="8034" y="1320"/>
                        </a:lnTo>
                        <a:lnTo>
                          <a:pt x="8064" y="1326"/>
                        </a:lnTo>
                        <a:lnTo>
                          <a:pt x="8058" y="1344"/>
                        </a:lnTo>
                        <a:lnTo>
                          <a:pt x="8076" y="1362"/>
                        </a:lnTo>
                        <a:lnTo>
                          <a:pt x="8046" y="1368"/>
                        </a:lnTo>
                        <a:lnTo>
                          <a:pt x="8040" y="1380"/>
                        </a:lnTo>
                        <a:lnTo>
                          <a:pt x="8022" y="1386"/>
                        </a:lnTo>
                        <a:lnTo>
                          <a:pt x="8028" y="1398"/>
                        </a:lnTo>
                        <a:lnTo>
                          <a:pt x="8028" y="1404"/>
                        </a:lnTo>
                        <a:lnTo>
                          <a:pt x="8034" y="1416"/>
                        </a:lnTo>
                        <a:lnTo>
                          <a:pt x="8034" y="1440"/>
                        </a:lnTo>
                        <a:lnTo>
                          <a:pt x="8028" y="1452"/>
                        </a:lnTo>
                        <a:lnTo>
                          <a:pt x="8016" y="1464"/>
                        </a:lnTo>
                        <a:lnTo>
                          <a:pt x="8004" y="1488"/>
                        </a:lnTo>
                        <a:lnTo>
                          <a:pt x="8004" y="1506"/>
                        </a:lnTo>
                        <a:lnTo>
                          <a:pt x="8010" y="1506"/>
                        </a:lnTo>
                        <a:lnTo>
                          <a:pt x="8016" y="1512"/>
                        </a:lnTo>
                        <a:lnTo>
                          <a:pt x="8022" y="1524"/>
                        </a:lnTo>
                        <a:lnTo>
                          <a:pt x="8016" y="1530"/>
                        </a:lnTo>
                        <a:lnTo>
                          <a:pt x="8010" y="1542"/>
                        </a:lnTo>
                        <a:lnTo>
                          <a:pt x="7986" y="1566"/>
                        </a:lnTo>
                        <a:lnTo>
                          <a:pt x="7974" y="1572"/>
                        </a:lnTo>
                        <a:lnTo>
                          <a:pt x="7968" y="1578"/>
                        </a:lnTo>
                        <a:lnTo>
                          <a:pt x="7962" y="1578"/>
                        </a:lnTo>
                        <a:lnTo>
                          <a:pt x="7962" y="1596"/>
                        </a:lnTo>
                        <a:lnTo>
                          <a:pt x="7944" y="1596"/>
                        </a:lnTo>
                        <a:lnTo>
                          <a:pt x="7950" y="1596"/>
                        </a:lnTo>
                        <a:lnTo>
                          <a:pt x="7956" y="1602"/>
                        </a:lnTo>
                        <a:lnTo>
                          <a:pt x="7968" y="1608"/>
                        </a:lnTo>
                        <a:lnTo>
                          <a:pt x="7980" y="1632"/>
                        </a:lnTo>
                        <a:lnTo>
                          <a:pt x="7974" y="1650"/>
                        </a:lnTo>
                        <a:lnTo>
                          <a:pt x="7974" y="1662"/>
                        </a:lnTo>
                        <a:lnTo>
                          <a:pt x="7968" y="1674"/>
                        </a:lnTo>
                        <a:lnTo>
                          <a:pt x="7968" y="1686"/>
                        </a:lnTo>
                        <a:lnTo>
                          <a:pt x="7974" y="1704"/>
                        </a:lnTo>
                        <a:lnTo>
                          <a:pt x="7992" y="1722"/>
                        </a:lnTo>
                        <a:lnTo>
                          <a:pt x="8016" y="1752"/>
                        </a:lnTo>
                        <a:lnTo>
                          <a:pt x="8046" y="1776"/>
                        </a:lnTo>
                        <a:lnTo>
                          <a:pt x="8070" y="1800"/>
                        </a:lnTo>
                        <a:lnTo>
                          <a:pt x="8082" y="1806"/>
                        </a:lnTo>
                        <a:lnTo>
                          <a:pt x="8142" y="1872"/>
                        </a:lnTo>
                        <a:lnTo>
                          <a:pt x="8154" y="1866"/>
                        </a:lnTo>
                        <a:lnTo>
                          <a:pt x="8238" y="1962"/>
                        </a:lnTo>
                        <a:lnTo>
                          <a:pt x="8286" y="1980"/>
                        </a:lnTo>
                        <a:lnTo>
                          <a:pt x="8310" y="2004"/>
                        </a:lnTo>
                        <a:lnTo>
                          <a:pt x="8316" y="2016"/>
                        </a:lnTo>
                        <a:lnTo>
                          <a:pt x="8328" y="2022"/>
                        </a:lnTo>
                        <a:lnTo>
                          <a:pt x="8334" y="2034"/>
                        </a:lnTo>
                        <a:lnTo>
                          <a:pt x="8388" y="2088"/>
                        </a:lnTo>
                        <a:lnTo>
                          <a:pt x="8406" y="2088"/>
                        </a:lnTo>
                        <a:lnTo>
                          <a:pt x="8406" y="2106"/>
                        </a:lnTo>
                        <a:lnTo>
                          <a:pt x="8418" y="2106"/>
                        </a:lnTo>
                        <a:lnTo>
                          <a:pt x="8430" y="2100"/>
                        </a:lnTo>
                        <a:lnTo>
                          <a:pt x="8436" y="2094"/>
                        </a:lnTo>
                        <a:lnTo>
                          <a:pt x="8442" y="2082"/>
                        </a:lnTo>
                        <a:lnTo>
                          <a:pt x="8442" y="2076"/>
                        </a:lnTo>
                        <a:lnTo>
                          <a:pt x="8430" y="2064"/>
                        </a:lnTo>
                        <a:lnTo>
                          <a:pt x="8436" y="2058"/>
                        </a:lnTo>
                        <a:lnTo>
                          <a:pt x="8442" y="2046"/>
                        </a:lnTo>
                        <a:lnTo>
                          <a:pt x="8448" y="2040"/>
                        </a:lnTo>
                        <a:lnTo>
                          <a:pt x="8448" y="2022"/>
                        </a:lnTo>
                        <a:lnTo>
                          <a:pt x="8430" y="2004"/>
                        </a:lnTo>
                        <a:lnTo>
                          <a:pt x="8418" y="1998"/>
                        </a:lnTo>
                        <a:lnTo>
                          <a:pt x="8406" y="1974"/>
                        </a:lnTo>
                        <a:lnTo>
                          <a:pt x="8406" y="1962"/>
                        </a:lnTo>
                        <a:lnTo>
                          <a:pt x="8412" y="1950"/>
                        </a:lnTo>
                        <a:lnTo>
                          <a:pt x="8430" y="1932"/>
                        </a:lnTo>
                        <a:lnTo>
                          <a:pt x="8442" y="1932"/>
                        </a:lnTo>
                        <a:lnTo>
                          <a:pt x="8454" y="1938"/>
                        </a:lnTo>
                        <a:lnTo>
                          <a:pt x="8460" y="1938"/>
                        </a:lnTo>
                        <a:lnTo>
                          <a:pt x="8466" y="1944"/>
                        </a:lnTo>
                        <a:lnTo>
                          <a:pt x="8472" y="1944"/>
                        </a:lnTo>
                        <a:lnTo>
                          <a:pt x="8466" y="1938"/>
                        </a:lnTo>
                        <a:lnTo>
                          <a:pt x="8460" y="1926"/>
                        </a:lnTo>
                        <a:lnTo>
                          <a:pt x="8448" y="1920"/>
                        </a:lnTo>
                        <a:lnTo>
                          <a:pt x="8442" y="1908"/>
                        </a:lnTo>
                        <a:lnTo>
                          <a:pt x="8424" y="1890"/>
                        </a:lnTo>
                        <a:lnTo>
                          <a:pt x="8412" y="1890"/>
                        </a:lnTo>
                        <a:lnTo>
                          <a:pt x="8406" y="1884"/>
                        </a:lnTo>
                        <a:lnTo>
                          <a:pt x="8400" y="1872"/>
                        </a:lnTo>
                        <a:lnTo>
                          <a:pt x="8400" y="1860"/>
                        </a:lnTo>
                        <a:lnTo>
                          <a:pt x="8406" y="1848"/>
                        </a:lnTo>
                        <a:lnTo>
                          <a:pt x="8412" y="1842"/>
                        </a:lnTo>
                        <a:lnTo>
                          <a:pt x="8424" y="1836"/>
                        </a:lnTo>
                        <a:lnTo>
                          <a:pt x="8430" y="1830"/>
                        </a:lnTo>
                        <a:lnTo>
                          <a:pt x="8442" y="1836"/>
                        </a:lnTo>
                        <a:lnTo>
                          <a:pt x="8466" y="1836"/>
                        </a:lnTo>
                        <a:lnTo>
                          <a:pt x="8472" y="1830"/>
                        </a:lnTo>
                        <a:lnTo>
                          <a:pt x="8472" y="1812"/>
                        </a:lnTo>
                        <a:lnTo>
                          <a:pt x="8454" y="1794"/>
                        </a:lnTo>
                        <a:lnTo>
                          <a:pt x="8436" y="1788"/>
                        </a:lnTo>
                        <a:lnTo>
                          <a:pt x="8424" y="1782"/>
                        </a:lnTo>
                        <a:lnTo>
                          <a:pt x="8406" y="1770"/>
                        </a:lnTo>
                        <a:lnTo>
                          <a:pt x="8394" y="1758"/>
                        </a:lnTo>
                        <a:lnTo>
                          <a:pt x="8388" y="1740"/>
                        </a:lnTo>
                        <a:lnTo>
                          <a:pt x="8376" y="1716"/>
                        </a:lnTo>
                        <a:lnTo>
                          <a:pt x="8376" y="1704"/>
                        </a:lnTo>
                        <a:lnTo>
                          <a:pt x="8370" y="1698"/>
                        </a:lnTo>
                        <a:lnTo>
                          <a:pt x="8370" y="1692"/>
                        </a:lnTo>
                        <a:lnTo>
                          <a:pt x="8382" y="1686"/>
                        </a:lnTo>
                        <a:lnTo>
                          <a:pt x="8406" y="1710"/>
                        </a:lnTo>
                        <a:lnTo>
                          <a:pt x="8418" y="1716"/>
                        </a:lnTo>
                        <a:lnTo>
                          <a:pt x="8430" y="1716"/>
                        </a:lnTo>
                        <a:lnTo>
                          <a:pt x="8430" y="1710"/>
                        </a:lnTo>
                        <a:lnTo>
                          <a:pt x="8424" y="1704"/>
                        </a:lnTo>
                        <a:lnTo>
                          <a:pt x="8418" y="1692"/>
                        </a:lnTo>
                        <a:lnTo>
                          <a:pt x="8412" y="1686"/>
                        </a:lnTo>
                        <a:lnTo>
                          <a:pt x="8406" y="1674"/>
                        </a:lnTo>
                        <a:lnTo>
                          <a:pt x="8400" y="1668"/>
                        </a:lnTo>
                        <a:lnTo>
                          <a:pt x="8364" y="1668"/>
                        </a:lnTo>
                        <a:lnTo>
                          <a:pt x="8316" y="1626"/>
                        </a:lnTo>
                        <a:lnTo>
                          <a:pt x="8316" y="1596"/>
                        </a:lnTo>
                        <a:lnTo>
                          <a:pt x="8310" y="1590"/>
                        </a:lnTo>
                        <a:lnTo>
                          <a:pt x="8298" y="1584"/>
                        </a:lnTo>
                        <a:lnTo>
                          <a:pt x="8280" y="1578"/>
                        </a:lnTo>
                        <a:lnTo>
                          <a:pt x="8268" y="1572"/>
                        </a:lnTo>
                        <a:lnTo>
                          <a:pt x="8256" y="1572"/>
                        </a:lnTo>
                        <a:lnTo>
                          <a:pt x="8256" y="1590"/>
                        </a:lnTo>
                        <a:lnTo>
                          <a:pt x="8250" y="1590"/>
                        </a:lnTo>
                        <a:lnTo>
                          <a:pt x="8244" y="1584"/>
                        </a:lnTo>
                        <a:lnTo>
                          <a:pt x="8232" y="1584"/>
                        </a:lnTo>
                        <a:lnTo>
                          <a:pt x="8214" y="1572"/>
                        </a:lnTo>
                        <a:lnTo>
                          <a:pt x="8202" y="1566"/>
                        </a:lnTo>
                        <a:lnTo>
                          <a:pt x="8196" y="1560"/>
                        </a:lnTo>
                        <a:lnTo>
                          <a:pt x="8190" y="1548"/>
                        </a:lnTo>
                        <a:lnTo>
                          <a:pt x="8190" y="1536"/>
                        </a:lnTo>
                        <a:lnTo>
                          <a:pt x="8196" y="1524"/>
                        </a:lnTo>
                        <a:lnTo>
                          <a:pt x="8196" y="1500"/>
                        </a:lnTo>
                        <a:lnTo>
                          <a:pt x="8184" y="1476"/>
                        </a:lnTo>
                        <a:lnTo>
                          <a:pt x="8166" y="1458"/>
                        </a:lnTo>
                        <a:lnTo>
                          <a:pt x="8154" y="1452"/>
                        </a:lnTo>
                        <a:lnTo>
                          <a:pt x="8154" y="1434"/>
                        </a:lnTo>
                        <a:lnTo>
                          <a:pt x="8160" y="1428"/>
                        </a:lnTo>
                        <a:lnTo>
                          <a:pt x="8172" y="1428"/>
                        </a:lnTo>
                        <a:lnTo>
                          <a:pt x="8184" y="1434"/>
                        </a:lnTo>
                        <a:lnTo>
                          <a:pt x="8196" y="1416"/>
                        </a:lnTo>
                        <a:lnTo>
                          <a:pt x="8232" y="1446"/>
                        </a:lnTo>
                        <a:lnTo>
                          <a:pt x="8238" y="1440"/>
                        </a:lnTo>
                        <a:lnTo>
                          <a:pt x="8226" y="1428"/>
                        </a:lnTo>
                        <a:lnTo>
                          <a:pt x="8226" y="1422"/>
                        </a:lnTo>
                        <a:lnTo>
                          <a:pt x="8232" y="1416"/>
                        </a:lnTo>
                        <a:lnTo>
                          <a:pt x="8232" y="1404"/>
                        </a:lnTo>
                        <a:lnTo>
                          <a:pt x="8238" y="1392"/>
                        </a:lnTo>
                        <a:lnTo>
                          <a:pt x="8250" y="1386"/>
                        </a:lnTo>
                        <a:lnTo>
                          <a:pt x="8256" y="1386"/>
                        </a:lnTo>
                        <a:lnTo>
                          <a:pt x="8274" y="1404"/>
                        </a:lnTo>
                        <a:lnTo>
                          <a:pt x="8280" y="1416"/>
                        </a:lnTo>
                        <a:lnTo>
                          <a:pt x="8292" y="1428"/>
                        </a:lnTo>
                        <a:lnTo>
                          <a:pt x="8304" y="1434"/>
                        </a:lnTo>
                        <a:lnTo>
                          <a:pt x="8310" y="1446"/>
                        </a:lnTo>
                        <a:lnTo>
                          <a:pt x="8322" y="1398"/>
                        </a:lnTo>
                        <a:lnTo>
                          <a:pt x="8334" y="1398"/>
                        </a:lnTo>
                        <a:lnTo>
                          <a:pt x="8364" y="1392"/>
                        </a:lnTo>
                        <a:lnTo>
                          <a:pt x="8400" y="1386"/>
                        </a:lnTo>
                        <a:lnTo>
                          <a:pt x="8430" y="1386"/>
                        </a:lnTo>
                        <a:lnTo>
                          <a:pt x="8478" y="1410"/>
                        </a:lnTo>
                        <a:lnTo>
                          <a:pt x="8484" y="1416"/>
                        </a:lnTo>
                        <a:lnTo>
                          <a:pt x="8490" y="1416"/>
                        </a:lnTo>
                        <a:lnTo>
                          <a:pt x="8532" y="1434"/>
                        </a:lnTo>
                        <a:lnTo>
                          <a:pt x="8502" y="1374"/>
                        </a:lnTo>
                        <a:lnTo>
                          <a:pt x="8526" y="1374"/>
                        </a:lnTo>
                        <a:lnTo>
                          <a:pt x="8538" y="1368"/>
                        </a:lnTo>
                        <a:lnTo>
                          <a:pt x="8550" y="1356"/>
                        </a:lnTo>
                        <a:lnTo>
                          <a:pt x="8550" y="1332"/>
                        </a:lnTo>
                        <a:lnTo>
                          <a:pt x="8544" y="1326"/>
                        </a:lnTo>
                        <a:lnTo>
                          <a:pt x="8538" y="1314"/>
                        </a:lnTo>
                        <a:lnTo>
                          <a:pt x="8562" y="1314"/>
                        </a:lnTo>
                        <a:lnTo>
                          <a:pt x="8562" y="1290"/>
                        </a:lnTo>
                        <a:lnTo>
                          <a:pt x="8574" y="1290"/>
                        </a:lnTo>
                        <a:lnTo>
                          <a:pt x="8586" y="1296"/>
                        </a:lnTo>
                        <a:lnTo>
                          <a:pt x="8616" y="1296"/>
                        </a:lnTo>
                        <a:lnTo>
                          <a:pt x="8628" y="1290"/>
                        </a:lnTo>
                        <a:lnTo>
                          <a:pt x="8634" y="1284"/>
                        </a:lnTo>
                        <a:lnTo>
                          <a:pt x="8640" y="1272"/>
                        </a:lnTo>
                        <a:lnTo>
                          <a:pt x="8652" y="1260"/>
                        </a:lnTo>
                        <a:lnTo>
                          <a:pt x="8658" y="1248"/>
                        </a:lnTo>
                        <a:lnTo>
                          <a:pt x="8664" y="1242"/>
                        </a:lnTo>
                        <a:lnTo>
                          <a:pt x="8670" y="1242"/>
                        </a:lnTo>
                        <a:lnTo>
                          <a:pt x="8652" y="1218"/>
                        </a:lnTo>
                        <a:lnTo>
                          <a:pt x="8682" y="1218"/>
                        </a:lnTo>
                        <a:lnTo>
                          <a:pt x="8688" y="1236"/>
                        </a:lnTo>
                        <a:lnTo>
                          <a:pt x="8748" y="1242"/>
                        </a:lnTo>
                        <a:lnTo>
                          <a:pt x="8760" y="1242"/>
                        </a:lnTo>
                        <a:lnTo>
                          <a:pt x="8772" y="1248"/>
                        </a:lnTo>
                        <a:lnTo>
                          <a:pt x="8808" y="1248"/>
                        </a:lnTo>
                        <a:lnTo>
                          <a:pt x="8808" y="1230"/>
                        </a:lnTo>
                        <a:lnTo>
                          <a:pt x="8802" y="1218"/>
                        </a:lnTo>
                        <a:lnTo>
                          <a:pt x="8766" y="1218"/>
                        </a:lnTo>
                        <a:lnTo>
                          <a:pt x="8760" y="1194"/>
                        </a:lnTo>
                        <a:lnTo>
                          <a:pt x="8754" y="1194"/>
                        </a:lnTo>
                        <a:lnTo>
                          <a:pt x="8748" y="1188"/>
                        </a:lnTo>
                        <a:lnTo>
                          <a:pt x="8736" y="1188"/>
                        </a:lnTo>
                        <a:lnTo>
                          <a:pt x="8712" y="1176"/>
                        </a:lnTo>
                        <a:lnTo>
                          <a:pt x="8700" y="1176"/>
                        </a:lnTo>
                        <a:lnTo>
                          <a:pt x="8688" y="1170"/>
                        </a:lnTo>
                        <a:lnTo>
                          <a:pt x="8658" y="1170"/>
                        </a:lnTo>
                        <a:lnTo>
                          <a:pt x="8664" y="1152"/>
                        </a:lnTo>
                        <a:lnTo>
                          <a:pt x="8592" y="1104"/>
                        </a:lnTo>
                        <a:lnTo>
                          <a:pt x="8574" y="1122"/>
                        </a:lnTo>
                        <a:lnTo>
                          <a:pt x="8568" y="1122"/>
                        </a:lnTo>
                        <a:lnTo>
                          <a:pt x="8562" y="1116"/>
                        </a:lnTo>
                        <a:lnTo>
                          <a:pt x="8550" y="1116"/>
                        </a:lnTo>
                        <a:lnTo>
                          <a:pt x="8538" y="1110"/>
                        </a:lnTo>
                        <a:lnTo>
                          <a:pt x="8532" y="1110"/>
                        </a:lnTo>
                        <a:lnTo>
                          <a:pt x="8520" y="1104"/>
                        </a:lnTo>
                        <a:lnTo>
                          <a:pt x="8508" y="1092"/>
                        </a:lnTo>
                        <a:lnTo>
                          <a:pt x="8502" y="1092"/>
                        </a:lnTo>
                        <a:lnTo>
                          <a:pt x="8466" y="1098"/>
                        </a:lnTo>
                        <a:lnTo>
                          <a:pt x="8442" y="1092"/>
                        </a:lnTo>
                        <a:lnTo>
                          <a:pt x="8430" y="1086"/>
                        </a:lnTo>
                        <a:lnTo>
                          <a:pt x="8412" y="1068"/>
                        </a:lnTo>
                        <a:lnTo>
                          <a:pt x="8406" y="1068"/>
                        </a:lnTo>
                        <a:lnTo>
                          <a:pt x="8412" y="1062"/>
                        </a:lnTo>
                        <a:lnTo>
                          <a:pt x="8436" y="1062"/>
                        </a:lnTo>
                        <a:lnTo>
                          <a:pt x="8460" y="1074"/>
                        </a:lnTo>
                        <a:lnTo>
                          <a:pt x="8478" y="1074"/>
                        </a:lnTo>
                        <a:lnTo>
                          <a:pt x="8496" y="1080"/>
                        </a:lnTo>
                        <a:lnTo>
                          <a:pt x="8514" y="1080"/>
                        </a:lnTo>
                        <a:lnTo>
                          <a:pt x="8526" y="1086"/>
                        </a:lnTo>
                        <a:lnTo>
                          <a:pt x="8544" y="1086"/>
                        </a:lnTo>
                        <a:lnTo>
                          <a:pt x="8550" y="1080"/>
                        </a:lnTo>
                        <a:lnTo>
                          <a:pt x="8562" y="1080"/>
                        </a:lnTo>
                        <a:lnTo>
                          <a:pt x="8580" y="1074"/>
                        </a:lnTo>
                        <a:lnTo>
                          <a:pt x="8604" y="1062"/>
                        </a:lnTo>
                        <a:lnTo>
                          <a:pt x="8616" y="1050"/>
                        </a:lnTo>
                        <a:lnTo>
                          <a:pt x="8604" y="1038"/>
                        </a:lnTo>
                        <a:lnTo>
                          <a:pt x="8592" y="1032"/>
                        </a:lnTo>
                        <a:lnTo>
                          <a:pt x="8586" y="1026"/>
                        </a:lnTo>
                        <a:lnTo>
                          <a:pt x="8574" y="1020"/>
                        </a:lnTo>
                        <a:lnTo>
                          <a:pt x="8568" y="1014"/>
                        </a:lnTo>
                        <a:lnTo>
                          <a:pt x="8562" y="1014"/>
                        </a:lnTo>
                        <a:lnTo>
                          <a:pt x="8556" y="1008"/>
                        </a:lnTo>
                        <a:lnTo>
                          <a:pt x="8520" y="990"/>
                        </a:lnTo>
                        <a:lnTo>
                          <a:pt x="8508" y="978"/>
                        </a:lnTo>
                        <a:lnTo>
                          <a:pt x="8514" y="972"/>
                        </a:lnTo>
                        <a:lnTo>
                          <a:pt x="8538" y="972"/>
                        </a:lnTo>
                        <a:lnTo>
                          <a:pt x="8556" y="978"/>
                        </a:lnTo>
                        <a:lnTo>
                          <a:pt x="8562" y="984"/>
                        </a:lnTo>
                        <a:lnTo>
                          <a:pt x="8574" y="990"/>
                        </a:lnTo>
                        <a:lnTo>
                          <a:pt x="8580" y="990"/>
                        </a:lnTo>
                        <a:lnTo>
                          <a:pt x="8586" y="996"/>
                        </a:lnTo>
                        <a:lnTo>
                          <a:pt x="8610" y="1008"/>
                        </a:lnTo>
                        <a:lnTo>
                          <a:pt x="8628" y="1020"/>
                        </a:lnTo>
                        <a:lnTo>
                          <a:pt x="8652" y="1032"/>
                        </a:lnTo>
                        <a:lnTo>
                          <a:pt x="8664" y="1032"/>
                        </a:lnTo>
                        <a:lnTo>
                          <a:pt x="8676" y="1026"/>
                        </a:lnTo>
                        <a:lnTo>
                          <a:pt x="8682" y="1026"/>
                        </a:lnTo>
                        <a:lnTo>
                          <a:pt x="8688" y="1020"/>
                        </a:lnTo>
                        <a:lnTo>
                          <a:pt x="8730" y="1020"/>
                        </a:lnTo>
                        <a:lnTo>
                          <a:pt x="8754" y="1026"/>
                        </a:lnTo>
                        <a:lnTo>
                          <a:pt x="8808" y="1044"/>
                        </a:lnTo>
                        <a:lnTo>
                          <a:pt x="8850" y="1062"/>
                        </a:lnTo>
                        <a:lnTo>
                          <a:pt x="8880" y="1068"/>
                        </a:lnTo>
                        <a:lnTo>
                          <a:pt x="8886" y="1074"/>
                        </a:lnTo>
                        <a:lnTo>
                          <a:pt x="8898" y="1074"/>
                        </a:lnTo>
                        <a:lnTo>
                          <a:pt x="8934" y="1086"/>
                        </a:lnTo>
                        <a:lnTo>
                          <a:pt x="8946" y="1086"/>
                        </a:lnTo>
                        <a:lnTo>
                          <a:pt x="8952" y="1092"/>
                        </a:lnTo>
                        <a:lnTo>
                          <a:pt x="8958" y="1092"/>
                        </a:lnTo>
                        <a:lnTo>
                          <a:pt x="8970" y="1098"/>
                        </a:lnTo>
                        <a:lnTo>
                          <a:pt x="8976" y="1104"/>
                        </a:lnTo>
                        <a:lnTo>
                          <a:pt x="8988" y="1110"/>
                        </a:lnTo>
                        <a:lnTo>
                          <a:pt x="9000" y="1110"/>
                        </a:lnTo>
                        <a:lnTo>
                          <a:pt x="9018" y="1116"/>
                        </a:lnTo>
                        <a:lnTo>
                          <a:pt x="9024" y="1122"/>
                        </a:lnTo>
                        <a:lnTo>
                          <a:pt x="9042" y="1122"/>
                        </a:lnTo>
                        <a:lnTo>
                          <a:pt x="9042" y="1116"/>
                        </a:lnTo>
                        <a:lnTo>
                          <a:pt x="9036" y="1098"/>
                        </a:lnTo>
                        <a:lnTo>
                          <a:pt x="9012" y="1074"/>
                        </a:lnTo>
                        <a:lnTo>
                          <a:pt x="9006" y="1074"/>
                        </a:lnTo>
                        <a:lnTo>
                          <a:pt x="9024" y="1056"/>
                        </a:lnTo>
                        <a:lnTo>
                          <a:pt x="8976" y="1038"/>
                        </a:lnTo>
                        <a:lnTo>
                          <a:pt x="8988" y="1032"/>
                        </a:lnTo>
                        <a:lnTo>
                          <a:pt x="8940" y="1008"/>
                        </a:lnTo>
                        <a:lnTo>
                          <a:pt x="8994" y="1020"/>
                        </a:lnTo>
                        <a:lnTo>
                          <a:pt x="8988" y="996"/>
                        </a:lnTo>
                        <a:lnTo>
                          <a:pt x="9000" y="996"/>
                        </a:lnTo>
                        <a:lnTo>
                          <a:pt x="9012" y="1002"/>
                        </a:lnTo>
                        <a:lnTo>
                          <a:pt x="9048" y="1002"/>
                        </a:lnTo>
                        <a:lnTo>
                          <a:pt x="9048" y="99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62" name="Romania"/>
                  <p:cNvSpPr>
                    <a:spLocks/>
                  </p:cNvSpPr>
                  <p:nvPr/>
                </p:nvSpPr>
                <p:spPr bwMode="gray">
                  <a:xfrm>
                    <a:off x="3000" y="1318"/>
                    <a:ext cx="157" cy="94"/>
                  </a:xfrm>
                  <a:custGeom>
                    <a:avLst/>
                    <a:gdLst>
                      <a:gd name="T0" fmla="*/ 2147483647 w 612"/>
                      <a:gd name="T1" fmla="*/ 2147483647 h 366"/>
                      <a:gd name="T2" fmla="*/ 2147483647 w 612"/>
                      <a:gd name="T3" fmla="*/ 2147483647 h 366"/>
                      <a:gd name="T4" fmla="*/ 2147483647 w 612"/>
                      <a:gd name="T5" fmla="*/ 2147483647 h 366"/>
                      <a:gd name="T6" fmla="*/ 2147483647 w 612"/>
                      <a:gd name="T7" fmla="*/ 2147483647 h 366"/>
                      <a:gd name="T8" fmla="*/ 2147483647 w 612"/>
                      <a:gd name="T9" fmla="*/ 2147483647 h 366"/>
                      <a:gd name="T10" fmla="*/ 2147483647 w 612"/>
                      <a:gd name="T11" fmla="*/ 2147483647 h 366"/>
                      <a:gd name="T12" fmla="*/ 2147483647 w 612"/>
                      <a:gd name="T13" fmla="*/ 2147483647 h 366"/>
                      <a:gd name="T14" fmla="*/ 2147483647 w 612"/>
                      <a:gd name="T15" fmla="*/ 2147483647 h 366"/>
                      <a:gd name="T16" fmla="*/ 2147483647 w 612"/>
                      <a:gd name="T17" fmla="*/ 2147483647 h 366"/>
                      <a:gd name="T18" fmla="*/ 2147483647 w 612"/>
                      <a:gd name="T19" fmla="*/ 2147483647 h 366"/>
                      <a:gd name="T20" fmla="*/ 2147483647 w 612"/>
                      <a:gd name="T21" fmla="*/ 2147483647 h 366"/>
                      <a:gd name="T22" fmla="*/ 2147483647 w 612"/>
                      <a:gd name="T23" fmla="*/ 2147483647 h 366"/>
                      <a:gd name="T24" fmla="*/ 2147483647 w 612"/>
                      <a:gd name="T25" fmla="*/ 2147483647 h 366"/>
                      <a:gd name="T26" fmla="*/ 2147483647 w 612"/>
                      <a:gd name="T27" fmla="*/ 0 h 366"/>
                      <a:gd name="T28" fmla="*/ 2147483647 w 612"/>
                      <a:gd name="T29" fmla="*/ 2147483647 h 366"/>
                      <a:gd name="T30" fmla="*/ 2147483647 w 612"/>
                      <a:gd name="T31" fmla="*/ 2147483647 h 366"/>
                      <a:gd name="T32" fmla="*/ 2147483647 w 612"/>
                      <a:gd name="T33" fmla="*/ 2147483647 h 366"/>
                      <a:gd name="T34" fmla="*/ 2147483647 w 612"/>
                      <a:gd name="T35" fmla="*/ 2147483647 h 366"/>
                      <a:gd name="T36" fmla="*/ 2147483647 w 612"/>
                      <a:gd name="T37" fmla="*/ 2147483647 h 366"/>
                      <a:gd name="T38" fmla="*/ 2147483647 w 612"/>
                      <a:gd name="T39" fmla="*/ 2147483647 h 366"/>
                      <a:gd name="T40" fmla="*/ 2147483647 w 612"/>
                      <a:gd name="T41" fmla="*/ 2147483647 h 366"/>
                      <a:gd name="T42" fmla="*/ 2147483647 w 612"/>
                      <a:gd name="T43" fmla="*/ 2147483647 h 366"/>
                      <a:gd name="T44" fmla="*/ 2147483647 w 612"/>
                      <a:gd name="T45" fmla="*/ 2147483647 h 366"/>
                      <a:gd name="T46" fmla="*/ 2147483647 w 612"/>
                      <a:gd name="T47" fmla="*/ 2147483647 h 366"/>
                      <a:gd name="T48" fmla="*/ 0 w 612"/>
                      <a:gd name="T49" fmla="*/ 2147483647 h 366"/>
                      <a:gd name="T50" fmla="*/ 2147483647 w 612"/>
                      <a:gd name="T51" fmla="*/ 2147483647 h 366"/>
                      <a:gd name="T52" fmla="*/ 2147483647 w 612"/>
                      <a:gd name="T53" fmla="*/ 2147483647 h 366"/>
                      <a:gd name="T54" fmla="*/ 2147483647 w 612"/>
                      <a:gd name="T55" fmla="*/ 2147483647 h 366"/>
                      <a:gd name="T56" fmla="*/ 2147483647 w 612"/>
                      <a:gd name="T57" fmla="*/ 2147483647 h 366"/>
                      <a:gd name="T58" fmla="*/ 2147483647 w 612"/>
                      <a:gd name="T59" fmla="*/ 2147483647 h 366"/>
                      <a:gd name="T60" fmla="*/ 2147483647 w 612"/>
                      <a:gd name="T61" fmla="*/ 2147483647 h 366"/>
                      <a:gd name="T62" fmla="*/ 2147483647 w 612"/>
                      <a:gd name="T63" fmla="*/ 2147483647 h 366"/>
                      <a:gd name="T64" fmla="*/ 2147483647 w 612"/>
                      <a:gd name="T65" fmla="*/ 2147483647 h 366"/>
                      <a:gd name="T66" fmla="*/ 2147483647 w 612"/>
                      <a:gd name="T67" fmla="*/ 2147483647 h 366"/>
                      <a:gd name="T68" fmla="*/ 2147483647 w 612"/>
                      <a:gd name="T69" fmla="*/ 2147483647 h 366"/>
                      <a:gd name="T70" fmla="*/ 2147483647 w 612"/>
                      <a:gd name="T71" fmla="*/ 2147483647 h 366"/>
                      <a:gd name="T72" fmla="*/ 2147483647 w 612"/>
                      <a:gd name="T73" fmla="*/ 2147483647 h 366"/>
                      <a:gd name="T74" fmla="*/ 2147483647 w 612"/>
                      <a:gd name="T75" fmla="*/ 2147483647 h 366"/>
                      <a:gd name="T76" fmla="*/ 2147483647 w 612"/>
                      <a:gd name="T77" fmla="*/ 2147483647 h 366"/>
                      <a:gd name="T78" fmla="*/ 2147483647 w 612"/>
                      <a:gd name="T79" fmla="*/ 2147483647 h 366"/>
                      <a:gd name="T80" fmla="*/ 2147483647 w 612"/>
                      <a:gd name="T81" fmla="*/ 2147483647 h 366"/>
                      <a:gd name="T82" fmla="*/ 2147483647 w 612"/>
                      <a:gd name="T83" fmla="*/ 2147483647 h 366"/>
                      <a:gd name="T84" fmla="*/ 2147483647 w 612"/>
                      <a:gd name="T85" fmla="*/ 2147483647 h 36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612"/>
                      <a:gd name="T130" fmla="*/ 0 h 366"/>
                      <a:gd name="T131" fmla="*/ 612 w 612"/>
                      <a:gd name="T132" fmla="*/ 366 h 36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612" h="366">
                        <a:moveTo>
                          <a:pt x="516" y="354"/>
                        </a:moveTo>
                        <a:lnTo>
                          <a:pt x="522" y="360"/>
                        </a:lnTo>
                        <a:lnTo>
                          <a:pt x="540" y="360"/>
                        </a:lnTo>
                        <a:lnTo>
                          <a:pt x="540" y="318"/>
                        </a:lnTo>
                        <a:lnTo>
                          <a:pt x="546" y="312"/>
                        </a:lnTo>
                        <a:lnTo>
                          <a:pt x="558" y="294"/>
                        </a:lnTo>
                        <a:lnTo>
                          <a:pt x="564" y="282"/>
                        </a:lnTo>
                        <a:lnTo>
                          <a:pt x="570" y="276"/>
                        </a:lnTo>
                        <a:lnTo>
                          <a:pt x="606" y="276"/>
                        </a:lnTo>
                        <a:lnTo>
                          <a:pt x="612" y="270"/>
                        </a:lnTo>
                        <a:lnTo>
                          <a:pt x="612" y="258"/>
                        </a:lnTo>
                        <a:lnTo>
                          <a:pt x="600" y="222"/>
                        </a:lnTo>
                        <a:lnTo>
                          <a:pt x="600" y="216"/>
                        </a:lnTo>
                        <a:lnTo>
                          <a:pt x="594" y="216"/>
                        </a:lnTo>
                        <a:lnTo>
                          <a:pt x="588" y="222"/>
                        </a:lnTo>
                        <a:lnTo>
                          <a:pt x="570" y="222"/>
                        </a:lnTo>
                        <a:lnTo>
                          <a:pt x="564" y="228"/>
                        </a:lnTo>
                        <a:lnTo>
                          <a:pt x="558" y="228"/>
                        </a:lnTo>
                        <a:lnTo>
                          <a:pt x="552" y="234"/>
                        </a:lnTo>
                        <a:lnTo>
                          <a:pt x="522" y="234"/>
                        </a:lnTo>
                        <a:lnTo>
                          <a:pt x="510" y="222"/>
                        </a:lnTo>
                        <a:lnTo>
                          <a:pt x="510" y="198"/>
                        </a:lnTo>
                        <a:lnTo>
                          <a:pt x="504" y="192"/>
                        </a:lnTo>
                        <a:lnTo>
                          <a:pt x="498" y="180"/>
                        </a:lnTo>
                        <a:lnTo>
                          <a:pt x="498" y="168"/>
                        </a:lnTo>
                        <a:lnTo>
                          <a:pt x="504" y="162"/>
                        </a:lnTo>
                        <a:lnTo>
                          <a:pt x="504" y="150"/>
                        </a:lnTo>
                        <a:lnTo>
                          <a:pt x="510" y="144"/>
                        </a:lnTo>
                        <a:lnTo>
                          <a:pt x="504" y="144"/>
                        </a:lnTo>
                        <a:lnTo>
                          <a:pt x="504" y="102"/>
                        </a:lnTo>
                        <a:lnTo>
                          <a:pt x="498" y="96"/>
                        </a:lnTo>
                        <a:lnTo>
                          <a:pt x="480" y="96"/>
                        </a:lnTo>
                        <a:lnTo>
                          <a:pt x="474" y="78"/>
                        </a:lnTo>
                        <a:lnTo>
                          <a:pt x="462" y="78"/>
                        </a:lnTo>
                        <a:lnTo>
                          <a:pt x="456" y="54"/>
                        </a:lnTo>
                        <a:lnTo>
                          <a:pt x="432" y="42"/>
                        </a:lnTo>
                        <a:lnTo>
                          <a:pt x="432" y="30"/>
                        </a:lnTo>
                        <a:lnTo>
                          <a:pt x="426" y="24"/>
                        </a:lnTo>
                        <a:lnTo>
                          <a:pt x="420" y="12"/>
                        </a:lnTo>
                        <a:lnTo>
                          <a:pt x="414" y="6"/>
                        </a:lnTo>
                        <a:lnTo>
                          <a:pt x="396" y="0"/>
                        </a:lnTo>
                        <a:lnTo>
                          <a:pt x="384" y="0"/>
                        </a:lnTo>
                        <a:lnTo>
                          <a:pt x="378" y="6"/>
                        </a:lnTo>
                        <a:lnTo>
                          <a:pt x="378" y="12"/>
                        </a:lnTo>
                        <a:lnTo>
                          <a:pt x="366" y="24"/>
                        </a:lnTo>
                        <a:lnTo>
                          <a:pt x="348" y="24"/>
                        </a:lnTo>
                        <a:lnTo>
                          <a:pt x="342" y="18"/>
                        </a:lnTo>
                        <a:lnTo>
                          <a:pt x="336" y="30"/>
                        </a:lnTo>
                        <a:lnTo>
                          <a:pt x="312" y="24"/>
                        </a:lnTo>
                        <a:lnTo>
                          <a:pt x="312" y="30"/>
                        </a:lnTo>
                        <a:lnTo>
                          <a:pt x="300" y="42"/>
                        </a:lnTo>
                        <a:lnTo>
                          <a:pt x="288" y="42"/>
                        </a:lnTo>
                        <a:lnTo>
                          <a:pt x="264" y="18"/>
                        </a:lnTo>
                        <a:lnTo>
                          <a:pt x="258" y="18"/>
                        </a:lnTo>
                        <a:lnTo>
                          <a:pt x="246" y="24"/>
                        </a:lnTo>
                        <a:lnTo>
                          <a:pt x="240" y="24"/>
                        </a:lnTo>
                        <a:lnTo>
                          <a:pt x="228" y="30"/>
                        </a:lnTo>
                        <a:lnTo>
                          <a:pt x="222" y="24"/>
                        </a:lnTo>
                        <a:lnTo>
                          <a:pt x="198" y="24"/>
                        </a:lnTo>
                        <a:lnTo>
                          <a:pt x="192" y="18"/>
                        </a:lnTo>
                        <a:lnTo>
                          <a:pt x="168" y="18"/>
                        </a:lnTo>
                        <a:lnTo>
                          <a:pt x="150" y="36"/>
                        </a:lnTo>
                        <a:lnTo>
                          <a:pt x="120" y="36"/>
                        </a:lnTo>
                        <a:lnTo>
                          <a:pt x="108" y="48"/>
                        </a:lnTo>
                        <a:lnTo>
                          <a:pt x="108" y="90"/>
                        </a:lnTo>
                        <a:lnTo>
                          <a:pt x="90" y="108"/>
                        </a:lnTo>
                        <a:lnTo>
                          <a:pt x="78" y="114"/>
                        </a:lnTo>
                        <a:lnTo>
                          <a:pt x="72" y="120"/>
                        </a:lnTo>
                        <a:lnTo>
                          <a:pt x="72" y="138"/>
                        </a:lnTo>
                        <a:lnTo>
                          <a:pt x="66" y="144"/>
                        </a:lnTo>
                        <a:lnTo>
                          <a:pt x="54" y="150"/>
                        </a:lnTo>
                        <a:lnTo>
                          <a:pt x="48" y="156"/>
                        </a:lnTo>
                        <a:lnTo>
                          <a:pt x="30" y="150"/>
                        </a:lnTo>
                        <a:lnTo>
                          <a:pt x="30" y="168"/>
                        </a:lnTo>
                        <a:lnTo>
                          <a:pt x="0" y="174"/>
                        </a:lnTo>
                        <a:lnTo>
                          <a:pt x="6" y="174"/>
                        </a:lnTo>
                        <a:lnTo>
                          <a:pt x="30" y="192"/>
                        </a:lnTo>
                        <a:lnTo>
                          <a:pt x="36" y="192"/>
                        </a:lnTo>
                        <a:lnTo>
                          <a:pt x="48" y="228"/>
                        </a:lnTo>
                        <a:lnTo>
                          <a:pt x="54" y="234"/>
                        </a:lnTo>
                        <a:lnTo>
                          <a:pt x="60" y="234"/>
                        </a:lnTo>
                        <a:lnTo>
                          <a:pt x="66" y="228"/>
                        </a:lnTo>
                        <a:lnTo>
                          <a:pt x="72" y="228"/>
                        </a:lnTo>
                        <a:lnTo>
                          <a:pt x="84" y="234"/>
                        </a:lnTo>
                        <a:lnTo>
                          <a:pt x="84" y="252"/>
                        </a:lnTo>
                        <a:lnTo>
                          <a:pt x="78" y="258"/>
                        </a:lnTo>
                        <a:lnTo>
                          <a:pt x="90" y="276"/>
                        </a:lnTo>
                        <a:lnTo>
                          <a:pt x="114" y="282"/>
                        </a:lnTo>
                        <a:lnTo>
                          <a:pt x="120" y="288"/>
                        </a:lnTo>
                        <a:lnTo>
                          <a:pt x="144" y="282"/>
                        </a:lnTo>
                        <a:lnTo>
                          <a:pt x="168" y="288"/>
                        </a:lnTo>
                        <a:lnTo>
                          <a:pt x="162" y="294"/>
                        </a:lnTo>
                        <a:lnTo>
                          <a:pt x="156" y="306"/>
                        </a:lnTo>
                        <a:lnTo>
                          <a:pt x="162" y="312"/>
                        </a:lnTo>
                        <a:lnTo>
                          <a:pt x="162" y="324"/>
                        </a:lnTo>
                        <a:lnTo>
                          <a:pt x="186" y="324"/>
                        </a:lnTo>
                        <a:lnTo>
                          <a:pt x="192" y="330"/>
                        </a:lnTo>
                        <a:lnTo>
                          <a:pt x="186" y="336"/>
                        </a:lnTo>
                        <a:lnTo>
                          <a:pt x="186" y="342"/>
                        </a:lnTo>
                        <a:lnTo>
                          <a:pt x="180" y="348"/>
                        </a:lnTo>
                        <a:lnTo>
                          <a:pt x="186" y="354"/>
                        </a:lnTo>
                        <a:lnTo>
                          <a:pt x="204" y="354"/>
                        </a:lnTo>
                        <a:lnTo>
                          <a:pt x="216" y="342"/>
                        </a:lnTo>
                        <a:lnTo>
                          <a:pt x="240" y="354"/>
                        </a:lnTo>
                        <a:lnTo>
                          <a:pt x="252" y="354"/>
                        </a:lnTo>
                        <a:lnTo>
                          <a:pt x="258" y="360"/>
                        </a:lnTo>
                        <a:lnTo>
                          <a:pt x="282" y="360"/>
                        </a:lnTo>
                        <a:lnTo>
                          <a:pt x="288" y="354"/>
                        </a:lnTo>
                        <a:lnTo>
                          <a:pt x="288" y="348"/>
                        </a:lnTo>
                        <a:lnTo>
                          <a:pt x="306" y="354"/>
                        </a:lnTo>
                        <a:lnTo>
                          <a:pt x="330" y="354"/>
                        </a:lnTo>
                        <a:lnTo>
                          <a:pt x="336" y="360"/>
                        </a:lnTo>
                        <a:lnTo>
                          <a:pt x="348" y="366"/>
                        </a:lnTo>
                        <a:lnTo>
                          <a:pt x="366" y="366"/>
                        </a:lnTo>
                        <a:lnTo>
                          <a:pt x="372" y="360"/>
                        </a:lnTo>
                        <a:lnTo>
                          <a:pt x="372" y="348"/>
                        </a:lnTo>
                        <a:lnTo>
                          <a:pt x="378" y="342"/>
                        </a:lnTo>
                        <a:lnTo>
                          <a:pt x="384" y="342"/>
                        </a:lnTo>
                        <a:lnTo>
                          <a:pt x="396" y="336"/>
                        </a:lnTo>
                        <a:lnTo>
                          <a:pt x="402" y="336"/>
                        </a:lnTo>
                        <a:lnTo>
                          <a:pt x="402" y="330"/>
                        </a:lnTo>
                        <a:lnTo>
                          <a:pt x="432" y="336"/>
                        </a:lnTo>
                        <a:lnTo>
                          <a:pt x="432" y="324"/>
                        </a:lnTo>
                        <a:lnTo>
                          <a:pt x="438" y="324"/>
                        </a:lnTo>
                        <a:lnTo>
                          <a:pt x="450" y="330"/>
                        </a:lnTo>
                        <a:lnTo>
                          <a:pt x="462" y="330"/>
                        </a:lnTo>
                        <a:lnTo>
                          <a:pt x="474" y="336"/>
                        </a:lnTo>
                        <a:lnTo>
                          <a:pt x="498" y="336"/>
                        </a:lnTo>
                        <a:lnTo>
                          <a:pt x="516" y="35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63" name="Qatar"/>
                  <p:cNvSpPr>
                    <a:spLocks/>
                  </p:cNvSpPr>
                  <p:nvPr/>
                </p:nvSpPr>
                <p:spPr bwMode="gray">
                  <a:xfrm>
                    <a:off x="3560" y="1769"/>
                    <a:ext cx="17" cy="37"/>
                  </a:xfrm>
                  <a:custGeom>
                    <a:avLst/>
                    <a:gdLst>
                      <a:gd name="T0" fmla="*/ 2147483647 w 66"/>
                      <a:gd name="T1" fmla="*/ 2147483647 h 144"/>
                      <a:gd name="T2" fmla="*/ 2147483647 w 66"/>
                      <a:gd name="T3" fmla="*/ 2147483647 h 144"/>
                      <a:gd name="T4" fmla="*/ 2147483647 w 66"/>
                      <a:gd name="T5" fmla="*/ 2147483647 h 144"/>
                      <a:gd name="T6" fmla="*/ 2147483647 w 66"/>
                      <a:gd name="T7" fmla="*/ 2147483647 h 144"/>
                      <a:gd name="T8" fmla="*/ 2147483647 w 66"/>
                      <a:gd name="T9" fmla="*/ 2147483647 h 144"/>
                      <a:gd name="T10" fmla="*/ 2147483647 w 66"/>
                      <a:gd name="T11" fmla="*/ 2147483647 h 144"/>
                      <a:gd name="T12" fmla="*/ 2147483647 w 66"/>
                      <a:gd name="T13" fmla="*/ 2147483647 h 144"/>
                      <a:gd name="T14" fmla="*/ 2147483647 w 66"/>
                      <a:gd name="T15" fmla="*/ 2147483647 h 144"/>
                      <a:gd name="T16" fmla="*/ 2147483647 w 66"/>
                      <a:gd name="T17" fmla="*/ 2147483647 h 144"/>
                      <a:gd name="T18" fmla="*/ 2147483647 w 66"/>
                      <a:gd name="T19" fmla="*/ 0 h 144"/>
                      <a:gd name="T20" fmla="*/ 2147483647 w 66"/>
                      <a:gd name="T21" fmla="*/ 0 h 144"/>
                      <a:gd name="T22" fmla="*/ 2147483647 w 66"/>
                      <a:gd name="T23" fmla="*/ 2147483647 h 144"/>
                      <a:gd name="T24" fmla="*/ 2147483647 w 66"/>
                      <a:gd name="T25" fmla="*/ 2147483647 h 144"/>
                      <a:gd name="T26" fmla="*/ 2147483647 w 66"/>
                      <a:gd name="T27" fmla="*/ 2147483647 h 144"/>
                      <a:gd name="T28" fmla="*/ 2147483647 w 66"/>
                      <a:gd name="T29" fmla="*/ 2147483647 h 144"/>
                      <a:gd name="T30" fmla="*/ 0 w 66"/>
                      <a:gd name="T31" fmla="*/ 2147483647 h 144"/>
                      <a:gd name="T32" fmla="*/ 2147483647 w 66"/>
                      <a:gd name="T33" fmla="*/ 2147483647 h 144"/>
                      <a:gd name="T34" fmla="*/ 2147483647 w 66"/>
                      <a:gd name="T35" fmla="*/ 2147483647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66"/>
                      <a:gd name="T55" fmla="*/ 0 h 144"/>
                      <a:gd name="T56" fmla="*/ 66 w 66"/>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66" h="144">
                        <a:moveTo>
                          <a:pt x="24" y="132"/>
                        </a:moveTo>
                        <a:lnTo>
                          <a:pt x="36" y="144"/>
                        </a:lnTo>
                        <a:lnTo>
                          <a:pt x="48" y="132"/>
                        </a:lnTo>
                        <a:lnTo>
                          <a:pt x="54" y="114"/>
                        </a:lnTo>
                        <a:lnTo>
                          <a:pt x="60" y="102"/>
                        </a:lnTo>
                        <a:lnTo>
                          <a:pt x="66" y="84"/>
                        </a:lnTo>
                        <a:lnTo>
                          <a:pt x="66" y="30"/>
                        </a:lnTo>
                        <a:lnTo>
                          <a:pt x="54" y="18"/>
                        </a:lnTo>
                        <a:lnTo>
                          <a:pt x="48" y="6"/>
                        </a:lnTo>
                        <a:lnTo>
                          <a:pt x="36" y="0"/>
                        </a:lnTo>
                        <a:lnTo>
                          <a:pt x="30" y="0"/>
                        </a:lnTo>
                        <a:lnTo>
                          <a:pt x="24" y="6"/>
                        </a:lnTo>
                        <a:lnTo>
                          <a:pt x="18" y="18"/>
                        </a:lnTo>
                        <a:lnTo>
                          <a:pt x="12" y="36"/>
                        </a:lnTo>
                        <a:lnTo>
                          <a:pt x="12" y="108"/>
                        </a:lnTo>
                        <a:lnTo>
                          <a:pt x="0" y="120"/>
                        </a:lnTo>
                        <a:lnTo>
                          <a:pt x="6" y="132"/>
                        </a:lnTo>
                        <a:lnTo>
                          <a:pt x="24" y="1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64" name="Puerto Rico"/>
                  <p:cNvSpPr>
                    <a:spLocks/>
                  </p:cNvSpPr>
                  <p:nvPr/>
                </p:nvSpPr>
                <p:spPr bwMode="gray">
                  <a:xfrm>
                    <a:off x="1451" y="1931"/>
                    <a:ext cx="35" cy="15"/>
                  </a:xfrm>
                  <a:custGeom>
                    <a:avLst/>
                    <a:gdLst>
                      <a:gd name="T0" fmla="*/ 2147483647 w 138"/>
                      <a:gd name="T1" fmla="*/ 2147483647 h 60"/>
                      <a:gd name="T2" fmla="*/ 2147483647 w 138"/>
                      <a:gd name="T3" fmla="*/ 2147483647 h 60"/>
                      <a:gd name="T4" fmla="*/ 2147483647 w 138"/>
                      <a:gd name="T5" fmla="*/ 0 h 60"/>
                      <a:gd name="T6" fmla="*/ 2147483647 w 138"/>
                      <a:gd name="T7" fmla="*/ 0 h 60"/>
                      <a:gd name="T8" fmla="*/ 2147483647 w 138"/>
                      <a:gd name="T9" fmla="*/ 2147483647 h 60"/>
                      <a:gd name="T10" fmla="*/ 0 w 138"/>
                      <a:gd name="T11" fmla="*/ 2147483647 h 60"/>
                      <a:gd name="T12" fmla="*/ 0 w 138"/>
                      <a:gd name="T13" fmla="*/ 2147483647 h 60"/>
                      <a:gd name="T14" fmla="*/ 2147483647 w 138"/>
                      <a:gd name="T15" fmla="*/ 2147483647 h 60"/>
                      <a:gd name="T16" fmla="*/ 2147483647 w 138"/>
                      <a:gd name="T17" fmla="*/ 2147483647 h 60"/>
                      <a:gd name="T18" fmla="*/ 2147483647 w 138"/>
                      <a:gd name="T19" fmla="*/ 2147483647 h 60"/>
                      <a:gd name="T20" fmla="*/ 2147483647 w 138"/>
                      <a:gd name="T21" fmla="*/ 2147483647 h 60"/>
                      <a:gd name="T22" fmla="*/ 2147483647 w 138"/>
                      <a:gd name="T23" fmla="*/ 2147483647 h 60"/>
                      <a:gd name="T24" fmla="*/ 2147483647 w 138"/>
                      <a:gd name="T25" fmla="*/ 2147483647 h 60"/>
                      <a:gd name="T26" fmla="*/ 2147483647 w 138"/>
                      <a:gd name="T27" fmla="*/ 2147483647 h 60"/>
                      <a:gd name="T28" fmla="*/ 2147483647 w 138"/>
                      <a:gd name="T29" fmla="*/ 2147483647 h 60"/>
                      <a:gd name="T30" fmla="*/ 2147483647 w 138"/>
                      <a:gd name="T31" fmla="*/ 2147483647 h 60"/>
                      <a:gd name="T32" fmla="*/ 2147483647 w 138"/>
                      <a:gd name="T33" fmla="*/ 2147483647 h 60"/>
                      <a:gd name="T34" fmla="*/ 2147483647 w 138"/>
                      <a:gd name="T35" fmla="*/ 2147483647 h 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8"/>
                      <a:gd name="T55" fmla="*/ 0 h 60"/>
                      <a:gd name="T56" fmla="*/ 138 w 138"/>
                      <a:gd name="T57" fmla="*/ 60 h 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8" h="60">
                        <a:moveTo>
                          <a:pt x="84" y="12"/>
                        </a:moveTo>
                        <a:lnTo>
                          <a:pt x="72" y="12"/>
                        </a:lnTo>
                        <a:lnTo>
                          <a:pt x="36" y="0"/>
                        </a:lnTo>
                        <a:lnTo>
                          <a:pt x="12" y="0"/>
                        </a:lnTo>
                        <a:lnTo>
                          <a:pt x="6" y="12"/>
                        </a:lnTo>
                        <a:lnTo>
                          <a:pt x="0" y="18"/>
                        </a:lnTo>
                        <a:lnTo>
                          <a:pt x="0" y="48"/>
                        </a:lnTo>
                        <a:lnTo>
                          <a:pt x="36" y="60"/>
                        </a:lnTo>
                        <a:lnTo>
                          <a:pt x="48" y="48"/>
                        </a:lnTo>
                        <a:lnTo>
                          <a:pt x="102" y="48"/>
                        </a:lnTo>
                        <a:lnTo>
                          <a:pt x="120" y="36"/>
                        </a:lnTo>
                        <a:lnTo>
                          <a:pt x="132" y="30"/>
                        </a:lnTo>
                        <a:lnTo>
                          <a:pt x="138" y="18"/>
                        </a:lnTo>
                        <a:lnTo>
                          <a:pt x="138" y="12"/>
                        </a:lnTo>
                        <a:lnTo>
                          <a:pt x="132" y="6"/>
                        </a:lnTo>
                        <a:lnTo>
                          <a:pt x="114" y="6"/>
                        </a:lnTo>
                        <a:lnTo>
                          <a:pt x="102" y="12"/>
                        </a:lnTo>
                        <a:lnTo>
                          <a:pt x="84" y="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65" name="Portugal"/>
                  <p:cNvSpPr>
                    <a:spLocks/>
                  </p:cNvSpPr>
                  <p:nvPr/>
                </p:nvSpPr>
                <p:spPr bwMode="gray">
                  <a:xfrm>
                    <a:off x="2506" y="1443"/>
                    <a:ext cx="58" cy="105"/>
                  </a:xfrm>
                  <a:custGeom>
                    <a:avLst/>
                    <a:gdLst>
                      <a:gd name="T0" fmla="*/ 2147483647 w 228"/>
                      <a:gd name="T1" fmla="*/ 2147483647 h 414"/>
                      <a:gd name="T2" fmla="*/ 2147483647 w 228"/>
                      <a:gd name="T3" fmla="*/ 2147483647 h 414"/>
                      <a:gd name="T4" fmla="*/ 2147483647 w 228"/>
                      <a:gd name="T5" fmla="*/ 2147483647 h 414"/>
                      <a:gd name="T6" fmla="*/ 2147483647 w 228"/>
                      <a:gd name="T7" fmla="*/ 2147483647 h 414"/>
                      <a:gd name="T8" fmla="*/ 2147483647 w 228"/>
                      <a:gd name="T9" fmla="*/ 2147483647 h 414"/>
                      <a:gd name="T10" fmla="*/ 2147483647 w 228"/>
                      <a:gd name="T11" fmla="*/ 2147483647 h 414"/>
                      <a:gd name="T12" fmla="*/ 2147483647 w 228"/>
                      <a:gd name="T13" fmla="*/ 0 h 414"/>
                      <a:gd name="T14" fmla="*/ 2147483647 w 228"/>
                      <a:gd name="T15" fmla="*/ 2147483647 h 414"/>
                      <a:gd name="T16" fmla="*/ 2147483647 w 228"/>
                      <a:gd name="T17" fmla="*/ 2147483647 h 414"/>
                      <a:gd name="T18" fmla="*/ 2147483647 w 228"/>
                      <a:gd name="T19" fmla="*/ 2147483647 h 414"/>
                      <a:gd name="T20" fmla="*/ 2147483647 w 228"/>
                      <a:gd name="T21" fmla="*/ 2147483647 h 414"/>
                      <a:gd name="T22" fmla="*/ 2147483647 w 228"/>
                      <a:gd name="T23" fmla="*/ 2147483647 h 414"/>
                      <a:gd name="T24" fmla="*/ 2147483647 w 228"/>
                      <a:gd name="T25" fmla="*/ 2147483647 h 414"/>
                      <a:gd name="T26" fmla="*/ 0 w 228"/>
                      <a:gd name="T27" fmla="*/ 2147483647 h 414"/>
                      <a:gd name="T28" fmla="*/ 2147483647 w 228"/>
                      <a:gd name="T29" fmla="*/ 2147483647 h 414"/>
                      <a:gd name="T30" fmla="*/ 2147483647 w 228"/>
                      <a:gd name="T31" fmla="*/ 2147483647 h 414"/>
                      <a:gd name="T32" fmla="*/ 2147483647 w 228"/>
                      <a:gd name="T33" fmla="*/ 2147483647 h 414"/>
                      <a:gd name="T34" fmla="*/ 2147483647 w 228"/>
                      <a:gd name="T35" fmla="*/ 2147483647 h 414"/>
                      <a:gd name="T36" fmla="*/ 2147483647 w 228"/>
                      <a:gd name="T37" fmla="*/ 2147483647 h 414"/>
                      <a:gd name="T38" fmla="*/ 2147483647 w 228"/>
                      <a:gd name="T39" fmla="*/ 2147483647 h 414"/>
                      <a:gd name="T40" fmla="*/ 2147483647 w 228"/>
                      <a:gd name="T41" fmla="*/ 2147483647 h 414"/>
                      <a:gd name="T42" fmla="*/ 2147483647 w 228"/>
                      <a:gd name="T43" fmla="*/ 2147483647 h 414"/>
                      <a:gd name="T44" fmla="*/ 2147483647 w 228"/>
                      <a:gd name="T45" fmla="*/ 2147483647 h 414"/>
                      <a:gd name="T46" fmla="*/ 2147483647 w 228"/>
                      <a:gd name="T47" fmla="*/ 2147483647 h 414"/>
                      <a:gd name="T48" fmla="*/ 2147483647 w 228"/>
                      <a:gd name="T49" fmla="*/ 2147483647 h 414"/>
                      <a:gd name="T50" fmla="*/ 2147483647 w 228"/>
                      <a:gd name="T51" fmla="*/ 2147483647 h 414"/>
                      <a:gd name="T52" fmla="*/ 2147483647 w 228"/>
                      <a:gd name="T53" fmla="*/ 2147483647 h 414"/>
                      <a:gd name="T54" fmla="*/ 2147483647 w 228"/>
                      <a:gd name="T55" fmla="*/ 2147483647 h 414"/>
                      <a:gd name="T56" fmla="*/ 2147483647 w 228"/>
                      <a:gd name="T57" fmla="*/ 2147483647 h 414"/>
                      <a:gd name="T58" fmla="*/ 2147483647 w 228"/>
                      <a:gd name="T59" fmla="*/ 2147483647 h 414"/>
                      <a:gd name="T60" fmla="*/ 2147483647 w 228"/>
                      <a:gd name="T61" fmla="*/ 2147483647 h 414"/>
                      <a:gd name="T62" fmla="*/ 2147483647 w 228"/>
                      <a:gd name="T63" fmla="*/ 2147483647 h 414"/>
                      <a:gd name="T64" fmla="*/ 2147483647 w 228"/>
                      <a:gd name="T65" fmla="*/ 2147483647 h 414"/>
                      <a:gd name="T66" fmla="*/ 2147483647 w 228"/>
                      <a:gd name="T67" fmla="*/ 2147483647 h 414"/>
                      <a:gd name="T68" fmla="*/ 2147483647 w 228"/>
                      <a:gd name="T69" fmla="*/ 2147483647 h 414"/>
                      <a:gd name="T70" fmla="*/ 2147483647 w 228"/>
                      <a:gd name="T71" fmla="*/ 2147483647 h 414"/>
                      <a:gd name="T72" fmla="*/ 2147483647 w 228"/>
                      <a:gd name="T73" fmla="*/ 2147483647 h 414"/>
                      <a:gd name="T74" fmla="*/ 2147483647 w 228"/>
                      <a:gd name="T75" fmla="*/ 2147483647 h 414"/>
                      <a:gd name="T76" fmla="*/ 2147483647 w 228"/>
                      <a:gd name="T77" fmla="*/ 2147483647 h 414"/>
                      <a:gd name="T78" fmla="*/ 2147483647 w 228"/>
                      <a:gd name="T79" fmla="*/ 2147483647 h 414"/>
                      <a:gd name="T80" fmla="*/ 2147483647 w 228"/>
                      <a:gd name="T81" fmla="*/ 2147483647 h 414"/>
                      <a:gd name="T82" fmla="*/ 2147483647 w 228"/>
                      <a:gd name="T83" fmla="*/ 2147483647 h 41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228"/>
                      <a:gd name="T127" fmla="*/ 0 h 414"/>
                      <a:gd name="T128" fmla="*/ 228 w 228"/>
                      <a:gd name="T129" fmla="*/ 414 h 41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228" h="414">
                        <a:moveTo>
                          <a:pt x="210" y="30"/>
                        </a:moveTo>
                        <a:lnTo>
                          <a:pt x="210" y="12"/>
                        </a:lnTo>
                        <a:lnTo>
                          <a:pt x="156" y="12"/>
                        </a:lnTo>
                        <a:lnTo>
                          <a:pt x="156" y="18"/>
                        </a:lnTo>
                        <a:lnTo>
                          <a:pt x="150" y="24"/>
                        </a:lnTo>
                        <a:lnTo>
                          <a:pt x="138" y="24"/>
                        </a:lnTo>
                        <a:lnTo>
                          <a:pt x="132" y="18"/>
                        </a:lnTo>
                        <a:lnTo>
                          <a:pt x="114" y="18"/>
                        </a:lnTo>
                        <a:lnTo>
                          <a:pt x="108" y="24"/>
                        </a:lnTo>
                        <a:lnTo>
                          <a:pt x="96" y="24"/>
                        </a:lnTo>
                        <a:lnTo>
                          <a:pt x="96" y="18"/>
                        </a:lnTo>
                        <a:lnTo>
                          <a:pt x="102" y="18"/>
                        </a:lnTo>
                        <a:lnTo>
                          <a:pt x="114" y="6"/>
                        </a:lnTo>
                        <a:lnTo>
                          <a:pt x="114" y="0"/>
                        </a:lnTo>
                        <a:lnTo>
                          <a:pt x="90" y="0"/>
                        </a:lnTo>
                        <a:lnTo>
                          <a:pt x="66" y="12"/>
                        </a:lnTo>
                        <a:lnTo>
                          <a:pt x="60" y="18"/>
                        </a:lnTo>
                        <a:lnTo>
                          <a:pt x="60" y="36"/>
                        </a:lnTo>
                        <a:lnTo>
                          <a:pt x="66" y="60"/>
                        </a:lnTo>
                        <a:lnTo>
                          <a:pt x="66" y="78"/>
                        </a:lnTo>
                        <a:lnTo>
                          <a:pt x="60" y="108"/>
                        </a:lnTo>
                        <a:lnTo>
                          <a:pt x="48" y="138"/>
                        </a:lnTo>
                        <a:lnTo>
                          <a:pt x="30" y="174"/>
                        </a:lnTo>
                        <a:lnTo>
                          <a:pt x="12" y="222"/>
                        </a:lnTo>
                        <a:lnTo>
                          <a:pt x="6" y="234"/>
                        </a:lnTo>
                        <a:lnTo>
                          <a:pt x="6" y="240"/>
                        </a:lnTo>
                        <a:lnTo>
                          <a:pt x="0" y="252"/>
                        </a:lnTo>
                        <a:lnTo>
                          <a:pt x="0" y="264"/>
                        </a:lnTo>
                        <a:lnTo>
                          <a:pt x="18" y="282"/>
                        </a:lnTo>
                        <a:lnTo>
                          <a:pt x="30" y="288"/>
                        </a:lnTo>
                        <a:lnTo>
                          <a:pt x="42" y="342"/>
                        </a:lnTo>
                        <a:lnTo>
                          <a:pt x="42" y="348"/>
                        </a:lnTo>
                        <a:lnTo>
                          <a:pt x="36" y="354"/>
                        </a:lnTo>
                        <a:lnTo>
                          <a:pt x="36" y="366"/>
                        </a:lnTo>
                        <a:lnTo>
                          <a:pt x="30" y="384"/>
                        </a:lnTo>
                        <a:lnTo>
                          <a:pt x="24" y="396"/>
                        </a:lnTo>
                        <a:lnTo>
                          <a:pt x="24" y="408"/>
                        </a:lnTo>
                        <a:lnTo>
                          <a:pt x="48" y="408"/>
                        </a:lnTo>
                        <a:lnTo>
                          <a:pt x="60" y="402"/>
                        </a:lnTo>
                        <a:lnTo>
                          <a:pt x="72" y="402"/>
                        </a:lnTo>
                        <a:lnTo>
                          <a:pt x="84" y="414"/>
                        </a:lnTo>
                        <a:lnTo>
                          <a:pt x="96" y="414"/>
                        </a:lnTo>
                        <a:lnTo>
                          <a:pt x="108" y="408"/>
                        </a:lnTo>
                        <a:lnTo>
                          <a:pt x="114" y="402"/>
                        </a:lnTo>
                        <a:lnTo>
                          <a:pt x="120" y="402"/>
                        </a:lnTo>
                        <a:lnTo>
                          <a:pt x="126" y="396"/>
                        </a:lnTo>
                        <a:lnTo>
                          <a:pt x="126" y="348"/>
                        </a:lnTo>
                        <a:lnTo>
                          <a:pt x="132" y="342"/>
                        </a:lnTo>
                        <a:lnTo>
                          <a:pt x="138" y="330"/>
                        </a:lnTo>
                        <a:lnTo>
                          <a:pt x="150" y="330"/>
                        </a:lnTo>
                        <a:lnTo>
                          <a:pt x="162" y="318"/>
                        </a:lnTo>
                        <a:lnTo>
                          <a:pt x="162" y="312"/>
                        </a:lnTo>
                        <a:lnTo>
                          <a:pt x="150" y="312"/>
                        </a:lnTo>
                        <a:lnTo>
                          <a:pt x="144" y="306"/>
                        </a:lnTo>
                        <a:lnTo>
                          <a:pt x="138" y="294"/>
                        </a:lnTo>
                        <a:lnTo>
                          <a:pt x="138" y="288"/>
                        </a:lnTo>
                        <a:lnTo>
                          <a:pt x="132" y="282"/>
                        </a:lnTo>
                        <a:lnTo>
                          <a:pt x="132" y="276"/>
                        </a:lnTo>
                        <a:lnTo>
                          <a:pt x="144" y="264"/>
                        </a:lnTo>
                        <a:lnTo>
                          <a:pt x="156" y="258"/>
                        </a:lnTo>
                        <a:lnTo>
                          <a:pt x="168" y="246"/>
                        </a:lnTo>
                        <a:lnTo>
                          <a:pt x="168" y="240"/>
                        </a:lnTo>
                        <a:lnTo>
                          <a:pt x="156" y="234"/>
                        </a:lnTo>
                        <a:lnTo>
                          <a:pt x="150" y="228"/>
                        </a:lnTo>
                        <a:lnTo>
                          <a:pt x="150" y="216"/>
                        </a:lnTo>
                        <a:lnTo>
                          <a:pt x="126" y="192"/>
                        </a:lnTo>
                        <a:lnTo>
                          <a:pt x="162" y="192"/>
                        </a:lnTo>
                        <a:lnTo>
                          <a:pt x="174" y="180"/>
                        </a:lnTo>
                        <a:lnTo>
                          <a:pt x="174" y="168"/>
                        </a:lnTo>
                        <a:lnTo>
                          <a:pt x="168" y="162"/>
                        </a:lnTo>
                        <a:lnTo>
                          <a:pt x="168" y="150"/>
                        </a:lnTo>
                        <a:lnTo>
                          <a:pt x="174" y="144"/>
                        </a:lnTo>
                        <a:lnTo>
                          <a:pt x="180" y="144"/>
                        </a:lnTo>
                        <a:lnTo>
                          <a:pt x="180" y="126"/>
                        </a:lnTo>
                        <a:lnTo>
                          <a:pt x="186" y="108"/>
                        </a:lnTo>
                        <a:lnTo>
                          <a:pt x="186" y="96"/>
                        </a:lnTo>
                        <a:lnTo>
                          <a:pt x="180" y="90"/>
                        </a:lnTo>
                        <a:lnTo>
                          <a:pt x="174" y="90"/>
                        </a:lnTo>
                        <a:lnTo>
                          <a:pt x="174" y="84"/>
                        </a:lnTo>
                        <a:lnTo>
                          <a:pt x="180" y="78"/>
                        </a:lnTo>
                        <a:lnTo>
                          <a:pt x="204" y="66"/>
                        </a:lnTo>
                        <a:lnTo>
                          <a:pt x="228" y="42"/>
                        </a:lnTo>
                        <a:lnTo>
                          <a:pt x="228" y="36"/>
                        </a:lnTo>
                        <a:lnTo>
                          <a:pt x="216" y="30"/>
                        </a:lnTo>
                        <a:lnTo>
                          <a:pt x="210" y="3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66" name="Poland"/>
                  <p:cNvSpPr>
                    <a:spLocks/>
                  </p:cNvSpPr>
                  <p:nvPr/>
                </p:nvSpPr>
                <p:spPr bwMode="gray">
                  <a:xfrm>
                    <a:off x="2899" y="1188"/>
                    <a:ext cx="160" cy="115"/>
                  </a:xfrm>
                  <a:custGeom>
                    <a:avLst/>
                    <a:gdLst>
                      <a:gd name="T0" fmla="*/ 2147483647 w 624"/>
                      <a:gd name="T1" fmla="*/ 2147483647 h 450"/>
                      <a:gd name="T2" fmla="*/ 2147483647 w 624"/>
                      <a:gd name="T3" fmla="*/ 2147483647 h 450"/>
                      <a:gd name="T4" fmla="*/ 2147483647 w 624"/>
                      <a:gd name="T5" fmla="*/ 2147483647 h 450"/>
                      <a:gd name="T6" fmla="*/ 2147483647 w 624"/>
                      <a:gd name="T7" fmla="*/ 2147483647 h 450"/>
                      <a:gd name="T8" fmla="*/ 2147483647 w 624"/>
                      <a:gd name="T9" fmla="*/ 2147483647 h 450"/>
                      <a:gd name="T10" fmla="*/ 2147483647 w 624"/>
                      <a:gd name="T11" fmla="*/ 2147483647 h 450"/>
                      <a:gd name="T12" fmla="*/ 2147483647 w 624"/>
                      <a:gd name="T13" fmla="*/ 2147483647 h 450"/>
                      <a:gd name="T14" fmla="*/ 2147483647 w 624"/>
                      <a:gd name="T15" fmla="*/ 2147483647 h 450"/>
                      <a:gd name="T16" fmla="*/ 2147483647 w 624"/>
                      <a:gd name="T17" fmla="*/ 2147483647 h 450"/>
                      <a:gd name="T18" fmla="*/ 2147483647 w 624"/>
                      <a:gd name="T19" fmla="*/ 2147483647 h 450"/>
                      <a:gd name="T20" fmla="*/ 2147483647 w 624"/>
                      <a:gd name="T21" fmla="*/ 2147483647 h 450"/>
                      <a:gd name="T22" fmla="*/ 2147483647 w 624"/>
                      <a:gd name="T23" fmla="*/ 2147483647 h 450"/>
                      <a:gd name="T24" fmla="*/ 2147483647 w 624"/>
                      <a:gd name="T25" fmla="*/ 2147483647 h 450"/>
                      <a:gd name="T26" fmla="*/ 2147483647 w 624"/>
                      <a:gd name="T27" fmla="*/ 2147483647 h 450"/>
                      <a:gd name="T28" fmla="*/ 2147483647 w 624"/>
                      <a:gd name="T29" fmla="*/ 2147483647 h 450"/>
                      <a:gd name="T30" fmla="*/ 2147483647 w 624"/>
                      <a:gd name="T31" fmla="*/ 2147483647 h 450"/>
                      <a:gd name="T32" fmla="*/ 2147483647 w 624"/>
                      <a:gd name="T33" fmla="*/ 2147483647 h 450"/>
                      <a:gd name="T34" fmla="*/ 2147483647 w 624"/>
                      <a:gd name="T35" fmla="*/ 2147483647 h 450"/>
                      <a:gd name="T36" fmla="*/ 2147483647 w 624"/>
                      <a:gd name="T37" fmla="*/ 2147483647 h 450"/>
                      <a:gd name="T38" fmla="*/ 2147483647 w 624"/>
                      <a:gd name="T39" fmla="*/ 2147483647 h 450"/>
                      <a:gd name="T40" fmla="*/ 2147483647 w 624"/>
                      <a:gd name="T41" fmla="*/ 2147483647 h 450"/>
                      <a:gd name="T42" fmla="*/ 2147483647 w 624"/>
                      <a:gd name="T43" fmla="*/ 2147483647 h 450"/>
                      <a:gd name="T44" fmla="*/ 2147483647 w 624"/>
                      <a:gd name="T45" fmla="*/ 2147483647 h 450"/>
                      <a:gd name="T46" fmla="*/ 2147483647 w 624"/>
                      <a:gd name="T47" fmla="*/ 2147483647 h 450"/>
                      <a:gd name="T48" fmla="*/ 2147483647 w 624"/>
                      <a:gd name="T49" fmla="*/ 2147483647 h 450"/>
                      <a:gd name="T50" fmla="*/ 2147483647 w 624"/>
                      <a:gd name="T51" fmla="*/ 2147483647 h 450"/>
                      <a:gd name="T52" fmla="*/ 2147483647 w 624"/>
                      <a:gd name="T53" fmla="*/ 2147483647 h 450"/>
                      <a:gd name="T54" fmla="*/ 2147483647 w 624"/>
                      <a:gd name="T55" fmla="*/ 2147483647 h 450"/>
                      <a:gd name="T56" fmla="*/ 2147483647 w 624"/>
                      <a:gd name="T57" fmla="*/ 2147483647 h 450"/>
                      <a:gd name="T58" fmla="*/ 0 w 624"/>
                      <a:gd name="T59" fmla="*/ 2147483647 h 450"/>
                      <a:gd name="T60" fmla="*/ 2147483647 w 624"/>
                      <a:gd name="T61" fmla="*/ 2147483647 h 450"/>
                      <a:gd name="T62" fmla="*/ 2147483647 w 624"/>
                      <a:gd name="T63" fmla="*/ 2147483647 h 450"/>
                      <a:gd name="T64" fmla="*/ 2147483647 w 624"/>
                      <a:gd name="T65" fmla="*/ 2147483647 h 450"/>
                      <a:gd name="T66" fmla="*/ 2147483647 w 624"/>
                      <a:gd name="T67" fmla="*/ 2147483647 h 450"/>
                      <a:gd name="T68" fmla="*/ 2147483647 w 624"/>
                      <a:gd name="T69" fmla="*/ 2147483647 h 450"/>
                      <a:gd name="T70" fmla="*/ 2147483647 w 624"/>
                      <a:gd name="T71" fmla="*/ 2147483647 h 450"/>
                      <a:gd name="T72" fmla="*/ 2147483647 w 624"/>
                      <a:gd name="T73" fmla="*/ 2147483647 h 450"/>
                      <a:gd name="T74" fmla="*/ 2147483647 w 624"/>
                      <a:gd name="T75" fmla="*/ 2147483647 h 450"/>
                      <a:gd name="T76" fmla="*/ 2147483647 w 624"/>
                      <a:gd name="T77" fmla="*/ 2147483647 h 450"/>
                      <a:gd name="T78" fmla="*/ 2147483647 w 624"/>
                      <a:gd name="T79" fmla="*/ 2147483647 h 450"/>
                      <a:gd name="T80" fmla="*/ 2147483647 w 624"/>
                      <a:gd name="T81" fmla="*/ 2147483647 h 450"/>
                      <a:gd name="T82" fmla="*/ 2147483647 w 624"/>
                      <a:gd name="T83" fmla="*/ 2147483647 h 450"/>
                      <a:gd name="T84" fmla="*/ 2147483647 w 624"/>
                      <a:gd name="T85" fmla="*/ 2147483647 h 450"/>
                      <a:gd name="T86" fmla="*/ 2147483647 w 624"/>
                      <a:gd name="T87" fmla="*/ 2147483647 h 450"/>
                      <a:gd name="T88" fmla="*/ 2147483647 w 624"/>
                      <a:gd name="T89" fmla="*/ 2147483647 h 450"/>
                      <a:gd name="T90" fmla="*/ 2147483647 w 624"/>
                      <a:gd name="T91" fmla="*/ 2147483647 h 450"/>
                      <a:gd name="T92" fmla="*/ 2147483647 w 624"/>
                      <a:gd name="T93" fmla="*/ 2147483647 h 450"/>
                      <a:gd name="T94" fmla="*/ 2147483647 w 624"/>
                      <a:gd name="T95" fmla="*/ 2147483647 h 450"/>
                      <a:gd name="T96" fmla="*/ 2147483647 w 624"/>
                      <a:gd name="T97" fmla="*/ 2147483647 h 450"/>
                      <a:gd name="T98" fmla="*/ 2147483647 w 624"/>
                      <a:gd name="T99" fmla="*/ 2147483647 h 450"/>
                      <a:gd name="T100" fmla="*/ 2147483647 w 624"/>
                      <a:gd name="T101" fmla="*/ 2147483647 h 450"/>
                      <a:gd name="T102" fmla="*/ 2147483647 w 624"/>
                      <a:gd name="T103" fmla="*/ 2147483647 h 450"/>
                      <a:gd name="T104" fmla="*/ 2147483647 w 624"/>
                      <a:gd name="T105" fmla="*/ 2147483647 h 450"/>
                      <a:gd name="T106" fmla="*/ 2147483647 w 624"/>
                      <a:gd name="T107" fmla="*/ 2147483647 h 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24"/>
                      <a:gd name="T163" fmla="*/ 0 h 450"/>
                      <a:gd name="T164" fmla="*/ 624 w 624"/>
                      <a:gd name="T165" fmla="*/ 450 h 45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24" h="450">
                        <a:moveTo>
                          <a:pt x="426" y="426"/>
                        </a:moveTo>
                        <a:lnTo>
                          <a:pt x="432" y="426"/>
                        </a:lnTo>
                        <a:lnTo>
                          <a:pt x="444" y="420"/>
                        </a:lnTo>
                        <a:lnTo>
                          <a:pt x="450" y="414"/>
                        </a:lnTo>
                        <a:lnTo>
                          <a:pt x="474" y="414"/>
                        </a:lnTo>
                        <a:lnTo>
                          <a:pt x="498" y="438"/>
                        </a:lnTo>
                        <a:lnTo>
                          <a:pt x="528" y="438"/>
                        </a:lnTo>
                        <a:lnTo>
                          <a:pt x="528" y="450"/>
                        </a:lnTo>
                        <a:lnTo>
                          <a:pt x="552" y="450"/>
                        </a:lnTo>
                        <a:lnTo>
                          <a:pt x="540" y="438"/>
                        </a:lnTo>
                        <a:lnTo>
                          <a:pt x="540" y="396"/>
                        </a:lnTo>
                        <a:lnTo>
                          <a:pt x="594" y="348"/>
                        </a:lnTo>
                        <a:lnTo>
                          <a:pt x="606" y="348"/>
                        </a:lnTo>
                        <a:lnTo>
                          <a:pt x="612" y="342"/>
                        </a:lnTo>
                        <a:lnTo>
                          <a:pt x="618" y="342"/>
                        </a:lnTo>
                        <a:lnTo>
                          <a:pt x="624" y="336"/>
                        </a:lnTo>
                        <a:lnTo>
                          <a:pt x="618" y="330"/>
                        </a:lnTo>
                        <a:lnTo>
                          <a:pt x="618" y="324"/>
                        </a:lnTo>
                        <a:lnTo>
                          <a:pt x="612" y="318"/>
                        </a:lnTo>
                        <a:lnTo>
                          <a:pt x="618" y="306"/>
                        </a:lnTo>
                        <a:lnTo>
                          <a:pt x="612" y="300"/>
                        </a:lnTo>
                        <a:lnTo>
                          <a:pt x="600" y="294"/>
                        </a:lnTo>
                        <a:lnTo>
                          <a:pt x="600" y="288"/>
                        </a:lnTo>
                        <a:lnTo>
                          <a:pt x="582" y="270"/>
                        </a:lnTo>
                        <a:lnTo>
                          <a:pt x="576" y="252"/>
                        </a:lnTo>
                        <a:lnTo>
                          <a:pt x="582" y="252"/>
                        </a:lnTo>
                        <a:lnTo>
                          <a:pt x="576" y="240"/>
                        </a:lnTo>
                        <a:lnTo>
                          <a:pt x="576" y="210"/>
                        </a:lnTo>
                        <a:lnTo>
                          <a:pt x="564" y="198"/>
                        </a:lnTo>
                        <a:lnTo>
                          <a:pt x="558" y="198"/>
                        </a:lnTo>
                        <a:lnTo>
                          <a:pt x="552" y="192"/>
                        </a:lnTo>
                        <a:lnTo>
                          <a:pt x="552" y="186"/>
                        </a:lnTo>
                        <a:lnTo>
                          <a:pt x="564" y="186"/>
                        </a:lnTo>
                        <a:lnTo>
                          <a:pt x="564" y="168"/>
                        </a:lnTo>
                        <a:lnTo>
                          <a:pt x="588" y="162"/>
                        </a:lnTo>
                        <a:lnTo>
                          <a:pt x="588" y="150"/>
                        </a:lnTo>
                        <a:lnTo>
                          <a:pt x="594" y="144"/>
                        </a:lnTo>
                        <a:lnTo>
                          <a:pt x="594" y="138"/>
                        </a:lnTo>
                        <a:lnTo>
                          <a:pt x="588" y="132"/>
                        </a:lnTo>
                        <a:lnTo>
                          <a:pt x="576" y="108"/>
                        </a:lnTo>
                        <a:lnTo>
                          <a:pt x="570" y="102"/>
                        </a:lnTo>
                        <a:lnTo>
                          <a:pt x="570" y="90"/>
                        </a:lnTo>
                        <a:lnTo>
                          <a:pt x="564" y="84"/>
                        </a:lnTo>
                        <a:lnTo>
                          <a:pt x="558" y="72"/>
                        </a:lnTo>
                        <a:lnTo>
                          <a:pt x="558" y="48"/>
                        </a:lnTo>
                        <a:lnTo>
                          <a:pt x="546" y="42"/>
                        </a:lnTo>
                        <a:lnTo>
                          <a:pt x="540" y="42"/>
                        </a:lnTo>
                        <a:lnTo>
                          <a:pt x="522" y="36"/>
                        </a:lnTo>
                        <a:lnTo>
                          <a:pt x="498" y="36"/>
                        </a:lnTo>
                        <a:lnTo>
                          <a:pt x="498" y="42"/>
                        </a:lnTo>
                        <a:lnTo>
                          <a:pt x="408" y="42"/>
                        </a:lnTo>
                        <a:lnTo>
                          <a:pt x="402" y="36"/>
                        </a:lnTo>
                        <a:lnTo>
                          <a:pt x="390" y="36"/>
                        </a:lnTo>
                        <a:lnTo>
                          <a:pt x="384" y="30"/>
                        </a:lnTo>
                        <a:lnTo>
                          <a:pt x="360" y="30"/>
                        </a:lnTo>
                        <a:lnTo>
                          <a:pt x="354" y="36"/>
                        </a:lnTo>
                        <a:lnTo>
                          <a:pt x="348" y="36"/>
                        </a:lnTo>
                        <a:lnTo>
                          <a:pt x="342" y="30"/>
                        </a:lnTo>
                        <a:lnTo>
                          <a:pt x="312" y="30"/>
                        </a:lnTo>
                        <a:lnTo>
                          <a:pt x="300" y="36"/>
                        </a:lnTo>
                        <a:lnTo>
                          <a:pt x="282" y="36"/>
                        </a:lnTo>
                        <a:lnTo>
                          <a:pt x="276" y="30"/>
                        </a:lnTo>
                        <a:lnTo>
                          <a:pt x="270" y="18"/>
                        </a:lnTo>
                        <a:lnTo>
                          <a:pt x="264" y="12"/>
                        </a:lnTo>
                        <a:lnTo>
                          <a:pt x="264" y="6"/>
                        </a:lnTo>
                        <a:lnTo>
                          <a:pt x="258" y="6"/>
                        </a:lnTo>
                        <a:lnTo>
                          <a:pt x="252" y="0"/>
                        </a:lnTo>
                        <a:lnTo>
                          <a:pt x="210" y="0"/>
                        </a:lnTo>
                        <a:lnTo>
                          <a:pt x="192" y="6"/>
                        </a:lnTo>
                        <a:lnTo>
                          <a:pt x="180" y="12"/>
                        </a:lnTo>
                        <a:lnTo>
                          <a:pt x="162" y="12"/>
                        </a:lnTo>
                        <a:lnTo>
                          <a:pt x="150" y="18"/>
                        </a:lnTo>
                        <a:lnTo>
                          <a:pt x="144" y="24"/>
                        </a:lnTo>
                        <a:lnTo>
                          <a:pt x="138" y="24"/>
                        </a:lnTo>
                        <a:lnTo>
                          <a:pt x="120" y="42"/>
                        </a:lnTo>
                        <a:lnTo>
                          <a:pt x="60" y="48"/>
                        </a:lnTo>
                        <a:lnTo>
                          <a:pt x="54" y="48"/>
                        </a:lnTo>
                        <a:lnTo>
                          <a:pt x="48" y="54"/>
                        </a:lnTo>
                        <a:lnTo>
                          <a:pt x="24" y="66"/>
                        </a:lnTo>
                        <a:lnTo>
                          <a:pt x="18" y="66"/>
                        </a:lnTo>
                        <a:lnTo>
                          <a:pt x="12" y="72"/>
                        </a:lnTo>
                        <a:lnTo>
                          <a:pt x="18" y="78"/>
                        </a:lnTo>
                        <a:lnTo>
                          <a:pt x="18" y="96"/>
                        </a:lnTo>
                        <a:lnTo>
                          <a:pt x="6" y="90"/>
                        </a:lnTo>
                        <a:lnTo>
                          <a:pt x="6" y="108"/>
                        </a:lnTo>
                        <a:lnTo>
                          <a:pt x="12" y="108"/>
                        </a:lnTo>
                        <a:lnTo>
                          <a:pt x="18" y="114"/>
                        </a:lnTo>
                        <a:lnTo>
                          <a:pt x="18" y="132"/>
                        </a:lnTo>
                        <a:lnTo>
                          <a:pt x="6" y="144"/>
                        </a:lnTo>
                        <a:lnTo>
                          <a:pt x="0" y="144"/>
                        </a:lnTo>
                        <a:lnTo>
                          <a:pt x="0" y="156"/>
                        </a:lnTo>
                        <a:lnTo>
                          <a:pt x="6" y="162"/>
                        </a:lnTo>
                        <a:lnTo>
                          <a:pt x="12" y="162"/>
                        </a:lnTo>
                        <a:lnTo>
                          <a:pt x="18" y="168"/>
                        </a:lnTo>
                        <a:lnTo>
                          <a:pt x="30" y="168"/>
                        </a:lnTo>
                        <a:lnTo>
                          <a:pt x="30" y="186"/>
                        </a:lnTo>
                        <a:lnTo>
                          <a:pt x="24" y="186"/>
                        </a:lnTo>
                        <a:lnTo>
                          <a:pt x="24" y="198"/>
                        </a:lnTo>
                        <a:lnTo>
                          <a:pt x="36" y="198"/>
                        </a:lnTo>
                        <a:lnTo>
                          <a:pt x="36" y="204"/>
                        </a:lnTo>
                        <a:lnTo>
                          <a:pt x="30" y="210"/>
                        </a:lnTo>
                        <a:lnTo>
                          <a:pt x="36" y="210"/>
                        </a:lnTo>
                        <a:lnTo>
                          <a:pt x="42" y="216"/>
                        </a:lnTo>
                        <a:lnTo>
                          <a:pt x="36" y="222"/>
                        </a:lnTo>
                        <a:lnTo>
                          <a:pt x="24" y="228"/>
                        </a:lnTo>
                        <a:lnTo>
                          <a:pt x="24" y="234"/>
                        </a:lnTo>
                        <a:lnTo>
                          <a:pt x="30" y="240"/>
                        </a:lnTo>
                        <a:lnTo>
                          <a:pt x="36" y="240"/>
                        </a:lnTo>
                        <a:lnTo>
                          <a:pt x="42" y="246"/>
                        </a:lnTo>
                        <a:lnTo>
                          <a:pt x="42" y="264"/>
                        </a:lnTo>
                        <a:lnTo>
                          <a:pt x="48" y="258"/>
                        </a:lnTo>
                        <a:lnTo>
                          <a:pt x="54" y="258"/>
                        </a:lnTo>
                        <a:lnTo>
                          <a:pt x="54" y="270"/>
                        </a:lnTo>
                        <a:lnTo>
                          <a:pt x="48" y="276"/>
                        </a:lnTo>
                        <a:lnTo>
                          <a:pt x="60" y="276"/>
                        </a:lnTo>
                        <a:lnTo>
                          <a:pt x="60" y="282"/>
                        </a:lnTo>
                        <a:lnTo>
                          <a:pt x="54" y="282"/>
                        </a:lnTo>
                        <a:lnTo>
                          <a:pt x="54" y="294"/>
                        </a:lnTo>
                        <a:lnTo>
                          <a:pt x="72" y="294"/>
                        </a:lnTo>
                        <a:lnTo>
                          <a:pt x="78" y="312"/>
                        </a:lnTo>
                        <a:lnTo>
                          <a:pt x="96" y="312"/>
                        </a:lnTo>
                        <a:lnTo>
                          <a:pt x="108" y="318"/>
                        </a:lnTo>
                        <a:lnTo>
                          <a:pt x="114" y="318"/>
                        </a:lnTo>
                        <a:lnTo>
                          <a:pt x="114" y="324"/>
                        </a:lnTo>
                        <a:lnTo>
                          <a:pt x="138" y="324"/>
                        </a:lnTo>
                        <a:lnTo>
                          <a:pt x="144" y="330"/>
                        </a:lnTo>
                        <a:lnTo>
                          <a:pt x="132" y="336"/>
                        </a:lnTo>
                        <a:lnTo>
                          <a:pt x="144" y="342"/>
                        </a:lnTo>
                        <a:lnTo>
                          <a:pt x="144" y="354"/>
                        </a:lnTo>
                        <a:lnTo>
                          <a:pt x="150" y="354"/>
                        </a:lnTo>
                        <a:lnTo>
                          <a:pt x="156" y="360"/>
                        </a:lnTo>
                        <a:lnTo>
                          <a:pt x="174" y="360"/>
                        </a:lnTo>
                        <a:lnTo>
                          <a:pt x="174" y="354"/>
                        </a:lnTo>
                        <a:lnTo>
                          <a:pt x="180" y="354"/>
                        </a:lnTo>
                        <a:lnTo>
                          <a:pt x="192" y="348"/>
                        </a:lnTo>
                        <a:lnTo>
                          <a:pt x="210" y="348"/>
                        </a:lnTo>
                        <a:lnTo>
                          <a:pt x="204" y="354"/>
                        </a:lnTo>
                        <a:lnTo>
                          <a:pt x="222" y="354"/>
                        </a:lnTo>
                        <a:lnTo>
                          <a:pt x="228" y="360"/>
                        </a:lnTo>
                        <a:lnTo>
                          <a:pt x="234" y="372"/>
                        </a:lnTo>
                        <a:lnTo>
                          <a:pt x="240" y="378"/>
                        </a:lnTo>
                        <a:lnTo>
                          <a:pt x="246" y="366"/>
                        </a:lnTo>
                        <a:lnTo>
                          <a:pt x="252" y="372"/>
                        </a:lnTo>
                        <a:lnTo>
                          <a:pt x="252" y="378"/>
                        </a:lnTo>
                        <a:lnTo>
                          <a:pt x="270" y="378"/>
                        </a:lnTo>
                        <a:lnTo>
                          <a:pt x="282" y="384"/>
                        </a:lnTo>
                        <a:lnTo>
                          <a:pt x="282" y="390"/>
                        </a:lnTo>
                        <a:lnTo>
                          <a:pt x="288" y="402"/>
                        </a:lnTo>
                        <a:lnTo>
                          <a:pt x="306" y="420"/>
                        </a:lnTo>
                        <a:lnTo>
                          <a:pt x="318" y="420"/>
                        </a:lnTo>
                        <a:lnTo>
                          <a:pt x="330" y="408"/>
                        </a:lnTo>
                        <a:lnTo>
                          <a:pt x="342" y="408"/>
                        </a:lnTo>
                        <a:lnTo>
                          <a:pt x="354" y="420"/>
                        </a:lnTo>
                        <a:lnTo>
                          <a:pt x="360" y="420"/>
                        </a:lnTo>
                        <a:lnTo>
                          <a:pt x="360" y="426"/>
                        </a:lnTo>
                        <a:lnTo>
                          <a:pt x="366" y="432"/>
                        </a:lnTo>
                        <a:lnTo>
                          <a:pt x="378" y="432"/>
                        </a:lnTo>
                        <a:lnTo>
                          <a:pt x="384" y="426"/>
                        </a:lnTo>
                        <a:lnTo>
                          <a:pt x="384" y="420"/>
                        </a:lnTo>
                        <a:lnTo>
                          <a:pt x="414" y="420"/>
                        </a:lnTo>
                        <a:lnTo>
                          <a:pt x="420" y="426"/>
                        </a:lnTo>
                        <a:lnTo>
                          <a:pt x="426" y="42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67" name="Philippines"/>
                  <p:cNvSpPr>
                    <a:spLocks noEditPoints="1"/>
                  </p:cNvSpPr>
                  <p:nvPr/>
                </p:nvSpPr>
                <p:spPr bwMode="gray">
                  <a:xfrm>
                    <a:off x="4780" y="1924"/>
                    <a:ext cx="183" cy="307"/>
                  </a:xfrm>
                  <a:custGeom>
                    <a:avLst/>
                    <a:gdLst>
                      <a:gd name="T0" fmla="*/ 2147483647 w 714"/>
                      <a:gd name="T1" fmla="*/ 2147483647 h 1200"/>
                      <a:gd name="T2" fmla="*/ 2147483647 w 714"/>
                      <a:gd name="T3" fmla="*/ 2147483647 h 1200"/>
                      <a:gd name="T4" fmla="*/ 2147483647 w 714"/>
                      <a:gd name="T5" fmla="*/ 2147483647 h 1200"/>
                      <a:gd name="T6" fmla="*/ 2147483647 w 714"/>
                      <a:gd name="T7" fmla="*/ 2147483647 h 1200"/>
                      <a:gd name="T8" fmla="*/ 2147483647 w 714"/>
                      <a:gd name="T9" fmla="*/ 2147483647 h 1200"/>
                      <a:gd name="T10" fmla="*/ 2147483647 w 714"/>
                      <a:gd name="T11" fmla="*/ 2147483647 h 1200"/>
                      <a:gd name="T12" fmla="*/ 2147483647 w 714"/>
                      <a:gd name="T13" fmla="*/ 2147483647 h 1200"/>
                      <a:gd name="T14" fmla="*/ 2147483647 w 714"/>
                      <a:gd name="T15" fmla="*/ 2147483647 h 1200"/>
                      <a:gd name="T16" fmla="*/ 2147483647 w 714"/>
                      <a:gd name="T17" fmla="*/ 2147483647 h 1200"/>
                      <a:gd name="T18" fmla="*/ 2147483647 w 714"/>
                      <a:gd name="T19" fmla="*/ 2147483647 h 1200"/>
                      <a:gd name="T20" fmla="*/ 2147483647 w 714"/>
                      <a:gd name="T21" fmla="*/ 2147483647 h 1200"/>
                      <a:gd name="T22" fmla="*/ 2147483647 w 714"/>
                      <a:gd name="T23" fmla="*/ 2147483647 h 1200"/>
                      <a:gd name="T24" fmla="*/ 2147483647 w 714"/>
                      <a:gd name="T25" fmla="*/ 2147483647 h 1200"/>
                      <a:gd name="T26" fmla="*/ 2147483647 w 714"/>
                      <a:gd name="T27" fmla="*/ 2147483647 h 1200"/>
                      <a:gd name="T28" fmla="*/ 2147483647 w 714"/>
                      <a:gd name="T29" fmla="*/ 2147483647 h 1200"/>
                      <a:gd name="T30" fmla="*/ 2147483647 w 714"/>
                      <a:gd name="T31" fmla="*/ 2147483647 h 1200"/>
                      <a:gd name="T32" fmla="*/ 2147483647 w 714"/>
                      <a:gd name="T33" fmla="*/ 2147483647 h 1200"/>
                      <a:gd name="T34" fmla="*/ 2147483647 w 714"/>
                      <a:gd name="T35" fmla="*/ 2147483647 h 1200"/>
                      <a:gd name="T36" fmla="*/ 2147483647 w 714"/>
                      <a:gd name="T37" fmla="*/ 2147483647 h 1200"/>
                      <a:gd name="T38" fmla="*/ 2147483647 w 714"/>
                      <a:gd name="T39" fmla="*/ 2147483647 h 1200"/>
                      <a:gd name="T40" fmla="*/ 2147483647 w 714"/>
                      <a:gd name="T41" fmla="*/ 2147483647 h 1200"/>
                      <a:gd name="T42" fmla="*/ 2147483647 w 714"/>
                      <a:gd name="T43" fmla="*/ 2147483647 h 1200"/>
                      <a:gd name="T44" fmla="*/ 2147483647 w 714"/>
                      <a:gd name="T45" fmla="*/ 2147483647 h 1200"/>
                      <a:gd name="T46" fmla="*/ 2147483647 w 714"/>
                      <a:gd name="T47" fmla="*/ 2147483647 h 1200"/>
                      <a:gd name="T48" fmla="*/ 2147483647 w 714"/>
                      <a:gd name="T49" fmla="*/ 2147483647 h 1200"/>
                      <a:gd name="T50" fmla="*/ 2147483647 w 714"/>
                      <a:gd name="T51" fmla="*/ 2147483647 h 1200"/>
                      <a:gd name="T52" fmla="*/ 2147483647 w 714"/>
                      <a:gd name="T53" fmla="*/ 2147483647 h 1200"/>
                      <a:gd name="T54" fmla="*/ 2147483647 w 714"/>
                      <a:gd name="T55" fmla="*/ 2147483647 h 1200"/>
                      <a:gd name="T56" fmla="*/ 2147483647 w 714"/>
                      <a:gd name="T57" fmla="*/ 2147483647 h 1200"/>
                      <a:gd name="T58" fmla="*/ 2147483647 w 714"/>
                      <a:gd name="T59" fmla="*/ 2147483647 h 1200"/>
                      <a:gd name="T60" fmla="*/ 2147483647 w 714"/>
                      <a:gd name="T61" fmla="*/ 2147483647 h 1200"/>
                      <a:gd name="T62" fmla="*/ 2147483647 w 714"/>
                      <a:gd name="T63" fmla="*/ 2147483647 h 1200"/>
                      <a:gd name="T64" fmla="*/ 2147483647 w 714"/>
                      <a:gd name="T65" fmla="*/ 2147483647 h 1200"/>
                      <a:gd name="T66" fmla="*/ 2147483647 w 714"/>
                      <a:gd name="T67" fmla="*/ 2147483647 h 1200"/>
                      <a:gd name="T68" fmla="*/ 2147483647 w 714"/>
                      <a:gd name="T69" fmla="*/ 2147483647 h 1200"/>
                      <a:gd name="T70" fmla="*/ 2147483647 w 714"/>
                      <a:gd name="T71" fmla="*/ 2147483647 h 1200"/>
                      <a:gd name="T72" fmla="*/ 2147483647 w 714"/>
                      <a:gd name="T73" fmla="*/ 2147483647 h 1200"/>
                      <a:gd name="T74" fmla="*/ 2147483647 w 714"/>
                      <a:gd name="T75" fmla="*/ 2147483647 h 1200"/>
                      <a:gd name="T76" fmla="*/ 2147483647 w 714"/>
                      <a:gd name="T77" fmla="*/ 2147483647 h 1200"/>
                      <a:gd name="T78" fmla="*/ 2147483647 w 714"/>
                      <a:gd name="T79" fmla="*/ 0 h 1200"/>
                      <a:gd name="T80" fmla="*/ 2147483647 w 714"/>
                      <a:gd name="T81" fmla="*/ 2147483647 h 1200"/>
                      <a:gd name="T82" fmla="*/ 2147483647 w 714"/>
                      <a:gd name="T83" fmla="*/ 2147483647 h 1200"/>
                      <a:gd name="T84" fmla="*/ 2147483647 w 714"/>
                      <a:gd name="T85" fmla="*/ 2147483647 h 1200"/>
                      <a:gd name="T86" fmla="*/ 2147483647 w 714"/>
                      <a:gd name="T87" fmla="*/ 2147483647 h 1200"/>
                      <a:gd name="T88" fmla="*/ 2147483647 w 714"/>
                      <a:gd name="T89" fmla="*/ 2147483647 h 1200"/>
                      <a:gd name="T90" fmla="*/ 2147483647 w 714"/>
                      <a:gd name="T91" fmla="*/ 2147483647 h 1200"/>
                      <a:gd name="T92" fmla="*/ 2147483647 w 714"/>
                      <a:gd name="T93" fmla="*/ 2147483647 h 1200"/>
                      <a:gd name="T94" fmla="*/ 2147483647 w 714"/>
                      <a:gd name="T95" fmla="*/ 2147483647 h 1200"/>
                      <a:gd name="T96" fmla="*/ 2147483647 w 714"/>
                      <a:gd name="T97" fmla="*/ 2147483647 h 1200"/>
                      <a:gd name="T98" fmla="*/ 2147483647 w 714"/>
                      <a:gd name="T99" fmla="*/ 2147483647 h 1200"/>
                      <a:gd name="T100" fmla="*/ 2147483647 w 714"/>
                      <a:gd name="T101" fmla="*/ 2147483647 h 1200"/>
                      <a:gd name="T102" fmla="*/ 2147483647 w 714"/>
                      <a:gd name="T103" fmla="*/ 2147483647 h 1200"/>
                      <a:gd name="T104" fmla="*/ 2147483647 w 714"/>
                      <a:gd name="T105" fmla="*/ 2147483647 h 1200"/>
                      <a:gd name="T106" fmla="*/ 2147483647 w 714"/>
                      <a:gd name="T107" fmla="*/ 2147483647 h 1200"/>
                      <a:gd name="T108" fmla="*/ 2147483647 w 714"/>
                      <a:gd name="T109" fmla="*/ 2147483647 h 1200"/>
                      <a:gd name="T110" fmla="*/ 2147483647 w 714"/>
                      <a:gd name="T111" fmla="*/ 2147483647 h 1200"/>
                      <a:gd name="T112" fmla="*/ 2147483647 w 714"/>
                      <a:gd name="T113" fmla="*/ 2147483647 h 1200"/>
                      <a:gd name="T114" fmla="*/ 2147483647 w 714"/>
                      <a:gd name="T115" fmla="*/ 2147483647 h 1200"/>
                      <a:gd name="T116" fmla="*/ 2147483647 w 714"/>
                      <a:gd name="T117" fmla="*/ 2147483647 h 120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714"/>
                      <a:gd name="T178" fmla="*/ 0 h 1200"/>
                      <a:gd name="T179" fmla="*/ 714 w 714"/>
                      <a:gd name="T180" fmla="*/ 1200 h 1200"/>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714" h="1200">
                        <a:moveTo>
                          <a:pt x="702" y="1140"/>
                        </a:moveTo>
                        <a:lnTo>
                          <a:pt x="690" y="1170"/>
                        </a:lnTo>
                        <a:lnTo>
                          <a:pt x="696" y="1200"/>
                        </a:lnTo>
                        <a:lnTo>
                          <a:pt x="714" y="1182"/>
                        </a:lnTo>
                        <a:lnTo>
                          <a:pt x="714" y="1140"/>
                        </a:lnTo>
                        <a:lnTo>
                          <a:pt x="702" y="1140"/>
                        </a:lnTo>
                        <a:close/>
                        <a:moveTo>
                          <a:pt x="582" y="1176"/>
                        </a:moveTo>
                        <a:lnTo>
                          <a:pt x="600" y="1140"/>
                        </a:lnTo>
                        <a:lnTo>
                          <a:pt x="576" y="1134"/>
                        </a:lnTo>
                        <a:lnTo>
                          <a:pt x="582" y="1176"/>
                        </a:lnTo>
                        <a:close/>
                        <a:moveTo>
                          <a:pt x="246" y="1038"/>
                        </a:moveTo>
                        <a:lnTo>
                          <a:pt x="264" y="1050"/>
                        </a:lnTo>
                        <a:lnTo>
                          <a:pt x="282" y="1020"/>
                        </a:lnTo>
                        <a:lnTo>
                          <a:pt x="258" y="1008"/>
                        </a:lnTo>
                        <a:lnTo>
                          <a:pt x="246" y="1038"/>
                        </a:lnTo>
                        <a:close/>
                        <a:moveTo>
                          <a:pt x="504" y="558"/>
                        </a:moveTo>
                        <a:lnTo>
                          <a:pt x="540" y="576"/>
                        </a:lnTo>
                        <a:lnTo>
                          <a:pt x="540" y="582"/>
                        </a:lnTo>
                        <a:lnTo>
                          <a:pt x="534" y="588"/>
                        </a:lnTo>
                        <a:lnTo>
                          <a:pt x="504" y="588"/>
                        </a:lnTo>
                        <a:lnTo>
                          <a:pt x="570" y="642"/>
                        </a:lnTo>
                        <a:lnTo>
                          <a:pt x="570" y="618"/>
                        </a:lnTo>
                        <a:lnTo>
                          <a:pt x="600" y="624"/>
                        </a:lnTo>
                        <a:lnTo>
                          <a:pt x="576" y="588"/>
                        </a:lnTo>
                        <a:lnTo>
                          <a:pt x="576" y="582"/>
                        </a:lnTo>
                        <a:lnTo>
                          <a:pt x="570" y="576"/>
                        </a:lnTo>
                        <a:lnTo>
                          <a:pt x="570" y="558"/>
                        </a:lnTo>
                        <a:lnTo>
                          <a:pt x="564" y="546"/>
                        </a:lnTo>
                        <a:lnTo>
                          <a:pt x="534" y="516"/>
                        </a:lnTo>
                        <a:lnTo>
                          <a:pt x="522" y="510"/>
                        </a:lnTo>
                        <a:lnTo>
                          <a:pt x="504" y="504"/>
                        </a:lnTo>
                        <a:lnTo>
                          <a:pt x="492" y="498"/>
                        </a:lnTo>
                        <a:lnTo>
                          <a:pt x="474" y="498"/>
                        </a:lnTo>
                        <a:lnTo>
                          <a:pt x="468" y="504"/>
                        </a:lnTo>
                        <a:lnTo>
                          <a:pt x="468" y="528"/>
                        </a:lnTo>
                        <a:lnTo>
                          <a:pt x="492" y="552"/>
                        </a:lnTo>
                        <a:lnTo>
                          <a:pt x="504" y="558"/>
                        </a:lnTo>
                        <a:close/>
                        <a:moveTo>
                          <a:pt x="462" y="666"/>
                        </a:moveTo>
                        <a:lnTo>
                          <a:pt x="474" y="750"/>
                        </a:lnTo>
                        <a:lnTo>
                          <a:pt x="486" y="672"/>
                        </a:lnTo>
                        <a:lnTo>
                          <a:pt x="462" y="618"/>
                        </a:lnTo>
                        <a:lnTo>
                          <a:pt x="438" y="618"/>
                        </a:lnTo>
                        <a:lnTo>
                          <a:pt x="462" y="666"/>
                        </a:lnTo>
                        <a:close/>
                        <a:moveTo>
                          <a:pt x="492" y="738"/>
                        </a:moveTo>
                        <a:lnTo>
                          <a:pt x="522" y="738"/>
                        </a:lnTo>
                        <a:lnTo>
                          <a:pt x="528" y="708"/>
                        </a:lnTo>
                        <a:lnTo>
                          <a:pt x="498" y="702"/>
                        </a:lnTo>
                        <a:lnTo>
                          <a:pt x="492" y="738"/>
                        </a:lnTo>
                        <a:close/>
                        <a:moveTo>
                          <a:pt x="570" y="660"/>
                        </a:moveTo>
                        <a:lnTo>
                          <a:pt x="546" y="648"/>
                        </a:lnTo>
                        <a:lnTo>
                          <a:pt x="528" y="630"/>
                        </a:lnTo>
                        <a:lnTo>
                          <a:pt x="528" y="624"/>
                        </a:lnTo>
                        <a:lnTo>
                          <a:pt x="522" y="618"/>
                        </a:lnTo>
                        <a:lnTo>
                          <a:pt x="486" y="618"/>
                        </a:lnTo>
                        <a:lnTo>
                          <a:pt x="492" y="660"/>
                        </a:lnTo>
                        <a:lnTo>
                          <a:pt x="510" y="654"/>
                        </a:lnTo>
                        <a:lnTo>
                          <a:pt x="522" y="678"/>
                        </a:lnTo>
                        <a:lnTo>
                          <a:pt x="570" y="714"/>
                        </a:lnTo>
                        <a:lnTo>
                          <a:pt x="570" y="660"/>
                        </a:lnTo>
                        <a:close/>
                        <a:moveTo>
                          <a:pt x="162" y="600"/>
                        </a:moveTo>
                        <a:lnTo>
                          <a:pt x="144" y="582"/>
                        </a:lnTo>
                        <a:lnTo>
                          <a:pt x="138" y="606"/>
                        </a:lnTo>
                        <a:lnTo>
                          <a:pt x="132" y="618"/>
                        </a:lnTo>
                        <a:lnTo>
                          <a:pt x="126" y="624"/>
                        </a:lnTo>
                        <a:lnTo>
                          <a:pt x="120" y="642"/>
                        </a:lnTo>
                        <a:lnTo>
                          <a:pt x="120" y="654"/>
                        </a:lnTo>
                        <a:lnTo>
                          <a:pt x="126" y="660"/>
                        </a:lnTo>
                        <a:lnTo>
                          <a:pt x="138" y="666"/>
                        </a:lnTo>
                        <a:lnTo>
                          <a:pt x="150" y="678"/>
                        </a:lnTo>
                        <a:lnTo>
                          <a:pt x="144" y="684"/>
                        </a:lnTo>
                        <a:lnTo>
                          <a:pt x="120" y="696"/>
                        </a:lnTo>
                        <a:lnTo>
                          <a:pt x="114" y="702"/>
                        </a:lnTo>
                        <a:lnTo>
                          <a:pt x="102" y="708"/>
                        </a:lnTo>
                        <a:lnTo>
                          <a:pt x="96" y="732"/>
                        </a:lnTo>
                        <a:lnTo>
                          <a:pt x="72" y="750"/>
                        </a:lnTo>
                        <a:lnTo>
                          <a:pt x="72" y="762"/>
                        </a:lnTo>
                        <a:lnTo>
                          <a:pt x="60" y="774"/>
                        </a:lnTo>
                        <a:lnTo>
                          <a:pt x="48" y="780"/>
                        </a:lnTo>
                        <a:lnTo>
                          <a:pt x="42" y="786"/>
                        </a:lnTo>
                        <a:lnTo>
                          <a:pt x="30" y="792"/>
                        </a:lnTo>
                        <a:lnTo>
                          <a:pt x="24" y="798"/>
                        </a:lnTo>
                        <a:lnTo>
                          <a:pt x="18" y="798"/>
                        </a:lnTo>
                        <a:lnTo>
                          <a:pt x="18" y="804"/>
                        </a:lnTo>
                        <a:lnTo>
                          <a:pt x="12" y="810"/>
                        </a:lnTo>
                        <a:lnTo>
                          <a:pt x="0" y="834"/>
                        </a:lnTo>
                        <a:lnTo>
                          <a:pt x="0" y="864"/>
                        </a:lnTo>
                        <a:lnTo>
                          <a:pt x="30" y="834"/>
                        </a:lnTo>
                        <a:lnTo>
                          <a:pt x="30" y="816"/>
                        </a:lnTo>
                        <a:lnTo>
                          <a:pt x="36" y="810"/>
                        </a:lnTo>
                        <a:lnTo>
                          <a:pt x="42" y="810"/>
                        </a:lnTo>
                        <a:lnTo>
                          <a:pt x="78" y="798"/>
                        </a:lnTo>
                        <a:lnTo>
                          <a:pt x="84" y="792"/>
                        </a:lnTo>
                        <a:lnTo>
                          <a:pt x="84" y="762"/>
                        </a:lnTo>
                        <a:lnTo>
                          <a:pt x="90" y="750"/>
                        </a:lnTo>
                        <a:lnTo>
                          <a:pt x="96" y="744"/>
                        </a:lnTo>
                        <a:lnTo>
                          <a:pt x="114" y="738"/>
                        </a:lnTo>
                        <a:lnTo>
                          <a:pt x="126" y="732"/>
                        </a:lnTo>
                        <a:lnTo>
                          <a:pt x="144" y="720"/>
                        </a:lnTo>
                        <a:lnTo>
                          <a:pt x="162" y="714"/>
                        </a:lnTo>
                        <a:lnTo>
                          <a:pt x="168" y="702"/>
                        </a:lnTo>
                        <a:lnTo>
                          <a:pt x="174" y="696"/>
                        </a:lnTo>
                        <a:lnTo>
                          <a:pt x="174" y="684"/>
                        </a:lnTo>
                        <a:lnTo>
                          <a:pt x="156" y="648"/>
                        </a:lnTo>
                        <a:lnTo>
                          <a:pt x="156" y="624"/>
                        </a:lnTo>
                        <a:lnTo>
                          <a:pt x="162" y="612"/>
                        </a:lnTo>
                        <a:lnTo>
                          <a:pt x="162" y="600"/>
                        </a:lnTo>
                        <a:close/>
                        <a:moveTo>
                          <a:pt x="330" y="1026"/>
                        </a:moveTo>
                        <a:lnTo>
                          <a:pt x="372" y="1056"/>
                        </a:lnTo>
                        <a:lnTo>
                          <a:pt x="372" y="1020"/>
                        </a:lnTo>
                        <a:lnTo>
                          <a:pt x="348" y="1002"/>
                        </a:lnTo>
                        <a:lnTo>
                          <a:pt x="330" y="1026"/>
                        </a:lnTo>
                        <a:close/>
                        <a:moveTo>
                          <a:pt x="660" y="840"/>
                        </a:moveTo>
                        <a:lnTo>
                          <a:pt x="660" y="816"/>
                        </a:lnTo>
                        <a:lnTo>
                          <a:pt x="654" y="804"/>
                        </a:lnTo>
                        <a:lnTo>
                          <a:pt x="654" y="792"/>
                        </a:lnTo>
                        <a:lnTo>
                          <a:pt x="642" y="780"/>
                        </a:lnTo>
                        <a:lnTo>
                          <a:pt x="630" y="774"/>
                        </a:lnTo>
                        <a:lnTo>
                          <a:pt x="600" y="744"/>
                        </a:lnTo>
                        <a:lnTo>
                          <a:pt x="588" y="738"/>
                        </a:lnTo>
                        <a:lnTo>
                          <a:pt x="582" y="738"/>
                        </a:lnTo>
                        <a:lnTo>
                          <a:pt x="576" y="744"/>
                        </a:lnTo>
                        <a:lnTo>
                          <a:pt x="582" y="750"/>
                        </a:lnTo>
                        <a:lnTo>
                          <a:pt x="588" y="762"/>
                        </a:lnTo>
                        <a:lnTo>
                          <a:pt x="594" y="768"/>
                        </a:lnTo>
                        <a:lnTo>
                          <a:pt x="606" y="774"/>
                        </a:lnTo>
                        <a:lnTo>
                          <a:pt x="606" y="786"/>
                        </a:lnTo>
                        <a:lnTo>
                          <a:pt x="600" y="786"/>
                        </a:lnTo>
                        <a:lnTo>
                          <a:pt x="588" y="792"/>
                        </a:lnTo>
                        <a:lnTo>
                          <a:pt x="570" y="792"/>
                        </a:lnTo>
                        <a:lnTo>
                          <a:pt x="558" y="798"/>
                        </a:lnTo>
                        <a:lnTo>
                          <a:pt x="546" y="798"/>
                        </a:lnTo>
                        <a:lnTo>
                          <a:pt x="546" y="828"/>
                        </a:lnTo>
                        <a:lnTo>
                          <a:pt x="528" y="828"/>
                        </a:lnTo>
                        <a:lnTo>
                          <a:pt x="522" y="846"/>
                        </a:lnTo>
                        <a:lnTo>
                          <a:pt x="498" y="864"/>
                        </a:lnTo>
                        <a:lnTo>
                          <a:pt x="492" y="864"/>
                        </a:lnTo>
                        <a:lnTo>
                          <a:pt x="486" y="858"/>
                        </a:lnTo>
                        <a:lnTo>
                          <a:pt x="474" y="852"/>
                        </a:lnTo>
                        <a:lnTo>
                          <a:pt x="462" y="852"/>
                        </a:lnTo>
                        <a:lnTo>
                          <a:pt x="450" y="846"/>
                        </a:lnTo>
                        <a:lnTo>
                          <a:pt x="438" y="858"/>
                        </a:lnTo>
                        <a:lnTo>
                          <a:pt x="432" y="870"/>
                        </a:lnTo>
                        <a:lnTo>
                          <a:pt x="420" y="882"/>
                        </a:lnTo>
                        <a:lnTo>
                          <a:pt x="414" y="894"/>
                        </a:lnTo>
                        <a:lnTo>
                          <a:pt x="408" y="900"/>
                        </a:lnTo>
                        <a:lnTo>
                          <a:pt x="408" y="906"/>
                        </a:lnTo>
                        <a:lnTo>
                          <a:pt x="408" y="900"/>
                        </a:lnTo>
                        <a:lnTo>
                          <a:pt x="396" y="888"/>
                        </a:lnTo>
                        <a:lnTo>
                          <a:pt x="384" y="888"/>
                        </a:lnTo>
                        <a:lnTo>
                          <a:pt x="378" y="900"/>
                        </a:lnTo>
                        <a:lnTo>
                          <a:pt x="378" y="912"/>
                        </a:lnTo>
                        <a:lnTo>
                          <a:pt x="372" y="924"/>
                        </a:lnTo>
                        <a:lnTo>
                          <a:pt x="366" y="930"/>
                        </a:lnTo>
                        <a:lnTo>
                          <a:pt x="360" y="942"/>
                        </a:lnTo>
                        <a:lnTo>
                          <a:pt x="384" y="960"/>
                        </a:lnTo>
                        <a:lnTo>
                          <a:pt x="402" y="942"/>
                        </a:lnTo>
                        <a:lnTo>
                          <a:pt x="414" y="966"/>
                        </a:lnTo>
                        <a:lnTo>
                          <a:pt x="420" y="960"/>
                        </a:lnTo>
                        <a:lnTo>
                          <a:pt x="432" y="954"/>
                        </a:lnTo>
                        <a:lnTo>
                          <a:pt x="450" y="936"/>
                        </a:lnTo>
                        <a:lnTo>
                          <a:pt x="462" y="930"/>
                        </a:lnTo>
                        <a:lnTo>
                          <a:pt x="474" y="930"/>
                        </a:lnTo>
                        <a:lnTo>
                          <a:pt x="498" y="954"/>
                        </a:lnTo>
                        <a:lnTo>
                          <a:pt x="510" y="960"/>
                        </a:lnTo>
                        <a:lnTo>
                          <a:pt x="492" y="978"/>
                        </a:lnTo>
                        <a:lnTo>
                          <a:pt x="492" y="990"/>
                        </a:lnTo>
                        <a:lnTo>
                          <a:pt x="510" y="1026"/>
                        </a:lnTo>
                        <a:lnTo>
                          <a:pt x="522" y="1044"/>
                        </a:lnTo>
                        <a:lnTo>
                          <a:pt x="534" y="1056"/>
                        </a:lnTo>
                        <a:lnTo>
                          <a:pt x="546" y="1062"/>
                        </a:lnTo>
                        <a:lnTo>
                          <a:pt x="558" y="1062"/>
                        </a:lnTo>
                        <a:lnTo>
                          <a:pt x="570" y="1068"/>
                        </a:lnTo>
                        <a:lnTo>
                          <a:pt x="582" y="1068"/>
                        </a:lnTo>
                        <a:lnTo>
                          <a:pt x="606" y="1050"/>
                        </a:lnTo>
                        <a:lnTo>
                          <a:pt x="606" y="1074"/>
                        </a:lnTo>
                        <a:lnTo>
                          <a:pt x="630" y="1074"/>
                        </a:lnTo>
                        <a:lnTo>
                          <a:pt x="630" y="1038"/>
                        </a:lnTo>
                        <a:lnTo>
                          <a:pt x="624" y="1032"/>
                        </a:lnTo>
                        <a:lnTo>
                          <a:pt x="606" y="996"/>
                        </a:lnTo>
                        <a:lnTo>
                          <a:pt x="606" y="984"/>
                        </a:lnTo>
                        <a:lnTo>
                          <a:pt x="612" y="972"/>
                        </a:lnTo>
                        <a:lnTo>
                          <a:pt x="624" y="960"/>
                        </a:lnTo>
                        <a:lnTo>
                          <a:pt x="654" y="1014"/>
                        </a:lnTo>
                        <a:lnTo>
                          <a:pt x="654" y="1008"/>
                        </a:lnTo>
                        <a:lnTo>
                          <a:pt x="660" y="1002"/>
                        </a:lnTo>
                        <a:lnTo>
                          <a:pt x="672" y="978"/>
                        </a:lnTo>
                        <a:lnTo>
                          <a:pt x="678" y="960"/>
                        </a:lnTo>
                        <a:lnTo>
                          <a:pt x="678" y="936"/>
                        </a:lnTo>
                        <a:lnTo>
                          <a:pt x="672" y="918"/>
                        </a:lnTo>
                        <a:lnTo>
                          <a:pt x="666" y="912"/>
                        </a:lnTo>
                        <a:lnTo>
                          <a:pt x="660" y="900"/>
                        </a:lnTo>
                        <a:lnTo>
                          <a:pt x="660" y="840"/>
                        </a:lnTo>
                        <a:close/>
                        <a:moveTo>
                          <a:pt x="330" y="384"/>
                        </a:moveTo>
                        <a:lnTo>
                          <a:pt x="348" y="384"/>
                        </a:lnTo>
                        <a:lnTo>
                          <a:pt x="354" y="390"/>
                        </a:lnTo>
                        <a:lnTo>
                          <a:pt x="366" y="396"/>
                        </a:lnTo>
                        <a:lnTo>
                          <a:pt x="366" y="408"/>
                        </a:lnTo>
                        <a:lnTo>
                          <a:pt x="372" y="420"/>
                        </a:lnTo>
                        <a:lnTo>
                          <a:pt x="384" y="438"/>
                        </a:lnTo>
                        <a:lnTo>
                          <a:pt x="396" y="450"/>
                        </a:lnTo>
                        <a:lnTo>
                          <a:pt x="414" y="462"/>
                        </a:lnTo>
                        <a:lnTo>
                          <a:pt x="432" y="462"/>
                        </a:lnTo>
                        <a:lnTo>
                          <a:pt x="444" y="438"/>
                        </a:lnTo>
                        <a:lnTo>
                          <a:pt x="444" y="426"/>
                        </a:lnTo>
                        <a:lnTo>
                          <a:pt x="432" y="402"/>
                        </a:lnTo>
                        <a:lnTo>
                          <a:pt x="420" y="396"/>
                        </a:lnTo>
                        <a:lnTo>
                          <a:pt x="408" y="396"/>
                        </a:lnTo>
                        <a:lnTo>
                          <a:pt x="408" y="390"/>
                        </a:lnTo>
                        <a:lnTo>
                          <a:pt x="414" y="384"/>
                        </a:lnTo>
                        <a:lnTo>
                          <a:pt x="414" y="378"/>
                        </a:lnTo>
                        <a:lnTo>
                          <a:pt x="420" y="372"/>
                        </a:lnTo>
                        <a:lnTo>
                          <a:pt x="408" y="372"/>
                        </a:lnTo>
                        <a:lnTo>
                          <a:pt x="396" y="366"/>
                        </a:lnTo>
                        <a:lnTo>
                          <a:pt x="390" y="360"/>
                        </a:lnTo>
                        <a:lnTo>
                          <a:pt x="372" y="360"/>
                        </a:lnTo>
                        <a:lnTo>
                          <a:pt x="366" y="366"/>
                        </a:lnTo>
                        <a:lnTo>
                          <a:pt x="354" y="372"/>
                        </a:lnTo>
                        <a:lnTo>
                          <a:pt x="342" y="360"/>
                        </a:lnTo>
                        <a:lnTo>
                          <a:pt x="330" y="354"/>
                        </a:lnTo>
                        <a:lnTo>
                          <a:pt x="312" y="354"/>
                        </a:lnTo>
                        <a:lnTo>
                          <a:pt x="300" y="366"/>
                        </a:lnTo>
                        <a:lnTo>
                          <a:pt x="288" y="372"/>
                        </a:lnTo>
                        <a:lnTo>
                          <a:pt x="282" y="372"/>
                        </a:lnTo>
                        <a:lnTo>
                          <a:pt x="264" y="354"/>
                        </a:lnTo>
                        <a:lnTo>
                          <a:pt x="258" y="342"/>
                        </a:lnTo>
                        <a:lnTo>
                          <a:pt x="258" y="252"/>
                        </a:lnTo>
                        <a:lnTo>
                          <a:pt x="270" y="228"/>
                        </a:lnTo>
                        <a:lnTo>
                          <a:pt x="270" y="222"/>
                        </a:lnTo>
                        <a:lnTo>
                          <a:pt x="288" y="204"/>
                        </a:lnTo>
                        <a:lnTo>
                          <a:pt x="288" y="174"/>
                        </a:lnTo>
                        <a:lnTo>
                          <a:pt x="276" y="150"/>
                        </a:lnTo>
                        <a:lnTo>
                          <a:pt x="276" y="126"/>
                        </a:lnTo>
                        <a:lnTo>
                          <a:pt x="282" y="108"/>
                        </a:lnTo>
                        <a:lnTo>
                          <a:pt x="282" y="72"/>
                        </a:lnTo>
                        <a:lnTo>
                          <a:pt x="264" y="54"/>
                        </a:lnTo>
                        <a:lnTo>
                          <a:pt x="264" y="36"/>
                        </a:lnTo>
                        <a:lnTo>
                          <a:pt x="258" y="30"/>
                        </a:lnTo>
                        <a:lnTo>
                          <a:pt x="258" y="6"/>
                        </a:lnTo>
                        <a:lnTo>
                          <a:pt x="252" y="0"/>
                        </a:lnTo>
                        <a:lnTo>
                          <a:pt x="240" y="0"/>
                        </a:lnTo>
                        <a:lnTo>
                          <a:pt x="234" y="6"/>
                        </a:lnTo>
                        <a:lnTo>
                          <a:pt x="234" y="12"/>
                        </a:lnTo>
                        <a:lnTo>
                          <a:pt x="228" y="18"/>
                        </a:lnTo>
                        <a:lnTo>
                          <a:pt x="216" y="24"/>
                        </a:lnTo>
                        <a:lnTo>
                          <a:pt x="204" y="24"/>
                        </a:lnTo>
                        <a:lnTo>
                          <a:pt x="192" y="18"/>
                        </a:lnTo>
                        <a:lnTo>
                          <a:pt x="186" y="12"/>
                        </a:lnTo>
                        <a:lnTo>
                          <a:pt x="174" y="12"/>
                        </a:lnTo>
                        <a:lnTo>
                          <a:pt x="162" y="18"/>
                        </a:lnTo>
                        <a:lnTo>
                          <a:pt x="162" y="36"/>
                        </a:lnTo>
                        <a:lnTo>
                          <a:pt x="156" y="42"/>
                        </a:lnTo>
                        <a:lnTo>
                          <a:pt x="156" y="48"/>
                        </a:lnTo>
                        <a:lnTo>
                          <a:pt x="144" y="72"/>
                        </a:lnTo>
                        <a:lnTo>
                          <a:pt x="132" y="84"/>
                        </a:lnTo>
                        <a:lnTo>
                          <a:pt x="132" y="96"/>
                        </a:lnTo>
                        <a:lnTo>
                          <a:pt x="138" y="102"/>
                        </a:lnTo>
                        <a:lnTo>
                          <a:pt x="144" y="114"/>
                        </a:lnTo>
                        <a:lnTo>
                          <a:pt x="150" y="132"/>
                        </a:lnTo>
                        <a:lnTo>
                          <a:pt x="156" y="138"/>
                        </a:lnTo>
                        <a:lnTo>
                          <a:pt x="156" y="150"/>
                        </a:lnTo>
                        <a:lnTo>
                          <a:pt x="150" y="162"/>
                        </a:lnTo>
                        <a:lnTo>
                          <a:pt x="150" y="168"/>
                        </a:lnTo>
                        <a:lnTo>
                          <a:pt x="144" y="174"/>
                        </a:lnTo>
                        <a:lnTo>
                          <a:pt x="138" y="186"/>
                        </a:lnTo>
                        <a:lnTo>
                          <a:pt x="138" y="198"/>
                        </a:lnTo>
                        <a:lnTo>
                          <a:pt x="150" y="210"/>
                        </a:lnTo>
                        <a:lnTo>
                          <a:pt x="150" y="216"/>
                        </a:lnTo>
                        <a:lnTo>
                          <a:pt x="144" y="222"/>
                        </a:lnTo>
                        <a:lnTo>
                          <a:pt x="138" y="222"/>
                        </a:lnTo>
                        <a:lnTo>
                          <a:pt x="126" y="228"/>
                        </a:lnTo>
                        <a:lnTo>
                          <a:pt x="120" y="228"/>
                        </a:lnTo>
                        <a:lnTo>
                          <a:pt x="120" y="210"/>
                        </a:lnTo>
                        <a:lnTo>
                          <a:pt x="114" y="204"/>
                        </a:lnTo>
                        <a:lnTo>
                          <a:pt x="114" y="252"/>
                        </a:lnTo>
                        <a:lnTo>
                          <a:pt x="150" y="306"/>
                        </a:lnTo>
                        <a:lnTo>
                          <a:pt x="174" y="330"/>
                        </a:lnTo>
                        <a:lnTo>
                          <a:pt x="186" y="348"/>
                        </a:lnTo>
                        <a:lnTo>
                          <a:pt x="204" y="384"/>
                        </a:lnTo>
                        <a:lnTo>
                          <a:pt x="216" y="402"/>
                        </a:lnTo>
                        <a:lnTo>
                          <a:pt x="228" y="408"/>
                        </a:lnTo>
                        <a:lnTo>
                          <a:pt x="252" y="408"/>
                        </a:lnTo>
                        <a:lnTo>
                          <a:pt x="258" y="396"/>
                        </a:lnTo>
                        <a:lnTo>
                          <a:pt x="270" y="390"/>
                        </a:lnTo>
                        <a:lnTo>
                          <a:pt x="276" y="384"/>
                        </a:lnTo>
                        <a:lnTo>
                          <a:pt x="288" y="384"/>
                        </a:lnTo>
                        <a:lnTo>
                          <a:pt x="294" y="396"/>
                        </a:lnTo>
                        <a:lnTo>
                          <a:pt x="306" y="402"/>
                        </a:lnTo>
                        <a:lnTo>
                          <a:pt x="324" y="420"/>
                        </a:lnTo>
                        <a:lnTo>
                          <a:pt x="342" y="420"/>
                        </a:lnTo>
                        <a:lnTo>
                          <a:pt x="342" y="402"/>
                        </a:lnTo>
                        <a:lnTo>
                          <a:pt x="336" y="396"/>
                        </a:lnTo>
                        <a:lnTo>
                          <a:pt x="330" y="384"/>
                        </a:lnTo>
                        <a:close/>
                        <a:moveTo>
                          <a:pt x="258" y="432"/>
                        </a:moveTo>
                        <a:lnTo>
                          <a:pt x="246" y="426"/>
                        </a:lnTo>
                        <a:lnTo>
                          <a:pt x="204" y="426"/>
                        </a:lnTo>
                        <a:lnTo>
                          <a:pt x="234" y="468"/>
                        </a:lnTo>
                        <a:lnTo>
                          <a:pt x="258" y="534"/>
                        </a:lnTo>
                        <a:lnTo>
                          <a:pt x="270" y="528"/>
                        </a:lnTo>
                        <a:lnTo>
                          <a:pt x="276" y="516"/>
                        </a:lnTo>
                        <a:lnTo>
                          <a:pt x="282" y="510"/>
                        </a:lnTo>
                        <a:lnTo>
                          <a:pt x="282" y="486"/>
                        </a:lnTo>
                        <a:lnTo>
                          <a:pt x="276" y="480"/>
                        </a:lnTo>
                        <a:lnTo>
                          <a:pt x="270" y="468"/>
                        </a:lnTo>
                        <a:lnTo>
                          <a:pt x="270" y="450"/>
                        </a:lnTo>
                        <a:lnTo>
                          <a:pt x="264" y="438"/>
                        </a:lnTo>
                        <a:lnTo>
                          <a:pt x="258" y="432"/>
                        </a:lnTo>
                        <a:close/>
                        <a:moveTo>
                          <a:pt x="330" y="648"/>
                        </a:moveTo>
                        <a:lnTo>
                          <a:pt x="336" y="660"/>
                        </a:lnTo>
                        <a:lnTo>
                          <a:pt x="354" y="678"/>
                        </a:lnTo>
                        <a:lnTo>
                          <a:pt x="360" y="672"/>
                        </a:lnTo>
                        <a:lnTo>
                          <a:pt x="372" y="666"/>
                        </a:lnTo>
                        <a:lnTo>
                          <a:pt x="378" y="660"/>
                        </a:lnTo>
                        <a:lnTo>
                          <a:pt x="384" y="660"/>
                        </a:lnTo>
                        <a:lnTo>
                          <a:pt x="390" y="666"/>
                        </a:lnTo>
                        <a:lnTo>
                          <a:pt x="390" y="696"/>
                        </a:lnTo>
                        <a:lnTo>
                          <a:pt x="402" y="708"/>
                        </a:lnTo>
                        <a:lnTo>
                          <a:pt x="396" y="720"/>
                        </a:lnTo>
                        <a:lnTo>
                          <a:pt x="390" y="726"/>
                        </a:lnTo>
                        <a:lnTo>
                          <a:pt x="372" y="762"/>
                        </a:lnTo>
                        <a:lnTo>
                          <a:pt x="372" y="786"/>
                        </a:lnTo>
                        <a:lnTo>
                          <a:pt x="378" y="792"/>
                        </a:lnTo>
                        <a:lnTo>
                          <a:pt x="384" y="804"/>
                        </a:lnTo>
                        <a:lnTo>
                          <a:pt x="396" y="804"/>
                        </a:lnTo>
                        <a:lnTo>
                          <a:pt x="408" y="798"/>
                        </a:lnTo>
                        <a:lnTo>
                          <a:pt x="420" y="798"/>
                        </a:lnTo>
                        <a:lnTo>
                          <a:pt x="432" y="792"/>
                        </a:lnTo>
                        <a:lnTo>
                          <a:pt x="438" y="786"/>
                        </a:lnTo>
                        <a:lnTo>
                          <a:pt x="438" y="768"/>
                        </a:lnTo>
                        <a:lnTo>
                          <a:pt x="432" y="756"/>
                        </a:lnTo>
                        <a:lnTo>
                          <a:pt x="426" y="738"/>
                        </a:lnTo>
                        <a:lnTo>
                          <a:pt x="426" y="726"/>
                        </a:lnTo>
                        <a:lnTo>
                          <a:pt x="432" y="714"/>
                        </a:lnTo>
                        <a:lnTo>
                          <a:pt x="444" y="678"/>
                        </a:lnTo>
                        <a:lnTo>
                          <a:pt x="444" y="660"/>
                        </a:lnTo>
                        <a:lnTo>
                          <a:pt x="438" y="648"/>
                        </a:lnTo>
                        <a:lnTo>
                          <a:pt x="432" y="642"/>
                        </a:lnTo>
                        <a:lnTo>
                          <a:pt x="426" y="642"/>
                        </a:lnTo>
                        <a:lnTo>
                          <a:pt x="414" y="654"/>
                        </a:lnTo>
                        <a:lnTo>
                          <a:pt x="402" y="660"/>
                        </a:lnTo>
                        <a:lnTo>
                          <a:pt x="396" y="660"/>
                        </a:lnTo>
                        <a:lnTo>
                          <a:pt x="396" y="648"/>
                        </a:lnTo>
                        <a:lnTo>
                          <a:pt x="408" y="624"/>
                        </a:lnTo>
                        <a:lnTo>
                          <a:pt x="408" y="612"/>
                        </a:lnTo>
                        <a:lnTo>
                          <a:pt x="414" y="600"/>
                        </a:lnTo>
                        <a:lnTo>
                          <a:pt x="414" y="594"/>
                        </a:lnTo>
                        <a:lnTo>
                          <a:pt x="408" y="588"/>
                        </a:lnTo>
                        <a:lnTo>
                          <a:pt x="372" y="570"/>
                        </a:lnTo>
                        <a:lnTo>
                          <a:pt x="366" y="564"/>
                        </a:lnTo>
                        <a:lnTo>
                          <a:pt x="330" y="564"/>
                        </a:lnTo>
                        <a:lnTo>
                          <a:pt x="324" y="570"/>
                        </a:lnTo>
                        <a:lnTo>
                          <a:pt x="324" y="576"/>
                        </a:lnTo>
                        <a:lnTo>
                          <a:pt x="330" y="582"/>
                        </a:lnTo>
                        <a:lnTo>
                          <a:pt x="336" y="582"/>
                        </a:lnTo>
                        <a:lnTo>
                          <a:pt x="342" y="594"/>
                        </a:lnTo>
                        <a:lnTo>
                          <a:pt x="342" y="600"/>
                        </a:lnTo>
                        <a:lnTo>
                          <a:pt x="336" y="606"/>
                        </a:lnTo>
                        <a:lnTo>
                          <a:pt x="336" y="618"/>
                        </a:lnTo>
                        <a:lnTo>
                          <a:pt x="330" y="630"/>
                        </a:lnTo>
                        <a:lnTo>
                          <a:pt x="330" y="648"/>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68" name="Peru"/>
                  <p:cNvSpPr>
                    <a:spLocks/>
                  </p:cNvSpPr>
                  <p:nvPr/>
                </p:nvSpPr>
                <p:spPr bwMode="gray">
                  <a:xfrm>
                    <a:off x="1173" y="2309"/>
                    <a:ext cx="241" cy="381"/>
                  </a:xfrm>
                  <a:custGeom>
                    <a:avLst/>
                    <a:gdLst>
                      <a:gd name="T0" fmla="*/ 2147483647 w 942"/>
                      <a:gd name="T1" fmla="*/ 2147483647 h 1488"/>
                      <a:gd name="T2" fmla="*/ 2147483647 w 942"/>
                      <a:gd name="T3" fmla="*/ 2147483647 h 1488"/>
                      <a:gd name="T4" fmla="*/ 2147483647 w 942"/>
                      <a:gd name="T5" fmla="*/ 2147483647 h 1488"/>
                      <a:gd name="T6" fmla="*/ 2147483647 w 942"/>
                      <a:gd name="T7" fmla="*/ 2147483647 h 1488"/>
                      <a:gd name="T8" fmla="*/ 2147483647 w 942"/>
                      <a:gd name="T9" fmla="*/ 2147483647 h 1488"/>
                      <a:gd name="T10" fmla="*/ 2147483647 w 942"/>
                      <a:gd name="T11" fmla="*/ 2147483647 h 1488"/>
                      <a:gd name="T12" fmla="*/ 2147483647 w 942"/>
                      <a:gd name="T13" fmla="*/ 2147483647 h 1488"/>
                      <a:gd name="T14" fmla="*/ 2147483647 w 942"/>
                      <a:gd name="T15" fmla="*/ 2147483647 h 1488"/>
                      <a:gd name="T16" fmla="*/ 2147483647 w 942"/>
                      <a:gd name="T17" fmla="*/ 2147483647 h 1488"/>
                      <a:gd name="T18" fmla="*/ 2147483647 w 942"/>
                      <a:gd name="T19" fmla="*/ 2147483647 h 1488"/>
                      <a:gd name="T20" fmla="*/ 2147483647 w 942"/>
                      <a:gd name="T21" fmla="*/ 2147483647 h 1488"/>
                      <a:gd name="T22" fmla="*/ 2147483647 w 942"/>
                      <a:gd name="T23" fmla="*/ 2147483647 h 1488"/>
                      <a:gd name="T24" fmla="*/ 2147483647 w 942"/>
                      <a:gd name="T25" fmla="*/ 2147483647 h 1488"/>
                      <a:gd name="T26" fmla="*/ 2147483647 w 942"/>
                      <a:gd name="T27" fmla="*/ 2147483647 h 1488"/>
                      <a:gd name="T28" fmla="*/ 2147483647 w 942"/>
                      <a:gd name="T29" fmla="*/ 2147483647 h 1488"/>
                      <a:gd name="T30" fmla="*/ 2147483647 w 942"/>
                      <a:gd name="T31" fmla="*/ 2147483647 h 1488"/>
                      <a:gd name="T32" fmla="*/ 2147483647 w 942"/>
                      <a:gd name="T33" fmla="*/ 2147483647 h 1488"/>
                      <a:gd name="T34" fmla="*/ 2147483647 w 942"/>
                      <a:gd name="T35" fmla="*/ 2147483647 h 1488"/>
                      <a:gd name="T36" fmla="*/ 2147483647 w 942"/>
                      <a:gd name="T37" fmla="*/ 2147483647 h 1488"/>
                      <a:gd name="T38" fmla="*/ 2147483647 w 942"/>
                      <a:gd name="T39" fmla="*/ 2147483647 h 1488"/>
                      <a:gd name="T40" fmla="*/ 2147483647 w 942"/>
                      <a:gd name="T41" fmla="*/ 2147483647 h 1488"/>
                      <a:gd name="T42" fmla="*/ 2147483647 w 942"/>
                      <a:gd name="T43" fmla="*/ 2147483647 h 1488"/>
                      <a:gd name="T44" fmla="*/ 2147483647 w 942"/>
                      <a:gd name="T45" fmla="*/ 2147483647 h 1488"/>
                      <a:gd name="T46" fmla="*/ 2147483647 w 942"/>
                      <a:gd name="T47" fmla="*/ 2147483647 h 1488"/>
                      <a:gd name="T48" fmla="*/ 2147483647 w 942"/>
                      <a:gd name="T49" fmla="*/ 2147483647 h 1488"/>
                      <a:gd name="T50" fmla="*/ 2147483647 w 942"/>
                      <a:gd name="T51" fmla="*/ 2147483647 h 1488"/>
                      <a:gd name="T52" fmla="*/ 2147483647 w 942"/>
                      <a:gd name="T53" fmla="*/ 2147483647 h 1488"/>
                      <a:gd name="T54" fmla="*/ 2147483647 w 942"/>
                      <a:gd name="T55" fmla="*/ 2147483647 h 1488"/>
                      <a:gd name="T56" fmla="*/ 2147483647 w 942"/>
                      <a:gd name="T57" fmla="*/ 2147483647 h 1488"/>
                      <a:gd name="T58" fmla="*/ 2147483647 w 942"/>
                      <a:gd name="T59" fmla="*/ 2147483647 h 1488"/>
                      <a:gd name="T60" fmla="*/ 2147483647 w 942"/>
                      <a:gd name="T61" fmla="*/ 2147483647 h 1488"/>
                      <a:gd name="T62" fmla="*/ 2147483647 w 942"/>
                      <a:gd name="T63" fmla="*/ 0 h 1488"/>
                      <a:gd name="T64" fmla="*/ 2147483647 w 942"/>
                      <a:gd name="T65" fmla="*/ 2147483647 h 1488"/>
                      <a:gd name="T66" fmla="*/ 2147483647 w 942"/>
                      <a:gd name="T67" fmla="*/ 2147483647 h 1488"/>
                      <a:gd name="T68" fmla="*/ 2147483647 w 942"/>
                      <a:gd name="T69" fmla="*/ 2147483647 h 1488"/>
                      <a:gd name="T70" fmla="*/ 2147483647 w 942"/>
                      <a:gd name="T71" fmla="*/ 2147483647 h 1488"/>
                      <a:gd name="T72" fmla="*/ 2147483647 w 942"/>
                      <a:gd name="T73" fmla="*/ 2147483647 h 1488"/>
                      <a:gd name="T74" fmla="*/ 2147483647 w 942"/>
                      <a:gd name="T75" fmla="*/ 2147483647 h 1488"/>
                      <a:gd name="T76" fmla="*/ 2147483647 w 942"/>
                      <a:gd name="T77" fmla="*/ 2147483647 h 1488"/>
                      <a:gd name="T78" fmla="*/ 2147483647 w 942"/>
                      <a:gd name="T79" fmla="*/ 2147483647 h 1488"/>
                      <a:gd name="T80" fmla="*/ 2147483647 w 942"/>
                      <a:gd name="T81" fmla="*/ 2147483647 h 1488"/>
                      <a:gd name="T82" fmla="*/ 2147483647 w 942"/>
                      <a:gd name="T83" fmla="*/ 2147483647 h 1488"/>
                      <a:gd name="T84" fmla="*/ 0 w 942"/>
                      <a:gd name="T85" fmla="*/ 2147483647 h 1488"/>
                      <a:gd name="T86" fmla="*/ 2147483647 w 942"/>
                      <a:gd name="T87" fmla="*/ 2147483647 h 1488"/>
                      <a:gd name="T88" fmla="*/ 2147483647 w 942"/>
                      <a:gd name="T89" fmla="*/ 2147483647 h 1488"/>
                      <a:gd name="T90" fmla="*/ 2147483647 w 942"/>
                      <a:gd name="T91" fmla="*/ 2147483647 h 1488"/>
                      <a:gd name="T92" fmla="*/ 2147483647 w 942"/>
                      <a:gd name="T93" fmla="*/ 2147483647 h 1488"/>
                      <a:gd name="T94" fmla="*/ 2147483647 w 942"/>
                      <a:gd name="T95" fmla="*/ 2147483647 h 1488"/>
                      <a:gd name="T96" fmla="*/ 2147483647 w 942"/>
                      <a:gd name="T97" fmla="*/ 2147483647 h 1488"/>
                      <a:gd name="T98" fmla="*/ 2147483647 w 942"/>
                      <a:gd name="T99" fmla="*/ 2147483647 h 1488"/>
                      <a:gd name="T100" fmla="*/ 2147483647 w 942"/>
                      <a:gd name="T101" fmla="*/ 2147483647 h 1488"/>
                      <a:gd name="T102" fmla="*/ 2147483647 w 942"/>
                      <a:gd name="T103" fmla="*/ 2147483647 h 1488"/>
                      <a:gd name="T104" fmla="*/ 2147483647 w 942"/>
                      <a:gd name="T105" fmla="*/ 2147483647 h 1488"/>
                      <a:gd name="T106" fmla="*/ 2147483647 w 942"/>
                      <a:gd name="T107" fmla="*/ 2147483647 h 1488"/>
                      <a:gd name="T108" fmla="*/ 2147483647 w 942"/>
                      <a:gd name="T109" fmla="*/ 2147483647 h 1488"/>
                      <a:gd name="T110" fmla="*/ 2147483647 w 942"/>
                      <a:gd name="T111" fmla="*/ 2147483647 h 1488"/>
                      <a:gd name="T112" fmla="*/ 2147483647 w 942"/>
                      <a:gd name="T113" fmla="*/ 2147483647 h 1488"/>
                      <a:gd name="T114" fmla="*/ 2147483647 w 942"/>
                      <a:gd name="T115" fmla="*/ 2147483647 h 1488"/>
                      <a:gd name="T116" fmla="*/ 2147483647 w 942"/>
                      <a:gd name="T117" fmla="*/ 2147483647 h 1488"/>
                      <a:gd name="T118" fmla="*/ 2147483647 w 942"/>
                      <a:gd name="T119" fmla="*/ 2147483647 h 1488"/>
                      <a:gd name="T120" fmla="*/ 2147483647 w 942"/>
                      <a:gd name="T121" fmla="*/ 2147483647 h 14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42"/>
                      <a:gd name="T184" fmla="*/ 0 h 1488"/>
                      <a:gd name="T185" fmla="*/ 942 w 942"/>
                      <a:gd name="T186" fmla="*/ 1488 h 14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42" h="1488">
                        <a:moveTo>
                          <a:pt x="930" y="1320"/>
                        </a:moveTo>
                        <a:lnTo>
                          <a:pt x="924" y="1314"/>
                        </a:lnTo>
                        <a:lnTo>
                          <a:pt x="912" y="1308"/>
                        </a:lnTo>
                        <a:lnTo>
                          <a:pt x="888" y="1284"/>
                        </a:lnTo>
                        <a:lnTo>
                          <a:pt x="864" y="1284"/>
                        </a:lnTo>
                        <a:lnTo>
                          <a:pt x="858" y="1278"/>
                        </a:lnTo>
                        <a:lnTo>
                          <a:pt x="870" y="1260"/>
                        </a:lnTo>
                        <a:lnTo>
                          <a:pt x="870" y="1230"/>
                        </a:lnTo>
                        <a:lnTo>
                          <a:pt x="882" y="1230"/>
                        </a:lnTo>
                        <a:lnTo>
                          <a:pt x="906" y="1254"/>
                        </a:lnTo>
                        <a:lnTo>
                          <a:pt x="918" y="1236"/>
                        </a:lnTo>
                        <a:lnTo>
                          <a:pt x="918" y="1230"/>
                        </a:lnTo>
                        <a:lnTo>
                          <a:pt x="912" y="1224"/>
                        </a:lnTo>
                        <a:lnTo>
                          <a:pt x="906" y="1212"/>
                        </a:lnTo>
                        <a:lnTo>
                          <a:pt x="900" y="1194"/>
                        </a:lnTo>
                        <a:lnTo>
                          <a:pt x="912" y="1170"/>
                        </a:lnTo>
                        <a:lnTo>
                          <a:pt x="924" y="1158"/>
                        </a:lnTo>
                        <a:lnTo>
                          <a:pt x="930" y="1146"/>
                        </a:lnTo>
                        <a:lnTo>
                          <a:pt x="930" y="1140"/>
                        </a:lnTo>
                        <a:lnTo>
                          <a:pt x="924" y="1128"/>
                        </a:lnTo>
                        <a:lnTo>
                          <a:pt x="912" y="1116"/>
                        </a:lnTo>
                        <a:lnTo>
                          <a:pt x="906" y="1116"/>
                        </a:lnTo>
                        <a:lnTo>
                          <a:pt x="924" y="1086"/>
                        </a:lnTo>
                        <a:lnTo>
                          <a:pt x="912" y="1038"/>
                        </a:lnTo>
                        <a:lnTo>
                          <a:pt x="918" y="1032"/>
                        </a:lnTo>
                        <a:lnTo>
                          <a:pt x="924" y="1020"/>
                        </a:lnTo>
                        <a:lnTo>
                          <a:pt x="930" y="1014"/>
                        </a:lnTo>
                        <a:lnTo>
                          <a:pt x="930" y="1002"/>
                        </a:lnTo>
                        <a:lnTo>
                          <a:pt x="918" y="978"/>
                        </a:lnTo>
                        <a:lnTo>
                          <a:pt x="906" y="960"/>
                        </a:lnTo>
                        <a:lnTo>
                          <a:pt x="894" y="948"/>
                        </a:lnTo>
                        <a:lnTo>
                          <a:pt x="882" y="930"/>
                        </a:lnTo>
                        <a:lnTo>
                          <a:pt x="870" y="918"/>
                        </a:lnTo>
                        <a:lnTo>
                          <a:pt x="864" y="900"/>
                        </a:lnTo>
                        <a:lnTo>
                          <a:pt x="864" y="882"/>
                        </a:lnTo>
                        <a:lnTo>
                          <a:pt x="828" y="882"/>
                        </a:lnTo>
                        <a:lnTo>
                          <a:pt x="822" y="888"/>
                        </a:lnTo>
                        <a:lnTo>
                          <a:pt x="816" y="888"/>
                        </a:lnTo>
                        <a:lnTo>
                          <a:pt x="816" y="894"/>
                        </a:lnTo>
                        <a:lnTo>
                          <a:pt x="804" y="894"/>
                        </a:lnTo>
                        <a:lnTo>
                          <a:pt x="798" y="888"/>
                        </a:lnTo>
                        <a:lnTo>
                          <a:pt x="798" y="882"/>
                        </a:lnTo>
                        <a:lnTo>
                          <a:pt x="786" y="888"/>
                        </a:lnTo>
                        <a:lnTo>
                          <a:pt x="786" y="858"/>
                        </a:lnTo>
                        <a:lnTo>
                          <a:pt x="780" y="840"/>
                        </a:lnTo>
                        <a:lnTo>
                          <a:pt x="780" y="828"/>
                        </a:lnTo>
                        <a:lnTo>
                          <a:pt x="786" y="816"/>
                        </a:lnTo>
                        <a:lnTo>
                          <a:pt x="786" y="804"/>
                        </a:lnTo>
                        <a:lnTo>
                          <a:pt x="792" y="798"/>
                        </a:lnTo>
                        <a:lnTo>
                          <a:pt x="792" y="780"/>
                        </a:lnTo>
                        <a:lnTo>
                          <a:pt x="786" y="768"/>
                        </a:lnTo>
                        <a:lnTo>
                          <a:pt x="786" y="756"/>
                        </a:lnTo>
                        <a:lnTo>
                          <a:pt x="732" y="804"/>
                        </a:lnTo>
                        <a:lnTo>
                          <a:pt x="672" y="810"/>
                        </a:lnTo>
                        <a:lnTo>
                          <a:pt x="672" y="804"/>
                        </a:lnTo>
                        <a:lnTo>
                          <a:pt x="666" y="798"/>
                        </a:lnTo>
                        <a:lnTo>
                          <a:pt x="660" y="786"/>
                        </a:lnTo>
                        <a:lnTo>
                          <a:pt x="660" y="774"/>
                        </a:lnTo>
                        <a:lnTo>
                          <a:pt x="654" y="768"/>
                        </a:lnTo>
                        <a:lnTo>
                          <a:pt x="648" y="768"/>
                        </a:lnTo>
                        <a:lnTo>
                          <a:pt x="636" y="762"/>
                        </a:lnTo>
                        <a:lnTo>
                          <a:pt x="594" y="762"/>
                        </a:lnTo>
                        <a:lnTo>
                          <a:pt x="600" y="756"/>
                        </a:lnTo>
                        <a:lnTo>
                          <a:pt x="612" y="750"/>
                        </a:lnTo>
                        <a:lnTo>
                          <a:pt x="618" y="738"/>
                        </a:lnTo>
                        <a:lnTo>
                          <a:pt x="624" y="732"/>
                        </a:lnTo>
                        <a:lnTo>
                          <a:pt x="600" y="708"/>
                        </a:lnTo>
                        <a:lnTo>
                          <a:pt x="588" y="702"/>
                        </a:lnTo>
                        <a:lnTo>
                          <a:pt x="576" y="690"/>
                        </a:lnTo>
                        <a:lnTo>
                          <a:pt x="564" y="666"/>
                        </a:lnTo>
                        <a:lnTo>
                          <a:pt x="558" y="660"/>
                        </a:lnTo>
                        <a:lnTo>
                          <a:pt x="558" y="654"/>
                        </a:lnTo>
                        <a:lnTo>
                          <a:pt x="552" y="630"/>
                        </a:lnTo>
                        <a:lnTo>
                          <a:pt x="540" y="624"/>
                        </a:lnTo>
                        <a:lnTo>
                          <a:pt x="534" y="618"/>
                        </a:lnTo>
                        <a:lnTo>
                          <a:pt x="534" y="606"/>
                        </a:lnTo>
                        <a:lnTo>
                          <a:pt x="540" y="600"/>
                        </a:lnTo>
                        <a:lnTo>
                          <a:pt x="552" y="594"/>
                        </a:lnTo>
                        <a:lnTo>
                          <a:pt x="546" y="588"/>
                        </a:lnTo>
                        <a:lnTo>
                          <a:pt x="546" y="564"/>
                        </a:lnTo>
                        <a:lnTo>
                          <a:pt x="552" y="552"/>
                        </a:lnTo>
                        <a:lnTo>
                          <a:pt x="582" y="522"/>
                        </a:lnTo>
                        <a:lnTo>
                          <a:pt x="588" y="528"/>
                        </a:lnTo>
                        <a:lnTo>
                          <a:pt x="594" y="528"/>
                        </a:lnTo>
                        <a:lnTo>
                          <a:pt x="588" y="522"/>
                        </a:lnTo>
                        <a:lnTo>
                          <a:pt x="588" y="504"/>
                        </a:lnTo>
                        <a:lnTo>
                          <a:pt x="582" y="498"/>
                        </a:lnTo>
                        <a:lnTo>
                          <a:pt x="582" y="486"/>
                        </a:lnTo>
                        <a:lnTo>
                          <a:pt x="600" y="468"/>
                        </a:lnTo>
                        <a:lnTo>
                          <a:pt x="600" y="414"/>
                        </a:lnTo>
                        <a:lnTo>
                          <a:pt x="624" y="414"/>
                        </a:lnTo>
                        <a:lnTo>
                          <a:pt x="624" y="408"/>
                        </a:lnTo>
                        <a:lnTo>
                          <a:pt x="630" y="402"/>
                        </a:lnTo>
                        <a:lnTo>
                          <a:pt x="630" y="396"/>
                        </a:lnTo>
                        <a:lnTo>
                          <a:pt x="642" y="384"/>
                        </a:lnTo>
                        <a:lnTo>
                          <a:pt x="654" y="378"/>
                        </a:lnTo>
                        <a:lnTo>
                          <a:pt x="660" y="372"/>
                        </a:lnTo>
                        <a:lnTo>
                          <a:pt x="672" y="366"/>
                        </a:lnTo>
                        <a:lnTo>
                          <a:pt x="702" y="366"/>
                        </a:lnTo>
                        <a:lnTo>
                          <a:pt x="708" y="354"/>
                        </a:lnTo>
                        <a:lnTo>
                          <a:pt x="738" y="360"/>
                        </a:lnTo>
                        <a:lnTo>
                          <a:pt x="744" y="354"/>
                        </a:lnTo>
                        <a:lnTo>
                          <a:pt x="750" y="342"/>
                        </a:lnTo>
                        <a:lnTo>
                          <a:pt x="756" y="336"/>
                        </a:lnTo>
                        <a:lnTo>
                          <a:pt x="774" y="336"/>
                        </a:lnTo>
                        <a:lnTo>
                          <a:pt x="786" y="348"/>
                        </a:lnTo>
                        <a:lnTo>
                          <a:pt x="786" y="354"/>
                        </a:lnTo>
                        <a:lnTo>
                          <a:pt x="804" y="354"/>
                        </a:lnTo>
                        <a:lnTo>
                          <a:pt x="816" y="342"/>
                        </a:lnTo>
                        <a:lnTo>
                          <a:pt x="798" y="330"/>
                        </a:lnTo>
                        <a:lnTo>
                          <a:pt x="786" y="312"/>
                        </a:lnTo>
                        <a:lnTo>
                          <a:pt x="768" y="312"/>
                        </a:lnTo>
                        <a:lnTo>
                          <a:pt x="762" y="306"/>
                        </a:lnTo>
                        <a:lnTo>
                          <a:pt x="762" y="288"/>
                        </a:lnTo>
                        <a:lnTo>
                          <a:pt x="774" y="264"/>
                        </a:lnTo>
                        <a:lnTo>
                          <a:pt x="774" y="258"/>
                        </a:lnTo>
                        <a:lnTo>
                          <a:pt x="780" y="252"/>
                        </a:lnTo>
                        <a:lnTo>
                          <a:pt x="786" y="252"/>
                        </a:lnTo>
                        <a:lnTo>
                          <a:pt x="792" y="246"/>
                        </a:lnTo>
                        <a:lnTo>
                          <a:pt x="798" y="234"/>
                        </a:lnTo>
                        <a:lnTo>
                          <a:pt x="798" y="216"/>
                        </a:lnTo>
                        <a:lnTo>
                          <a:pt x="792" y="210"/>
                        </a:lnTo>
                        <a:lnTo>
                          <a:pt x="780" y="204"/>
                        </a:lnTo>
                        <a:lnTo>
                          <a:pt x="756" y="204"/>
                        </a:lnTo>
                        <a:lnTo>
                          <a:pt x="750" y="198"/>
                        </a:lnTo>
                        <a:lnTo>
                          <a:pt x="744" y="186"/>
                        </a:lnTo>
                        <a:lnTo>
                          <a:pt x="744" y="180"/>
                        </a:lnTo>
                        <a:lnTo>
                          <a:pt x="732" y="180"/>
                        </a:lnTo>
                        <a:lnTo>
                          <a:pt x="726" y="186"/>
                        </a:lnTo>
                        <a:lnTo>
                          <a:pt x="714" y="192"/>
                        </a:lnTo>
                        <a:lnTo>
                          <a:pt x="702" y="192"/>
                        </a:lnTo>
                        <a:lnTo>
                          <a:pt x="696" y="186"/>
                        </a:lnTo>
                        <a:lnTo>
                          <a:pt x="690" y="186"/>
                        </a:lnTo>
                        <a:lnTo>
                          <a:pt x="684" y="180"/>
                        </a:lnTo>
                        <a:lnTo>
                          <a:pt x="660" y="180"/>
                        </a:lnTo>
                        <a:lnTo>
                          <a:pt x="648" y="192"/>
                        </a:lnTo>
                        <a:lnTo>
                          <a:pt x="648" y="204"/>
                        </a:lnTo>
                        <a:lnTo>
                          <a:pt x="612" y="204"/>
                        </a:lnTo>
                        <a:lnTo>
                          <a:pt x="588" y="198"/>
                        </a:lnTo>
                        <a:lnTo>
                          <a:pt x="576" y="192"/>
                        </a:lnTo>
                        <a:lnTo>
                          <a:pt x="576" y="168"/>
                        </a:lnTo>
                        <a:lnTo>
                          <a:pt x="582" y="162"/>
                        </a:lnTo>
                        <a:lnTo>
                          <a:pt x="582" y="156"/>
                        </a:lnTo>
                        <a:lnTo>
                          <a:pt x="576" y="150"/>
                        </a:lnTo>
                        <a:lnTo>
                          <a:pt x="564" y="144"/>
                        </a:lnTo>
                        <a:lnTo>
                          <a:pt x="552" y="144"/>
                        </a:lnTo>
                        <a:lnTo>
                          <a:pt x="552" y="138"/>
                        </a:lnTo>
                        <a:lnTo>
                          <a:pt x="546" y="132"/>
                        </a:lnTo>
                        <a:lnTo>
                          <a:pt x="546" y="108"/>
                        </a:lnTo>
                        <a:lnTo>
                          <a:pt x="540" y="102"/>
                        </a:lnTo>
                        <a:lnTo>
                          <a:pt x="528" y="102"/>
                        </a:lnTo>
                        <a:lnTo>
                          <a:pt x="516" y="84"/>
                        </a:lnTo>
                        <a:lnTo>
                          <a:pt x="498" y="84"/>
                        </a:lnTo>
                        <a:lnTo>
                          <a:pt x="486" y="48"/>
                        </a:lnTo>
                        <a:lnTo>
                          <a:pt x="480" y="42"/>
                        </a:lnTo>
                        <a:lnTo>
                          <a:pt x="468" y="36"/>
                        </a:lnTo>
                        <a:lnTo>
                          <a:pt x="450" y="18"/>
                        </a:lnTo>
                        <a:lnTo>
                          <a:pt x="438" y="12"/>
                        </a:lnTo>
                        <a:lnTo>
                          <a:pt x="426" y="0"/>
                        </a:lnTo>
                        <a:lnTo>
                          <a:pt x="396" y="0"/>
                        </a:lnTo>
                        <a:lnTo>
                          <a:pt x="414" y="0"/>
                        </a:lnTo>
                        <a:lnTo>
                          <a:pt x="414" y="24"/>
                        </a:lnTo>
                        <a:lnTo>
                          <a:pt x="408" y="24"/>
                        </a:lnTo>
                        <a:lnTo>
                          <a:pt x="408" y="30"/>
                        </a:lnTo>
                        <a:lnTo>
                          <a:pt x="402" y="30"/>
                        </a:lnTo>
                        <a:lnTo>
                          <a:pt x="426" y="48"/>
                        </a:lnTo>
                        <a:lnTo>
                          <a:pt x="426" y="78"/>
                        </a:lnTo>
                        <a:lnTo>
                          <a:pt x="414" y="84"/>
                        </a:lnTo>
                        <a:lnTo>
                          <a:pt x="402" y="126"/>
                        </a:lnTo>
                        <a:lnTo>
                          <a:pt x="396" y="138"/>
                        </a:lnTo>
                        <a:lnTo>
                          <a:pt x="384" y="150"/>
                        </a:lnTo>
                        <a:lnTo>
                          <a:pt x="378" y="162"/>
                        </a:lnTo>
                        <a:lnTo>
                          <a:pt x="366" y="174"/>
                        </a:lnTo>
                        <a:lnTo>
                          <a:pt x="354" y="192"/>
                        </a:lnTo>
                        <a:lnTo>
                          <a:pt x="336" y="204"/>
                        </a:lnTo>
                        <a:lnTo>
                          <a:pt x="276" y="234"/>
                        </a:lnTo>
                        <a:lnTo>
                          <a:pt x="258" y="240"/>
                        </a:lnTo>
                        <a:lnTo>
                          <a:pt x="240" y="252"/>
                        </a:lnTo>
                        <a:lnTo>
                          <a:pt x="222" y="270"/>
                        </a:lnTo>
                        <a:lnTo>
                          <a:pt x="222" y="276"/>
                        </a:lnTo>
                        <a:lnTo>
                          <a:pt x="210" y="282"/>
                        </a:lnTo>
                        <a:lnTo>
                          <a:pt x="210" y="300"/>
                        </a:lnTo>
                        <a:lnTo>
                          <a:pt x="198" y="312"/>
                        </a:lnTo>
                        <a:lnTo>
                          <a:pt x="198" y="336"/>
                        </a:lnTo>
                        <a:lnTo>
                          <a:pt x="192" y="348"/>
                        </a:lnTo>
                        <a:lnTo>
                          <a:pt x="192" y="378"/>
                        </a:lnTo>
                        <a:lnTo>
                          <a:pt x="174" y="378"/>
                        </a:lnTo>
                        <a:lnTo>
                          <a:pt x="168" y="384"/>
                        </a:lnTo>
                        <a:lnTo>
                          <a:pt x="168" y="390"/>
                        </a:lnTo>
                        <a:lnTo>
                          <a:pt x="162" y="396"/>
                        </a:lnTo>
                        <a:lnTo>
                          <a:pt x="162" y="402"/>
                        </a:lnTo>
                        <a:lnTo>
                          <a:pt x="144" y="402"/>
                        </a:lnTo>
                        <a:lnTo>
                          <a:pt x="138" y="390"/>
                        </a:lnTo>
                        <a:lnTo>
                          <a:pt x="138" y="372"/>
                        </a:lnTo>
                        <a:lnTo>
                          <a:pt x="132" y="366"/>
                        </a:lnTo>
                        <a:lnTo>
                          <a:pt x="132" y="360"/>
                        </a:lnTo>
                        <a:lnTo>
                          <a:pt x="102" y="360"/>
                        </a:lnTo>
                        <a:lnTo>
                          <a:pt x="90" y="348"/>
                        </a:lnTo>
                        <a:lnTo>
                          <a:pt x="78" y="360"/>
                        </a:lnTo>
                        <a:lnTo>
                          <a:pt x="66" y="366"/>
                        </a:lnTo>
                        <a:lnTo>
                          <a:pt x="60" y="366"/>
                        </a:lnTo>
                        <a:lnTo>
                          <a:pt x="54" y="360"/>
                        </a:lnTo>
                        <a:lnTo>
                          <a:pt x="66" y="348"/>
                        </a:lnTo>
                        <a:lnTo>
                          <a:pt x="54" y="336"/>
                        </a:lnTo>
                        <a:lnTo>
                          <a:pt x="60" y="330"/>
                        </a:lnTo>
                        <a:lnTo>
                          <a:pt x="66" y="318"/>
                        </a:lnTo>
                        <a:lnTo>
                          <a:pt x="78" y="312"/>
                        </a:lnTo>
                        <a:lnTo>
                          <a:pt x="84" y="300"/>
                        </a:lnTo>
                        <a:lnTo>
                          <a:pt x="90" y="294"/>
                        </a:lnTo>
                        <a:lnTo>
                          <a:pt x="90" y="288"/>
                        </a:lnTo>
                        <a:lnTo>
                          <a:pt x="84" y="288"/>
                        </a:lnTo>
                        <a:lnTo>
                          <a:pt x="72" y="282"/>
                        </a:lnTo>
                        <a:lnTo>
                          <a:pt x="66" y="282"/>
                        </a:lnTo>
                        <a:lnTo>
                          <a:pt x="6" y="342"/>
                        </a:lnTo>
                        <a:lnTo>
                          <a:pt x="0" y="354"/>
                        </a:lnTo>
                        <a:lnTo>
                          <a:pt x="0" y="390"/>
                        </a:lnTo>
                        <a:lnTo>
                          <a:pt x="6" y="396"/>
                        </a:lnTo>
                        <a:lnTo>
                          <a:pt x="18" y="396"/>
                        </a:lnTo>
                        <a:lnTo>
                          <a:pt x="12" y="420"/>
                        </a:lnTo>
                        <a:lnTo>
                          <a:pt x="36" y="444"/>
                        </a:lnTo>
                        <a:lnTo>
                          <a:pt x="36" y="462"/>
                        </a:lnTo>
                        <a:lnTo>
                          <a:pt x="12" y="486"/>
                        </a:lnTo>
                        <a:lnTo>
                          <a:pt x="12" y="492"/>
                        </a:lnTo>
                        <a:lnTo>
                          <a:pt x="18" y="504"/>
                        </a:lnTo>
                        <a:lnTo>
                          <a:pt x="24" y="510"/>
                        </a:lnTo>
                        <a:lnTo>
                          <a:pt x="36" y="516"/>
                        </a:lnTo>
                        <a:lnTo>
                          <a:pt x="54" y="522"/>
                        </a:lnTo>
                        <a:lnTo>
                          <a:pt x="66" y="522"/>
                        </a:lnTo>
                        <a:lnTo>
                          <a:pt x="108" y="564"/>
                        </a:lnTo>
                        <a:lnTo>
                          <a:pt x="114" y="576"/>
                        </a:lnTo>
                        <a:lnTo>
                          <a:pt x="132" y="594"/>
                        </a:lnTo>
                        <a:lnTo>
                          <a:pt x="138" y="612"/>
                        </a:lnTo>
                        <a:lnTo>
                          <a:pt x="144" y="624"/>
                        </a:lnTo>
                        <a:lnTo>
                          <a:pt x="144" y="642"/>
                        </a:lnTo>
                        <a:lnTo>
                          <a:pt x="150" y="648"/>
                        </a:lnTo>
                        <a:lnTo>
                          <a:pt x="156" y="660"/>
                        </a:lnTo>
                        <a:lnTo>
                          <a:pt x="168" y="666"/>
                        </a:lnTo>
                        <a:lnTo>
                          <a:pt x="174" y="678"/>
                        </a:lnTo>
                        <a:lnTo>
                          <a:pt x="192" y="696"/>
                        </a:lnTo>
                        <a:lnTo>
                          <a:pt x="204" y="720"/>
                        </a:lnTo>
                        <a:lnTo>
                          <a:pt x="216" y="732"/>
                        </a:lnTo>
                        <a:lnTo>
                          <a:pt x="222" y="744"/>
                        </a:lnTo>
                        <a:lnTo>
                          <a:pt x="234" y="762"/>
                        </a:lnTo>
                        <a:lnTo>
                          <a:pt x="240" y="768"/>
                        </a:lnTo>
                        <a:lnTo>
                          <a:pt x="246" y="780"/>
                        </a:lnTo>
                        <a:lnTo>
                          <a:pt x="252" y="822"/>
                        </a:lnTo>
                        <a:lnTo>
                          <a:pt x="252" y="828"/>
                        </a:lnTo>
                        <a:lnTo>
                          <a:pt x="258" y="834"/>
                        </a:lnTo>
                        <a:lnTo>
                          <a:pt x="264" y="846"/>
                        </a:lnTo>
                        <a:lnTo>
                          <a:pt x="270" y="864"/>
                        </a:lnTo>
                        <a:lnTo>
                          <a:pt x="282" y="876"/>
                        </a:lnTo>
                        <a:lnTo>
                          <a:pt x="288" y="894"/>
                        </a:lnTo>
                        <a:lnTo>
                          <a:pt x="294" y="906"/>
                        </a:lnTo>
                        <a:lnTo>
                          <a:pt x="294" y="918"/>
                        </a:lnTo>
                        <a:lnTo>
                          <a:pt x="300" y="924"/>
                        </a:lnTo>
                        <a:lnTo>
                          <a:pt x="312" y="924"/>
                        </a:lnTo>
                        <a:lnTo>
                          <a:pt x="324" y="936"/>
                        </a:lnTo>
                        <a:lnTo>
                          <a:pt x="324" y="948"/>
                        </a:lnTo>
                        <a:lnTo>
                          <a:pt x="330" y="954"/>
                        </a:lnTo>
                        <a:lnTo>
                          <a:pt x="330" y="966"/>
                        </a:lnTo>
                        <a:lnTo>
                          <a:pt x="336" y="984"/>
                        </a:lnTo>
                        <a:lnTo>
                          <a:pt x="360" y="1014"/>
                        </a:lnTo>
                        <a:lnTo>
                          <a:pt x="378" y="1050"/>
                        </a:lnTo>
                        <a:lnTo>
                          <a:pt x="396" y="1074"/>
                        </a:lnTo>
                        <a:lnTo>
                          <a:pt x="402" y="1086"/>
                        </a:lnTo>
                        <a:lnTo>
                          <a:pt x="408" y="1104"/>
                        </a:lnTo>
                        <a:lnTo>
                          <a:pt x="408" y="1116"/>
                        </a:lnTo>
                        <a:lnTo>
                          <a:pt x="402" y="1128"/>
                        </a:lnTo>
                        <a:lnTo>
                          <a:pt x="402" y="1146"/>
                        </a:lnTo>
                        <a:lnTo>
                          <a:pt x="414" y="1158"/>
                        </a:lnTo>
                        <a:lnTo>
                          <a:pt x="420" y="1170"/>
                        </a:lnTo>
                        <a:lnTo>
                          <a:pt x="444" y="1194"/>
                        </a:lnTo>
                        <a:lnTo>
                          <a:pt x="456" y="1200"/>
                        </a:lnTo>
                        <a:lnTo>
                          <a:pt x="468" y="1212"/>
                        </a:lnTo>
                        <a:lnTo>
                          <a:pt x="474" y="1224"/>
                        </a:lnTo>
                        <a:lnTo>
                          <a:pt x="498" y="1248"/>
                        </a:lnTo>
                        <a:lnTo>
                          <a:pt x="516" y="1260"/>
                        </a:lnTo>
                        <a:lnTo>
                          <a:pt x="546" y="1278"/>
                        </a:lnTo>
                        <a:lnTo>
                          <a:pt x="576" y="1290"/>
                        </a:lnTo>
                        <a:lnTo>
                          <a:pt x="600" y="1302"/>
                        </a:lnTo>
                        <a:lnTo>
                          <a:pt x="642" y="1320"/>
                        </a:lnTo>
                        <a:lnTo>
                          <a:pt x="696" y="1350"/>
                        </a:lnTo>
                        <a:lnTo>
                          <a:pt x="708" y="1362"/>
                        </a:lnTo>
                        <a:lnTo>
                          <a:pt x="726" y="1374"/>
                        </a:lnTo>
                        <a:lnTo>
                          <a:pt x="738" y="1380"/>
                        </a:lnTo>
                        <a:lnTo>
                          <a:pt x="750" y="1392"/>
                        </a:lnTo>
                        <a:lnTo>
                          <a:pt x="774" y="1404"/>
                        </a:lnTo>
                        <a:lnTo>
                          <a:pt x="780" y="1428"/>
                        </a:lnTo>
                        <a:lnTo>
                          <a:pt x="792" y="1434"/>
                        </a:lnTo>
                        <a:lnTo>
                          <a:pt x="798" y="1446"/>
                        </a:lnTo>
                        <a:lnTo>
                          <a:pt x="810" y="1452"/>
                        </a:lnTo>
                        <a:lnTo>
                          <a:pt x="816" y="1458"/>
                        </a:lnTo>
                        <a:lnTo>
                          <a:pt x="840" y="1470"/>
                        </a:lnTo>
                        <a:lnTo>
                          <a:pt x="846" y="1482"/>
                        </a:lnTo>
                        <a:lnTo>
                          <a:pt x="858" y="1488"/>
                        </a:lnTo>
                        <a:lnTo>
                          <a:pt x="894" y="1464"/>
                        </a:lnTo>
                        <a:lnTo>
                          <a:pt x="900" y="1458"/>
                        </a:lnTo>
                        <a:lnTo>
                          <a:pt x="900" y="1440"/>
                        </a:lnTo>
                        <a:lnTo>
                          <a:pt x="894" y="1428"/>
                        </a:lnTo>
                        <a:lnTo>
                          <a:pt x="912" y="1416"/>
                        </a:lnTo>
                        <a:lnTo>
                          <a:pt x="900" y="1392"/>
                        </a:lnTo>
                        <a:lnTo>
                          <a:pt x="918" y="1374"/>
                        </a:lnTo>
                        <a:lnTo>
                          <a:pt x="930" y="1368"/>
                        </a:lnTo>
                        <a:lnTo>
                          <a:pt x="942" y="1344"/>
                        </a:lnTo>
                        <a:lnTo>
                          <a:pt x="942" y="1332"/>
                        </a:lnTo>
                        <a:lnTo>
                          <a:pt x="930" y="13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69" name="Paraguay"/>
                  <p:cNvSpPr>
                    <a:spLocks/>
                  </p:cNvSpPr>
                  <p:nvPr/>
                </p:nvSpPr>
                <p:spPr bwMode="gray">
                  <a:xfrm>
                    <a:off x="1541" y="2707"/>
                    <a:ext cx="153" cy="173"/>
                  </a:xfrm>
                  <a:custGeom>
                    <a:avLst/>
                    <a:gdLst>
                      <a:gd name="T0" fmla="*/ 2147483647 w 600"/>
                      <a:gd name="T1" fmla="*/ 2147483647 h 678"/>
                      <a:gd name="T2" fmla="*/ 2147483647 w 600"/>
                      <a:gd name="T3" fmla="*/ 2147483647 h 678"/>
                      <a:gd name="T4" fmla="*/ 2147483647 w 600"/>
                      <a:gd name="T5" fmla="*/ 2147483647 h 678"/>
                      <a:gd name="T6" fmla="*/ 2147483647 w 600"/>
                      <a:gd name="T7" fmla="*/ 2147483647 h 678"/>
                      <a:gd name="T8" fmla="*/ 2147483647 w 600"/>
                      <a:gd name="T9" fmla="*/ 2147483647 h 678"/>
                      <a:gd name="T10" fmla="*/ 2147483647 w 600"/>
                      <a:gd name="T11" fmla="*/ 2147483647 h 678"/>
                      <a:gd name="T12" fmla="*/ 2147483647 w 600"/>
                      <a:gd name="T13" fmla="*/ 2147483647 h 678"/>
                      <a:gd name="T14" fmla="*/ 2147483647 w 600"/>
                      <a:gd name="T15" fmla="*/ 2147483647 h 678"/>
                      <a:gd name="T16" fmla="*/ 2147483647 w 600"/>
                      <a:gd name="T17" fmla="*/ 2147483647 h 678"/>
                      <a:gd name="T18" fmla="*/ 2147483647 w 600"/>
                      <a:gd name="T19" fmla="*/ 2147483647 h 678"/>
                      <a:gd name="T20" fmla="*/ 2147483647 w 600"/>
                      <a:gd name="T21" fmla="*/ 2147483647 h 678"/>
                      <a:gd name="T22" fmla="*/ 2147483647 w 600"/>
                      <a:gd name="T23" fmla="*/ 2147483647 h 678"/>
                      <a:gd name="T24" fmla="*/ 2147483647 w 600"/>
                      <a:gd name="T25" fmla="*/ 2147483647 h 678"/>
                      <a:gd name="T26" fmla="*/ 2147483647 w 600"/>
                      <a:gd name="T27" fmla="*/ 2147483647 h 678"/>
                      <a:gd name="T28" fmla="*/ 2147483647 w 600"/>
                      <a:gd name="T29" fmla="*/ 2147483647 h 678"/>
                      <a:gd name="T30" fmla="*/ 2147483647 w 600"/>
                      <a:gd name="T31" fmla="*/ 2147483647 h 678"/>
                      <a:gd name="T32" fmla="*/ 2147483647 w 600"/>
                      <a:gd name="T33" fmla="*/ 2147483647 h 678"/>
                      <a:gd name="T34" fmla="*/ 2147483647 w 600"/>
                      <a:gd name="T35" fmla="*/ 2147483647 h 678"/>
                      <a:gd name="T36" fmla="*/ 2147483647 w 600"/>
                      <a:gd name="T37" fmla="*/ 2147483647 h 678"/>
                      <a:gd name="T38" fmla="*/ 2147483647 w 600"/>
                      <a:gd name="T39" fmla="*/ 2147483647 h 678"/>
                      <a:gd name="T40" fmla="*/ 2147483647 w 600"/>
                      <a:gd name="T41" fmla="*/ 2147483647 h 678"/>
                      <a:gd name="T42" fmla="*/ 2147483647 w 600"/>
                      <a:gd name="T43" fmla="*/ 2147483647 h 678"/>
                      <a:gd name="T44" fmla="*/ 2147483647 w 600"/>
                      <a:gd name="T45" fmla="*/ 2147483647 h 678"/>
                      <a:gd name="T46" fmla="*/ 2147483647 w 600"/>
                      <a:gd name="T47" fmla="*/ 2147483647 h 678"/>
                      <a:gd name="T48" fmla="*/ 2147483647 w 600"/>
                      <a:gd name="T49" fmla="*/ 2147483647 h 678"/>
                      <a:gd name="T50" fmla="*/ 2147483647 w 600"/>
                      <a:gd name="T51" fmla="*/ 2147483647 h 678"/>
                      <a:gd name="T52" fmla="*/ 2147483647 w 600"/>
                      <a:gd name="T53" fmla="*/ 0 h 678"/>
                      <a:gd name="T54" fmla="*/ 2147483647 w 600"/>
                      <a:gd name="T55" fmla="*/ 2147483647 h 678"/>
                      <a:gd name="T56" fmla="*/ 2147483647 w 600"/>
                      <a:gd name="T57" fmla="*/ 2147483647 h 678"/>
                      <a:gd name="T58" fmla="*/ 0 w 600"/>
                      <a:gd name="T59" fmla="*/ 2147483647 h 678"/>
                      <a:gd name="T60" fmla="*/ 2147483647 w 600"/>
                      <a:gd name="T61" fmla="*/ 2147483647 h 678"/>
                      <a:gd name="T62" fmla="*/ 2147483647 w 600"/>
                      <a:gd name="T63" fmla="*/ 2147483647 h 678"/>
                      <a:gd name="T64" fmla="*/ 2147483647 w 600"/>
                      <a:gd name="T65" fmla="*/ 2147483647 h 678"/>
                      <a:gd name="T66" fmla="*/ 2147483647 w 600"/>
                      <a:gd name="T67" fmla="*/ 2147483647 h 678"/>
                      <a:gd name="T68" fmla="*/ 2147483647 w 600"/>
                      <a:gd name="T69" fmla="*/ 2147483647 h 678"/>
                      <a:gd name="T70" fmla="*/ 2147483647 w 600"/>
                      <a:gd name="T71" fmla="*/ 2147483647 h 678"/>
                      <a:gd name="T72" fmla="*/ 2147483647 w 600"/>
                      <a:gd name="T73" fmla="*/ 2147483647 h 678"/>
                      <a:gd name="T74" fmla="*/ 2147483647 w 600"/>
                      <a:gd name="T75" fmla="*/ 2147483647 h 678"/>
                      <a:gd name="T76" fmla="*/ 2147483647 w 600"/>
                      <a:gd name="T77" fmla="*/ 2147483647 h 678"/>
                      <a:gd name="T78" fmla="*/ 2147483647 w 600"/>
                      <a:gd name="T79" fmla="*/ 2147483647 h 678"/>
                      <a:gd name="T80" fmla="*/ 2147483647 w 600"/>
                      <a:gd name="T81" fmla="*/ 2147483647 h 678"/>
                      <a:gd name="T82" fmla="*/ 2147483647 w 600"/>
                      <a:gd name="T83" fmla="*/ 2147483647 h 678"/>
                      <a:gd name="T84" fmla="*/ 2147483647 w 600"/>
                      <a:gd name="T85" fmla="*/ 2147483647 h 678"/>
                      <a:gd name="T86" fmla="*/ 2147483647 w 600"/>
                      <a:gd name="T87" fmla="*/ 2147483647 h 678"/>
                      <a:gd name="T88" fmla="*/ 2147483647 w 600"/>
                      <a:gd name="T89" fmla="*/ 2147483647 h 678"/>
                      <a:gd name="T90" fmla="*/ 2147483647 w 600"/>
                      <a:gd name="T91" fmla="*/ 2147483647 h 678"/>
                      <a:gd name="T92" fmla="*/ 2147483647 w 600"/>
                      <a:gd name="T93" fmla="*/ 2147483647 h 678"/>
                      <a:gd name="T94" fmla="*/ 2147483647 w 600"/>
                      <a:gd name="T95" fmla="*/ 2147483647 h 678"/>
                      <a:gd name="T96" fmla="*/ 2147483647 w 600"/>
                      <a:gd name="T97" fmla="*/ 2147483647 h 678"/>
                      <a:gd name="T98" fmla="*/ 2147483647 w 600"/>
                      <a:gd name="T99" fmla="*/ 2147483647 h 678"/>
                      <a:gd name="T100" fmla="*/ 2147483647 w 600"/>
                      <a:gd name="T101" fmla="*/ 2147483647 h 678"/>
                      <a:gd name="T102" fmla="*/ 2147483647 w 600"/>
                      <a:gd name="T103" fmla="*/ 2147483647 h 678"/>
                      <a:gd name="T104" fmla="*/ 2147483647 w 600"/>
                      <a:gd name="T105" fmla="*/ 2147483647 h 678"/>
                      <a:gd name="T106" fmla="*/ 2147483647 w 600"/>
                      <a:gd name="T107" fmla="*/ 2147483647 h 678"/>
                      <a:gd name="T108" fmla="*/ 2147483647 w 600"/>
                      <a:gd name="T109" fmla="*/ 2147483647 h 678"/>
                      <a:gd name="T110" fmla="*/ 2147483647 w 600"/>
                      <a:gd name="T111" fmla="*/ 2147483647 h 678"/>
                      <a:gd name="T112" fmla="*/ 2147483647 w 600"/>
                      <a:gd name="T113" fmla="*/ 2147483647 h 678"/>
                      <a:gd name="T114" fmla="*/ 2147483647 w 600"/>
                      <a:gd name="T115" fmla="*/ 2147483647 h 678"/>
                      <a:gd name="T116" fmla="*/ 2147483647 w 600"/>
                      <a:gd name="T117" fmla="*/ 2147483647 h 678"/>
                      <a:gd name="T118" fmla="*/ 2147483647 w 600"/>
                      <a:gd name="T119" fmla="*/ 2147483647 h 67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00"/>
                      <a:gd name="T181" fmla="*/ 0 h 678"/>
                      <a:gd name="T182" fmla="*/ 600 w 600"/>
                      <a:gd name="T183" fmla="*/ 678 h 67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00" h="678">
                        <a:moveTo>
                          <a:pt x="480" y="660"/>
                        </a:moveTo>
                        <a:lnTo>
                          <a:pt x="492" y="678"/>
                        </a:lnTo>
                        <a:lnTo>
                          <a:pt x="492" y="660"/>
                        </a:lnTo>
                        <a:lnTo>
                          <a:pt x="498" y="654"/>
                        </a:lnTo>
                        <a:lnTo>
                          <a:pt x="510" y="654"/>
                        </a:lnTo>
                        <a:lnTo>
                          <a:pt x="516" y="660"/>
                        </a:lnTo>
                        <a:lnTo>
                          <a:pt x="516" y="666"/>
                        </a:lnTo>
                        <a:lnTo>
                          <a:pt x="522" y="660"/>
                        </a:lnTo>
                        <a:lnTo>
                          <a:pt x="534" y="636"/>
                        </a:lnTo>
                        <a:lnTo>
                          <a:pt x="546" y="624"/>
                        </a:lnTo>
                        <a:lnTo>
                          <a:pt x="552" y="624"/>
                        </a:lnTo>
                        <a:lnTo>
                          <a:pt x="558" y="618"/>
                        </a:lnTo>
                        <a:lnTo>
                          <a:pt x="570" y="612"/>
                        </a:lnTo>
                        <a:lnTo>
                          <a:pt x="576" y="600"/>
                        </a:lnTo>
                        <a:lnTo>
                          <a:pt x="588" y="594"/>
                        </a:lnTo>
                        <a:lnTo>
                          <a:pt x="588" y="516"/>
                        </a:lnTo>
                        <a:lnTo>
                          <a:pt x="582" y="498"/>
                        </a:lnTo>
                        <a:lnTo>
                          <a:pt x="582" y="486"/>
                        </a:lnTo>
                        <a:lnTo>
                          <a:pt x="588" y="474"/>
                        </a:lnTo>
                        <a:lnTo>
                          <a:pt x="588" y="468"/>
                        </a:lnTo>
                        <a:lnTo>
                          <a:pt x="594" y="462"/>
                        </a:lnTo>
                        <a:lnTo>
                          <a:pt x="594" y="432"/>
                        </a:lnTo>
                        <a:lnTo>
                          <a:pt x="600" y="414"/>
                        </a:lnTo>
                        <a:lnTo>
                          <a:pt x="600" y="396"/>
                        </a:lnTo>
                        <a:lnTo>
                          <a:pt x="594" y="384"/>
                        </a:lnTo>
                        <a:lnTo>
                          <a:pt x="582" y="372"/>
                        </a:lnTo>
                        <a:lnTo>
                          <a:pt x="570" y="366"/>
                        </a:lnTo>
                        <a:lnTo>
                          <a:pt x="558" y="366"/>
                        </a:lnTo>
                        <a:lnTo>
                          <a:pt x="540" y="384"/>
                        </a:lnTo>
                        <a:lnTo>
                          <a:pt x="528" y="384"/>
                        </a:lnTo>
                        <a:lnTo>
                          <a:pt x="516" y="378"/>
                        </a:lnTo>
                        <a:lnTo>
                          <a:pt x="504" y="354"/>
                        </a:lnTo>
                        <a:lnTo>
                          <a:pt x="504" y="336"/>
                        </a:lnTo>
                        <a:lnTo>
                          <a:pt x="498" y="318"/>
                        </a:lnTo>
                        <a:lnTo>
                          <a:pt x="498" y="294"/>
                        </a:lnTo>
                        <a:lnTo>
                          <a:pt x="492" y="276"/>
                        </a:lnTo>
                        <a:lnTo>
                          <a:pt x="492" y="252"/>
                        </a:lnTo>
                        <a:lnTo>
                          <a:pt x="486" y="246"/>
                        </a:lnTo>
                        <a:lnTo>
                          <a:pt x="474" y="240"/>
                        </a:lnTo>
                        <a:lnTo>
                          <a:pt x="402" y="240"/>
                        </a:lnTo>
                        <a:lnTo>
                          <a:pt x="360" y="234"/>
                        </a:lnTo>
                        <a:lnTo>
                          <a:pt x="324" y="222"/>
                        </a:lnTo>
                        <a:lnTo>
                          <a:pt x="318" y="216"/>
                        </a:lnTo>
                        <a:lnTo>
                          <a:pt x="312" y="204"/>
                        </a:lnTo>
                        <a:lnTo>
                          <a:pt x="312" y="162"/>
                        </a:lnTo>
                        <a:lnTo>
                          <a:pt x="318" y="150"/>
                        </a:lnTo>
                        <a:lnTo>
                          <a:pt x="318" y="132"/>
                        </a:lnTo>
                        <a:lnTo>
                          <a:pt x="306" y="132"/>
                        </a:lnTo>
                        <a:lnTo>
                          <a:pt x="306" y="96"/>
                        </a:lnTo>
                        <a:lnTo>
                          <a:pt x="294" y="90"/>
                        </a:lnTo>
                        <a:lnTo>
                          <a:pt x="288" y="84"/>
                        </a:lnTo>
                        <a:lnTo>
                          <a:pt x="288" y="78"/>
                        </a:lnTo>
                        <a:lnTo>
                          <a:pt x="270" y="42"/>
                        </a:lnTo>
                        <a:lnTo>
                          <a:pt x="216" y="0"/>
                        </a:lnTo>
                        <a:lnTo>
                          <a:pt x="138" y="12"/>
                        </a:lnTo>
                        <a:lnTo>
                          <a:pt x="36" y="30"/>
                        </a:lnTo>
                        <a:lnTo>
                          <a:pt x="30" y="60"/>
                        </a:lnTo>
                        <a:lnTo>
                          <a:pt x="18" y="72"/>
                        </a:lnTo>
                        <a:lnTo>
                          <a:pt x="6" y="78"/>
                        </a:lnTo>
                        <a:lnTo>
                          <a:pt x="0" y="84"/>
                        </a:lnTo>
                        <a:lnTo>
                          <a:pt x="0" y="96"/>
                        </a:lnTo>
                        <a:lnTo>
                          <a:pt x="12" y="120"/>
                        </a:lnTo>
                        <a:lnTo>
                          <a:pt x="12" y="126"/>
                        </a:lnTo>
                        <a:lnTo>
                          <a:pt x="18" y="132"/>
                        </a:lnTo>
                        <a:lnTo>
                          <a:pt x="18" y="156"/>
                        </a:lnTo>
                        <a:lnTo>
                          <a:pt x="6" y="228"/>
                        </a:lnTo>
                        <a:lnTo>
                          <a:pt x="6" y="246"/>
                        </a:lnTo>
                        <a:lnTo>
                          <a:pt x="24" y="264"/>
                        </a:lnTo>
                        <a:lnTo>
                          <a:pt x="24" y="270"/>
                        </a:lnTo>
                        <a:lnTo>
                          <a:pt x="30" y="276"/>
                        </a:lnTo>
                        <a:lnTo>
                          <a:pt x="36" y="288"/>
                        </a:lnTo>
                        <a:lnTo>
                          <a:pt x="48" y="294"/>
                        </a:lnTo>
                        <a:lnTo>
                          <a:pt x="54" y="306"/>
                        </a:lnTo>
                        <a:lnTo>
                          <a:pt x="60" y="312"/>
                        </a:lnTo>
                        <a:lnTo>
                          <a:pt x="84" y="324"/>
                        </a:lnTo>
                        <a:lnTo>
                          <a:pt x="102" y="342"/>
                        </a:lnTo>
                        <a:lnTo>
                          <a:pt x="114" y="348"/>
                        </a:lnTo>
                        <a:lnTo>
                          <a:pt x="120" y="366"/>
                        </a:lnTo>
                        <a:lnTo>
                          <a:pt x="126" y="366"/>
                        </a:lnTo>
                        <a:lnTo>
                          <a:pt x="132" y="372"/>
                        </a:lnTo>
                        <a:lnTo>
                          <a:pt x="168" y="390"/>
                        </a:lnTo>
                        <a:lnTo>
                          <a:pt x="198" y="390"/>
                        </a:lnTo>
                        <a:lnTo>
                          <a:pt x="210" y="396"/>
                        </a:lnTo>
                        <a:lnTo>
                          <a:pt x="216" y="402"/>
                        </a:lnTo>
                        <a:lnTo>
                          <a:pt x="228" y="408"/>
                        </a:lnTo>
                        <a:lnTo>
                          <a:pt x="234" y="414"/>
                        </a:lnTo>
                        <a:lnTo>
                          <a:pt x="240" y="414"/>
                        </a:lnTo>
                        <a:lnTo>
                          <a:pt x="246" y="420"/>
                        </a:lnTo>
                        <a:lnTo>
                          <a:pt x="258" y="426"/>
                        </a:lnTo>
                        <a:lnTo>
                          <a:pt x="276" y="438"/>
                        </a:lnTo>
                        <a:lnTo>
                          <a:pt x="312" y="456"/>
                        </a:lnTo>
                        <a:lnTo>
                          <a:pt x="318" y="462"/>
                        </a:lnTo>
                        <a:lnTo>
                          <a:pt x="330" y="462"/>
                        </a:lnTo>
                        <a:lnTo>
                          <a:pt x="342" y="468"/>
                        </a:lnTo>
                        <a:lnTo>
                          <a:pt x="360" y="474"/>
                        </a:lnTo>
                        <a:lnTo>
                          <a:pt x="372" y="480"/>
                        </a:lnTo>
                        <a:lnTo>
                          <a:pt x="378" y="486"/>
                        </a:lnTo>
                        <a:lnTo>
                          <a:pt x="372" y="492"/>
                        </a:lnTo>
                        <a:lnTo>
                          <a:pt x="372" y="504"/>
                        </a:lnTo>
                        <a:lnTo>
                          <a:pt x="366" y="510"/>
                        </a:lnTo>
                        <a:lnTo>
                          <a:pt x="360" y="522"/>
                        </a:lnTo>
                        <a:lnTo>
                          <a:pt x="366" y="528"/>
                        </a:lnTo>
                        <a:lnTo>
                          <a:pt x="372" y="540"/>
                        </a:lnTo>
                        <a:lnTo>
                          <a:pt x="372" y="546"/>
                        </a:lnTo>
                        <a:lnTo>
                          <a:pt x="366" y="552"/>
                        </a:lnTo>
                        <a:lnTo>
                          <a:pt x="348" y="552"/>
                        </a:lnTo>
                        <a:lnTo>
                          <a:pt x="348" y="588"/>
                        </a:lnTo>
                        <a:lnTo>
                          <a:pt x="342" y="594"/>
                        </a:lnTo>
                        <a:lnTo>
                          <a:pt x="336" y="606"/>
                        </a:lnTo>
                        <a:lnTo>
                          <a:pt x="330" y="612"/>
                        </a:lnTo>
                        <a:lnTo>
                          <a:pt x="324" y="624"/>
                        </a:lnTo>
                        <a:lnTo>
                          <a:pt x="324" y="636"/>
                        </a:lnTo>
                        <a:lnTo>
                          <a:pt x="330" y="642"/>
                        </a:lnTo>
                        <a:lnTo>
                          <a:pt x="354" y="642"/>
                        </a:lnTo>
                        <a:lnTo>
                          <a:pt x="366" y="636"/>
                        </a:lnTo>
                        <a:lnTo>
                          <a:pt x="372" y="636"/>
                        </a:lnTo>
                        <a:lnTo>
                          <a:pt x="384" y="642"/>
                        </a:lnTo>
                        <a:lnTo>
                          <a:pt x="390" y="648"/>
                        </a:lnTo>
                        <a:lnTo>
                          <a:pt x="402" y="654"/>
                        </a:lnTo>
                        <a:lnTo>
                          <a:pt x="420" y="660"/>
                        </a:lnTo>
                        <a:lnTo>
                          <a:pt x="480" y="6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70" name="Papua New Guinea"/>
                  <p:cNvSpPr>
                    <a:spLocks noEditPoints="1"/>
                  </p:cNvSpPr>
                  <p:nvPr/>
                </p:nvSpPr>
                <p:spPr bwMode="gray">
                  <a:xfrm>
                    <a:off x="5208" y="2348"/>
                    <a:ext cx="278" cy="186"/>
                  </a:xfrm>
                  <a:custGeom>
                    <a:avLst/>
                    <a:gdLst>
                      <a:gd name="T0" fmla="*/ 2147483647 w 1086"/>
                      <a:gd name="T1" fmla="*/ 2147483647 h 726"/>
                      <a:gd name="T2" fmla="*/ 2147483647 w 1086"/>
                      <a:gd name="T3" fmla="*/ 2147483647 h 726"/>
                      <a:gd name="T4" fmla="*/ 2147483647 w 1086"/>
                      <a:gd name="T5" fmla="*/ 2147483647 h 726"/>
                      <a:gd name="T6" fmla="*/ 2147483647 w 1086"/>
                      <a:gd name="T7" fmla="*/ 2147483647 h 726"/>
                      <a:gd name="T8" fmla="*/ 2147483647 w 1086"/>
                      <a:gd name="T9" fmla="*/ 2147483647 h 726"/>
                      <a:gd name="T10" fmla="*/ 2147483647 w 1086"/>
                      <a:gd name="T11" fmla="*/ 2147483647 h 726"/>
                      <a:gd name="T12" fmla="*/ 2147483647 w 1086"/>
                      <a:gd name="T13" fmla="*/ 2147483647 h 726"/>
                      <a:gd name="T14" fmla="*/ 2147483647 w 1086"/>
                      <a:gd name="T15" fmla="*/ 2147483647 h 726"/>
                      <a:gd name="T16" fmla="*/ 2147483647 w 1086"/>
                      <a:gd name="T17" fmla="*/ 2147483647 h 726"/>
                      <a:gd name="T18" fmla="*/ 2147483647 w 1086"/>
                      <a:gd name="T19" fmla="*/ 2147483647 h 726"/>
                      <a:gd name="T20" fmla="*/ 2147483647 w 1086"/>
                      <a:gd name="T21" fmla="*/ 2147483647 h 726"/>
                      <a:gd name="T22" fmla="*/ 2147483647 w 1086"/>
                      <a:gd name="T23" fmla="*/ 2147483647 h 726"/>
                      <a:gd name="T24" fmla="*/ 2147483647 w 1086"/>
                      <a:gd name="T25" fmla="*/ 2147483647 h 726"/>
                      <a:gd name="T26" fmla="*/ 2147483647 w 1086"/>
                      <a:gd name="T27" fmla="*/ 2147483647 h 726"/>
                      <a:gd name="T28" fmla="*/ 2147483647 w 1086"/>
                      <a:gd name="T29" fmla="*/ 2147483647 h 726"/>
                      <a:gd name="T30" fmla="*/ 2147483647 w 1086"/>
                      <a:gd name="T31" fmla="*/ 2147483647 h 726"/>
                      <a:gd name="T32" fmla="*/ 2147483647 w 1086"/>
                      <a:gd name="T33" fmla="*/ 2147483647 h 726"/>
                      <a:gd name="T34" fmla="*/ 2147483647 w 1086"/>
                      <a:gd name="T35" fmla="*/ 2147483647 h 726"/>
                      <a:gd name="T36" fmla="*/ 2147483647 w 1086"/>
                      <a:gd name="T37" fmla="*/ 2147483647 h 726"/>
                      <a:gd name="T38" fmla="*/ 2147483647 w 1086"/>
                      <a:gd name="T39" fmla="*/ 2147483647 h 726"/>
                      <a:gd name="T40" fmla="*/ 2147483647 w 1086"/>
                      <a:gd name="T41" fmla="*/ 2147483647 h 726"/>
                      <a:gd name="T42" fmla="*/ 2147483647 w 1086"/>
                      <a:gd name="T43" fmla="*/ 2147483647 h 726"/>
                      <a:gd name="T44" fmla="*/ 2147483647 w 1086"/>
                      <a:gd name="T45" fmla="*/ 2147483647 h 726"/>
                      <a:gd name="T46" fmla="*/ 2147483647 w 1086"/>
                      <a:gd name="T47" fmla="*/ 2147483647 h 726"/>
                      <a:gd name="T48" fmla="*/ 2147483647 w 1086"/>
                      <a:gd name="T49" fmla="*/ 2147483647 h 726"/>
                      <a:gd name="T50" fmla="*/ 2147483647 w 1086"/>
                      <a:gd name="T51" fmla="*/ 2147483647 h 726"/>
                      <a:gd name="T52" fmla="*/ 2147483647 w 1086"/>
                      <a:gd name="T53" fmla="*/ 2147483647 h 726"/>
                      <a:gd name="T54" fmla="*/ 2147483647 w 1086"/>
                      <a:gd name="T55" fmla="*/ 2147483647 h 726"/>
                      <a:gd name="T56" fmla="*/ 2147483647 w 1086"/>
                      <a:gd name="T57" fmla="*/ 2147483647 h 726"/>
                      <a:gd name="T58" fmla="*/ 2147483647 w 1086"/>
                      <a:gd name="T59" fmla="*/ 2147483647 h 726"/>
                      <a:gd name="T60" fmla="*/ 2147483647 w 1086"/>
                      <a:gd name="T61" fmla="*/ 2147483647 h 726"/>
                      <a:gd name="T62" fmla="*/ 2147483647 w 1086"/>
                      <a:gd name="T63" fmla="*/ 2147483647 h 726"/>
                      <a:gd name="T64" fmla="*/ 2147483647 w 1086"/>
                      <a:gd name="T65" fmla="*/ 2147483647 h 726"/>
                      <a:gd name="T66" fmla="*/ 2147483647 w 1086"/>
                      <a:gd name="T67" fmla="*/ 2147483647 h 726"/>
                      <a:gd name="T68" fmla="*/ 2147483647 w 1086"/>
                      <a:gd name="T69" fmla="*/ 2147483647 h 726"/>
                      <a:gd name="T70" fmla="*/ 2147483647 w 1086"/>
                      <a:gd name="T71" fmla="*/ 2147483647 h 726"/>
                      <a:gd name="T72" fmla="*/ 2147483647 w 1086"/>
                      <a:gd name="T73" fmla="*/ 2147483647 h 726"/>
                      <a:gd name="T74" fmla="*/ 2147483647 w 1086"/>
                      <a:gd name="T75" fmla="*/ 2147483647 h 726"/>
                      <a:gd name="T76" fmla="*/ 2147483647 w 1086"/>
                      <a:gd name="T77" fmla="*/ 2147483647 h 726"/>
                      <a:gd name="T78" fmla="*/ 2147483647 w 1086"/>
                      <a:gd name="T79" fmla="*/ 2147483647 h 726"/>
                      <a:gd name="T80" fmla="*/ 2147483647 w 1086"/>
                      <a:gd name="T81" fmla="*/ 2147483647 h 726"/>
                      <a:gd name="T82" fmla="*/ 2147483647 w 1086"/>
                      <a:gd name="T83" fmla="*/ 2147483647 h 726"/>
                      <a:gd name="T84" fmla="*/ 2147483647 w 1086"/>
                      <a:gd name="T85" fmla="*/ 2147483647 h 726"/>
                      <a:gd name="T86" fmla="*/ 2147483647 w 1086"/>
                      <a:gd name="T87" fmla="*/ 2147483647 h 726"/>
                      <a:gd name="T88" fmla="*/ 2147483647 w 1086"/>
                      <a:gd name="T89" fmla="*/ 2147483647 h 726"/>
                      <a:gd name="T90" fmla="*/ 2147483647 w 1086"/>
                      <a:gd name="T91" fmla="*/ 2147483647 h 726"/>
                      <a:gd name="T92" fmla="*/ 2147483647 w 1086"/>
                      <a:gd name="T93" fmla="*/ 2147483647 h 726"/>
                      <a:gd name="T94" fmla="*/ 2147483647 w 1086"/>
                      <a:gd name="T95" fmla="*/ 2147483647 h 726"/>
                      <a:gd name="T96" fmla="*/ 2147483647 w 1086"/>
                      <a:gd name="T97" fmla="*/ 2147483647 h 726"/>
                      <a:gd name="T98" fmla="*/ 2147483647 w 1086"/>
                      <a:gd name="T99" fmla="*/ 2147483647 h 726"/>
                      <a:gd name="T100" fmla="*/ 2147483647 w 1086"/>
                      <a:gd name="T101" fmla="*/ 2147483647 h 726"/>
                      <a:gd name="T102" fmla="*/ 2147483647 w 1086"/>
                      <a:gd name="T103" fmla="*/ 2147483647 h 726"/>
                      <a:gd name="T104" fmla="*/ 2147483647 w 1086"/>
                      <a:gd name="T105" fmla="*/ 2147483647 h 726"/>
                      <a:gd name="T106" fmla="*/ 2147483647 w 1086"/>
                      <a:gd name="T107" fmla="*/ 2147483647 h 726"/>
                      <a:gd name="T108" fmla="*/ 2147483647 w 1086"/>
                      <a:gd name="T109" fmla="*/ 2147483647 h 726"/>
                      <a:gd name="T110" fmla="*/ 2147483647 w 1086"/>
                      <a:gd name="T111" fmla="*/ 2147483647 h 726"/>
                      <a:gd name="T112" fmla="*/ 2147483647 w 1086"/>
                      <a:gd name="T113" fmla="*/ 2147483647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86"/>
                      <a:gd name="T172" fmla="*/ 0 h 726"/>
                      <a:gd name="T173" fmla="*/ 1086 w 1086"/>
                      <a:gd name="T174" fmla="*/ 726 h 72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86" h="726">
                        <a:moveTo>
                          <a:pt x="486" y="0"/>
                        </a:moveTo>
                        <a:lnTo>
                          <a:pt x="462" y="0"/>
                        </a:lnTo>
                        <a:lnTo>
                          <a:pt x="450" y="6"/>
                        </a:lnTo>
                        <a:lnTo>
                          <a:pt x="444" y="12"/>
                        </a:lnTo>
                        <a:lnTo>
                          <a:pt x="432" y="18"/>
                        </a:lnTo>
                        <a:lnTo>
                          <a:pt x="462" y="36"/>
                        </a:lnTo>
                        <a:lnTo>
                          <a:pt x="474" y="36"/>
                        </a:lnTo>
                        <a:lnTo>
                          <a:pt x="486" y="30"/>
                        </a:lnTo>
                        <a:lnTo>
                          <a:pt x="498" y="18"/>
                        </a:lnTo>
                        <a:lnTo>
                          <a:pt x="492" y="6"/>
                        </a:lnTo>
                        <a:lnTo>
                          <a:pt x="486" y="0"/>
                        </a:lnTo>
                        <a:close/>
                        <a:moveTo>
                          <a:pt x="756" y="216"/>
                        </a:moveTo>
                        <a:lnTo>
                          <a:pt x="750" y="222"/>
                        </a:lnTo>
                        <a:lnTo>
                          <a:pt x="750" y="228"/>
                        </a:lnTo>
                        <a:lnTo>
                          <a:pt x="756" y="234"/>
                        </a:lnTo>
                        <a:lnTo>
                          <a:pt x="768" y="240"/>
                        </a:lnTo>
                        <a:lnTo>
                          <a:pt x="774" y="246"/>
                        </a:lnTo>
                        <a:lnTo>
                          <a:pt x="774" y="264"/>
                        </a:lnTo>
                        <a:lnTo>
                          <a:pt x="702" y="300"/>
                        </a:lnTo>
                        <a:lnTo>
                          <a:pt x="666" y="300"/>
                        </a:lnTo>
                        <a:lnTo>
                          <a:pt x="630" y="312"/>
                        </a:lnTo>
                        <a:lnTo>
                          <a:pt x="594" y="330"/>
                        </a:lnTo>
                        <a:lnTo>
                          <a:pt x="588" y="336"/>
                        </a:lnTo>
                        <a:lnTo>
                          <a:pt x="570" y="336"/>
                        </a:lnTo>
                        <a:lnTo>
                          <a:pt x="564" y="342"/>
                        </a:lnTo>
                        <a:lnTo>
                          <a:pt x="588" y="378"/>
                        </a:lnTo>
                        <a:lnTo>
                          <a:pt x="684" y="378"/>
                        </a:lnTo>
                        <a:lnTo>
                          <a:pt x="702" y="366"/>
                        </a:lnTo>
                        <a:lnTo>
                          <a:pt x="738" y="366"/>
                        </a:lnTo>
                        <a:lnTo>
                          <a:pt x="750" y="360"/>
                        </a:lnTo>
                        <a:lnTo>
                          <a:pt x="774" y="336"/>
                        </a:lnTo>
                        <a:lnTo>
                          <a:pt x="774" y="330"/>
                        </a:lnTo>
                        <a:lnTo>
                          <a:pt x="804" y="324"/>
                        </a:lnTo>
                        <a:lnTo>
                          <a:pt x="798" y="300"/>
                        </a:lnTo>
                        <a:lnTo>
                          <a:pt x="822" y="300"/>
                        </a:lnTo>
                        <a:lnTo>
                          <a:pt x="822" y="288"/>
                        </a:lnTo>
                        <a:lnTo>
                          <a:pt x="828" y="258"/>
                        </a:lnTo>
                        <a:lnTo>
                          <a:pt x="828" y="228"/>
                        </a:lnTo>
                        <a:lnTo>
                          <a:pt x="822" y="198"/>
                        </a:lnTo>
                        <a:lnTo>
                          <a:pt x="816" y="192"/>
                        </a:lnTo>
                        <a:lnTo>
                          <a:pt x="804" y="186"/>
                        </a:lnTo>
                        <a:lnTo>
                          <a:pt x="792" y="192"/>
                        </a:lnTo>
                        <a:lnTo>
                          <a:pt x="786" y="198"/>
                        </a:lnTo>
                        <a:lnTo>
                          <a:pt x="762" y="210"/>
                        </a:lnTo>
                        <a:lnTo>
                          <a:pt x="756" y="216"/>
                        </a:lnTo>
                        <a:close/>
                        <a:moveTo>
                          <a:pt x="834" y="132"/>
                        </a:moveTo>
                        <a:lnTo>
                          <a:pt x="822" y="132"/>
                        </a:lnTo>
                        <a:lnTo>
                          <a:pt x="816" y="120"/>
                        </a:lnTo>
                        <a:lnTo>
                          <a:pt x="804" y="108"/>
                        </a:lnTo>
                        <a:lnTo>
                          <a:pt x="792" y="102"/>
                        </a:lnTo>
                        <a:lnTo>
                          <a:pt x="786" y="90"/>
                        </a:lnTo>
                        <a:lnTo>
                          <a:pt x="774" y="78"/>
                        </a:lnTo>
                        <a:lnTo>
                          <a:pt x="768" y="78"/>
                        </a:lnTo>
                        <a:lnTo>
                          <a:pt x="762" y="72"/>
                        </a:lnTo>
                        <a:lnTo>
                          <a:pt x="756" y="72"/>
                        </a:lnTo>
                        <a:lnTo>
                          <a:pt x="732" y="36"/>
                        </a:lnTo>
                        <a:lnTo>
                          <a:pt x="720" y="84"/>
                        </a:lnTo>
                        <a:lnTo>
                          <a:pt x="762" y="96"/>
                        </a:lnTo>
                        <a:lnTo>
                          <a:pt x="816" y="150"/>
                        </a:lnTo>
                        <a:lnTo>
                          <a:pt x="828" y="150"/>
                        </a:lnTo>
                        <a:lnTo>
                          <a:pt x="834" y="156"/>
                        </a:lnTo>
                        <a:lnTo>
                          <a:pt x="846" y="162"/>
                        </a:lnTo>
                        <a:lnTo>
                          <a:pt x="852" y="174"/>
                        </a:lnTo>
                        <a:lnTo>
                          <a:pt x="852" y="180"/>
                        </a:lnTo>
                        <a:lnTo>
                          <a:pt x="858" y="192"/>
                        </a:lnTo>
                        <a:lnTo>
                          <a:pt x="852" y="204"/>
                        </a:lnTo>
                        <a:lnTo>
                          <a:pt x="852" y="240"/>
                        </a:lnTo>
                        <a:lnTo>
                          <a:pt x="858" y="252"/>
                        </a:lnTo>
                        <a:lnTo>
                          <a:pt x="864" y="258"/>
                        </a:lnTo>
                        <a:lnTo>
                          <a:pt x="882" y="258"/>
                        </a:lnTo>
                        <a:lnTo>
                          <a:pt x="894" y="246"/>
                        </a:lnTo>
                        <a:lnTo>
                          <a:pt x="900" y="234"/>
                        </a:lnTo>
                        <a:lnTo>
                          <a:pt x="900" y="222"/>
                        </a:lnTo>
                        <a:lnTo>
                          <a:pt x="888" y="186"/>
                        </a:lnTo>
                        <a:lnTo>
                          <a:pt x="876" y="174"/>
                        </a:lnTo>
                        <a:lnTo>
                          <a:pt x="864" y="156"/>
                        </a:lnTo>
                        <a:lnTo>
                          <a:pt x="852" y="150"/>
                        </a:lnTo>
                        <a:lnTo>
                          <a:pt x="846" y="138"/>
                        </a:lnTo>
                        <a:lnTo>
                          <a:pt x="834" y="132"/>
                        </a:lnTo>
                        <a:close/>
                        <a:moveTo>
                          <a:pt x="1086" y="360"/>
                        </a:moveTo>
                        <a:lnTo>
                          <a:pt x="1020" y="294"/>
                        </a:lnTo>
                        <a:lnTo>
                          <a:pt x="1020" y="288"/>
                        </a:lnTo>
                        <a:lnTo>
                          <a:pt x="1002" y="270"/>
                        </a:lnTo>
                        <a:lnTo>
                          <a:pt x="984" y="270"/>
                        </a:lnTo>
                        <a:lnTo>
                          <a:pt x="978" y="276"/>
                        </a:lnTo>
                        <a:lnTo>
                          <a:pt x="978" y="300"/>
                        </a:lnTo>
                        <a:lnTo>
                          <a:pt x="996" y="330"/>
                        </a:lnTo>
                        <a:lnTo>
                          <a:pt x="1020" y="378"/>
                        </a:lnTo>
                        <a:lnTo>
                          <a:pt x="1086" y="438"/>
                        </a:lnTo>
                        <a:lnTo>
                          <a:pt x="1086" y="360"/>
                        </a:lnTo>
                        <a:close/>
                        <a:moveTo>
                          <a:pt x="672" y="672"/>
                        </a:moveTo>
                        <a:lnTo>
                          <a:pt x="630" y="642"/>
                        </a:lnTo>
                        <a:lnTo>
                          <a:pt x="648" y="630"/>
                        </a:lnTo>
                        <a:lnTo>
                          <a:pt x="636" y="630"/>
                        </a:lnTo>
                        <a:lnTo>
                          <a:pt x="624" y="624"/>
                        </a:lnTo>
                        <a:lnTo>
                          <a:pt x="612" y="624"/>
                        </a:lnTo>
                        <a:lnTo>
                          <a:pt x="600" y="618"/>
                        </a:lnTo>
                        <a:lnTo>
                          <a:pt x="594" y="606"/>
                        </a:lnTo>
                        <a:lnTo>
                          <a:pt x="594" y="594"/>
                        </a:lnTo>
                        <a:lnTo>
                          <a:pt x="600" y="582"/>
                        </a:lnTo>
                        <a:lnTo>
                          <a:pt x="600" y="564"/>
                        </a:lnTo>
                        <a:lnTo>
                          <a:pt x="588" y="570"/>
                        </a:lnTo>
                        <a:lnTo>
                          <a:pt x="582" y="570"/>
                        </a:lnTo>
                        <a:lnTo>
                          <a:pt x="570" y="576"/>
                        </a:lnTo>
                        <a:lnTo>
                          <a:pt x="564" y="576"/>
                        </a:lnTo>
                        <a:lnTo>
                          <a:pt x="552" y="582"/>
                        </a:lnTo>
                        <a:lnTo>
                          <a:pt x="552" y="552"/>
                        </a:lnTo>
                        <a:lnTo>
                          <a:pt x="528" y="540"/>
                        </a:lnTo>
                        <a:lnTo>
                          <a:pt x="528" y="492"/>
                        </a:lnTo>
                        <a:lnTo>
                          <a:pt x="474" y="456"/>
                        </a:lnTo>
                        <a:lnTo>
                          <a:pt x="450" y="402"/>
                        </a:lnTo>
                        <a:lnTo>
                          <a:pt x="474" y="390"/>
                        </a:lnTo>
                        <a:lnTo>
                          <a:pt x="480" y="384"/>
                        </a:lnTo>
                        <a:lnTo>
                          <a:pt x="492" y="378"/>
                        </a:lnTo>
                        <a:lnTo>
                          <a:pt x="504" y="366"/>
                        </a:lnTo>
                        <a:lnTo>
                          <a:pt x="504" y="360"/>
                        </a:lnTo>
                        <a:lnTo>
                          <a:pt x="492" y="336"/>
                        </a:lnTo>
                        <a:lnTo>
                          <a:pt x="468" y="324"/>
                        </a:lnTo>
                        <a:lnTo>
                          <a:pt x="462" y="318"/>
                        </a:lnTo>
                        <a:lnTo>
                          <a:pt x="456" y="318"/>
                        </a:lnTo>
                        <a:lnTo>
                          <a:pt x="450" y="312"/>
                        </a:lnTo>
                        <a:lnTo>
                          <a:pt x="438" y="312"/>
                        </a:lnTo>
                        <a:lnTo>
                          <a:pt x="402" y="300"/>
                        </a:lnTo>
                        <a:lnTo>
                          <a:pt x="390" y="300"/>
                        </a:lnTo>
                        <a:lnTo>
                          <a:pt x="378" y="294"/>
                        </a:lnTo>
                        <a:lnTo>
                          <a:pt x="372" y="294"/>
                        </a:lnTo>
                        <a:lnTo>
                          <a:pt x="372" y="234"/>
                        </a:lnTo>
                        <a:lnTo>
                          <a:pt x="366" y="222"/>
                        </a:lnTo>
                        <a:lnTo>
                          <a:pt x="354" y="210"/>
                        </a:lnTo>
                        <a:lnTo>
                          <a:pt x="342" y="210"/>
                        </a:lnTo>
                        <a:lnTo>
                          <a:pt x="288" y="156"/>
                        </a:lnTo>
                        <a:lnTo>
                          <a:pt x="252" y="162"/>
                        </a:lnTo>
                        <a:lnTo>
                          <a:pt x="216" y="126"/>
                        </a:lnTo>
                        <a:lnTo>
                          <a:pt x="186" y="120"/>
                        </a:lnTo>
                        <a:lnTo>
                          <a:pt x="66" y="60"/>
                        </a:lnTo>
                        <a:lnTo>
                          <a:pt x="42" y="72"/>
                        </a:lnTo>
                        <a:lnTo>
                          <a:pt x="0" y="42"/>
                        </a:lnTo>
                        <a:lnTo>
                          <a:pt x="42" y="72"/>
                        </a:lnTo>
                        <a:lnTo>
                          <a:pt x="36" y="102"/>
                        </a:lnTo>
                        <a:lnTo>
                          <a:pt x="36" y="240"/>
                        </a:lnTo>
                        <a:lnTo>
                          <a:pt x="30" y="258"/>
                        </a:lnTo>
                        <a:lnTo>
                          <a:pt x="30" y="372"/>
                        </a:lnTo>
                        <a:lnTo>
                          <a:pt x="24" y="378"/>
                        </a:lnTo>
                        <a:lnTo>
                          <a:pt x="12" y="384"/>
                        </a:lnTo>
                        <a:lnTo>
                          <a:pt x="0" y="396"/>
                        </a:lnTo>
                        <a:lnTo>
                          <a:pt x="0" y="402"/>
                        </a:lnTo>
                        <a:lnTo>
                          <a:pt x="6" y="408"/>
                        </a:lnTo>
                        <a:lnTo>
                          <a:pt x="18" y="414"/>
                        </a:lnTo>
                        <a:lnTo>
                          <a:pt x="30" y="414"/>
                        </a:lnTo>
                        <a:lnTo>
                          <a:pt x="30" y="444"/>
                        </a:lnTo>
                        <a:lnTo>
                          <a:pt x="24" y="456"/>
                        </a:lnTo>
                        <a:lnTo>
                          <a:pt x="24" y="480"/>
                        </a:lnTo>
                        <a:lnTo>
                          <a:pt x="18" y="492"/>
                        </a:lnTo>
                        <a:lnTo>
                          <a:pt x="18" y="504"/>
                        </a:lnTo>
                        <a:lnTo>
                          <a:pt x="12" y="510"/>
                        </a:lnTo>
                        <a:lnTo>
                          <a:pt x="12" y="516"/>
                        </a:lnTo>
                        <a:lnTo>
                          <a:pt x="18" y="540"/>
                        </a:lnTo>
                        <a:lnTo>
                          <a:pt x="18" y="588"/>
                        </a:lnTo>
                        <a:lnTo>
                          <a:pt x="30" y="594"/>
                        </a:lnTo>
                        <a:lnTo>
                          <a:pt x="48" y="594"/>
                        </a:lnTo>
                        <a:lnTo>
                          <a:pt x="60" y="588"/>
                        </a:lnTo>
                        <a:lnTo>
                          <a:pt x="90" y="588"/>
                        </a:lnTo>
                        <a:lnTo>
                          <a:pt x="96" y="582"/>
                        </a:lnTo>
                        <a:lnTo>
                          <a:pt x="102" y="582"/>
                        </a:lnTo>
                        <a:lnTo>
                          <a:pt x="126" y="600"/>
                        </a:lnTo>
                        <a:lnTo>
                          <a:pt x="132" y="600"/>
                        </a:lnTo>
                        <a:lnTo>
                          <a:pt x="138" y="594"/>
                        </a:lnTo>
                        <a:lnTo>
                          <a:pt x="156" y="588"/>
                        </a:lnTo>
                        <a:lnTo>
                          <a:pt x="168" y="582"/>
                        </a:lnTo>
                        <a:lnTo>
                          <a:pt x="180" y="570"/>
                        </a:lnTo>
                        <a:lnTo>
                          <a:pt x="180" y="564"/>
                        </a:lnTo>
                        <a:lnTo>
                          <a:pt x="168" y="552"/>
                        </a:lnTo>
                        <a:lnTo>
                          <a:pt x="150" y="540"/>
                        </a:lnTo>
                        <a:lnTo>
                          <a:pt x="138" y="534"/>
                        </a:lnTo>
                        <a:lnTo>
                          <a:pt x="120" y="522"/>
                        </a:lnTo>
                        <a:lnTo>
                          <a:pt x="108" y="516"/>
                        </a:lnTo>
                        <a:lnTo>
                          <a:pt x="102" y="510"/>
                        </a:lnTo>
                        <a:lnTo>
                          <a:pt x="96" y="510"/>
                        </a:lnTo>
                        <a:lnTo>
                          <a:pt x="108" y="510"/>
                        </a:lnTo>
                        <a:lnTo>
                          <a:pt x="138" y="516"/>
                        </a:lnTo>
                        <a:lnTo>
                          <a:pt x="204" y="516"/>
                        </a:lnTo>
                        <a:lnTo>
                          <a:pt x="204" y="510"/>
                        </a:lnTo>
                        <a:lnTo>
                          <a:pt x="198" y="504"/>
                        </a:lnTo>
                        <a:lnTo>
                          <a:pt x="198" y="498"/>
                        </a:lnTo>
                        <a:lnTo>
                          <a:pt x="186" y="486"/>
                        </a:lnTo>
                        <a:lnTo>
                          <a:pt x="192" y="492"/>
                        </a:lnTo>
                        <a:lnTo>
                          <a:pt x="204" y="492"/>
                        </a:lnTo>
                        <a:lnTo>
                          <a:pt x="210" y="498"/>
                        </a:lnTo>
                        <a:lnTo>
                          <a:pt x="216" y="498"/>
                        </a:lnTo>
                        <a:lnTo>
                          <a:pt x="222" y="492"/>
                        </a:lnTo>
                        <a:lnTo>
                          <a:pt x="222" y="486"/>
                        </a:lnTo>
                        <a:lnTo>
                          <a:pt x="216" y="480"/>
                        </a:lnTo>
                        <a:lnTo>
                          <a:pt x="216" y="468"/>
                        </a:lnTo>
                        <a:lnTo>
                          <a:pt x="210" y="462"/>
                        </a:lnTo>
                        <a:lnTo>
                          <a:pt x="222" y="468"/>
                        </a:lnTo>
                        <a:lnTo>
                          <a:pt x="228" y="474"/>
                        </a:lnTo>
                        <a:lnTo>
                          <a:pt x="246" y="474"/>
                        </a:lnTo>
                        <a:lnTo>
                          <a:pt x="252" y="468"/>
                        </a:lnTo>
                        <a:lnTo>
                          <a:pt x="264" y="462"/>
                        </a:lnTo>
                        <a:lnTo>
                          <a:pt x="270" y="456"/>
                        </a:lnTo>
                        <a:lnTo>
                          <a:pt x="288" y="474"/>
                        </a:lnTo>
                        <a:lnTo>
                          <a:pt x="300" y="480"/>
                        </a:lnTo>
                        <a:lnTo>
                          <a:pt x="306" y="486"/>
                        </a:lnTo>
                        <a:lnTo>
                          <a:pt x="312" y="486"/>
                        </a:lnTo>
                        <a:lnTo>
                          <a:pt x="330" y="492"/>
                        </a:lnTo>
                        <a:lnTo>
                          <a:pt x="342" y="492"/>
                        </a:lnTo>
                        <a:lnTo>
                          <a:pt x="378" y="504"/>
                        </a:lnTo>
                        <a:lnTo>
                          <a:pt x="390" y="510"/>
                        </a:lnTo>
                        <a:lnTo>
                          <a:pt x="402" y="534"/>
                        </a:lnTo>
                        <a:lnTo>
                          <a:pt x="402" y="558"/>
                        </a:lnTo>
                        <a:lnTo>
                          <a:pt x="408" y="570"/>
                        </a:lnTo>
                        <a:lnTo>
                          <a:pt x="420" y="582"/>
                        </a:lnTo>
                        <a:lnTo>
                          <a:pt x="438" y="582"/>
                        </a:lnTo>
                        <a:lnTo>
                          <a:pt x="450" y="594"/>
                        </a:lnTo>
                        <a:lnTo>
                          <a:pt x="450" y="606"/>
                        </a:lnTo>
                        <a:lnTo>
                          <a:pt x="456" y="618"/>
                        </a:lnTo>
                        <a:lnTo>
                          <a:pt x="468" y="654"/>
                        </a:lnTo>
                        <a:lnTo>
                          <a:pt x="486" y="672"/>
                        </a:lnTo>
                        <a:lnTo>
                          <a:pt x="516" y="678"/>
                        </a:lnTo>
                        <a:lnTo>
                          <a:pt x="558" y="684"/>
                        </a:lnTo>
                        <a:lnTo>
                          <a:pt x="618" y="684"/>
                        </a:lnTo>
                        <a:lnTo>
                          <a:pt x="630" y="690"/>
                        </a:lnTo>
                        <a:lnTo>
                          <a:pt x="654" y="714"/>
                        </a:lnTo>
                        <a:lnTo>
                          <a:pt x="678" y="726"/>
                        </a:lnTo>
                        <a:lnTo>
                          <a:pt x="684" y="726"/>
                        </a:lnTo>
                        <a:lnTo>
                          <a:pt x="684" y="720"/>
                        </a:lnTo>
                        <a:lnTo>
                          <a:pt x="678" y="708"/>
                        </a:lnTo>
                        <a:lnTo>
                          <a:pt x="678" y="702"/>
                        </a:lnTo>
                        <a:lnTo>
                          <a:pt x="672" y="690"/>
                        </a:lnTo>
                        <a:lnTo>
                          <a:pt x="666" y="684"/>
                        </a:lnTo>
                        <a:lnTo>
                          <a:pt x="672" y="6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71" name="Panama"/>
                  <p:cNvSpPr>
                    <a:spLocks/>
                  </p:cNvSpPr>
                  <p:nvPr/>
                </p:nvSpPr>
                <p:spPr bwMode="gray">
                  <a:xfrm>
                    <a:off x="1147" y="2112"/>
                    <a:ext cx="104" cy="50"/>
                  </a:xfrm>
                  <a:custGeom>
                    <a:avLst/>
                    <a:gdLst>
                      <a:gd name="T0" fmla="*/ 2147483647 w 408"/>
                      <a:gd name="T1" fmla="*/ 2147483647 h 198"/>
                      <a:gd name="T2" fmla="*/ 2147483647 w 408"/>
                      <a:gd name="T3" fmla="*/ 2147483647 h 198"/>
                      <a:gd name="T4" fmla="*/ 2147483647 w 408"/>
                      <a:gd name="T5" fmla="*/ 2147483647 h 198"/>
                      <a:gd name="T6" fmla="*/ 2147483647 w 408"/>
                      <a:gd name="T7" fmla="*/ 2147483647 h 198"/>
                      <a:gd name="T8" fmla="*/ 2147483647 w 408"/>
                      <a:gd name="T9" fmla="*/ 2147483647 h 198"/>
                      <a:gd name="T10" fmla="*/ 2147483647 w 408"/>
                      <a:gd name="T11" fmla="*/ 2147483647 h 198"/>
                      <a:gd name="T12" fmla="*/ 2147483647 w 408"/>
                      <a:gd name="T13" fmla="*/ 2147483647 h 198"/>
                      <a:gd name="T14" fmla="*/ 2147483647 w 408"/>
                      <a:gd name="T15" fmla="*/ 2147483647 h 198"/>
                      <a:gd name="T16" fmla="*/ 2147483647 w 408"/>
                      <a:gd name="T17" fmla="*/ 2147483647 h 198"/>
                      <a:gd name="T18" fmla="*/ 2147483647 w 408"/>
                      <a:gd name="T19" fmla="*/ 2147483647 h 198"/>
                      <a:gd name="T20" fmla="*/ 2147483647 w 408"/>
                      <a:gd name="T21" fmla="*/ 2147483647 h 198"/>
                      <a:gd name="T22" fmla="*/ 2147483647 w 408"/>
                      <a:gd name="T23" fmla="*/ 2147483647 h 198"/>
                      <a:gd name="T24" fmla="*/ 2147483647 w 408"/>
                      <a:gd name="T25" fmla="*/ 2147483647 h 198"/>
                      <a:gd name="T26" fmla="*/ 2147483647 w 408"/>
                      <a:gd name="T27" fmla="*/ 2147483647 h 198"/>
                      <a:gd name="T28" fmla="*/ 2147483647 w 408"/>
                      <a:gd name="T29" fmla="*/ 2147483647 h 198"/>
                      <a:gd name="T30" fmla="*/ 2147483647 w 408"/>
                      <a:gd name="T31" fmla="*/ 2147483647 h 198"/>
                      <a:gd name="T32" fmla="*/ 2147483647 w 408"/>
                      <a:gd name="T33" fmla="*/ 0 h 198"/>
                      <a:gd name="T34" fmla="*/ 2147483647 w 408"/>
                      <a:gd name="T35" fmla="*/ 2147483647 h 198"/>
                      <a:gd name="T36" fmla="*/ 2147483647 w 408"/>
                      <a:gd name="T37" fmla="*/ 2147483647 h 198"/>
                      <a:gd name="T38" fmla="*/ 2147483647 w 408"/>
                      <a:gd name="T39" fmla="*/ 2147483647 h 198"/>
                      <a:gd name="T40" fmla="*/ 2147483647 w 408"/>
                      <a:gd name="T41" fmla="*/ 2147483647 h 198"/>
                      <a:gd name="T42" fmla="*/ 2147483647 w 408"/>
                      <a:gd name="T43" fmla="*/ 2147483647 h 198"/>
                      <a:gd name="T44" fmla="*/ 2147483647 w 408"/>
                      <a:gd name="T45" fmla="*/ 2147483647 h 198"/>
                      <a:gd name="T46" fmla="*/ 2147483647 w 408"/>
                      <a:gd name="T47" fmla="*/ 2147483647 h 198"/>
                      <a:gd name="T48" fmla="*/ 2147483647 w 408"/>
                      <a:gd name="T49" fmla="*/ 2147483647 h 198"/>
                      <a:gd name="T50" fmla="*/ 2147483647 w 408"/>
                      <a:gd name="T51" fmla="*/ 2147483647 h 198"/>
                      <a:gd name="T52" fmla="*/ 2147483647 w 408"/>
                      <a:gd name="T53" fmla="*/ 2147483647 h 198"/>
                      <a:gd name="T54" fmla="*/ 2147483647 w 408"/>
                      <a:gd name="T55" fmla="*/ 2147483647 h 198"/>
                      <a:gd name="T56" fmla="*/ 0 w 408"/>
                      <a:gd name="T57" fmla="*/ 2147483647 h 198"/>
                      <a:gd name="T58" fmla="*/ 2147483647 w 408"/>
                      <a:gd name="T59" fmla="*/ 2147483647 h 198"/>
                      <a:gd name="T60" fmla="*/ 2147483647 w 408"/>
                      <a:gd name="T61" fmla="*/ 2147483647 h 198"/>
                      <a:gd name="T62" fmla="*/ 2147483647 w 408"/>
                      <a:gd name="T63" fmla="*/ 2147483647 h 198"/>
                      <a:gd name="T64" fmla="*/ 0 w 408"/>
                      <a:gd name="T65" fmla="*/ 2147483647 h 198"/>
                      <a:gd name="T66" fmla="*/ 2147483647 w 408"/>
                      <a:gd name="T67" fmla="*/ 2147483647 h 198"/>
                      <a:gd name="T68" fmla="*/ 2147483647 w 408"/>
                      <a:gd name="T69" fmla="*/ 2147483647 h 198"/>
                      <a:gd name="T70" fmla="*/ 2147483647 w 408"/>
                      <a:gd name="T71" fmla="*/ 2147483647 h 198"/>
                      <a:gd name="T72" fmla="*/ 2147483647 w 408"/>
                      <a:gd name="T73" fmla="*/ 2147483647 h 198"/>
                      <a:gd name="T74" fmla="*/ 2147483647 w 408"/>
                      <a:gd name="T75" fmla="*/ 2147483647 h 198"/>
                      <a:gd name="T76" fmla="*/ 2147483647 w 408"/>
                      <a:gd name="T77" fmla="*/ 2147483647 h 198"/>
                      <a:gd name="T78" fmla="*/ 2147483647 w 408"/>
                      <a:gd name="T79" fmla="*/ 2147483647 h 198"/>
                      <a:gd name="T80" fmla="*/ 2147483647 w 408"/>
                      <a:gd name="T81" fmla="*/ 2147483647 h 198"/>
                      <a:gd name="T82" fmla="*/ 2147483647 w 408"/>
                      <a:gd name="T83" fmla="*/ 2147483647 h 198"/>
                      <a:gd name="T84" fmla="*/ 2147483647 w 408"/>
                      <a:gd name="T85" fmla="*/ 2147483647 h 198"/>
                      <a:gd name="T86" fmla="*/ 2147483647 w 408"/>
                      <a:gd name="T87" fmla="*/ 2147483647 h 198"/>
                      <a:gd name="T88" fmla="*/ 2147483647 w 408"/>
                      <a:gd name="T89" fmla="*/ 2147483647 h 198"/>
                      <a:gd name="T90" fmla="*/ 2147483647 w 408"/>
                      <a:gd name="T91" fmla="*/ 2147483647 h 198"/>
                      <a:gd name="T92" fmla="*/ 2147483647 w 408"/>
                      <a:gd name="T93" fmla="*/ 2147483647 h 198"/>
                      <a:gd name="T94" fmla="*/ 2147483647 w 408"/>
                      <a:gd name="T95" fmla="*/ 2147483647 h 198"/>
                      <a:gd name="T96" fmla="*/ 2147483647 w 408"/>
                      <a:gd name="T97" fmla="*/ 2147483647 h 198"/>
                      <a:gd name="T98" fmla="*/ 2147483647 w 408"/>
                      <a:gd name="T99" fmla="*/ 2147483647 h 198"/>
                      <a:gd name="T100" fmla="*/ 2147483647 w 408"/>
                      <a:gd name="T101" fmla="*/ 2147483647 h 19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08"/>
                      <a:gd name="T154" fmla="*/ 0 h 198"/>
                      <a:gd name="T155" fmla="*/ 408 w 408"/>
                      <a:gd name="T156" fmla="*/ 198 h 19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08" h="198">
                        <a:moveTo>
                          <a:pt x="306" y="66"/>
                        </a:moveTo>
                        <a:lnTo>
                          <a:pt x="318" y="78"/>
                        </a:lnTo>
                        <a:lnTo>
                          <a:pt x="324" y="90"/>
                        </a:lnTo>
                        <a:lnTo>
                          <a:pt x="330" y="96"/>
                        </a:lnTo>
                        <a:lnTo>
                          <a:pt x="342" y="90"/>
                        </a:lnTo>
                        <a:lnTo>
                          <a:pt x="372" y="120"/>
                        </a:lnTo>
                        <a:lnTo>
                          <a:pt x="342" y="102"/>
                        </a:lnTo>
                        <a:lnTo>
                          <a:pt x="342" y="120"/>
                        </a:lnTo>
                        <a:lnTo>
                          <a:pt x="336" y="132"/>
                        </a:lnTo>
                        <a:lnTo>
                          <a:pt x="336" y="162"/>
                        </a:lnTo>
                        <a:lnTo>
                          <a:pt x="342" y="168"/>
                        </a:lnTo>
                        <a:lnTo>
                          <a:pt x="348" y="180"/>
                        </a:lnTo>
                        <a:lnTo>
                          <a:pt x="354" y="186"/>
                        </a:lnTo>
                        <a:lnTo>
                          <a:pt x="360" y="186"/>
                        </a:lnTo>
                        <a:lnTo>
                          <a:pt x="372" y="156"/>
                        </a:lnTo>
                        <a:lnTo>
                          <a:pt x="378" y="162"/>
                        </a:lnTo>
                        <a:lnTo>
                          <a:pt x="390" y="168"/>
                        </a:lnTo>
                        <a:lnTo>
                          <a:pt x="396" y="162"/>
                        </a:lnTo>
                        <a:lnTo>
                          <a:pt x="408" y="138"/>
                        </a:lnTo>
                        <a:lnTo>
                          <a:pt x="408" y="126"/>
                        </a:lnTo>
                        <a:lnTo>
                          <a:pt x="396" y="120"/>
                        </a:lnTo>
                        <a:lnTo>
                          <a:pt x="390" y="108"/>
                        </a:lnTo>
                        <a:lnTo>
                          <a:pt x="390" y="90"/>
                        </a:lnTo>
                        <a:lnTo>
                          <a:pt x="396" y="84"/>
                        </a:lnTo>
                        <a:lnTo>
                          <a:pt x="372" y="66"/>
                        </a:lnTo>
                        <a:lnTo>
                          <a:pt x="372" y="60"/>
                        </a:lnTo>
                        <a:lnTo>
                          <a:pt x="366" y="54"/>
                        </a:lnTo>
                        <a:lnTo>
                          <a:pt x="366" y="42"/>
                        </a:lnTo>
                        <a:lnTo>
                          <a:pt x="360" y="30"/>
                        </a:lnTo>
                        <a:lnTo>
                          <a:pt x="348" y="24"/>
                        </a:lnTo>
                        <a:lnTo>
                          <a:pt x="330" y="18"/>
                        </a:lnTo>
                        <a:lnTo>
                          <a:pt x="288" y="18"/>
                        </a:lnTo>
                        <a:lnTo>
                          <a:pt x="282" y="0"/>
                        </a:lnTo>
                        <a:lnTo>
                          <a:pt x="246" y="0"/>
                        </a:lnTo>
                        <a:lnTo>
                          <a:pt x="234" y="6"/>
                        </a:lnTo>
                        <a:lnTo>
                          <a:pt x="228" y="12"/>
                        </a:lnTo>
                        <a:lnTo>
                          <a:pt x="222" y="24"/>
                        </a:lnTo>
                        <a:lnTo>
                          <a:pt x="210" y="36"/>
                        </a:lnTo>
                        <a:lnTo>
                          <a:pt x="204" y="36"/>
                        </a:lnTo>
                        <a:lnTo>
                          <a:pt x="198" y="30"/>
                        </a:lnTo>
                        <a:lnTo>
                          <a:pt x="192" y="30"/>
                        </a:lnTo>
                        <a:lnTo>
                          <a:pt x="168" y="42"/>
                        </a:lnTo>
                        <a:lnTo>
                          <a:pt x="144" y="66"/>
                        </a:lnTo>
                        <a:lnTo>
                          <a:pt x="132" y="72"/>
                        </a:lnTo>
                        <a:lnTo>
                          <a:pt x="120" y="72"/>
                        </a:lnTo>
                        <a:lnTo>
                          <a:pt x="114" y="66"/>
                        </a:lnTo>
                        <a:lnTo>
                          <a:pt x="102" y="60"/>
                        </a:lnTo>
                        <a:lnTo>
                          <a:pt x="90" y="42"/>
                        </a:lnTo>
                        <a:lnTo>
                          <a:pt x="78" y="54"/>
                        </a:lnTo>
                        <a:lnTo>
                          <a:pt x="60" y="54"/>
                        </a:lnTo>
                        <a:lnTo>
                          <a:pt x="48" y="42"/>
                        </a:lnTo>
                        <a:lnTo>
                          <a:pt x="48" y="18"/>
                        </a:lnTo>
                        <a:lnTo>
                          <a:pt x="36" y="6"/>
                        </a:lnTo>
                        <a:lnTo>
                          <a:pt x="24" y="6"/>
                        </a:lnTo>
                        <a:lnTo>
                          <a:pt x="18" y="12"/>
                        </a:lnTo>
                        <a:lnTo>
                          <a:pt x="6" y="12"/>
                        </a:lnTo>
                        <a:lnTo>
                          <a:pt x="0" y="18"/>
                        </a:lnTo>
                        <a:lnTo>
                          <a:pt x="0" y="36"/>
                        </a:lnTo>
                        <a:lnTo>
                          <a:pt x="6" y="42"/>
                        </a:lnTo>
                        <a:lnTo>
                          <a:pt x="6" y="48"/>
                        </a:lnTo>
                        <a:lnTo>
                          <a:pt x="24" y="48"/>
                        </a:lnTo>
                        <a:lnTo>
                          <a:pt x="30" y="54"/>
                        </a:lnTo>
                        <a:lnTo>
                          <a:pt x="12" y="72"/>
                        </a:lnTo>
                        <a:lnTo>
                          <a:pt x="6" y="72"/>
                        </a:lnTo>
                        <a:lnTo>
                          <a:pt x="6" y="96"/>
                        </a:lnTo>
                        <a:lnTo>
                          <a:pt x="0" y="102"/>
                        </a:lnTo>
                        <a:lnTo>
                          <a:pt x="6" y="108"/>
                        </a:lnTo>
                        <a:lnTo>
                          <a:pt x="48" y="102"/>
                        </a:lnTo>
                        <a:lnTo>
                          <a:pt x="60" y="120"/>
                        </a:lnTo>
                        <a:lnTo>
                          <a:pt x="90" y="114"/>
                        </a:lnTo>
                        <a:lnTo>
                          <a:pt x="90" y="126"/>
                        </a:lnTo>
                        <a:lnTo>
                          <a:pt x="84" y="132"/>
                        </a:lnTo>
                        <a:lnTo>
                          <a:pt x="84" y="150"/>
                        </a:lnTo>
                        <a:lnTo>
                          <a:pt x="90" y="156"/>
                        </a:lnTo>
                        <a:lnTo>
                          <a:pt x="108" y="156"/>
                        </a:lnTo>
                        <a:lnTo>
                          <a:pt x="114" y="150"/>
                        </a:lnTo>
                        <a:lnTo>
                          <a:pt x="120" y="150"/>
                        </a:lnTo>
                        <a:lnTo>
                          <a:pt x="120" y="132"/>
                        </a:lnTo>
                        <a:lnTo>
                          <a:pt x="138" y="126"/>
                        </a:lnTo>
                        <a:lnTo>
                          <a:pt x="138" y="150"/>
                        </a:lnTo>
                        <a:lnTo>
                          <a:pt x="144" y="168"/>
                        </a:lnTo>
                        <a:lnTo>
                          <a:pt x="144" y="180"/>
                        </a:lnTo>
                        <a:lnTo>
                          <a:pt x="150" y="192"/>
                        </a:lnTo>
                        <a:lnTo>
                          <a:pt x="156" y="198"/>
                        </a:lnTo>
                        <a:lnTo>
                          <a:pt x="162" y="198"/>
                        </a:lnTo>
                        <a:lnTo>
                          <a:pt x="180" y="192"/>
                        </a:lnTo>
                        <a:lnTo>
                          <a:pt x="198" y="174"/>
                        </a:lnTo>
                        <a:lnTo>
                          <a:pt x="204" y="174"/>
                        </a:lnTo>
                        <a:lnTo>
                          <a:pt x="198" y="168"/>
                        </a:lnTo>
                        <a:lnTo>
                          <a:pt x="186" y="162"/>
                        </a:lnTo>
                        <a:lnTo>
                          <a:pt x="180" y="150"/>
                        </a:lnTo>
                        <a:lnTo>
                          <a:pt x="174" y="144"/>
                        </a:lnTo>
                        <a:lnTo>
                          <a:pt x="168" y="132"/>
                        </a:lnTo>
                        <a:lnTo>
                          <a:pt x="162" y="126"/>
                        </a:lnTo>
                        <a:lnTo>
                          <a:pt x="186" y="102"/>
                        </a:lnTo>
                        <a:lnTo>
                          <a:pt x="222" y="84"/>
                        </a:lnTo>
                        <a:lnTo>
                          <a:pt x="228" y="72"/>
                        </a:lnTo>
                        <a:lnTo>
                          <a:pt x="246" y="54"/>
                        </a:lnTo>
                        <a:lnTo>
                          <a:pt x="258" y="48"/>
                        </a:lnTo>
                        <a:lnTo>
                          <a:pt x="276" y="54"/>
                        </a:lnTo>
                        <a:lnTo>
                          <a:pt x="288" y="60"/>
                        </a:lnTo>
                        <a:lnTo>
                          <a:pt x="306" y="6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72" name="Pakistan"/>
                  <p:cNvSpPr>
                    <a:spLocks/>
                  </p:cNvSpPr>
                  <p:nvPr/>
                </p:nvSpPr>
                <p:spPr bwMode="gray">
                  <a:xfrm>
                    <a:off x="3726" y="1547"/>
                    <a:ext cx="269" cy="270"/>
                  </a:xfrm>
                  <a:custGeom>
                    <a:avLst/>
                    <a:gdLst>
                      <a:gd name="T0" fmla="*/ 2147483647 w 1050"/>
                      <a:gd name="T1" fmla="*/ 2147483647 h 1056"/>
                      <a:gd name="T2" fmla="*/ 2147483647 w 1050"/>
                      <a:gd name="T3" fmla="*/ 2147483647 h 1056"/>
                      <a:gd name="T4" fmla="*/ 2147483647 w 1050"/>
                      <a:gd name="T5" fmla="*/ 2147483647 h 1056"/>
                      <a:gd name="T6" fmla="*/ 2147483647 w 1050"/>
                      <a:gd name="T7" fmla="*/ 2147483647 h 1056"/>
                      <a:gd name="T8" fmla="*/ 2147483647 w 1050"/>
                      <a:gd name="T9" fmla="*/ 2147483647 h 1056"/>
                      <a:gd name="T10" fmla="*/ 2147483647 w 1050"/>
                      <a:gd name="T11" fmla="*/ 2147483647 h 1056"/>
                      <a:gd name="T12" fmla="*/ 2147483647 w 1050"/>
                      <a:gd name="T13" fmla="*/ 2147483647 h 1056"/>
                      <a:gd name="T14" fmla="*/ 2147483647 w 1050"/>
                      <a:gd name="T15" fmla="*/ 2147483647 h 1056"/>
                      <a:gd name="T16" fmla="*/ 2147483647 w 1050"/>
                      <a:gd name="T17" fmla="*/ 2147483647 h 1056"/>
                      <a:gd name="T18" fmla="*/ 2147483647 w 1050"/>
                      <a:gd name="T19" fmla="*/ 2147483647 h 1056"/>
                      <a:gd name="T20" fmla="*/ 2147483647 w 1050"/>
                      <a:gd name="T21" fmla="*/ 2147483647 h 1056"/>
                      <a:gd name="T22" fmla="*/ 2147483647 w 1050"/>
                      <a:gd name="T23" fmla="*/ 2147483647 h 1056"/>
                      <a:gd name="T24" fmla="*/ 2147483647 w 1050"/>
                      <a:gd name="T25" fmla="*/ 2147483647 h 1056"/>
                      <a:gd name="T26" fmla="*/ 2147483647 w 1050"/>
                      <a:gd name="T27" fmla="*/ 2147483647 h 1056"/>
                      <a:gd name="T28" fmla="*/ 2147483647 w 1050"/>
                      <a:gd name="T29" fmla="*/ 2147483647 h 1056"/>
                      <a:gd name="T30" fmla="*/ 2147483647 w 1050"/>
                      <a:gd name="T31" fmla="*/ 2147483647 h 1056"/>
                      <a:gd name="T32" fmla="*/ 2147483647 w 1050"/>
                      <a:gd name="T33" fmla="*/ 2147483647 h 1056"/>
                      <a:gd name="T34" fmla="*/ 2147483647 w 1050"/>
                      <a:gd name="T35" fmla="*/ 2147483647 h 1056"/>
                      <a:gd name="T36" fmla="*/ 2147483647 w 1050"/>
                      <a:gd name="T37" fmla="*/ 2147483647 h 1056"/>
                      <a:gd name="T38" fmla="*/ 2147483647 w 1050"/>
                      <a:gd name="T39" fmla="*/ 2147483647 h 1056"/>
                      <a:gd name="T40" fmla="*/ 2147483647 w 1050"/>
                      <a:gd name="T41" fmla="*/ 2147483647 h 1056"/>
                      <a:gd name="T42" fmla="*/ 2147483647 w 1050"/>
                      <a:gd name="T43" fmla="*/ 2147483647 h 1056"/>
                      <a:gd name="T44" fmla="*/ 0 w 1050"/>
                      <a:gd name="T45" fmla="*/ 2147483647 h 1056"/>
                      <a:gd name="T46" fmla="*/ 2147483647 w 1050"/>
                      <a:gd name="T47" fmla="*/ 2147483647 h 1056"/>
                      <a:gd name="T48" fmla="*/ 2147483647 w 1050"/>
                      <a:gd name="T49" fmla="*/ 2147483647 h 1056"/>
                      <a:gd name="T50" fmla="*/ 2147483647 w 1050"/>
                      <a:gd name="T51" fmla="*/ 2147483647 h 1056"/>
                      <a:gd name="T52" fmla="*/ 2147483647 w 1050"/>
                      <a:gd name="T53" fmla="*/ 2147483647 h 1056"/>
                      <a:gd name="T54" fmla="*/ 2147483647 w 1050"/>
                      <a:gd name="T55" fmla="*/ 2147483647 h 1056"/>
                      <a:gd name="T56" fmla="*/ 2147483647 w 1050"/>
                      <a:gd name="T57" fmla="*/ 2147483647 h 1056"/>
                      <a:gd name="T58" fmla="*/ 2147483647 w 1050"/>
                      <a:gd name="T59" fmla="*/ 2147483647 h 1056"/>
                      <a:gd name="T60" fmla="*/ 2147483647 w 1050"/>
                      <a:gd name="T61" fmla="*/ 2147483647 h 1056"/>
                      <a:gd name="T62" fmla="*/ 2147483647 w 1050"/>
                      <a:gd name="T63" fmla="*/ 2147483647 h 1056"/>
                      <a:gd name="T64" fmla="*/ 2147483647 w 1050"/>
                      <a:gd name="T65" fmla="*/ 2147483647 h 1056"/>
                      <a:gd name="T66" fmla="*/ 2147483647 w 1050"/>
                      <a:gd name="T67" fmla="*/ 2147483647 h 1056"/>
                      <a:gd name="T68" fmla="*/ 2147483647 w 1050"/>
                      <a:gd name="T69" fmla="*/ 2147483647 h 1056"/>
                      <a:gd name="T70" fmla="*/ 2147483647 w 1050"/>
                      <a:gd name="T71" fmla="*/ 2147483647 h 1056"/>
                      <a:gd name="T72" fmla="*/ 2147483647 w 1050"/>
                      <a:gd name="T73" fmla="*/ 2147483647 h 1056"/>
                      <a:gd name="T74" fmla="*/ 2147483647 w 1050"/>
                      <a:gd name="T75" fmla="*/ 2147483647 h 1056"/>
                      <a:gd name="T76" fmla="*/ 2147483647 w 1050"/>
                      <a:gd name="T77" fmla="*/ 2147483647 h 1056"/>
                      <a:gd name="T78" fmla="*/ 2147483647 w 1050"/>
                      <a:gd name="T79" fmla="*/ 2147483647 h 1056"/>
                      <a:gd name="T80" fmla="*/ 2147483647 w 1050"/>
                      <a:gd name="T81" fmla="*/ 2147483647 h 1056"/>
                      <a:gd name="T82" fmla="*/ 2147483647 w 1050"/>
                      <a:gd name="T83" fmla="*/ 2147483647 h 1056"/>
                      <a:gd name="T84" fmla="*/ 2147483647 w 1050"/>
                      <a:gd name="T85" fmla="*/ 2147483647 h 1056"/>
                      <a:gd name="T86" fmla="*/ 2147483647 w 1050"/>
                      <a:gd name="T87" fmla="*/ 2147483647 h 1056"/>
                      <a:gd name="T88" fmla="*/ 2147483647 w 1050"/>
                      <a:gd name="T89" fmla="*/ 2147483647 h 1056"/>
                      <a:gd name="T90" fmla="*/ 2147483647 w 1050"/>
                      <a:gd name="T91" fmla="*/ 2147483647 h 1056"/>
                      <a:gd name="T92" fmla="*/ 2147483647 w 1050"/>
                      <a:gd name="T93" fmla="*/ 2147483647 h 1056"/>
                      <a:gd name="T94" fmla="*/ 2147483647 w 1050"/>
                      <a:gd name="T95" fmla="*/ 2147483647 h 1056"/>
                      <a:gd name="T96" fmla="*/ 2147483647 w 1050"/>
                      <a:gd name="T97" fmla="*/ 2147483647 h 1056"/>
                      <a:gd name="T98" fmla="*/ 2147483647 w 1050"/>
                      <a:gd name="T99" fmla="*/ 2147483647 h 1056"/>
                      <a:gd name="T100" fmla="*/ 2147483647 w 1050"/>
                      <a:gd name="T101" fmla="*/ 2147483647 h 1056"/>
                      <a:gd name="T102" fmla="*/ 2147483647 w 1050"/>
                      <a:gd name="T103" fmla="*/ 2147483647 h 1056"/>
                      <a:gd name="T104" fmla="*/ 2147483647 w 1050"/>
                      <a:gd name="T105" fmla="*/ 2147483647 h 1056"/>
                      <a:gd name="T106" fmla="*/ 2147483647 w 1050"/>
                      <a:gd name="T107" fmla="*/ 2147483647 h 1056"/>
                      <a:gd name="T108" fmla="*/ 2147483647 w 1050"/>
                      <a:gd name="T109" fmla="*/ 2147483647 h 1056"/>
                      <a:gd name="T110" fmla="*/ 2147483647 w 1050"/>
                      <a:gd name="T111" fmla="*/ 2147483647 h 1056"/>
                      <a:gd name="T112" fmla="*/ 2147483647 w 1050"/>
                      <a:gd name="T113" fmla="*/ 2147483647 h 1056"/>
                      <a:gd name="T114" fmla="*/ 2147483647 w 1050"/>
                      <a:gd name="T115" fmla="*/ 2147483647 h 1056"/>
                      <a:gd name="T116" fmla="*/ 2147483647 w 1050"/>
                      <a:gd name="T117" fmla="*/ 2147483647 h 1056"/>
                      <a:gd name="T118" fmla="*/ 2147483647 w 1050"/>
                      <a:gd name="T119" fmla="*/ 2147483647 h 1056"/>
                      <a:gd name="T120" fmla="*/ 2147483647 w 1050"/>
                      <a:gd name="T121" fmla="*/ 2147483647 h 1056"/>
                      <a:gd name="T122" fmla="*/ 2147483647 w 1050"/>
                      <a:gd name="T123" fmla="*/ 2147483647 h 105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50"/>
                      <a:gd name="T187" fmla="*/ 0 h 1056"/>
                      <a:gd name="T188" fmla="*/ 1050 w 1050"/>
                      <a:gd name="T189" fmla="*/ 1056 h 105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50" h="1056">
                        <a:moveTo>
                          <a:pt x="1008" y="120"/>
                        </a:moveTo>
                        <a:lnTo>
                          <a:pt x="996" y="120"/>
                        </a:lnTo>
                        <a:lnTo>
                          <a:pt x="984" y="114"/>
                        </a:lnTo>
                        <a:lnTo>
                          <a:pt x="978" y="102"/>
                        </a:lnTo>
                        <a:lnTo>
                          <a:pt x="972" y="96"/>
                        </a:lnTo>
                        <a:lnTo>
                          <a:pt x="972" y="90"/>
                        </a:lnTo>
                        <a:lnTo>
                          <a:pt x="960" y="96"/>
                        </a:lnTo>
                        <a:lnTo>
                          <a:pt x="924" y="84"/>
                        </a:lnTo>
                        <a:lnTo>
                          <a:pt x="924" y="60"/>
                        </a:lnTo>
                        <a:lnTo>
                          <a:pt x="912" y="36"/>
                        </a:lnTo>
                        <a:lnTo>
                          <a:pt x="900" y="24"/>
                        </a:lnTo>
                        <a:lnTo>
                          <a:pt x="888" y="18"/>
                        </a:lnTo>
                        <a:lnTo>
                          <a:pt x="876" y="18"/>
                        </a:lnTo>
                        <a:lnTo>
                          <a:pt x="870" y="6"/>
                        </a:lnTo>
                        <a:lnTo>
                          <a:pt x="822" y="6"/>
                        </a:lnTo>
                        <a:lnTo>
                          <a:pt x="810" y="0"/>
                        </a:lnTo>
                        <a:lnTo>
                          <a:pt x="804" y="6"/>
                        </a:lnTo>
                        <a:lnTo>
                          <a:pt x="792" y="6"/>
                        </a:lnTo>
                        <a:lnTo>
                          <a:pt x="786" y="12"/>
                        </a:lnTo>
                        <a:lnTo>
                          <a:pt x="774" y="12"/>
                        </a:lnTo>
                        <a:lnTo>
                          <a:pt x="762" y="6"/>
                        </a:lnTo>
                        <a:lnTo>
                          <a:pt x="738" y="6"/>
                        </a:lnTo>
                        <a:lnTo>
                          <a:pt x="732" y="12"/>
                        </a:lnTo>
                        <a:lnTo>
                          <a:pt x="690" y="12"/>
                        </a:lnTo>
                        <a:lnTo>
                          <a:pt x="684" y="18"/>
                        </a:lnTo>
                        <a:lnTo>
                          <a:pt x="678" y="18"/>
                        </a:lnTo>
                        <a:lnTo>
                          <a:pt x="654" y="30"/>
                        </a:lnTo>
                        <a:lnTo>
                          <a:pt x="648" y="36"/>
                        </a:lnTo>
                        <a:lnTo>
                          <a:pt x="624" y="48"/>
                        </a:lnTo>
                        <a:lnTo>
                          <a:pt x="618" y="54"/>
                        </a:lnTo>
                        <a:lnTo>
                          <a:pt x="612" y="66"/>
                        </a:lnTo>
                        <a:lnTo>
                          <a:pt x="606" y="72"/>
                        </a:lnTo>
                        <a:lnTo>
                          <a:pt x="606" y="78"/>
                        </a:lnTo>
                        <a:lnTo>
                          <a:pt x="636" y="108"/>
                        </a:lnTo>
                        <a:lnTo>
                          <a:pt x="636" y="138"/>
                        </a:lnTo>
                        <a:lnTo>
                          <a:pt x="642" y="144"/>
                        </a:lnTo>
                        <a:lnTo>
                          <a:pt x="648" y="156"/>
                        </a:lnTo>
                        <a:lnTo>
                          <a:pt x="648" y="162"/>
                        </a:lnTo>
                        <a:lnTo>
                          <a:pt x="624" y="186"/>
                        </a:lnTo>
                        <a:lnTo>
                          <a:pt x="618" y="198"/>
                        </a:lnTo>
                        <a:lnTo>
                          <a:pt x="618" y="210"/>
                        </a:lnTo>
                        <a:lnTo>
                          <a:pt x="624" y="216"/>
                        </a:lnTo>
                        <a:lnTo>
                          <a:pt x="624" y="246"/>
                        </a:lnTo>
                        <a:lnTo>
                          <a:pt x="606" y="246"/>
                        </a:lnTo>
                        <a:lnTo>
                          <a:pt x="600" y="252"/>
                        </a:lnTo>
                        <a:lnTo>
                          <a:pt x="594" y="252"/>
                        </a:lnTo>
                        <a:lnTo>
                          <a:pt x="576" y="246"/>
                        </a:lnTo>
                        <a:lnTo>
                          <a:pt x="570" y="240"/>
                        </a:lnTo>
                        <a:lnTo>
                          <a:pt x="552" y="240"/>
                        </a:lnTo>
                        <a:lnTo>
                          <a:pt x="552" y="252"/>
                        </a:lnTo>
                        <a:lnTo>
                          <a:pt x="564" y="264"/>
                        </a:lnTo>
                        <a:lnTo>
                          <a:pt x="576" y="270"/>
                        </a:lnTo>
                        <a:lnTo>
                          <a:pt x="576" y="276"/>
                        </a:lnTo>
                        <a:lnTo>
                          <a:pt x="582" y="282"/>
                        </a:lnTo>
                        <a:lnTo>
                          <a:pt x="582" y="288"/>
                        </a:lnTo>
                        <a:lnTo>
                          <a:pt x="594" y="294"/>
                        </a:lnTo>
                        <a:lnTo>
                          <a:pt x="600" y="294"/>
                        </a:lnTo>
                        <a:lnTo>
                          <a:pt x="570" y="312"/>
                        </a:lnTo>
                        <a:lnTo>
                          <a:pt x="552" y="312"/>
                        </a:lnTo>
                        <a:lnTo>
                          <a:pt x="546" y="318"/>
                        </a:lnTo>
                        <a:lnTo>
                          <a:pt x="546" y="354"/>
                        </a:lnTo>
                        <a:lnTo>
                          <a:pt x="540" y="354"/>
                        </a:lnTo>
                        <a:lnTo>
                          <a:pt x="534" y="360"/>
                        </a:lnTo>
                        <a:lnTo>
                          <a:pt x="534" y="378"/>
                        </a:lnTo>
                        <a:lnTo>
                          <a:pt x="540" y="390"/>
                        </a:lnTo>
                        <a:lnTo>
                          <a:pt x="540" y="402"/>
                        </a:lnTo>
                        <a:lnTo>
                          <a:pt x="546" y="408"/>
                        </a:lnTo>
                        <a:lnTo>
                          <a:pt x="546" y="414"/>
                        </a:lnTo>
                        <a:lnTo>
                          <a:pt x="540" y="420"/>
                        </a:lnTo>
                        <a:lnTo>
                          <a:pt x="534" y="432"/>
                        </a:lnTo>
                        <a:lnTo>
                          <a:pt x="522" y="438"/>
                        </a:lnTo>
                        <a:lnTo>
                          <a:pt x="510" y="438"/>
                        </a:lnTo>
                        <a:lnTo>
                          <a:pt x="504" y="432"/>
                        </a:lnTo>
                        <a:lnTo>
                          <a:pt x="504" y="420"/>
                        </a:lnTo>
                        <a:lnTo>
                          <a:pt x="474" y="420"/>
                        </a:lnTo>
                        <a:lnTo>
                          <a:pt x="462" y="426"/>
                        </a:lnTo>
                        <a:lnTo>
                          <a:pt x="456" y="432"/>
                        </a:lnTo>
                        <a:lnTo>
                          <a:pt x="444" y="438"/>
                        </a:lnTo>
                        <a:lnTo>
                          <a:pt x="438" y="438"/>
                        </a:lnTo>
                        <a:lnTo>
                          <a:pt x="432" y="444"/>
                        </a:lnTo>
                        <a:lnTo>
                          <a:pt x="432" y="450"/>
                        </a:lnTo>
                        <a:lnTo>
                          <a:pt x="438" y="450"/>
                        </a:lnTo>
                        <a:lnTo>
                          <a:pt x="444" y="456"/>
                        </a:lnTo>
                        <a:lnTo>
                          <a:pt x="444" y="462"/>
                        </a:lnTo>
                        <a:lnTo>
                          <a:pt x="438" y="468"/>
                        </a:lnTo>
                        <a:lnTo>
                          <a:pt x="396" y="468"/>
                        </a:lnTo>
                        <a:lnTo>
                          <a:pt x="396" y="456"/>
                        </a:lnTo>
                        <a:lnTo>
                          <a:pt x="378" y="456"/>
                        </a:lnTo>
                        <a:lnTo>
                          <a:pt x="372" y="468"/>
                        </a:lnTo>
                        <a:lnTo>
                          <a:pt x="360" y="474"/>
                        </a:lnTo>
                        <a:lnTo>
                          <a:pt x="354" y="486"/>
                        </a:lnTo>
                        <a:lnTo>
                          <a:pt x="354" y="504"/>
                        </a:lnTo>
                        <a:lnTo>
                          <a:pt x="360" y="516"/>
                        </a:lnTo>
                        <a:lnTo>
                          <a:pt x="360" y="534"/>
                        </a:lnTo>
                        <a:lnTo>
                          <a:pt x="366" y="540"/>
                        </a:lnTo>
                        <a:lnTo>
                          <a:pt x="366" y="570"/>
                        </a:lnTo>
                        <a:lnTo>
                          <a:pt x="360" y="576"/>
                        </a:lnTo>
                        <a:lnTo>
                          <a:pt x="354" y="576"/>
                        </a:lnTo>
                        <a:lnTo>
                          <a:pt x="306" y="600"/>
                        </a:lnTo>
                        <a:lnTo>
                          <a:pt x="276" y="600"/>
                        </a:lnTo>
                        <a:lnTo>
                          <a:pt x="258" y="606"/>
                        </a:lnTo>
                        <a:lnTo>
                          <a:pt x="234" y="606"/>
                        </a:lnTo>
                        <a:lnTo>
                          <a:pt x="228" y="612"/>
                        </a:lnTo>
                        <a:lnTo>
                          <a:pt x="204" y="612"/>
                        </a:lnTo>
                        <a:lnTo>
                          <a:pt x="204" y="606"/>
                        </a:lnTo>
                        <a:lnTo>
                          <a:pt x="150" y="606"/>
                        </a:lnTo>
                        <a:lnTo>
                          <a:pt x="144" y="612"/>
                        </a:lnTo>
                        <a:lnTo>
                          <a:pt x="138" y="612"/>
                        </a:lnTo>
                        <a:lnTo>
                          <a:pt x="120" y="618"/>
                        </a:lnTo>
                        <a:lnTo>
                          <a:pt x="102" y="618"/>
                        </a:lnTo>
                        <a:lnTo>
                          <a:pt x="78" y="606"/>
                        </a:lnTo>
                        <a:lnTo>
                          <a:pt x="60" y="600"/>
                        </a:lnTo>
                        <a:lnTo>
                          <a:pt x="42" y="588"/>
                        </a:lnTo>
                        <a:lnTo>
                          <a:pt x="30" y="582"/>
                        </a:lnTo>
                        <a:lnTo>
                          <a:pt x="0" y="582"/>
                        </a:lnTo>
                        <a:lnTo>
                          <a:pt x="24" y="606"/>
                        </a:lnTo>
                        <a:lnTo>
                          <a:pt x="30" y="618"/>
                        </a:lnTo>
                        <a:lnTo>
                          <a:pt x="36" y="624"/>
                        </a:lnTo>
                        <a:lnTo>
                          <a:pt x="48" y="642"/>
                        </a:lnTo>
                        <a:lnTo>
                          <a:pt x="60" y="654"/>
                        </a:lnTo>
                        <a:lnTo>
                          <a:pt x="66" y="672"/>
                        </a:lnTo>
                        <a:lnTo>
                          <a:pt x="78" y="690"/>
                        </a:lnTo>
                        <a:lnTo>
                          <a:pt x="84" y="696"/>
                        </a:lnTo>
                        <a:lnTo>
                          <a:pt x="102" y="696"/>
                        </a:lnTo>
                        <a:lnTo>
                          <a:pt x="114" y="690"/>
                        </a:lnTo>
                        <a:lnTo>
                          <a:pt x="126" y="708"/>
                        </a:lnTo>
                        <a:lnTo>
                          <a:pt x="150" y="708"/>
                        </a:lnTo>
                        <a:lnTo>
                          <a:pt x="144" y="738"/>
                        </a:lnTo>
                        <a:lnTo>
                          <a:pt x="150" y="738"/>
                        </a:lnTo>
                        <a:lnTo>
                          <a:pt x="150" y="762"/>
                        </a:lnTo>
                        <a:lnTo>
                          <a:pt x="156" y="774"/>
                        </a:lnTo>
                        <a:lnTo>
                          <a:pt x="156" y="786"/>
                        </a:lnTo>
                        <a:lnTo>
                          <a:pt x="174" y="786"/>
                        </a:lnTo>
                        <a:lnTo>
                          <a:pt x="180" y="792"/>
                        </a:lnTo>
                        <a:lnTo>
                          <a:pt x="186" y="804"/>
                        </a:lnTo>
                        <a:lnTo>
                          <a:pt x="192" y="822"/>
                        </a:lnTo>
                        <a:lnTo>
                          <a:pt x="192" y="834"/>
                        </a:lnTo>
                        <a:lnTo>
                          <a:pt x="186" y="840"/>
                        </a:lnTo>
                        <a:lnTo>
                          <a:pt x="180" y="840"/>
                        </a:lnTo>
                        <a:lnTo>
                          <a:pt x="180" y="834"/>
                        </a:lnTo>
                        <a:lnTo>
                          <a:pt x="150" y="834"/>
                        </a:lnTo>
                        <a:lnTo>
                          <a:pt x="138" y="840"/>
                        </a:lnTo>
                        <a:lnTo>
                          <a:pt x="132" y="846"/>
                        </a:lnTo>
                        <a:lnTo>
                          <a:pt x="132" y="852"/>
                        </a:lnTo>
                        <a:lnTo>
                          <a:pt x="126" y="852"/>
                        </a:lnTo>
                        <a:lnTo>
                          <a:pt x="126" y="858"/>
                        </a:lnTo>
                        <a:lnTo>
                          <a:pt x="120" y="864"/>
                        </a:lnTo>
                        <a:lnTo>
                          <a:pt x="108" y="864"/>
                        </a:lnTo>
                        <a:lnTo>
                          <a:pt x="102" y="882"/>
                        </a:lnTo>
                        <a:lnTo>
                          <a:pt x="96" y="888"/>
                        </a:lnTo>
                        <a:lnTo>
                          <a:pt x="96" y="894"/>
                        </a:lnTo>
                        <a:lnTo>
                          <a:pt x="84" y="906"/>
                        </a:lnTo>
                        <a:lnTo>
                          <a:pt x="84" y="936"/>
                        </a:lnTo>
                        <a:lnTo>
                          <a:pt x="90" y="948"/>
                        </a:lnTo>
                        <a:lnTo>
                          <a:pt x="90" y="954"/>
                        </a:lnTo>
                        <a:lnTo>
                          <a:pt x="96" y="948"/>
                        </a:lnTo>
                        <a:lnTo>
                          <a:pt x="108" y="948"/>
                        </a:lnTo>
                        <a:lnTo>
                          <a:pt x="114" y="942"/>
                        </a:lnTo>
                        <a:lnTo>
                          <a:pt x="120" y="942"/>
                        </a:lnTo>
                        <a:lnTo>
                          <a:pt x="126" y="948"/>
                        </a:lnTo>
                        <a:lnTo>
                          <a:pt x="138" y="948"/>
                        </a:lnTo>
                        <a:lnTo>
                          <a:pt x="150" y="954"/>
                        </a:lnTo>
                        <a:lnTo>
                          <a:pt x="174" y="954"/>
                        </a:lnTo>
                        <a:lnTo>
                          <a:pt x="210" y="936"/>
                        </a:lnTo>
                        <a:lnTo>
                          <a:pt x="216" y="930"/>
                        </a:lnTo>
                        <a:lnTo>
                          <a:pt x="222" y="930"/>
                        </a:lnTo>
                        <a:lnTo>
                          <a:pt x="234" y="936"/>
                        </a:lnTo>
                        <a:lnTo>
                          <a:pt x="276" y="936"/>
                        </a:lnTo>
                        <a:lnTo>
                          <a:pt x="288" y="930"/>
                        </a:lnTo>
                        <a:lnTo>
                          <a:pt x="300" y="930"/>
                        </a:lnTo>
                        <a:lnTo>
                          <a:pt x="306" y="924"/>
                        </a:lnTo>
                        <a:lnTo>
                          <a:pt x="312" y="924"/>
                        </a:lnTo>
                        <a:lnTo>
                          <a:pt x="348" y="930"/>
                        </a:lnTo>
                        <a:lnTo>
                          <a:pt x="354" y="924"/>
                        </a:lnTo>
                        <a:lnTo>
                          <a:pt x="366" y="918"/>
                        </a:lnTo>
                        <a:lnTo>
                          <a:pt x="372" y="912"/>
                        </a:lnTo>
                        <a:lnTo>
                          <a:pt x="384" y="912"/>
                        </a:lnTo>
                        <a:lnTo>
                          <a:pt x="396" y="918"/>
                        </a:lnTo>
                        <a:lnTo>
                          <a:pt x="408" y="930"/>
                        </a:lnTo>
                        <a:lnTo>
                          <a:pt x="432" y="978"/>
                        </a:lnTo>
                        <a:lnTo>
                          <a:pt x="444" y="984"/>
                        </a:lnTo>
                        <a:lnTo>
                          <a:pt x="450" y="990"/>
                        </a:lnTo>
                        <a:lnTo>
                          <a:pt x="468" y="996"/>
                        </a:lnTo>
                        <a:lnTo>
                          <a:pt x="486" y="996"/>
                        </a:lnTo>
                        <a:lnTo>
                          <a:pt x="522" y="1008"/>
                        </a:lnTo>
                        <a:lnTo>
                          <a:pt x="540" y="1044"/>
                        </a:lnTo>
                        <a:lnTo>
                          <a:pt x="552" y="1056"/>
                        </a:lnTo>
                        <a:lnTo>
                          <a:pt x="570" y="1056"/>
                        </a:lnTo>
                        <a:lnTo>
                          <a:pt x="588" y="1050"/>
                        </a:lnTo>
                        <a:lnTo>
                          <a:pt x="582" y="1044"/>
                        </a:lnTo>
                        <a:lnTo>
                          <a:pt x="582" y="1032"/>
                        </a:lnTo>
                        <a:lnTo>
                          <a:pt x="594" y="1020"/>
                        </a:lnTo>
                        <a:lnTo>
                          <a:pt x="606" y="1020"/>
                        </a:lnTo>
                        <a:lnTo>
                          <a:pt x="618" y="1026"/>
                        </a:lnTo>
                        <a:lnTo>
                          <a:pt x="624" y="1032"/>
                        </a:lnTo>
                        <a:lnTo>
                          <a:pt x="648" y="1020"/>
                        </a:lnTo>
                        <a:lnTo>
                          <a:pt x="648" y="1026"/>
                        </a:lnTo>
                        <a:lnTo>
                          <a:pt x="654" y="1032"/>
                        </a:lnTo>
                        <a:lnTo>
                          <a:pt x="678" y="1032"/>
                        </a:lnTo>
                        <a:lnTo>
                          <a:pt x="690" y="1020"/>
                        </a:lnTo>
                        <a:lnTo>
                          <a:pt x="702" y="1014"/>
                        </a:lnTo>
                        <a:lnTo>
                          <a:pt x="708" y="1014"/>
                        </a:lnTo>
                        <a:lnTo>
                          <a:pt x="708" y="1026"/>
                        </a:lnTo>
                        <a:lnTo>
                          <a:pt x="714" y="1032"/>
                        </a:lnTo>
                        <a:lnTo>
                          <a:pt x="732" y="1032"/>
                        </a:lnTo>
                        <a:lnTo>
                          <a:pt x="738" y="1026"/>
                        </a:lnTo>
                        <a:lnTo>
                          <a:pt x="750" y="1020"/>
                        </a:lnTo>
                        <a:lnTo>
                          <a:pt x="750" y="996"/>
                        </a:lnTo>
                        <a:lnTo>
                          <a:pt x="744" y="990"/>
                        </a:lnTo>
                        <a:lnTo>
                          <a:pt x="738" y="978"/>
                        </a:lnTo>
                        <a:lnTo>
                          <a:pt x="714" y="936"/>
                        </a:lnTo>
                        <a:lnTo>
                          <a:pt x="714" y="912"/>
                        </a:lnTo>
                        <a:lnTo>
                          <a:pt x="690" y="912"/>
                        </a:lnTo>
                        <a:lnTo>
                          <a:pt x="678" y="900"/>
                        </a:lnTo>
                        <a:lnTo>
                          <a:pt x="672" y="888"/>
                        </a:lnTo>
                        <a:lnTo>
                          <a:pt x="666" y="882"/>
                        </a:lnTo>
                        <a:lnTo>
                          <a:pt x="672" y="852"/>
                        </a:lnTo>
                        <a:lnTo>
                          <a:pt x="672" y="834"/>
                        </a:lnTo>
                        <a:lnTo>
                          <a:pt x="642" y="840"/>
                        </a:lnTo>
                        <a:lnTo>
                          <a:pt x="636" y="840"/>
                        </a:lnTo>
                        <a:lnTo>
                          <a:pt x="624" y="834"/>
                        </a:lnTo>
                        <a:lnTo>
                          <a:pt x="618" y="828"/>
                        </a:lnTo>
                        <a:lnTo>
                          <a:pt x="618" y="804"/>
                        </a:lnTo>
                        <a:lnTo>
                          <a:pt x="624" y="792"/>
                        </a:lnTo>
                        <a:lnTo>
                          <a:pt x="636" y="780"/>
                        </a:lnTo>
                        <a:lnTo>
                          <a:pt x="642" y="768"/>
                        </a:lnTo>
                        <a:lnTo>
                          <a:pt x="648" y="762"/>
                        </a:lnTo>
                        <a:lnTo>
                          <a:pt x="654" y="750"/>
                        </a:lnTo>
                        <a:lnTo>
                          <a:pt x="654" y="744"/>
                        </a:lnTo>
                        <a:lnTo>
                          <a:pt x="666" y="732"/>
                        </a:lnTo>
                        <a:lnTo>
                          <a:pt x="678" y="726"/>
                        </a:lnTo>
                        <a:lnTo>
                          <a:pt x="684" y="726"/>
                        </a:lnTo>
                        <a:lnTo>
                          <a:pt x="690" y="732"/>
                        </a:lnTo>
                        <a:lnTo>
                          <a:pt x="690" y="744"/>
                        </a:lnTo>
                        <a:lnTo>
                          <a:pt x="696" y="750"/>
                        </a:lnTo>
                        <a:lnTo>
                          <a:pt x="702" y="750"/>
                        </a:lnTo>
                        <a:lnTo>
                          <a:pt x="726" y="738"/>
                        </a:lnTo>
                        <a:lnTo>
                          <a:pt x="732" y="732"/>
                        </a:lnTo>
                        <a:lnTo>
                          <a:pt x="738" y="738"/>
                        </a:lnTo>
                        <a:lnTo>
                          <a:pt x="756" y="738"/>
                        </a:lnTo>
                        <a:lnTo>
                          <a:pt x="762" y="732"/>
                        </a:lnTo>
                        <a:lnTo>
                          <a:pt x="768" y="720"/>
                        </a:lnTo>
                        <a:lnTo>
                          <a:pt x="774" y="714"/>
                        </a:lnTo>
                        <a:lnTo>
                          <a:pt x="774" y="708"/>
                        </a:lnTo>
                        <a:lnTo>
                          <a:pt x="792" y="696"/>
                        </a:lnTo>
                        <a:lnTo>
                          <a:pt x="792" y="678"/>
                        </a:lnTo>
                        <a:lnTo>
                          <a:pt x="798" y="672"/>
                        </a:lnTo>
                        <a:lnTo>
                          <a:pt x="798" y="666"/>
                        </a:lnTo>
                        <a:lnTo>
                          <a:pt x="804" y="660"/>
                        </a:lnTo>
                        <a:lnTo>
                          <a:pt x="828" y="648"/>
                        </a:lnTo>
                        <a:lnTo>
                          <a:pt x="840" y="636"/>
                        </a:lnTo>
                        <a:lnTo>
                          <a:pt x="846" y="618"/>
                        </a:lnTo>
                        <a:lnTo>
                          <a:pt x="846" y="606"/>
                        </a:lnTo>
                        <a:lnTo>
                          <a:pt x="852" y="588"/>
                        </a:lnTo>
                        <a:lnTo>
                          <a:pt x="852" y="576"/>
                        </a:lnTo>
                        <a:lnTo>
                          <a:pt x="858" y="570"/>
                        </a:lnTo>
                        <a:lnTo>
                          <a:pt x="870" y="564"/>
                        </a:lnTo>
                        <a:lnTo>
                          <a:pt x="876" y="558"/>
                        </a:lnTo>
                        <a:lnTo>
                          <a:pt x="888" y="558"/>
                        </a:lnTo>
                        <a:lnTo>
                          <a:pt x="870" y="534"/>
                        </a:lnTo>
                        <a:lnTo>
                          <a:pt x="894" y="498"/>
                        </a:lnTo>
                        <a:lnTo>
                          <a:pt x="924" y="480"/>
                        </a:lnTo>
                        <a:lnTo>
                          <a:pt x="924" y="474"/>
                        </a:lnTo>
                        <a:lnTo>
                          <a:pt x="912" y="462"/>
                        </a:lnTo>
                        <a:lnTo>
                          <a:pt x="906" y="450"/>
                        </a:lnTo>
                        <a:lnTo>
                          <a:pt x="906" y="414"/>
                        </a:lnTo>
                        <a:lnTo>
                          <a:pt x="912" y="408"/>
                        </a:lnTo>
                        <a:lnTo>
                          <a:pt x="924" y="408"/>
                        </a:lnTo>
                        <a:lnTo>
                          <a:pt x="948" y="396"/>
                        </a:lnTo>
                        <a:lnTo>
                          <a:pt x="954" y="390"/>
                        </a:lnTo>
                        <a:lnTo>
                          <a:pt x="954" y="384"/>
                        </a:lnTo>
                        <a:lnTo>
                          <a:pt x="948" y="378"/>
                        </a:lnTo>
                        <a:lnTo>
                          <a:pt x="936" y="372"/>
                        </a:lnTo>
                        <a:lnTo>
                          <a:pt x="900" y="372"/>
                        </a:lnTo>
                        <a:lnTo>
                          <a:pt x="894" y="336"/>
                        </a:lnTo>
                        <a:lnTo>
                          <a:pt x="876" y="336"/>
                        </a:lnTo>
                        <a:lnTo>
                          <a:pt x="864" y="318"/>
                        </a:lnTo>
                        <a:lnTo>
                          <a:pt x="846" y="318"/>
                        </a:lnTo>
                        <a:lnTo>
                          <a:pt x="846" y="306"/>
                        </a:lnTo>
                        <a:lnTo>
                          <a:pt x="852" y="294"/>
                        </a:lnTo>
                        <a:lnTo>
                          <a:pt x="852" y="288"/>
                        </a:lnTo>
                        <a:lnTo>
                          <a:pt x="846" y="288"/>
                        </a:lnTo>
                        <a:lnTo>
                          <a:pt x="834" y="276"/>
                        </a:lnTo>
                        <a:lnTo>
                          <a:pt x="834" y="270"/>
                        </a:lnTo>
                        <a:lnTo>
                          <a:pt x="840" y="264"/>
                        </a:lnTo>
                        <a:lnTo>
                          <a:pt x="846" y="252"/>
                        </a:lnTo>
                        <a:lnTo>
                          <a:pt x="852" y="246"/>
                        </a:lnTo>
                        <a:lnTo>
                          <a:pt x="822" y="240"/>
                        </a:lnTo>
                        <a:lnTo>
                          <a:pt x="828" y="228"/>
                        </a:lnTo>
                        <a:lnTo>
                          <a:pt x="804" y="210"/>
                        </a:lnTo>
                        <a:lnTo>
                          <a:pt x="804" y="204"/>
                        </a:lnTo>
                        <a:lnTo>
                          <a:pt x="810" y="192"/>
                        </a:lnTo>
                        <a:lnTo>
                          <a:pt x="834" y="180"/>
                        </a:lnTo>
                        <a:lnTo>
                          <a:pt x="876" y="180"/>
                        </a:lnTo>
                        <a:lnTo>
                          <a:pt x="894" y="186"/>
                        </a:lnTo>
                        <a:lnTo>
                          <a:pt x="912" y="186"/>
                        </a:lnTo>
                        <a:lnTo>
                          <a:pt x="918" y="192"/>
                        </a:lnTo>
                        <a:lnTo>
                          <a:pt x="918" y="204"/>
                        </a:lnTo>
                        <a:lnTo>
                          <a:pt x="930" y="204"/>
                        </a:lnTo>
                        <a:lnTo>
                          <a:pt x="942" y="198"/>
                        </a:lnTo>
                        <a:lnTo>
                          <a:pt x="948" y="192"/>
                        </a:lnTo>
                        <a:lnTo>
                          <a:pt x="960" y="186"/>
                        </a:lnTo>
                        <a:lnTo>
                          <a:pt x="966" y="180"/>
                        </a:lnTo>
                        <a:lnTo>
                          <a:pt x="972" y="186"/>
                        </a:lnTo>
                        <a:lnTo>
                          <a:pt x="978" y="180"/>
                        </a:lnTo>
                        <a:lnTo>
                          <a:pt x="1002" y="180"/>
                        </a:lnTo>
                        <a:lnTo>
                          <a:pt x="1002" y="162"/>
                        </a:lnTo>
                        <a:lnTo>
                          <a:pt x="1026" y="156"/>
                        </a:lnTo>
                        <a:lnTo>
                          <a:pt x="1050" y="120"/>
                        </a:lnTo>
                        <a:lnTo>
                          <a:pt x="1008" y="1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73" name="Parcel Islands"/>
                  <p:cNvSpPr>
                    <a:spLocks noEditPoints="1"/>
                  </p:cNvSpPr>
                  <p:nvPr/>
                </p:nvSpPr>
                <p:spPr bwMode="gray">
                  <a:xfrm>
                    <a:off x="4656" y="1954"/>
                    <a:ext cx="24" cy="16"/>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74" name="Oman"/>
                  <p:cNvSpPr>
                    <a:spLocks/>
                  </p:cNvSpPr>
                  <p:nvPr/>
                </p:nvSpPr>
                <p:spPr bwMode="gray">
                  <a:xfrm>
                    <a:off x="3588" y="1794"/>
                    <a:ext cx="138" cy="172"/>
                  </a:xfrm>
                  <a:custGeom>
                    <a:avLst/>
                    <a:gdLst>
                      <a:gd name="T0" fmla="*/ 2147483647 w 540"/>
                      <a:gd name="T1" fmla="*/ 2147483647 h 672"/>
                      <a:gd name="T2" fmla="*/ 2147483647 w 540"/>
                      <a:gd name="T3" fmla="*/ 2147483647 h 672"/>
                      <a:gd name="T4" fmla="*/ 2147483647 w 540"/>
                      <a:gd name="T5" fmla="*/ 2147483647 h 672"/>
                      <a:gd name="T6" fmla="*/ 2147483647 w 540"/>
                      <a:gd name="T7" fmla="*/ 2147483647 h 672"/>
                      <a:gd name="T8" fmla="*/ 2147483647 w 540"/>
                      <a:gd name="T9" fmla="*/ 2147483647 h 672"/>
                      <a:gd name="T10" fmla="*/ 2147483647 w 540"/>
                      <a:gd name="T11" fmla="*/ 2147483647 h 672"/>
                      <a:gd name="T12" fmla="*/ 2147483647 w 540"/>
                      <a:gd name="T13" fmla="*/ 2147483647 h 672"/>
                      <a:gd name="T14" fmla="*/ 2147483647 w 540"/>
                      <a:gd name="T15" fmla="*/ 2147483647 h 672"/>
                      <a:gd name="T16" fmla="*/ 2147483647 w 540"/>
                      <a:gd name="T17" fmla="*/ 2147483647 h 672"/>
                      <a:gd name="T18" fmla="*/ 2147483647 w 540"/>
                      <a:gd name="T19" fmla="*/ 2147483647 h 672"/>
                      <a:gd name="T20" fmla="*/ 2147483647 w 540"/>
                      <a:gd name="T21" fmla="*/ 2147483647 h 672"/>
                      <a:gd name="T22" fmla="*/ 2147483647 w 540"/>
                      <a:gd name="T23" fmla="*/ 2147483647 h 672"/>
                      <a:gd name="T24" fmla="*/ 2147483647 w 540"/>
                      <a:gd name="T25" fmla="*/ 2147483647 h 672"/>
                      <a:gd name="T26" fmla="*/ 2147483647 w 540"/>
                      <a:gd name="T27" fmla="*/ 2147483647 h 672"/>
                      <a:gd name="T28" fmla="*/ 2147483647 w 540"/>
                      <a:gd name="T29" fmla="*/ 2147483647 h 672"/>
                      <a:gd name="T30" fmla="*/ 2147483647 w 540"/>
                      <a:gd name="T31" fmla="*/ 2147483647 h 672"/>
                      <a:gd name="T32" fmla="*/ 2147483647 w 540"/>
                      <a:gd name="T33" fmla="*/ 2147483647 h 672"/>
                      <a:gd name="T34" fmla="*/ 2147483647 w 540"/>
                      <a:gd name="T35" fmla="*/ 2147483647 h 672"/>
                      <a:gd name="T36" fmla="*/ 2147483647 w 540"/>
                      <a:gd name="T37" fmla="*/ 2147483647 h 672"/>
                      <a:gd name="T38" fmla="*/ 2147483647 w 540"/>
                      <a:gd name="T39" fmla="*/ 2147483647 h 672"/>
                      <a:gd name="T40" fmla="*/ 2147483647 w 540"/>
                      <a:gd name="T41" fmla="*/ 2147483647 h 672"/>
                      <a:gd name="T42" fmla="*/ 2147483647 w 540"/>
                      <a:gd name="T43" fmla="*/ 2147483647 h 672"/>
                      <a:gd name="T44" fmla="*/ 2147483647 w 540"/>
                      <a:gd name="T45" fmla="*/ 2147483647 h 672"/>
                      <a:gd name="T46" fmla="*/ 2147483647 w 540"/>
                      <a:gd name="T47" fmla="*/ 2147483647 h 672"/>
                      <a:gd name="T48" fmla="*/ 2147483647 w 540"/>
                      <a:gd name="T49" fmla="*/ 2147483647 h 672"/>
                      <a:gd name="T50" fmla="*/ 2147483647 w 540"/>
                      <a:gd name="T51" fmla="*/ 0 h 672"/>
                      <a:gd name="T52" fmla="*/ 2147483647 w 540"/>
                      <a:gd name="T53" fmla="*/ 2147483647 h 672"/>
                      <a:gd name="T54" fmla="*/ 2147483647 w 540"/>
                      <a:gd name="T55" fmla="*/ 2147483647 h 672"/>
                      <a:gd name="T56" fmla="*/ 2147483647 w 540"/>
                      <a:gd name="T57" fmla="*/ 2147483647 h 672"/>
                      <a:gd name="T58" fmla="*/ 2147483647 w 540"/>
                      <a:gd name="T59" fmla="*/ 2147483647 h 672"/>
                      <a:gd name="T60" fmla="*/ 2147483647 w 540"/>
                      <a:gd name="T61" fmla="*/ 2147483647 h 672"/>
                      <a:gd name="T62" fmla="*/ 2147483647 w 540"/>
                      <a:gd name="T63" fmla="*/ 2147483647 h 672"/>
                      <a:gd name="T64" fmla="*/ 2147483647 w 540"/>
                      <a:gd name="T65" fmla="*/ 2147483647 h 672"/>
                      <a:gd name="T66" fmla="*/ 2147483647 w 540"/>
                      <a:gd name="T67" fmla="*/ 2147483647 h 672"/>
                      <a:gd name="T68" fmla="*/ 2147483647 w 540"/>
                      <a:gd name="T69" fmla="*/ 2147483647 h 672"/>
                      <a:gd name="T70" fmla="*/ 2147483647 w 540"/>
                      <a:gd name="T71" fmla="*/ 2147483647 h 672"/>
                      <a:gd name="T72" fmla="*/ 2147483647 w 540"/>
                      <a:gd name="T73" fmla="*/ 2147483647 h 672"/>
                      <a:gd name="T74" fmla="*/ 2147483647 w 540"/>
                      <a:gd name="T75" fmla="*/ 2147483647 h 672"/>
                      <a:gd name="T76" fmla="*/ 2147483647 w 540"/>
                      <a:gd name="T77" fmla="*/ 2147483647 h 672"/>
                      <a:gd name="T78" fmla="*/ 2147483647 w 540"/>
                      <a:gd name="T79" fmla="*/ 2147483647 h 672"/>
                      <a:gd name="T80" fmla="*/ 2147483647 w 540"/>
                      <a:gd name="T81" fmla="*/ 2147483647 h 672"/>
                      <a:gd name="T82" fmla="*/ 2147483647 w 540"/>
                      <a:gd name="T83" fmla="*/ 2147483647 h 672"/>
                      <a:gd name="T84" fmla="*/ 2147483647 w 540"/>
                      <a:gd name="T85" fmla="*/ 2147483647 h 672"/>
                      <a:gd name="T86" fmla="*/ 2147483647 w 540"/>
                      <a:gd name="T87" fmla="*/ 2147483647 h 67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540"/>
                      <a:gd name="T133" fmla="*/ 0 h 672"/>
                      <a:gd name="T134" fmla="*/ 540 w 540"/>
                      <a:gd name="T135" fmla="*/ 672 h 672"/>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540" h="672">
                        <a:moveTo>
                          <a:pt x="258" y="564"/>
                        </a:moveTo>
                        <a:lnTo>
                          <a:pt x="276" y="564"/>
                        </a:lnTo>
                        <a:lnTo>
                          <a:pt x="288" y="558"/>
                        </a:lnTo>
                        <a:lnTo>
                          <a:pt x="306" y="552"/>
                        </a:lnTo>
                        <a:lnTo>
                          <a:pt x="330" y="540"/>
                        </a:lnTo>
                        <a:lnTo>
                          <a:pt x="336" y="528"/>
                        </a:lnTo>
                        <a:lnTo>
                          <a:pt x="342" y="510"/>
                        </a:lnTo>
                        <a:lnTo>
                          <a:pt x="342" y="498"/>
                        </a:lnTo>
                        <a:lnTo>
                          <a:pt x="348" y="498"/>
                        </a:lnTo>
                        <a:lnTo>
                          <a:pt x="354" y="492"/>
                        </a:lnTo>
                        <a:lnTo>
                          <a:pt x="366" y="486"/>
                        </a:lnTo>
                        <a:lnTo>
                          <a:pt x="384" y="480"/>
                        </a:lnTo>
                        <a:lnTo>
                          <a:pt x="408" y="456"/>
                        </a:lnTo>
                        <a:lnTo>
                          <a:pt x="414" y="444"/>
                        </a:lnTo>
                        <a:lnTo>
                          <a:pt x="414" y="426"/>
                        </a:lnTo>
                        <a:lnTo>
                          <a:pt x="420" y="408"/>
                        </a:lnTo>
                        <a:lnTo>
                          <a:pt x="420" y="378"/>
                        </a:lnTo>
                        <a:lnTo>
                          <a:pt x="426" y="372"/>
                        </a:lnTo>
                        <a:lnTo>
                          <a:pt x="432" y="372"/>
                        </a:lnTo>
                        <a:lnTo>
                          <a:pt x="444" y="378"/>
                        </a:lnTo>
                        <a:lnTo>
                          <a:pt x="450" y="384"/>
                        </a:lnTo>
                        <a:lnTo>
                          <a:pt x="462" y="384"/>
                        </a:lnTo>
                        <a:lnTo>
                          <a:pt x="468" y="378"/>
                        </a:lnTo>
                        <a:lnTo>
                          <a:pt x="480" y="354"/>
                        </a:lnTo>
                        <a:lnTo>
                          <a:pt x="480" y="330"/>
                        </a:lnTo>
                        <a:lnTo>
                          <a:pt x="534" y="276"/>
                        </a:lnTo>
                        <a:lnTo>
                          <a:pt x="534" y="264"/>
                        </a:lnTo>
                        <a:lnTo>
                          <a:pt x="540" y="252"/>
                        </a:lnTo>
                        <a:lnTo>
                          <a:pt x="540" y="204"/>
                        </a:lnTo>
                        <a:lnTo>
                          <a:pt x="528" y="192"/>
                        </a:lnTo>
                        <a:lnTo>
                          <a:pt x="510" y="192"/>
                        </a:lnTo>
                        <a:lnTo>
                          <a:pt x="510" y="186"/>
                        </a:lnTo>
                        <a:lnTo>
                          <a:pt x="492" y="168"/>
                        </a:lnTo>
                        <a:lnTo>
                          <a:pt x="486" y="150"/>
                        </a:lnTo>
                        <a:lnTo>
                          <a:pt x="462" y="126"/>
                        </a:lnTo>
                        <a:lnTo>
                          <a:pt x="456" y="114"/>
                        </a:lnTo>
                        <a:lnTo>
                          <a:pt x="432" y="96"/>
                        </a:lnTo>
                        <a:lnTo>
                          <a:pt x="396" y="84"/>
                        </a:lnTo>
                        <a:lnTo>
                          <a:pt x="366" y="78"/>
                        </a:lnTo>
                        <a:lnTo>
                          <a:pt x="348" y="78"/>
                        </a:lnTo>
                        <a:lnTo>
                          <a:pt x="342" y="72"/>
                        </a:lnTo>
                        <a:lnTo>
                          <a:pt x="330" y="72"/>
                        </a:lnTo>
                        <a:lnTo>
                          <a:pt x="318" y="60"/>
                        </a:lnTo>
                        <a:lnTo>
                          <a:pt x="294" y="48"/>
                        </a:lnTo>
                        <a:lnTo>
                          <a:pt x="288" y="36"/>
                        </a:lnTo>
                        <a:lnTo>
                          <a:pt x="288" y="30"/>
                        </a:lnTo>
                        <a:lnTo>
                          <a:pt x="282" y="18"/>
                        </a:lnTo>
                        <a:lnTo>
                          <a:pt x="276" y="12"/>
                        </a:lnTo>
                        <a:lnTo>
                          <a:pt x="252" y="18"/>
                        </a:lnTo>
                        <a:lnTo>
                          <a:pt x="246" y="6"/>
                        </a:lnTo>
                        <a:lnTo>
                          <a:pt x="246" y="0"/>
                        </a:lnTo>
                        <a:lnTo>
                          <a:pt x="240" y="0"/>
                        </a:lnTo>
                        <a:lnTo>
                          <a:pt x="234" y="6"/>
                        </a:lnTo>
                        <a:lnTo>
                          <a:pt x="234" y="12"/>
                        </a:lnTo>
                        <a:lnTo>
                          <a:pt x="228" y="24"/>
                        </a:lnTo>
                        <a:lnTo>
                          <a:pt x="228" y="54"/>
                        </a:lnTo>
                        <a:lnTo>
                          <a:pt x="246" y="72"/>
                        </a:lnTo>
                        <a:lnTo>
                          <a:pt x="246" y="78"/>
                        </a:lnTo>
                        <a:lnTo>
                          <a:pt x="240" y="78"/>
                        </a:lnTo>
                        <a:lnTo>
                          <a:pt x="240" y="72"/>
                        </a:lnTo>
                        <a:lnTo>
                          <a:pt x="228" y="72"/>
                        </a:lnTo>
                        <a:lnTo>
                          <a:pt x="228" y="78"/>
                        </a:lnTo>
                        <a:lnTo>
                          <a:pt x="222" y="84"/>
                        </a:lnTo>
                        <a:lnTo>
                          <a:pt x="222" y="96"/>
                        </a:lnTo>
                        <a:lnTo>
                          <a:pt x="216" y="108"/>
                        </a:lnTo>
                        <a:lnTo>
                          <a:pt x="216" y="120"/>
                        </a:lnTo>
                        <a:lnTo>
                          <a:pt x="210" y="132"/>
                        </a:lnTo>
                        <a:lnTo>
                          <a:pt x="204" y="138"/>
                        </a:lnTo>
                        <a:lnTo>
                          <a:pt x="198" y="150"/>
                        </a:lnTo>
                        <a:lnTo>
                          <a:pt x="192" y="156"/>
                        </a:lnTo>
                        <a:lnTo>
                          <a:pt x="192" y="168"/>
                        </a:lnTo>
                        <a:lnTo>
                          <a:pt x="210" y="204"/>
                        </a:lnTo>
                        <a:lnTo>
                          <a:pt x="216" y="210"/>
                        </a:lnTo>
                        <a:lnTo>
                          <a:pt x="216" y="222"/>
                        </a:lnTo>
                        <a:lnTo>
                          <a:pt x="222" y="228"/>
                        </a:lnTo>
                        <a:lnTo>
                          <a:pt x="234" y="234"/>
                        </a:lnTo>
                        <a:lnTo>
                          <a:pt x="240" y="240"/>
                        </a:lnTo>
                        <a:lnTo>
                          <a:pt x="204" y="414"/>
                        </a:lnTo>
                        <a:lnTo>
                          <a:pt x="0" y="486"/>
                        </a:lnTo>
                        <a:lnTo>
                          <a:pt x="84" y="672"/>
                        </a:lnTo>
                        <a:lnTo>
                          <a:pt x="114" y="660"/>
                        </a:lnTo>
                        <a:lnTo>
                          <a:pt x="198" y="636"/>
                        </a:lnTo>
                        <a:lnTo>
                          <a:pt x="228" y="624"/>
                        </a:lnTo>
                        <a:lnTo>
                          <a:pt x="246" y="618"/>
                        </a:lnTo>
                        <a:lnTo>
                          <a:pt x="252" y="606"/>
                        </a:lnTo>
                        <a:lnTo>
                          <a:pt x="252" y="594"/>
                        </a:lnTo>
                        <a:lnTo>
                          <a:pt x="258" y="582"/>
                        </a:lnTo>
                        <a:lnTo>
                          <a:pt x="258" y="56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75" name="Norway"/>
                  <p:cNvSpPr>
                    <a:spLocks noEditPoints="1"/>
                  </p:cNvSpPr>
                  <p:nvPr/>
                </p:nvSpPr>
                <p:spPr bwMode="gray">
                  <a:xfrm>
                    <a:off x="2764" y="743"/>
                    <a:ext cx="348" cy="383"/>
                  </a:xfrm>
                  <a:custGeom>
                    <a:avLst/>
                    <a:gdLst>
                      <a:gd name="T0" fmla="*/ 2147483647 w 1362"/>
                      <a:gd name="T1" fmla="*/ 2147483647 h 1500"/>
                      <a:gd name="T2" fmla="*/ 2147483647 w 1362"/>
                      <a:gd name="T3" fmla="*/ 2147483647 h 1500"/>
                      <a:gd name="T4" fmla="*/ 2147483647 w 1362"/>
                      <a:gd name="T5" fmla="*/ 2147483647 h 1500"/>
                      <a:gd name="T6" fmla="*/ 2147483647 w 1362"/>
                      <a:gd name="T7" fmla="*/ 2147483647 h 1500"/>
                      <a:gd name="T8" fmla="*/ 2147483647 w 1362"/>
                      <a:gd name="T9" fmla="*/ 0 h 1500"/>
                      <a:gd name="T10" fmla="*/ 2147483647 w 1362"/>
                      <a:gd name="T11" fmla="*/ 2147483647 h 1500"/>
                      <a:gd name="T12" fmla="*/ 2147483647 w 1362"/>
                      <a:gd name="T13" fmla="*/ 2147483647 h 1500"/>
                      <a:gd name="T14" fmla="*/ 2147483647 w 1362"/>
                      <a:gd name="T15" fmla="*/ 2147483647 h 1500"/>
                      <a:gd name="T16" fmla="*/ 2147483647 w 1362"/>
                      <a:gd name="T17" fmla="*/ 2147483647 h 1500"/>
                      <a:gd name="T18" fmla="*/ 2147483647 w 1362"/>
                      <a:gd name="T19" fmla="*/ 2147483647 h 1500"/>
                      <a:gd name="T20" fmla="*/ 2147483647 w 1362"/>
                      <a:gd name="T21" fmla="*/ 2147483647 h 1500"/>
                      <a:gd name="T22" fmla="*/ 2147483647 w 1362"/>
                      <a:gd name="T23" fmla="*/ 2147483647 h 1500"/>
                      <a:gd name="T24" fmla="*/ 2147483647 w 1362"/>
                      <a:gd name="T25" fmla="*/ 2147483647 h 1500"/>
                      <a:gd name="T26" fmla="*/ 2147483647 w 1362"/>
                      <a:gd name="T27" fmla="*/ 2147483647 h 1500"/>
                      <a:gd name="T28" fmla="*/ 2147483647 w 1362"/>
                      <a:gd name="T29" fmla="*/ 2147483647 h 1500"/>
                      <a:gd name="T30" fmla="*/ 2147483647 w 1362"/>
                      <a:gd name="T31" fmla="*/ 2147483647 h 1500"/>
                      <a:gd name="T32" fmla="*/ 2147483647 w 1362"/>
                      <a:gd name="T33" fmla="*/ 2147483647 h 1500"/>
                      <a:gd name="T34" fmla="*/ 2147483647 w 1362"/>
                      <a:gd name="T35" fmla="*/ 2147483647 h 1500"/>
                      <a:gd name="T36" fmla="*/ 2147483647 w 1362"/>
                      <a:gd name="T37" fmla="*/ 2147483647 h 1500"/>
                      <a:gd name="T38" fmla="*/ 2147483647 w 1362"/>
                      <a:gd name="T39" fmla="*/ 2147483647 h 1500"/>
                      <a:gd name="T40" fmla="*/ 2147483647 w 1362"/>
                      <a:gd name="T41" fmla="*/ 2147483647 h 1500"/>
                      <a:gd name="T42" fmla="*/ 2147483647 w 1362"/>
                      <a:gd name="T43" fmla="*/ 2147483647 h 1500"/>
                      <a:gd name="T44" fmla="*/ 2147483647 w 1362"/>
                      <a:gd name="T45" fmla="*/ 2147483647 h 1500"/>
                      <a:gd name="T46" fmla="*/ 2147483647 w 1362"/>
                      <a:gd name="T47" fmla="*/ 2147483647 h 1500"/>
                      <a:gd name="T48" fmla="*/ 2147483647 w 1362"/>
                      <a:gd name="T49" fmla="*/ 2147483647 h 1500"/>
                      <a:gd name="T50" fmla="*/ 2147483647 w 1362"/>
                      <a:gd name="T51" fmla="*/ 2147483647 h 1500"/>
                      <a:gd name="T52" fmla="*/ 2147483647 w 1362"/>
                      <a:gd name="T53" fmla="*/ 2147483647 h 1500"/>
                      <a:gd name="T54" fmla="*/ 2147483647 w 1362"/>
                      <a:gd name="T55" fmla="*/ 2147483647 h 1500"/>
                      <a:gd name="T56" fmla="*/ 2147483647 w 1362"/>
                      <a:gd name="T57" fmla="*/ 2147483647 h 1500"/>
                      <a:gd name="T58" fmla="*/ 2147483647 w 1362"/>
                      <a:gd name="T59" fmla="*/ 2147483647 h 1500"/>
                      <a:gd name="T60" fmla="*/ 2147483647 w 1362"/>
                      <a:gd name="T61" fmla="*/ 2147483647 h 1500"/>
                      <a:gd name="T62" fmla="*/ 2147483647 w 1362"/>
                      <a:gd name="T63" fmla="*/ 2147483647 h 1500"/>
                      <a:gd name="T64" fmla="*/ 2147483647 w 1362"/>
                      <a:gd name="T65" fmla="*/ 2147483647 h 1500"/>
                      <a:gd name="T66" fmla="*/ 2147483647 w 1362"/>
                      <a:gd name="T67" fmla="*/ 2147483647 h 1500"/>
                      <a:gd name="T68" fmla="*/ 2147483647 w 1362"/>
                      <a:gd name="T69" fmla="*/ 2147483647 h 1500"/>
                      <a:gd name="T70" fmla="*/ 2147483647 w 1362"/>
                      <a:gd name="T71" fmla="*/ 2147483647 h 1500"/>
                      <a:gd name="T72" fmla="*/ 2147483647 w 1362"/>
                      <a:gd name="T73" fmla="*/ 2147483647 h 1500"/>
                      <a:gd name="T74" fmla="*/ 2147483647 w 1362"/>
                      <a:gd name="T75" fmla="*/ 2147483647 h 1500"/>
                      <a:gd name="T76" fmla="*/ 2147483647 w 1362"/>
                      <a:gd name="T77" fmla="*/ 2147483647 h 1500"/>
                      <a:gd name="T78" fmla="*/ 2147483647 w 1362"/>
                      <a:gd name="T79" fmla="*/ 2147483647 h 1500"/>
                      <a:gd name="T80" fmla="*/ 2147483647 w 1362"/>
                      <a:gd name="T81" fmla="*/ 2147483647 h 1500"/>
                      <a:gd name="T82" fmla="*/ 2147483647 w 1362"/>
                      <a:gd name="T83" fmla="*/ 2147483647 h 1500"/>
                      <a:gd name="T84" fmla="*/ 2147483647 w 1362"/>
                      <a:gd name="T85" fmla="*/ 2147483647 h 1500"/>
                      <a:gd name="T86" fmla="*/ 2147483647 w 1362"/>
                      <a:gd name="T87" fmla="*/ 2147483647 h 1500"/>
                      <a:gd name="T88" fmla="*/ 2147483647 w 1362"/>
                      <a:gd name="T89" fmla="*/ 2147483647 h 1500"/>
                      <a:gd name="T90" fmla="*/ 2147483647 w 1362"/>
                      <a:gd name="T91" fmla="*/ 2147483647 h 1500"/>
                      <a:gd name="T92" fmla="*/ 2147483647 w 1362"/>
                      <a:gd name="T93" fmla="*/ 2147483647 h 1500"/>
                      <a:gd name="T94" fmla="*/ 2147483647 w 1362"/>
                      <a:gd name="T95" fmla="*/ 2147483647 h 1500"/>
                      <a:gd name="T96" fmla="*/ 2147483647 w 1362"/>
                      <a:gd name="T97" fmla="*/ 2147483647 h 1500"/>
                      <a:gd name="T98" fmla="*/ 2147483647 w 1362"/>
                      <a:gd name="T99" fmla="*/ 2147483647 h 1500"/>
                      <a:gd name="T100" fmla="*/ 2147483647 w 1362"/>
                      <a:gd name="T101" fmla="*/ 2147483647 h 1500"/>
                      <a:gd name="T102" fmla="*/ 2147483647 w 1362"/>
                      <a:gd name="T103" fmla="*/ 2147483647 h 1500"/>
                      <a:gd name="T104" fmla="*/ 2147483647 w 1362"/>
                      <a:gd name="T105" fmla="*/ 2147483647 h 1500"/>
                      <a:gd name="T106" fmla="*/ 2147483647 w 1362"/>
                      <a:gd name="T107" fmla="*/ 2147483647 h 1500"/>
                      <a:gd name="T108" fmla="*/ 2147483647 w 1362"/>
                      <a:gd name="T109" fmla="*/ 2147483647 h 1500"/>
                      <a:gd name="T110" fmla="*/ 2147483647 w 1362"/>
                      <a:gd name="T111" fmla="*/ 2147483647 h 1500"/>
                      <a:gd name="T112" fmla="*/ 2147483647 w 1362"/>
                      <a:gd name="T113" fmla="*/ 2147483647 h 1500"/>
                      <a:gd name="T114" fmla="*/ 2147483647 w 1362"/>
                      <a:gd name="T115" fmla="*/ 2147483647 h 150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362"/>
                      <a:gd name="T175" fmla="*/ 0 h 1500"/>
                      <a:gd name="T176" fmla="*/ 1362 w 1362"/>
                      <a:gd name="T177" fmla="*/ 1500 h 150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362" h="1500">
                        <a:moveTo>
                          <a:pt x="324" y="120"/>
                        </a:moveTo>
                        <a:lnTo>
                          <a:pt x="336" y="126"/>
                        </a:lnTo>
                        <a:lnTo>
                          <a:pt x="354" y="132"/>
                        </a:lnTo>
                        <a:lnTo>
                          <a:pt x="378" y="132"/>
                        </a:lnTo>
                        <a:lnTo>
                          <a:pt x="294" y="90"/>
                        </a:lnTo>
                        <a:lnTo>
                          <a:pt x="294" y="102"/>
                        </a:lnTo>
                        <a:lnTo>
                          <a:pt x="306" y="108"/>
                        </a:lnTo>
                        <a:lnTo>
                          <a:pt x="312" y="114"/>
                        </a:lnTo>
                        <a:lnTo>
                          <a:pt x="324" y="120"/>
                        </a:lnTo>
                        <a:close/>
                        <a:moveTo>
                          <a:pt x="684" y="48"/>
                        </a:moveTo>
                        <a:lnTo>
                          <a:pt x="732" y="48"/>
                        </a:lnTo>
                        <a:lnTo>
                          <a:pt x="738" y="54"/>
                        </a:lnTo>
                        <a:lnTo>
                          <a:pt x="750" y="54"/>
                        </a:lnTo>
                        <a:lnTo>
                          <a:pt x="774" y="66"/>
                        </a:lnTo>
                        <a:lnTo>
                          <a:pt x="786" y="66"/>
                        </a:lnTo>
                        <a:lnTo>
                          <a:pt x="798" y="60"/>
                        </a:lnTo>
                        <a:lnTo>
                          <a:pt x="804" y="60"/>
                        </a:lnTo>
                        <a:lnTo>
                          <a:pt x="816" y="54"/>
                        </a:lnTo>
                        <a:lnTo>
                          <a:pt x="828" y="54"/>
                        </a:lnTo>
                        <a:lnTo>
                          <a:pt x="840" y="60"/>
                        </a:lnTo>
                        <a:lnTo>
                          <a:pt x="876" y="72"/>
                        </a:lnTo>
                        <a:lnTo>
                          <a:pt x="888" y="78"/>
                        </a:lnTo>
                        <a:lnTo>
                          <a:pt x="894" y="84"/>
                        </a:lnTo>
                        <a:lnTo>
                          <a:pt x="900" y="84"/>
                        </a:lnTo>
                        <a:lnTo>
                          <a:pt x="924" y="60"/>
                        </a:lnTo>
                        <a:lnTo>
                          <a:pt x="984" y="66"/>
                        </a:lnTo>
                        <a:lnTo>
                          <a:pt x="984" y="42"/>
                        </a:lnTo>
                        <a:lnTo>
                          <a:pt x="1014" y="42"/>
                        </a:lnTo>
                        <a:lnTo>
                          <a:pt x="1026" y="36"/>
                        </a:lnTo>
                        <a:lnTo>
                          <a:pt x="1032" y="24"/>
                        </a:lnTo>
                        <a:lnTo>
                          <a:pt x="1038" y="18"/>
                        </a:lnTo>
                        <a:lnTo>
                          <a:pt x="1032" y="12"/>
                        </a:lnTo>
                        <a:lnTo>
                          <a:pt x="1002" y="12"/>
                        </a:lnTo>
                        <a:lnTo>
                          <a:pt x="990" y="18"/>
                        </a:lnTo>
                        <a:lnTo>
                          <a:pt x="984" y="18"/>
                        </a:lnTo>
                        <a:lnTo>
                          <a:pt x="972" y="6"/>
                        </a:lnTo>
                        <a:lnTo>
                          <a:pt x="960" y="0"/>
                        </a:lnTo>
                        <a:lnTo>
                          <a:pt x="918" y="0"/>
                        </a:lnTo>
                        <a:lnTo>
                          <a:pt x="900" y="6"/>
                        </a:lnTo>
                        <a:lnTo>
                          <a:pt x="882" y="18"/>
                        </a:lnTo>
                        <a:lnTo>
                          <a:pt x="870" y="18"/>
                        </a:lnTo>
                        <a:lnTo>
                          <a:pt x="864" y="12"/>
                        </a:lnTo>
                        <a:lnTo>
                          <a:pt x="864" y="6"/>
                        </a:lnTo>
                        <a:lnTo>
                          <a:pt x="858" y="6"/>
                        </a:lnTo>
                        <a:lnTo>
                          <a:pt x="852" y="0"/>
                        </a:lnTo>
                        <a:lnTo>
                          <a:pt x="822" y="0"/>
                        </a:lnTo>
                        <a:lnTo>
                          <a:pt x="804" y="18"/>
                        </a:lnTo>
                        <a:lnTo>
                          <a:pt x="738" y="0"/>
                        </a:lnTo>
                        <a:lnTo>
                          <a:pt x="726" y="0"/>
                        </a:lnTo>
                        <a:lnTo>
                          <a:pt x="708" y="6"/>
                        </a:lnTo>
                        <a:lnTo>
                          <a:pt x="690" y="6"/>
                        </a:lnTo>
                        <a:lnTo>
                          <a:pt x="672" y="12"/>
                        </a:lnTo>
                        <a:lnTo>
                          <a:pt x="660" y="12"/>
                        </a:lnTo>
                        <a:lnTo>
                          <a:pt x="660" y="6"/>
                        </a:lnTo>
                        <a:lnTo>
                          <a:pt x="666" y="0"/>
                        </a:lnTo>
                        <a:lnTo>
                          <a:pt x="630" y="12"/>
                        </a:lnTo>
                        <a:lnTo>
                          <a:pt x="648" y="36"/>
                        </a:lnTo>
                        <a:lnTo>
                          <a:pt x="684" y="48"/>
                        </a:lnTo>
                        <a:close/>
                        <a:moveTo>
                          <a:pt x="324" y="66"/>
                        </a:moveTo>
                        <a:lnTo>
                          <a:pt x="342" y="66"/>
                        </a:lnTo>
                        <a:lnTo>
                          <a:pt x="348" y="72"/>
                        </a:lnTo>
                        <a:lnTo>
                          <a:pt x="360" y="72"/>
                        </a:lnTo>
                        <a:lnTo>
                          <a:pt x="360" y="78"/>
                        </a:lnTo>
                        <a:lnTo>
                          <a:pt x="342" y="96"/>
                        </a:lnTo>
                        <a:lnTo>
                          <a:pt x="336" y="96"/>
                        </a:lnTo>
                        <a:lnTo>
                          <a:pt x="378" y="114"/>
                        </a:lnTo>
                        <a:lnTo>
                          <a:pt x="390" y="120"/>
                        </a:lnTo>
                        <a:lnTo>
                          <a:pt x="396" y="126"/>
                        </a:lnTo>
                        <a:lnTo>
                          <a:pt x="414" y="126"/>
                        </a:lnTo>
                        <a:lnTo>
                          <a:pt x="426" y="132"/>
                        </a:lnTo>
                        <a:lnTo>
                          <a:pt x="438" y="132"/>
                        </a:lnTo>
                        <a:lnTo>
                          <a:pt x="462" y="108"/>
                        </a:lnTo>
                        <a:lnTo>
                          <a:pt x="504" y="96"/>
                        </a:lnTo>
                        <a:lnTo>
                          <a:pt x="534" y="120"/>
                        </a:lnTo>
                        <a:lnTo>
                          <a:pt x="528" y="120"/>
                        </a:lnTo>
                        <a:lnTo>
                          <a:pt x="516" y="126"/>
                        </a:lnTo>
                        <a:lnTo>
                          <a:pt x="504" y="126"/>
                        </a:lnTo>
                        <a:lnTo>
                          <a:pt x="480" y="132"/>
                        </a:lnTo>
                        <a:lnTo>
                          <a:pt x="468" y="138"/>
                        </a:lnTo>
                        <a:lnTo>
                          <a:pt x="456" y="150"/>
                        </a:lnTo>
                        <a:lnTo>
                          <a:pt x="486" y="150"/>
                        </a:lnTo>
                        <a:lnTo>
                          <a:pt x="498" y="156"/>
                        </a:lnTo>
                        <a:lnTo>
                          <a:pt x="522" y="156"/>
                        </a:lnTo>
                        <a:lnTo>
                          <a:pt x="516" y="162"/>
                        </a:lnTo>
                        <a:lnTo>
                          <a:pt x="504" y="162"/>
                        </a:lnTo>
                        <a:lnTo>
                          <a:pt x="486" y="168"/>
                        </a:lnTo>
                        <a:lnTo>
                          <a:pt x="474" y="174"/>
                        </a:lnTo>
                        <a:lnTo>
                          <a:pt x="468" y="180"/>
                        </a:lnTo>
                        <a:lnTo>
                          <a:pt x="462" y="180"/>
                        </a:lnTo>
                        <a:lnTo>
                          <a:pt x="516" y="198"/>
                        </a:lnTo>
                        <a:lnTo>
                          <a:pt x="522" y="198"/>
                        </a:lnTo>
                        <a:lnTo>
                          <a:pt x="528" y="204"/>
                        </a:lnTo>
                        <a:lnTo>
                          <a:pt x="540" y="210"/>
                        </a:lnTo>
                        <a:lnTo>
                          <a:pt x="558" y="210"/>
                        </a:lnTo>
                        <a:lnTo>
                          <a:pt x="576" y="216"/>
                        </a:lnTo>
                        <a:lnTo>
                          <a:pt x="594" y="210"/>
                        </a:lnTo>
                        <a:lnTo>
                          <a:pt x="606" y="204"/>
                        </a:lnTo>
                        <a:lnTo>
                          <a:pt x="612" y="204"/>
                        </a:lnTo>
                        <a:lnTo>
                          <a:pt x="618" y="198"/>
                        </a:lnTo>
                        <a:lnTo>
                          <a:pt x="612" y="192"/>
                        </a:lnTo>
                        <a:lnTo>
                          <a:pt x="612" y="186"/>
                        </a:lnTo>
                        <a:lnTo>
                          <a:pt x="606" y="180"/>
                        </a:lnTo>
                        <a:lnTo>
                          <a:pt x="606" y="174"/>
                        </a:lnTo>
                        <a:lnTo>
                          <a:pt x="612" y="168"/>
                        </a:lnTo>
                        <a:lnTo>
                          <a:pt x="618" y="168"/>
                        </a:lnTo>
                        <a:lnTo>
                          <a:pt x="630" y="162"/>
                        </a:lnTo>
                        <a:lnTo>
                          <a:pt x="648" y="162"/>
                        </a:lnTo>
                        <a:lnTo>
                          <a:pt x="648" y="144"/>
                        </a:lnTo>
                        <a:lnTo>
                          <a:pt x="678" y="132"/>
                        </a:lnTo>
                        <a:lnTo>
                          <a:pt x="690" y="102"/>
                        </a:lnTo>
                        <a:lnTo>
                          <a:pt x="714" y="114"/>
                        </a:lnTo>
                        <a:lnTo>
                          <a:pt x="738" y="102"/>
                        </a:lnTo>
                        <a:lnTo>
                          <a:pt x="750" y="114"/>
                        </a:lnTo>
                        <a:lnTo>
                          <a:pt x="762" y="120"/>
                        </a:lnTo>
                        <a:lnTo>
                          <a:pt x="780" y="126"/>
                        </a:lnTo>
                        <a:lnTo>
                          <a:pt x="792" y="138"/>
                        </a:lnTo>
                        <a:lnTo>
                          <a:pt x="792" y="144"/>
                        </a:lnTo>
                        <a:lnTo>
                          <a:pt x="786" y="150"/>
                        </a:lnTo>
                        <a:lnTo>
                          <a:pt x="786" y="162"/>
                        </a:lnTo>
                        <a:lnTo>
                          <a:pt x="774" y="174"/>
                        </a:lnTo>
                        <a:lnTo>
                          <a:pt x="828" y="174"/>
                        </a:lnTo>
                        <a:lnTo>
                          <a:pt x="834" y="180"/>
                        </a:lnTo>
                        <a:lnTo>
                          <a:pt x="846" y="186"/>
                        </a:lnTo>
                        <a:lnTo>
                          <a:pt x="852" y="192"/>
                        </a:lnTo>
                        <a:lnTo>
                          <a:pt x="858" y="192"/>
                        </a:lnTo>
                        <a:lnTo>
                          <a:pt x="864" y="186"/>
                        </a:lnTo>
                        <a:lnTo>
                          <a:pt x="876" y="186"/>
                        </a:lnTo>
                        <a:lnTo>
                          <a:pt x="894" y="174"/>
                        </a:lnTo>
                        <a:lnTo>
                          <a:pt x="906" y="168"/>
                        </a:lnTo>
                        <a:lnTo>
                          <a:pt x="924" y="162"/>
                        </a:lnTo>
                        <a:lnTo>
                          <a:pt x="936" y="156"/>
                        </a:lnTo>
                        <a:lnTo>
                          <a:pt x="942" y="150"/>
                        </a:lnTo>
                        <a:lnTo>
                          <a:pt x="942" y="144"/>
                        </a:lnTo>
                        <a:lnTo>
                          <a:pt x="936" y="144"/>
                        </a:lnTo>
                        <a:lnTo>
                          <a:pt x="924" y="138"/>
                        </a:lnTo>
                        <a:lnTo>
                          <a:pt x="888" y="138"/>
                        </a:lnTo>
                        <a:lnTo>
                          <a:pt x="882" y="120"/>
                        </a:lnTo>
                        <a:lnTo>
                          <a:pt x="828" y="114"/>
                        </a:lnTo>
                        <a:lnTo>
                          <a:pt x="828" y="96"/>
                        </a:lnTo>
                        <a:lnTo>
                          <a:pt x="798" y="102"/>
                        </a:lnTo>
                        <a:lnTo>
                          <a:pt x="798" y="84"/>
                        </a:lnTo>
                        <a:lnTo>
                          <a:pt x="726" y="84"/>
                        </a:lnTo>
                        <a:lnTo>
                          <a:pt x="720" y="72"/>
                        </a:lnTo>
                        <a:lnTo>
                          <a:pt x="684" y="72"/>
                        </a:lnTo>
                        <a:lnTo>
                          <a:pt x="678" y="60"/>
                        </a:lnTo>
                        <a:lnTo>
                          <a:pt x="654" y="48"/>
                        </a:lnTo>
                        <a:lnTo>
                          <a:pt x="624" y="48"/>
                        </a:lnTo>
                        <a:lnTo>
                          <a:pt x="624" y="30"/>
                        </a:lnTo>
                        <a:lnTo>
                          <a:pt x="618" y="30"/>
                        </a:lnTo>
                        <a:lnTo>
                          <a:pt x="612" y="24"/>
                        </a:lnTo>
                        <a:lnTo>
                          <a:pt x="540" y="24"/>
                        </a:lnTo>
                        <a:lnTo>
                          <a:pt x="534" y="30"/>
                        </a:lnTo>
                        <a:lnTo>
                          <a:pt x="534" y="36"/>
                        </a:lnTo>
                        <a:lnTo>
                          <a:pt x="540" y="42"/>
                        </a:lnTo>
                        <a:lnTo>
                          <a:pt x="546" y="54"/>
                        </a:lnTo>
                        <a:lnTo>
                          <a:pt x="564" y="72"/>
                        </a:lnTo>
                        <a:lnTo>
                          <a:pt x="552" y="66"/>
                        </a:lnTo>
                        <a:lnTo>
                          <a:pt x="546" y="60"/>
                        </a:lnTo>
                        <a:lnTo>
                          <a:pt x="528" y="48"/>
                        </a:lnTo>
                        <a:lnTo>
                          <a:pt x="492" y="30"/>
                        </a:lnTo>
                        <a:lnTo>
                          <a:pt x="480" y="30"/>
                        </a:lnTo>
                        <a:lnTo>
                          <a:pt x="474" y="36"/>
                        </a:lnTo>
                        <a:lnTo>
                          <a:pt x="468" y="48"/>
                        </a:lnTo>
                        <a:lnTo>
                          <a:pt x="462" y="54"/>
                        </a:lnTo>
                        <a:lnTo>
                          <a:pt x="450" y="54"/>
                        </a:lnTo>
                        <a:lnTo>
                          <a:pt x="438" y="48"/>
                        </a:lnTo>
                        <a:lnTo>
                          <a:pt x="420" y="48"/>
                        </a:lnTo>
                        <a:lnTo>
                          <a:pt x="420" y="42"/>
                        </a:lnTo>
                        <a:lnTo>
                          <a:pt x="426" y="42"/>
                        </a:lnTo>
                        <a:lnTo>
                          <a:pt x="438" y="30"/>
                        </a:lnTo>
                        <a:lnTo>
                          <a:pt x="384" y="30"/>
                        </a:lnTo>
                        <a:lnTo>
                          <a:pt x="372" y="42"/>
                        </a:lnTo>
                        <a:lnTo>
                          <a:pt x="366" y="30"/>
                        </a:lnTo>
                        <a:lnTo>
                          <a:pt x="354" y="30"/>
                        </a:lnTo>
                        <a:lnTo>
                          <a:pt x="318" y="48"/>
                        </a:lnTo>
                        <a:lnTo>
                          <a:pt x="318" y="60"/>
                        </a:lnTo>
                        <a:lnTo>
                          <a:pt x="324" y="66"/>
                        </a:lnTo>
                        <a:close/>
                        <a:moveTo>
                          <a:pt x="642" y="708"/>
                        </a:moveTo>
                        <a:lnTo>
                          <a:pt x="666" y="696"/>
                        </a:lnTo>
                        <a:lnTo>
                          <a:pt x="666" y="690"/>
                        </a:lnTo>
                        <a:lnTo>
                          <a:pt x="678" y="690"/>
                        </a:lnTo>
                        <a:lnTo>
                          <a:pt x="678" y="678"/>
                        </a:lnTo>
                        <a:lnTo>
                          <a:pt x="672" y="672"/>
                        </a:lnTo>
                        <a:lnTo>
                          <a:pt x="630" y="690"/>
                        </a:lnTo>
                        <a:lnTo>
                          <a:pt x="642" y="708"/>
                        </a:lnTo>
                        <a:close/>
                        <a:moveTo>
                          <a:pt x="774" y="648"/>
                        </a:moveTo>
                        <a:lnTo>
                          <a:pt x="780" y="642"/>
                        </a:lnTo>
                        <a:lnTo>
                          <a:pt x="786" y="642"/>
                        </a:lnTo>
                        <a:lnTo>
                          <a:pt x="792" y="636"/>
                        </a:lnTo>
                        <a:lnTo>
                          <a:pt x="792" y="630"/>
                        </a:lnTo>
                        <a:lnTo>
                          <a:pt x="786" y="624"/>
                        </a:lnTo>
                        <a:lnTo>
                          <a:pt x="774" y="624"/>
                        </a:lnTo>
                        <a:lnTo>
                          <a:pt x="768" y="630"/>
                        </a:lnTo>
                        <a:lnTo>
                          <a:pt x="768" y="642"/>
                        </a:lnTo>
                        <a:lnTo>
                          <a:pt x="774" y="648"/>
                        </a:lnTo>
                        <a:close/>
                        <a:moveTo>
                          <a:pt x="594" y="696"/>
                        </a:moveTo>
                        <a:lnTo>
                          <a:pt x="576" y="696"/>
                        </a:lnTo>
                        <a:lnTo>
                          <a:pt x="552" y="708"/>
                        </a:lnTo>
                        <a:lnTo>
                          <a:pt x="546" y="714"/>
                        </a:lnTo>
                        <a:lnTo>
                          <a:pt x="570" y="720"/>
                        </a:lnTo>
                        <a:lnTo>
                          <a:pt x="576" y="714"/>
                        </a:lnTo>
                        <a:lnTo>
                          <a:pt x="588" y="714"/>
                        </a:lnTo>
                        <a:lnTo>
                          <a:pt x="600" y="702"/>
                        </a:lnTo>
                        <a:lnTo>
                          <a:pt x="594" y="696"/>
                        </a:lnTo>
                        <a:close/>
                        <a:moveTo>
                          <a:pt x="918" y="612"/>
                        </a:moveTo>
                        <a:lnTo>
                          <a:pt x="936" y="618"/>
                        </a:lnTo>
                        <a:lnTo>
                          <a:pt x="942" y="606"/>
                        </a:lnTo>
                        <a:lnTo>
                          <a:pt x="948" y="600"/>
                        </a:lnTo>
                        <a:lnTo>
                          <a:pt x="948" y="594"/>
                        </a:lnTo>
                        <a:lnTo>
                          <a:pt x="918" y="594"/>
                        </a:lnTo>
                        <a:lnTo>
                          <a:pt x="918" y="612"/>
                        </a:lnTo>
                        <a:close/>
                        <a:moveTo>
                          <a:pt x="486" y="756"/>
                        </a:moveTo>
                        <a:lnTo>
                          <a:pt x="474" y="756"/>
                        </a:lnTo>
                        <a:lnTo>
                          <a:pt x="438" y="774"/>
                        </a:lnTo>
                        <a:lnTo>
                          <a:pt x="432" y="780"/>
                        </a:lnTo>
                        <a:lnTo>
                          <a:pt x="432" y="786"/>
                        </a:lnTo>
                        <a:lnTo>
                          <a:pt x="444" y="786"/>
                        </a:lnTo>
                        <a:lnTo>
                          <a:pt x="456" y="780"/>
                        </a:lnTo>
                        <a:lnTo>
                          <a:pt x="462" y="774"/>
                        </a:lnTo>
                        <a:lnTo>
                          <a:pt x="474" y="768"/>
                        </a:lnTo>
                        <a:lnTo>
                          <a:pt x="510" y="768"/>
                        </a:lnTo>
                        <a:lnTo>
                          <a:pt x="510" y="762"/>
                        </a:lnTo>
                        <a:lnTo>
                          <a:pt x="504" y="762"/>
                        </a:lnTo>
                        <a:lnTo>
                          <a:pt x="504" y="756"/>
                        </a:lnTo>
                        <a:lnTo>
                          <a:pt x="486" y="756"/>
                        </a:lnTo>
                        <a:close/>
                        <a:moveTo>
                          <a:pt x="1356" y="660"/>
                        </a:moveTo>
                        <a:lnTo>
                          <a:pt x="1326" y="666"/>
                        </a:lnTo>
                        <a:lnTo>
                          <a:pt x="1290" y="654"/>
                        </a:lnTo>
                        <a:lnTo>
                          <a:pt x="1260" y="642"/>
                        </a:lnTo>
                        <a:lnTo>
                          <a:pt x="1302" y="642"/>
                        </a:lnTo>
                        <a:lnTo>
                          <a:pt x="1326" y="630"/>
                        </a:lnTo>
                        <a:lnTo>
                          <a:pt x="1344" y="630"/>
                        </a:lnTo>
                        <a:lnTo>
                          <a:pt x="1350" y="624"/>
                        </a:lnTo>
                        <a:lnTo>
                          <a:pt x="1356" y="624"/>
                        </a:lnTo>
                        <a:lnTo>
                          <a:pt x="1344" y="618"/>
                        </a:lnTo>
                        <a:lnTo>
                          <a:pt x="1338" y="612"/>
                        </a:lnTo>
                        <a:lnTo>
                          <a:pt x="1320" y="606"/>
                        </a:lnTo>
                        <a:lnTo>
                          <a:pt x="1308" y="600"/>
                        </a:lnTo>
                        <a:lnTo>
                          <a:pt x="1284" y="600"/>
                        </a:lnTo>
                        <a:lnTo>
                          <a:pt x="1260" y="588"/>
                        </a:lnTo>
                        <a:lnTo>
                          <a:pt x="1254" y="588"/>
                        </a:lnTo>
                        <a:lnTo>
                          <a:pt x="1242" y="582"/>
                        </a:lnTo>
                        <a:lnTo>
                          <a:pt x="1242" y="588"/>
                        </a:lnTo>
                        <a:lnTo>
                          <a:pt x="1236" y="594"/>
                        </a:lnTo>
                        <a:lnTo>
                          <a:pt x="1236" y="600"/>
                        </a:lnTo>
                        <a:lnTo>
                          <a:pt x="1218" y="618"/>
                        </a:lnTo>
                        <a:lnTo>
                          <a:pt x="1206" y="618"/>
                        </a:lnTo>
                        <a:lnTo>
                          <a:pt x="1200" y="612"/>
                        </a:lnTo>
                        <a:lnTo>
                          <a:pt x="1224" y="588"/>
                        </a:lnTo>
                        <a:lnTo>
                          <a:pt x="1158" y="564"/>
                        </a:lnTo>
                        <a:lnTo>
                          <a:pt x="1158" y="576"/>
                        </a:lnTo>
                        <a:lnTo>
                          <a:pt x="1152" y="594"/>
                        </a:lnTo>
                        <a:lnTo>
                          <a:pt x="1134" y="630"/>
                        </a:lnTo>
                        <a:lnTo>
                          <a:pt x="1128" y="630"/>
                        </a:lnTo>
                        <a:lnTo>
                          <a:pt x="1122" y="624"/>
                        </a:lnTo>
                        <a:lnTo>
                          <a:pt x="1116" y="612"/>
                        </a:lnTo>
                        <a:lnTo>
                          <a:pt x="1116" y="594"/>
                        </a:lnTo>
                        <a:lnTo>
                          <a:pt x="1122" y="582"/>
                        </a:lnTo>
                        <a:lnTo>
                          <a:pt x="1116" y="594"/>
                        </a:lnTo>
                        <a:lnTo>
                          <a:pt x="1104" y="600"/>
                        </a:lnTo>
                        <a:lnTo>
                          <a:pt x="1080" y="624"/>
                        </a:lnTo>
                        <a:lnTo>
                          <a:pt x="1056" y="636"/>
                        </a:lnTo>
                        <a:lnTo>
                          <a:pt x="1050" y="636"/>
                        </a:lnTo>
                        <a:lnTo>
                          <a:pt x="1050" y="630"/>
                        </a:lnTo>
                        <a:lnTo>
                          <a:pt x="1056" y="618"/>
                        </a:lnTo>
                        <a:lnTo>
                          <a:pt x="1086" y="588"/>
                        </a:lnTo>
                        <a:lnTo>
                          <a:pt x="1092" y="576"/>
                        </a:lnTo>
                        <a:lnTo>
                          <a:pt x="1104" y="570"/>
                        </a:lnTo>
                        <a:lnTo>
                          <a:pt x="1068" y="570"/>
                        </a:lnTo>
                        <a:lnTo>
                          <a:pt x="1050" y="582"/>
                        </a:lnTo>
                        <a:lnTo>
                          <a:pt x="1026" y="582"/>
                        </a:lnTo>
                        <a:lnTo>
                          <a:pt x="984" y="606"/>
                        </a:lnTo>
                        <a:lnTo>
                          <a:pt x="960" y="606"/>
                        </a:lnTo>
                        <a:lnTo>
                          <a:pt x="954" y="636"/>
                        </a:lnTo>
                        <a:lnTo>
                          <a:pt x="918" y="624"/>
                        </a:lnTo>
                        <a:lnTo>
                          <a:pt x="882" y="630"/>
                        </a:lnTo>
                        <a:lnTo>
                          <a:pt x="894" y="660"/>
                        </a:lnTo>
                        <a:lnTo>
                          <a:pt x="846" y="648"/>
                        </a:lnTo>
                        <a:lnTo>
                          <a:pt x="828" y="654"/>
                        </a:lnTo>
                        <a:lnTo>
                          <a:pt x="834" y="678"/>
                        </a:lnTo>
                        <a:lnTo>
                          <a:pt x="792" y="690"/>
                        </a:lnTo>
                        <a:lnTo>
                          <a:pt x="792" y="654"/>
                        </a:lnTo>
                        <a:lnTo>
                          <a:pt x="762" y="654"/>
                        </a:lnTo>
                        <a:lnTo>
                          <a:pt x="774" y="678"/>
                        </a:lnTo>
                        <a:lnTo>
                          <a:pt x="750" y="660"/>
                        </a:lnTo>
                        <a:lnTo>
                          <a:pt x="750" y="690"/>
                        </a:lnTo>
                        <a:lnTo>
                          <a:pt x="726" y="690"/>
                        </a:lnTo>
                        <a:lnTo>
                          <a:pt x="726" y="660"/>
                        </a:lnTo>
                        <a:lnTo>
                          <a:pt x="738" y="654"/>
                        </a:lnTo>
                        <a:lnTo>
                          <a:pt x="744" y="648"/>
                        </a:lnTo>
                        <a:lnTo>
                          <a:pt x="708" y="642"/>
                        </a:lnTo>
                        <a:lnTo>
                          <a:pt x="708" y="684"/>
                        </a:lnTo>
                        <a:lnTo>
                          <a:pt x="678" y="696"/>
                        </a:lnTo>
                        <a:lnTo>
                          <a:pt x="696" y="708"/>
                        </a:lnTo>
                        <a:lnTo>
                          <a:pt x="660" y="714"/>
                        </a:lnTo>
                        <a:lnTo>
                          <a:pt x="672" y="726"/>
                        </a:lnTo>
                        <a:lnTo>
                          <a:pt x="630" y="726"/>
                        </a:lnTo>
                        <a:lnTo>
                          <a:pt x="630" y="738"/>
                        </a:lnTo>
                        <a:lnTo>
                          <a:pt x="660" y="750"/>
                        </a:lnTo>
                        <a:lnTo>
                          <a:pt x="654" y="762"/>
                        </a:lnTo>
                        <a:lnTo>
                          <a:pt x="618" y="744"/>
                        </a:lnTo>
                        <a:lnTo>
                          <a:pt x="600" y="750"/>
                        </a:lnTo>
                        <a:lnTo>
                          <a:pt x="624" y="762"/>
                        </a:lnTo>
                        <a:lnTo>
                          <a:pt x="606" y="780"/>
                        </a:lnTo>
                        <a:lnTo>
                          <a:pt x="594" y="762"/>
                        </a:lnTo>
                        <a:lnTo>
                          <a:pt x="576" y="768"/>
                        </a:lnTo>
                        <a:lnTo>
                          <a:pt x="576" y="780"/>
                        </a:lnTo>
                        <a:lnTo>
                          <a:pt x="546" y="780"/>
                        </a:lnTo>
                        <a:lnTo>
                          <a:pt x="540" y="792"/>
                        </a:lnTo>
                        <a:lnTo>
                          <a:pt x="564" y="804"/>
                        </a:lnTo>
                        <a:lnTo>
                          <a:pt x="564" y="822"/>
                        </a:lnTo>
                        <a:lnTo>
                          <a:pt x="528" y="810"/>
                        </a:lnTo>
                        <a:lnTo>
                          <a:pt x="522" y="822"/>
                        </a:lnTo>
                        <a:lnTo>
                          <a:pt x="552" y="834"/>
                        </a:lnTo>
                        <a:lnTo>
                          <a:pt x="504" y="834"/>
                        </a:lnTo>
                        <a:lnTo>
                          <a:pt x="504" y="852"/>
                        </a:lnTo>
                        <a:lnTo>
                          <a:pt x="492" y="846"/>
                        </a:lnTo>
                        <a:lnTo>
                          <a:pt x="486" y="846"/>
                        </a:lnTo>
                        <a:lnTo>
                          <a:pt x="474" y="852"/>
                        </a:lnTo>
                        <a:lnTo>
                          <a:pt x="468" y="858"/>
                        </a:lnTo>
                        <a:lnTo>
                          <a:pt x="456" y="858"/>
                        </a:lnTo>
                        <a:lnTo>
                          <a:pt x="456" y="870"/>
                        </a:lnTo>
                        <a:lnTo>
                          <a:pt x="462" y="876"/>
                        </a:lnTo>
                        <a:lnTo>
                          <a:pt x="456" y="876"/>
                        </a:lnTo>
                        <a:lnTo>
                          <a:pt x="450" y="882"/>
                        </a:lnTo>
                        <a:lnTo>
                          <a:pt x="444" y="882"/>
                        </a:lnTo>
                        <a:lnTo>
                          <a:pt x="444" y="900"/>
                        </a:lnTo>
                        <a:lnTo>
                          <a:pt x="480" y="900"/>
                        </a:lnTo>
                        <a:lnTo>
                          <a:pt x="468" y="912"/>
                        </a:lnTo>
                        <a:lnTo>
                          <a:pt x="432" y="906"/>
                        </a:lnTo>
                        <a:lnTo>
                          <a:pt x="420" y="912"/>
                        </a:lnTo>
                        <a:lnTo>
                          <a:pt x="414" y="918"/>
                        </a:lnTo>
                        <a:lnTo>
                          <a:pt x="414" y="930"/>
                        </a:lnTo>
                        <a:lnTo>
                          <a:pt x="420" y="936"/>
                        </a:lnTo>
                        <a:lnTo>
                          <a:pt x="420" y="948"/>
                        </a:lnTo>
                        <a:lnTo>
                          <a:pt x="408" y="954"/>
                        </a:lnTo>
                        <a:lnTo>
                          <a:pt x="390" y="954"/>
                        </a:lnTo>
                        <a:lnTo>
                          <a:pt x="390" y="972"/>
                        </a:lnTo>
                        <a:lnTo>
                          <a:pt x="408" y="990"/>
                        </a:lnTo>
                        <a:lnTo>
                          <a:pt x="408" y="996"/>
                        </a:lnTo>
                        <a:lnTo>
                          <a:pt x="402" y="1002"/>
                        </a:lnTo>
                        <a:lnTo>
                          <a:pt x="366" y="1002"/>
                        </a:lnTo>
                        <a:lnTo>
                          <a:pt x="360" y="1008"/>
                        </a:lnTo>
                        <a:lnTo>
                          <a:pt x="360" y="1026"/>
                        </a:lnTo>
                        <a:lnTo>
                          <a:pt x="354" y="1032"/>
                        </a:lnTo>
                        <a:lnTo>
                          <a:pt x="342" y="1032"/>
                        </a:lnTo>
                        <a:lnTo>
                          <a:pt x="336" y="1026"/>
                        </a:lnTo>
                        <a:lnTo>
                          <a:pt x="318" y="1026"/>
                        </a:lnTo>
                        <a:lnTo>
                          <a:pt x="294" y="1050"/>
                        </a:lnTo>
                        <a:lnTo>
                          <a:pt x="282" y="1050"/>
                        </a:lnTo>
                        <a:lnTo>
                          <a:pt x="270" y="1062"/>
                        </a:lnTo>
                        <a:lnTo>
                          <a:pt x="270" y="1068"/>
                        </a:lnTo>
                        <a:lnTo>
                          <a:pt x="276" y="1074"/>
                        </a:lnTo>
                        <a:lnTo>
                          <a:pt x="276" y="1080"/>
                        </a:lnTo>
                        <a:lnTo>
                          <a:pt x="264" y="1092"/>
                        </a:lnTo>
                        <a:lnTo>
                          <a:pt x="252" y="1092"/>
                        </a:lnTo>
                        <a:lnTo>
                          <a:pt x="246" y="1086"/>
                        </a:lnTo>
                        <a:lnTo>
                          <a:pt x="234" y="1080"/>
                        </a:lnTo>
                        <a:lnTo>
                          <a:pt x="234" y="1074"/>
                        </a:lnTo>
                        <a:lnTo>
                          <a:pt x="228" y="1074"/>
                        </a:lnTo>
                        <a:lnTo>
                          <a:pt x="204" y="1086"/>
                        </a:lnTo>
                        <a:lnTo>
                          <a:pt x="198" y="1092"/>
                        </a:lnTo>
                        <a:lnTo>
                          <a:pt x="180" y="1092"/>
                        </a:lnTo>
                        <a:lnTo>
                          <a:pt x="180" y="1110"/>
                        </a:lnTo>
                        <a:lnTo>
                          <a:pt x="186" y="1116"/>
                        </a:lnTo>
                        <a:lnTo>
                          <a:pt x="192" y="1116"/>
                        </a:lnTo>
                        <a:lnTo>
                          <a:pt x="192" y="1128"/>
                        </a:lnTo>
                        <a:lnTo>
                          <a:pt x="186" y="1128"/>
                        </a:lnTo>
                        <a:lnTo>
                          <a:pt x="174" y="1116"/>
                        </a:lnTo>
                        <a:lnTo>
                          <a:pt x="162" y="1116"/>
                        </a:lnTo>
                        <a:lnTo>
                          <a:pt x="156" y="1122"/>
                        </a:lnTo>
                        <a:lnTo>
                          <a:pt x="156" y="1134"/>
                        </a:lnTo>
                        <a:lnTo>
                          <a:pt x="168" y="1134"/>
                        </a:lnTo>
                        <a:lnTo>
                          <a:pt x="174" y="1140"/>
                        </a:lnTo>
                        <a:lnTo>
                          <a:pt x="180" y="1140"/>
                        </a:lnTo>
                        <a:lnTo>
                          <a:pt x="180" y="1152"/>
                        </a:lnTo>
                        <a:lnTo>
                          <a:pt x="138" y="1152"/>
                        </a:lnTo>
                        <a:lnTo>
                          <a:pt x="138" y="1146"/>
                        </a:lnTo>
                        <a:lnTo>
                          <a:pt x="132" y="1146"/>
                        </a:lnTo>
                        <a:lnTo>
                          <a:pt x="126" y="1158"/>
                        </a:lnTo>
                        <a:lnTo>
                          <a:pt x="126" y="1170"/>
                        </a:lnTo>
                        <a:lnTo>
                          <a:pt x="120" y="1164"/>
                        </a:lnTo>
                        <a:lnTo>
                          <a:pt x="102" y="1164"/>
                        </a:lnTo>
                        <a:lnTo>
                          <a:pt x="96" y="1158"/>
                        </a:lnTo>
                        <a:lnTo>
                          <a:pt x="90" y="1158"/>
                        </a:lnTo>
                        <a:lnTo>
                          <a:pt x="90" y="1164"/>
                        </a:lnTo>
                        <a:lnTo>
                          <a:pt x="96" y="1170"/>
                        </a:lnTo>
                        <a:lnTo>
                          <a:pt x="120" y="1182"/>
                        </a:lnTo>
                        <a:lnTo>
                          <a:pt x="132" y="1182"/>
                        </a:lnTo>
                        <a:lnTo>
                          <a:pt x="108" y="1200"/>
                        </a:lnTo>
                        <a:lnTo>
                          <a:pt x="108" y="1188"/>
                        </a:lnTo>
                        <a:lnTo>
                          <a:pt x="90" y="1188"/>
                        </a:lnTo>
                        <a:lnTo>
                          <a:pt x="84" y="1194"/>
                        </a:lnTo>
                        <a:lnTo>
                          <a:pt x="60" y="1182"/>
                        </a:lnTo>
                        <a:lnTo>
                          <a:pt x="54" y="1194"/>
                        </a:lnTo>
                        <a:lnTo>
                          <a:pt x="66" y="1200"/>
                        </a:lnTo>
                        <a:lnTo>
                          <a:pt x="30" y="1194"/>
                        </a:lnTo>
                        <a:lnTo>
                          <a:pt x="30" y="1212"/>
                        </a:lnTo>
                        <a:lnTo>
                          <a:pt x="78" y="1212"/>
                        </a:lnTo>
                        <a:lnTo>
                          <a:pt x="54" y="1218"/>
                        </a:lnTo>
                        <a:lnTo>
                          <a:pt x="18" y="1212"/>
                        </a:lnTo>
                        <a:lnTo>
                          <a:pt x="6" y="1224"/>
                        </a:lnTo>
                        <a:lnTo>
                          <a:pt x="6" y="1230"/>
                        </a:lnTo>
                        <a:lnTo>
                          <a:pt x="18" y="1242"/>
                        </a:lnTo>
                        <a:lnTo>
                          <a:pt x="36" y="1242"/>
                        </a:lnTo>
                        <a:lnTo>
                          <a:pt x="18" y="1248"/>
                        </a:lnTo>
                        <a:lnTo>
                          <a:pt x="12" y="1254"/>
                        </a:lnTo>
                        <a:lnTo>
                          <a:pt x="12" y="1260"/>
                        </a:lnTo>
                        <a:lnTo>
                          <a:pt x="66" y="1260"/>
                        </a:lnTo>
                        <a:lnTo>
                          <a:pt x="78" y="1272"/>
                        </a:lnTo>
                        <a:lnTo>
                          <a:pt x="96" y="1260"/>
                        </a:lnTo>
                        <a:lnTo>
                          <a:pt x="108" y="1272"/>
                        </a:lnTo>
                        <a:lnTo>
                          <a:pt x="138" y="1260"/>
                        </a:lnTo>
                        <a:lnTo>
                          <a:pt x="132" y="1266"/>
                        </a:lnTo>
                        <a:lnTo>
                          <a:pt x="126" y="1278"/>
                        </a:lnTo>
                        <a:lnTo>
                          <a:pt x="60" y="1278"/>
                        </a:lnTo>
                        <a:lnTo>
                          <a:pt x="54" y="1272"/>
                        </a:lnTo>
                        <a:lnTo>
                          <a:pt x="24" y="1272"/>
                        </a:lnTo>
                        <a:lnTo>
                          <a:pt x="12" y="1278"/>
                        </a:lnTo>
                        <a:lnTo>
                          <a:pt x="0" y="1278"/>
                        </a:lnTo>
                        <a:lnTo>
                          <a:pt x="6" y="1284"/>
                        </a:lnTo>
                        <a:lnTo>
                          <a:pt x="6" y="1296"/>
                        </a:lnTo>
                        <a:lnTo>
                          <a:pt x="12" y="1296"/>
                        </a:lnTo>
                        <a:lnTo>
                          <a:pt x="18" y="1302"/>
                        </a:lnTo>
                        <a:lnTo>
                          <a:pt x="30" y="1302"/>
                        </a:lnTo>
                        <a:lnTo>
                          <a:pt x="24" y="1308"/>
                        </a:lnTo>
                        <a:lnTo>
                          <a:pt x="18" y="1320"/>
                        </a:lnTo>
                        <a:lnTo>
                          <a:pt x="36" y="1338"/>
                        </a:lnTo>
                        <a:lnTo>
                          <a:pt x="48" y="1338"/>
                        </a:lnTo>
                        <a:lnTo>
                          <a:pt x="72" y="1320"/>
                        </a:lnTo>
                        <a:lnTo>
                          <a:pt x="102" y="1314"/>
                        </a:lnTo>
                        <a:lnTo>
                          <a:pt x="90" y="1338"/>
                        </a:lnTo>
                        <a:lnTo>
                          <a:pt x="78" y="1332"/>
                        </a:lnTo>
                        <a:lnTo>
                          <a:pt x="66" y="1350"/>
                        </a:lnTo>
                        <a:lnTo>
                          <a:pt x="30" y="1350"/>
                        </a:lnTo>
                        <a:lnTo>
                          <a:pt x="48" y="1368"/>
                        </a:lnTo>
                        <a:lnTo>
                          <a:pt x="24" y="1380"/>
                        </a:lnTo>
                        <a:lnTo>
                          <a:pt x="6" y="1380"/>
                        </a:lnTo>
                        <a:lnTo>
                          <a:pt x="6" y="1398"/>
                        </a:lnTo>
                        <a:lnTo>
                          <a:pt x="66" y="1398"/>
                        </a:lnTo>
                        <a:lnTo>
                          <a:pt x="54" y="1422"/>
                        </a:lnTo>
                        <a:lnTo>
                          <a:pt x="66" y="1422"/>
                        </a:lnTo>
                        <a:lnTo>
                          <a:pt x="54" y="1440"/>
                        </a:lnTo>
                        <a:lnTo>
                          <a:pt x="42" y="1434"/>
                        </a:lnTo>
                        <a:lnTo>
                          <a:pt x="36" y="1434"/>
                        </a:lnTo>
                        <a:lnTo>
                          <a:pt x="30" y="1428"/>
                        </a:lnTo>
                        <a:lnTo>
                          <a:pt x="18" y="1428"/>
                        </a:lnTo>
                        <a:lnTo>
                          <a:pt x="18" y="1440"/>
                        </a:lnTo>
                        <a:lnTo>
                          <a:pt x="24" y="1452"/>
                        </a:lnTo>
                        <a:lnTo>
                          <a:pt x="36" y="1464"/>
                        </a:lnTo>
                        <a:lnTo>
                          <a:pt x="84" y="1482"/>
                        </a:lnTo>
                        <a:lnTo>
                          <a:pt x="78" y="1488"/>
                        </a:lnTo>
                        <a:lnTo>
                          <a:pt x="84" y="1494"/>
                        </a:lnTo>
                        <a:lnTo>
                          <a:pt x="126" y="1494"/>
                        </a:lnTo>
                        <a:lnTo>
                          <a:pt x="132" y="1500"/>
                        </a:lnTo>
                        <a:lnTo>
                          <a:pt x="144" y="1500"/>
                        </a:lnTo>
                        <a:lnTo>
                          <a:pt x="192" y="1476"/>
                        </a:lnTo>
                        <a:lnTo>
                          <a:pt x="204" y="1464"/>
                        </a:lnTo>
                        <a:lnTo>
                          <a:pt x="216" y="1458"/>
                        </a:lnTo>
                        <a:lnTo>
                          <a:pt x="222" y="1452"/>
                        </a:lnTo>
                        <a:lnTo>
                          <a:pt x="258" y="1422"/>
                        </a:lnTo>
                        <a:lnTo>
                          <a:pt x="282" y="1422"/>
                        </a:lnTo>
                        <a:lnTo>
                          <a:pt x="294" y="1416"/>
                        </a:lnTo>
                        <a:lnTo>
                          <a:pt x="300" y="1410"/>
                        </a:lnTo>
                        <a:lnTo>
                          <a:pt x="300" y="1386"/>
                        </a:lnTo>
                        <a:lnTo>
                          <a:pt x="294" y="1380"/>
                        </a:lnTo>
                        <a:lnTo>
                          <a:pt x="294" y="1374"/>
                        </a:lnTo>
                        <a:lnTo>
                          <a:pt x="312" y="1368"/>
                        </a:lnTo>
                        <a:lnTo>
                          <a:pt x="306" y="1374"/>
                        </a:lnTo>
                        <a:lnTo>
                          <a:pt x="306" y="1380"/>
                        </a:lnTo>
                        <a:lnTo>
                          <a:pt x="300" y="1386"/>
                        </a:lnTo>
                        <a:lnTo>
                          <a:pt x="300" y="1392"/>
                        </a:lnTo>
                        <a:lnTo>
                          <a:pt x="312" y="1404"/>
                        </a:lnTo>
                        <a:lnTo>
                          <a:pt x="330" y="1410"/>
                        </a:lnTo>
                        <a:lnTo>
                          <a:pt x="342" y="1410"/>
                        </a:lnTo>
                        <a:lnTo>
                          <a:pt x="348" y="1416"/>
                        </a:lnTo>
                        <a:lnTo>
                          <a:pt x="354" y="1416"/>
                        </a:lnTo>
                        <a:lnTo>
                          <a:pt x="372" y="1434"/>
                        </a:lnTo>
                        <a:lnTo>
                          <a:pt x="378" y="1422"/>
                        </a:lnTo>
                        <a:lnTo>
                          <a:pt x="384" y="1416"/>
                        </a:lnTo>
                        <a:lnTo>
                          <a:pt x="384" y="1398"/>
                        </a:lnTo>
                        <a:lnTo>
                          <a:pt x="372" y="1386"/>
                        </a:lnTo>
                        <a:lnTo>
                          <a:pt x="372" y="1380"/>
                        </a:lnTo>
                        <a:lnTo>
                          <a:pt x="378" y="1374"/>
                        </a:lnTo>
                        <a:lnTo>
                          <a:pt x="384" y="1374"/>
                        </a:lnTo>
                        <a:lnTo>
                          <a:pt x="384" y="1368"/>
                        </a:lnTo>
                        <a:lnTo>
                          <a:pt x="378" y="1356"/>
                        </a:lnTo>
                        <a:lnTo>
                          <a:pt x="414" y="1356"/>
                        </a:lnTo>
                        <a:lnTo>
                          <a:pt x="420" y="1350"/>
                        </a:lnTo>
                        <a:lnTo>
                          <a:pt x="420" y="1326"/>
                        </a:lnTo>
                        <a:lnTo>
                          <a:pt x="426" y="1326"/>
                        </a:lnTo>
                        <a:lnTo>
                          <a:pt x="420" y="1314"/>
                        </a:lnTo>
                        <a:lnTo>
                          <a:pt x="420" y="1308"/>
                        </a:lnTo>
                        <a:lnTo>
                          <a:pt x="414" y="1302"/>
                        </a:lnTo>
                        <a:lnTo>
                          <a:pt x="414" y="1296"/>
                        </a:lnTo>
                        <a:lnTo>
                          <a:pt x="408" y="1284"/>
                        </a:lnTo>
                        <a:lnTo>
                          <a:pt x="402" y="1278"/>
                        </a:lnTo>
                        <a:lnTo>
                          <a:pt x="426" y="1272"/>
                        </a:lnTo>
                        <a:lnTo>
                          <a:pt x="438" y="1260"/>
                        </a:lnTo>
                        <a:lnTo>
                          <a:pt x="438" y="1248"/>
                        </a:lnTo>
                        <a:lnTo>
                          <a:pt x="420" y="1230"/>
                        </a:lnTo>
                        <a:lnTo>
                          <a:pt x="414" y="1230"/>
                        </a:lnTo>
                        <a:lnTo>
                          <a:pt x="402" y="1218"/>
                        </a:lnTo>
                        <a:lnTo>
                          <a:pt x="402" y="1200"/>
                        </a:lnTo>
                        <a:lnTo>
                          <a:pt x="408" y="1188"/>
                        </a:lnTo>
                        <a:lnTo>
                          <a:pt x="408" y="1176"/>
                        </a:lnTo>
                        <a:lnTo>
                          <a:pt x="384" y="1152"/>
                        </a:lnTo>
                        <a:lnTo>
                          <a:pt x="384" y="1140"/>
                        </a:lnTo>
                        <a:lnTo>
                          <a:pt x="390" y="1134"/>
                        </a:lnTo>
                        <a:lnTo>
                          <a:pt x="396" y="1134"/>
                        </a:lnTo>
                        <a:lnTo>
                          <a:pt x="402" y="1128"/>
                        </a:lnTo>
                        <a:lnTo>
                          <a:pt x="402" y="1122"/>
                        </a:lnTo>
                        <a:lnTo>
                          <a:pt x="396" y="1116"/>
                        </a:lnTo>
                        <a:lnTo>
                          <a:pt x="390" y="1116"/>
                        </a:lnTo>
                        <a:lnTo>
                          <a:pt x="384" y="1110"/>
                        </a:lnTo>
                        <a:lnTo>
                          <a:pt x="426" y="1068"/>
                        </a:lnTo>
                        <a:lnTo>
                          <a:pt x="438" y="1062"/>
                        </a:lnTo>
                        <a:lnTo>
                          <a:pt x="444" y="1056"/>
                        </a:lnTo>
                        <a:lnTo>
                          <a:pt x="456" y="1050"/>
                        </a:lnTo>
                        <a:lnTo>
                          <a:pt x="498" y="1050"/>
                        </a:lnTo>
                        <a:lnTo>
                          <a:pt x="504" y="1044"/>
                        </a:lnTo>
                        <a:lnTo>
                          <a:pt x="504" y="1038"/>
                        </a:lnTo>
                        <a:lnTo>
                          <a:pt x="486" y="1020"/>
                        </a:lnTo>
                        <a:lnTo>
                          <a:pt x="474" y="1014"/>
                        </a:lnTo>
                        <a:lnTo>
                          <a:pt x="486" y="1008"/>
                        </a:lnTo>
                        <a:lnTo>
                          <a:pt x="492" y="1008"/>
                        </a:lnTo>
                        <a:lnTo>
                          <a:pt x="522" y="978"/>
                        </a:lnTo>
                        <a:lnTo>
                          <a:pt x="528" y="936"/>
                        </a:lnTo>
                        <a:lnTo>
                          <a:pt x="528" y="900"/>
                        </a:lnTo>
                        <a:lnTo>
                          <a:pt x="546" y="912"/>
                        </a:lnTo>
                        <a:lnTo>
                          <a:pt x="558" y="906"/>
                        </a:lnTo>
                        <a:lnTo>
                          <a:pt x="564" y="906"/>
                        </a:lnTo>
                        <a:lnTo>
                          <a:pt x="570" y="900"/>
                        </a:lnTo>
                        <a:lnTo>
                          <a:pt x="576" y="900"/>
                        </a:lnTo>
                        <a:lnTo>
                          <a:pt x="576" y="894"/>
                        </a:lnTo>
                        <a:lnTo>
                          <a:pt x="570" y="888"/>
                        </a:lnTo>
                        <a:lnTo>
                          <a:pt x="570" y="882"/>
                        </a:lnTo>
                        <a:lnTo>
                          <a:pt x="564" y="876"/>
                        </a:lnTo>
                        <a:lnTo>
                          <a:pt x="582" y="876"/>
                        </a:lnTo>
                        <a:lnTo>
                          <a:pt x="588" y="870"/>
                        </a:lnTo>
                        <a:lnTo>
                          <a:pt x="588" y="864"/>
                        </a:lnTo>
                        <a:lnTo>
                          <a:pt x="594" y="858"/>
                        </a:lnTo>
                        <a:lnTo>
                          <a:pt x="606" y="852"/>
                        </a:lnTo>
                        <a:lnTo>
                          <a:pt x="612" y="852"/>
                        </a:lnTo>
                        <a:lnTo>
                          <a:pt x="618" y="834"/>
                        </a:lnTo>
                        <a:lnTo>
                          <a:pt x="612" y="828"/>
                        </a:lnTo>
                        <a:lnTo>
                          <a:pt x="600" y="822"/>
                        </a:lnTo>
                        <a:lnTo>
                          <a:pt x="600" y="810"/>
                        </a:lnTo>
                        <a:lnTo>
                          <a:pt x="606" y="810"/>
                        </a:lnTo>
                        <a:lnTo>
                          <a:pt x="618" y="804"/>
                        </a:lnTo>
                        <a:lnTo>
                          <a:pt x="636" y="786"/>
                        </a:lnTo>
                        <a:lnTo>
                          <a:pt x="678" y="780"/>
                        </a:lnTo>
                        <a:lnTo>
                          <a:pt x="696" y="780"/>
                        </a:lnTo>
                        <a:lnTo>
                          <a:pt x="702" y="774"/>
                        </a:lnTo>
                        <a:lnTo>
                          <a:pt x="702" y="744"/>
                        </a:lnTo>
                        <a:lnTo>
                          <a:pt x="714" y="732"/>
                        </a:lnTo>
                        <a:lnTo>
                          <a:pt x="720" y="738"/>
                        </a:lnTo>
                        <a:lnTo>
                          <a:pt x="720" y="750"/>
                        </a:lnTo>
                        <a:lnTo>
                          <a:pt x="744" y="744"/>
                        </a:lnTo>
                        <a:lnTo>
                          <a:pt x="768" y="750"/>
                        </a:lnTo>
                        <a:lnTo>
                          <a:pt x="792" y="750"/>
                        </a:lnTo>
                        <a:lnTo>
                          <a:pt x="798" y="756"/>
                        </a:lnTo>
                        <a:lnTo>
                          <a:pt x="810" y="756"/>
                        </a:lnTo>
                        <a:lnTo>
                          <a:pt x="816" y="750"/>
                        </a:lnTo>
                        <a:lnTo>
                          <a:pt x="810" y="750"/>
                        </a:lnTo>
                        <a:lnTo>
                          <a:pt x="798" y="738"/>
                        </a:lnTo>
                        <a:lnTo>
                          <a:pt x="798" y="732"/>
                        </a:lnTo>
                        <a:lnTo>
                          <a:pt x="810" y="732"/>
                        </a:lnTo>
                        <a:lnTo>
                          <a:pt x="810" y="708"/>
                        </a:lnTo>
                        <a:lnTo>
                          <a:pt x="840" y="714"/>
                        </a:lnTo>
                        <a:lnTo>
                          <a:pt x="834" y="708"/>
                        </a:lnTo>
                        <a:lnTo>
                          <a:pt x="840" y="702"/>
                        </a:lnTo>
                        <a:lnTo>
                          <a:pt x="858" y="708"/>
                        </a:lnTo>
                        <a:lnTo>
                          <a:pt x="858" y="696"/>
                        </a:lnTo>
                        <a:lnTo>
                          <a:pt x="864" y="690"/>
                        </a:lnTo>
                        <a:lnTo>
                          <a:pt x="882" y="690"/>
                        </a:lnTo>
                        <a:lnTo>
                          <a:pt x="888" y="696"/>
                        </a:lnTo>
                        <a:lnTo>
                          <a:pt x="894" y="708"/>
                        </a:lnTo>
                        <a:lnTo>
                          <a:pt x="906" y="714"/>
                        </a:lnTo>
                        <a:lnTo>
                          <a:pt x="918" y="726"/>
                        </a:lnTo>
                        <a:lnTo>
                          <a:pt x="930" y="726"/>
                        </a:lnTo>
                        <a:lnTo>
                          <a:pt x="942" y="732"/>
                        </a:lnTo>
                        <a:lnTo>
                          <a:pt x="960" y="732"/>
                        </a:lnTo>
                        <a:lnTo>
                          <a:pt x="966" y="738"/>
                        </a:lnTo>
                        <a:lnTo>
                          <a:pt x="978" y="738"/>
                        </a:lnTo>
                        <a:lnTo>
                          <a:pt x="990" y="732"/>
                        </a:lnTo>
                        <a:lnTo>
                          <a:pt x="996" y="726"/>
                        </a:lnTo>
                        <a:lnTo>
                          <a:pt x="1026" y="726"/>
                        </a:lnTo>
                        <a:lnTo>
                          <a:pt x="1038" y="732"/>
                        </a:lnTo>
                        <a:lnTo>
                          <a:pt x="1044" y="738"/>
                        </a:lnTo>
                        <a:lnTo>
                          <a:pt x="1062" y="738"/>
                        </a:lnTo>
                        <a:lnTo>
                          <a:pt x="1062" y="726"/>
                        </a:lnTo>
                        <a:lnTo>
                          <a:pt x="1068" y="720"/>
                        </a:lnTo>
                        <a:lnTo>
                          <a:pt x="1068" y="714"/>
                        </a:lnTo>
                        <a:lnTo>
                          <a:pt x="1092" y="714"/>
                        </a:lnTo>
                        <a:lnTo>
                          <a:pt x="1092" y="678"/>
                        </a:lnTo>
                        <a:lnTo>
                          <a:pt x="1098" y="672"/>
                        </a:lnTo>
                        <a:lnTo>
                          <a:pt x="1098" y="660"/>
                        </a:lnTo>
                        <a:lnTo>
                          <a:pt x="1110" y="654"/>
                        </a:lnTo>
                        <a:lnTo>
                          <a:pt x="1116" y="654"/>
                        </a:lnTo>
                        <a:lnTo>
                          <a:pt x="1128" y="648"/>
                        </a:lnTo>
                        <a:lnTo>
                          <a:pt x="1158" y="648"/>
                        </a:lnTo>
                        <a:lnTo>
                          <a:pt x="1170" y="642"/>
                        </a:lnTo>
                        <a:lnTo>
                          <a:pt x="1206" y="642"/>
                        </a:lnTo>
                        <a:lnTo>
                          <a:pt x="1206" y="654"/>
                        </a:lnTo>
                        <a:lnTo>
                          <a:pt x="1242" y="660"/>
                        </a:lnTo>
                        <a:lnTo>
                          <a:pt x="1248" y="660"/>
                        </a:lnTo>
                        <a:lnTo>
                          <a:pt x="1260" y="672"/>
                        </a:lnTo>
                        <a:lnTo>
                          <a:pt x="1266" y="684"/>
                        </a:lnTo>
                        <a:lnTo>
                          <a:pt x="1266" y="702"/>
                        </a:lnTo>
                        <a:lnTo>
                          <a:pt x="1260" y="702"/>
                        </a:lnTo>
                        <a:lnTo>
                          <a:pt x="1260" y="696"/>
                        </a:lnTo>
                        <a:lnTo>
                          <a:pt x="1254" y="696"/>
                        </a:lnTo>
                        <a:lnTo>
                          <a:pt x="1254" y="708"/>
                        </a:lnTo>
                        <a:lnTo>
                          <a:pt x="1278" y="708"/>
                        </a:lnTo>
                        <a:lnTo>
                          <a:pt x="1284" y="696"/>
                        </a:lnTo>
                        <a:lnTo>
                          <a:pt x="1284" y="690"/>
                        </a:lnTo>
                        <a:lnTo>
                          <a:pt x="1308" y="684"/>
                        </a:lnTo>
                        <a:lnTo>
                          <a:pt x="1314" y="672"/>
                        </a:lnTo>
                        <a:lnTo>
                          <a:pt x="1350" y="672"/>
                        </a:lnTo>
                        <a:lnTo>
                          <a:pt x="1362" y="660"/>
                        </a:lnTo>
                        <a:lnTo>
                          <a:pt x="1356" y="660"/>
                        </a:lnTo>
                        <a:close/>
                        <a:moveTo>
                          <a:pt x="564" y="726"/>
                        </a:moveTo>
                        <a:lnTo>
                          <a:pt x="540" y="738"/>
                        </a:lnTo>
                        <a:lnTo>
                          <a:pt x="546" y="756"/>
                        </a:lnTo>
                        <a:lnTo>
                          <a:pt x="576" y="756"/>
                        </a:lnTo>
                        <a:lnTo>
                          <a:pt x="570" y="738"/>
                        </a:lnTo>
                        <a:lnTo>
                          <a:pt x="564" y="726"/>
                        </a:lnTo>
                        <a:close/>
                        <a:moveTo>
                          <a:pt x="522" y="714"/>
                        </a:moveTo>
                        <a:lnTo>
                          <a:pt x="516" y="720"/>
                        </a:lnTo>
                        <a:lnTo>
                          <a:pt x="510" y="732"/>
                        </a:lnTo>
                        <a:lnTo>
                          <a:pt x="510" y="750"/>
                        </a:lnTo>
                        <a:lnTo>
                          <a:pt x="528" y="768"/>
                        </a:lnTo>
                        <a:lnTo>
                          <a:pt x="528" y="756"/>
                        </a:lnTo>
                        <a:lnTo>
                          <a:pt x="534" y="744"/>
                        </a:lnTo>
                        <a:lnTo>
                          <a:pt x="534" y="720"/>
                        </a:lnTo>
                        <a:lnTo>
                          <a:pt x="528" y="714"/>
                        </a:lnTo>
                        <a:lnTo>
                          <a:pt x="522" y="714"/>
                        </a:lnTo>
                        <a:close/>
                        <a:moveTo>
                          <a:pt x="606" y="738"/>
                        </a:moveTo>
                        <a:lnTo>
                          <a:pt x="618" y="732"/>
                        </a:lnTo>
                        <a:lnTo>
                          <a:pt x="624" y="732"/>
                        </a:lnTo>
                        <a:lnTo>
                          <a:pt x="630" y="726"/>
                        </a:lnTo>
                        <a:lnTo>
                          <a:pt x="618" y="720"/>
                        </a:lnTo>
                        <a:lnTo>
                          <a:pt x="588" y="720"/>
                        </a:lnTo>
                        <a:lnTo>
                          <a:pt x="576" y="732"/>
                        </a:lnTo>
                        <a:lnTo>
                          <a:pt x="582" y="744"/>
                        </a:lnTo>
                        <a:lnTo>
                          <a:pt x="606" y="738"/>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76" name="Nigeria"/>
                  <p:cNvSpPr>
                    <a:spLocks/>
                  </p:cNvSpPr>
                  <p:nvPr/>
                </p:nvSpPr>
                <p:spPr bwMode="gray">
                  <a:xfrm>
                    <a:off x="2703" y="2024"/>
                    <a:ext cx="214" cy="197"/>
                  </a:xfrm>
                  <a:custGeom>
                    <a:avLst/>
                    <a:gdLst>
                      <a:gd name="T0" fmla="*/ 2147483647 w 840"/>
                      <a:gd name="T1" fmla="*/ 2147483647 h 768"/>
                      <a:gd name="T2" fmla="*/ 2147483647 w 840"/>
                      <a:gd name="T3" fmla="*/ 2147483647 h 768"/>
                      <a:gd name="T4" fmla="*/ 2147483647 w 840"/>
                      <a:gd name="T5" fmla="*/ 2147483647 h 768"/>
                      <a:gd name="T6" fmla="*/ 2147483647 w 840"/>
                      <a:gd name="T7" fmla="*/ 2147483647 h 768"/>
                      <a:gd name="T8" fmla="*/ 2147483647 w 840"/>
                      <a:gd name="T9" fmla="*/ 2147483647 h 768"/>
                      <a:gd name="T10" fmla="*/ 2147483647 w 840"/>
                      <a:gd name="T11" fmla="*/ 2147483647 h 768"/>
                      <a:gd name="T12" fmla="*/ 2147483647 w 840"/>
                      <a:gd name="T13" fmla="*/ 2147483647 h 768"/>
                      <a:gd name="T14" fmla="*/ 2147483647 w 840"/>
                      <a:gd name="T15" fmla="*/ 2147483647 h 768"/>
                      <a:gd name="T16" fmla="*/ 2147483647 w 840"/>
                      <a:gd name="T17" fmla="*/ 2147483647 h 768"/>
                      <a:gd name="T18" fmla="*/ 2147483647 w 840"/>
                      <a:gd name="T19" fmla="*/ 2147483647 h 768"/>
                      <a:gd name="T20" fmla="*/ 2147483647 w 840"/>
                      <a:gd name="T21" fmla="*/ 2147483647 h 768"/>
                      <a:gd name="T22" fmla="*/ 2147483647 w 840"/>
                      <a:gd name="T23" fmla="*/ 2147483647 h 768"/>
                      <a:gd name="T24" fmla="*/ 2147483647 w 840"/>
                      <a:gd name="T25" fmla="*/ 2147483647 h 768"/>
                      <a:gd name="T26" fmla="*/ 2147483647 w 840"/>
                      <a:gd name="T27" fmla="*/ 2147483647 h 768"/>
                      <a:gd name="T28" fmla="*/ 2147483647 w 840"/>
                      <a:gd name="T29" fmla="*/ 2147483647 h 768"/>
                      <a:gd name="T30" fmla="*/ 2147483647 w 840"/>
                      <a:gd name="T31" fmla="*/ 2147483647 h 768"/>
                      <a:gd name="T32" fmla="*/ 2147483647 w 840"/>
                      <a:gd name="T33" fmla="*/ 2147483647 h 768"/>
                      <a:gd name="T34" fmla="*/ 2147483647 w 840"/>
                      <a:gd name="T35" fmla="*/ 2147483647 h 768"/>
                      <a:gd name="T36" fmla="*/ 2147483647 w 840"/>
                      <a:gd name="T37" fmla="*/ 2147483647 h 768"/>
                      <a:gd name="T38" fmla="*/ 2147483647 w 840"/>
                      <a:gd name="T39" fmla="*/ 2147483647 h 768"/>
                      <a:gd name="T40" fmla="*/ 2147483647 w 840"/>
                      <a:gd name="T41" fmla="*/ 2147483647 h 768"/>
                      <a:gd name="T42" fmla="*/ 2147483647 w 840"/>
                      <a:gd name="T43" fmla="*/ 2147483647 h 768"/>
                      <a:gd name="T44" fmla="*/ 2147483647 w 840"/>
                      <a:gd name="T45" fmla="*/ 2147483647 h 768"/>
                      <a:gd name="T46" fmla="*/ 2147483647 w 840"/>
                      <a:gd name="T47" fmla="*/ 2147483647 h 768"/>
                      <a:gd name="T48" fmla="*/ 2147483647 w 840"/>
                      <a:gd name="T49" fmla="*/ 2147483647 h 768"/>
                      <a:gd name="T50" fmla="*/ 2147483647 w 840"/>
                      <a:gd name="T51" fmla="*/ 2147483647 h 768"/>
                      <a:gd name="T52" fmla="*/ 2147483647 w 840"/>
                      <a:gd name="T53" fmla="*/ 2147483647 h 768"/>
                      <a:gd name="T54" fmla="*/ 2147483647 w 840"/>
                      <a:gd name="T55" fmla="*/ 2147483647 h 768"/>
                      <a:gd name="T56" fmla="*/ 2147483647 w 840"/>
                      <a:gd name="T57" fmla="*/ 2147483647 h 768"/>
                      <a:gd name="T58" fmla="*/ 2147483647 w 840"/>
                      <a:gd name="T59" fmla="*/ 2147483647 h 768"/>
                      <a:gd name="T60" fmla="*/ 2147483647 w 840"/>
                      <a:gd name="T61" fmla="*/ 2147483647 h 768"/>
                      <a:gd name="T62" fmla="*/ 2147483647 w 840"/>
                      <a:gd name="T63" fmla="*/ 2147483647 h 768"/>
                      <a:gd name="T64" fmla="*/ 2147483647 w 840"/>
                      <a:gd name="T65" fmla="*/ 2147483647 h 768"/>
                      <a:gd name="T66" fmla="*/ 2147483647 w 840"/>
                      <a:gd name="T67" fmla="*/ 2147483647 h 768"/>
                      <a:gd name="T68" fmla="*/ 2147483647 w 840"/>
                      <a:gd name="T69" fmla="*/ 2147483647 h 768"/>
                      <a:gd name="T70" fmla="*/ 2147483647 w 840"/>
                      <a:gd name="T71" fmla="*/ 2147483647 h 768"/>
                      <a:gd name="T72" fmla="*/ 2147483647 w 840"/>
                      <a:gd name="T73" fmla="*/ 2147483647 h 768"/>
                      <a:gd name="T74" fmla="*/ 2147483647 w 840"/>
                      <a:gd name="T75" fmla="*/ 2147483647 h 768"/>
                      <a:gd name="T76" fmla="*/ 2147483647 w 840"/>
                      <a:gd name="T77" fmla="*/ 2147483647 h 768"/>
                      <a:gd name="T78" fmla="*/ 2147483647 w 840"/>
                      <a:gd name="T79" fmla="*/ 2147483647 h 768"/>
                      <a:gd name="T80" fmla="*/ 2147483647 w 840"/>
                      <a:gd name="T81" fmla="*/ 2147483647 h 768"/>
                      <a:gd name="T82" fmla="*/ 2147483647 w 840"/>
                      <a:gd name="T83" fmla="*/ 2147483647 h 768"/>
                      <a:gd name="T84" fmla="*/ 2147483647 w 840"/>
                      <a:gd name="T85" fmla="*/ 2147483647 h 768"/>
                      <a:gd name="T86" fmla="*/ 2147483647 w 840"/>
                      <a:gd name="T87" fmla="*/ 2147483647 h 768"/>
                      <a:gd name="T88" fmla="*/ 2147483647 w 840"/>
                      <a:gd name="T89" fmla="*/ 2147483647 h 768"/>
                      <a:gd name="T90" fmla="*/ 2147483647 w 840"/>
                      <a:gd name="T91" fmla="*/ 2147483647 h 768"/>
                      <a:gd name="T92" fmla="*/ 2147483647 w 840"/>
                      <a:gd name="T93" fmla="*/ 2147483647 h 768"/>
                      <a:gd name="T94" fmla="*/ 2147483647 w 840"/>
                      <a:gd name="T95" fmla="*/ 2147483647 h 768"/>
                      <a:gd name="T96" fmla="*/ 2147483647 w 840"/>
                      <a:gd name="T97" fmla="*/ 2147483647 h 768"/>
                      <a:gd name="T98" fmla="*/ 2147483647 w 840"/>
                      <a:gd name="T99" fmla="*/ 2147483647 h 768"/>
                      <a:gd name="T100" fmla="*/ 2147483647 w 840"/>
                      <a:gd name="T101" fmla="*/ 2147483647 h 768"/>
                      <a:gd name="T102" fmla="*/ 2147483647 w 840"/>
                      <a:gd name="T103" fmla="*/ 2147483647 h 768"/>
                      <a:gd name="T104" fmla="*/ 2147483647 w 840"/>
                      <a:gd name="T105" fmla="*/ 2147483647 h 768"/>
                      <a:gd name="T106" fmla="*/ 2147483647 w 840"/>
                      <a:gd name="T107" fmla="*/ 2147483647 h 768"/>
                      <a:gd name="T108" fmla="*/ 2147483647 w 840"/>
                      <a:gd name="T109" fmla="*/ 2147483647 h 768"/>
                      <a:gd name="T110" fmla="*/ 2147483647 w 840"/>
                      <a:gd name="T111" fmla="*/ 2147483647 h 768"/>
                      <a:gd name="T112" fmla="*/ 2147483647 w 840"/>
                      <a:gd name="T113" fmla="*/ 2147483647 h 768"/>
                      <a:gd name="T114" fmla="*/ 2147483647 w 840"/>
                      <a:gd name="T115" fmla="*/ 2147483647 h 768"/>
                      <a:gd name="T116" fmla="*/ 2147483647 w 840"/>
                      <a:gd name="T117" fmla="*/ 2147483647 h 768"/>
                      <a:gd name="T118" fmla="*/ 2147483647 w 840"/>
                      <a:gd name="T119" fmla="*/ 2147483647 h 76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40"/>
                      <a:gd name="T181" fmla="*/ 0 h 768"/>
                      <a:gd name="T182" fmla="*/ 840 w 840"/>
                      <a:gd name="T183" fmla="*/ 768 h 76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40" h="768">
                        <a:moveTo>
                          <a:pt x="420" y="738"/>
                        </a:moveTo>
                        <a:lnTo>
                          <a:pt x="420" y="732"/>
                        </a:lnTo>
                        <a:lnTo>
                          <a:pt x="426" y="726"/>
                        </a:lnTo>
                        <a:lnTo>
                          <a:pt x="426" y="714"/>
                        </a:lnTo>
                        <a:lnTo>
                          <a:pt x="432" y="702"/>
                        </a:lnTo>
                        <a:lnTo>
                          <a:pt x="432" y="648"/>
                        </a:lnTo>
                        <a:lnTo>
                          <a:pt x="498" y="594"/>
                        </a:lnTo>
                        <a:lnTo>
                          <a:pt x="498" y="588"/>
                        </a:lnTo>
                        <a:lnTo>
                          <a:pt x="504" y="582"/>
                        </a:lnTo>
                        <a:lnTo>
                          <a:pt x="516" y="558"/>
                        </a:lnTo>
                        <a:lnTo>
                          <a:pt x="522" y="552"/>
                        </a:lnTo>
                        <a:lnTo>
                          <a:pt x="528" y="552"/>
                        </a:lnTo>
                        <a:lnTo>
                          <a:pt x="534" y="558"/>
                        </a:lnTo>
                        <a:lnTo>
                          <a:pt x="546" y="564"/>
                        </a:lnTo>
                        <a:lnTo>
                          <a:pt x="552" y="564"/>
                        </a:lnTo>
                        <a:lnTo>
                          <a:pt x="558" y="558"/>
                        </a:lnTo>
                        <a:lnTo>
                          <a:pt x="558" y="546"/>
                        </a:lnTo>
                        <a:lnTo>
                          <a:pt x="552" y="540"/>
                        </a:lnTo>
                        <a:lnTo>
                          <a:pt x="564" y="540"/>
                        </a:lnTo>
                        <a:lnTo>
                          <a:pt x="570" y="552"/>
                        </a:lnTo>
                        <a:lnTo>
                          <a:pt x="582" y="564"/>
                        </a:lnTo>
                        <a:lnTo>
                          <a:pt x="588" y="576"/>
                        </a:lnTo>
                        <a:lnTo>
                          <a:pt x="588" y="582"/>
                        </a:lnTo>
                        <a:lnTo>
                          <a:pt x="594" y="594"/>
                        </a:lnTo>
                        <a:lnTo>
                          <a:pt x="600" y="600"/>
                        </a:lnTo>
                        <a:lnTo>
                          <a:pt x="606" y="600"/>
                        </a:lnTo>
                        <a:lnTo>
                          <a:pt x="624" y="582"/>
                        </a:lnTo>
                        <a:lnTo>
                          <a:pt x="624" y="570"/>
                        </a:lnTo>
                        <a:lnTo>
                          <a:pt x="630" y="558"/>
                        </a:lnTo>
                        <a:lnTo>
                          <a:pt x="642" y="552"/>
                        </a:lnTo>
                        <a:lnTo>
                          <a:pt x="648" y="546"/>
                        </a:lnTo>
                        <a:lnTo>
                          <a:pt x="648" y="516"/>
                        </a:lnTo>
                        <a:lnTo>
                          <a:pt x="672" y="486"/>
                        </a:lnTo>
                        <a:lnTo>
                          <a:pt x="684" y="438"/>
                        </a:lnTo>
                        <a:lnTo>
                          <a:pt x="696" y="432"/>
                        </a:lnTo>
                        <a:lnTo>
                          <a:pt x="702" y="426"/>
                        </a:lnTo>
                        <a:lnTo>
                          <a:pt x="714" y="420"/>
                        </a:lnTo>
                        <a:lnTo>
                          <a:pt x="720" y="414"/>
                        </a:lnTo>
                        <a:lnTo>
                          <a:pt x="720" y="402"/>
                        </a:lnTo>
                        <a:lnTo>
                          <a:pt x="726" y="384"/>
                        </a:lnTo>
                        <a:lnTo>
                          <a:pt x="726" y="354"/>
                        </a:lnTo>
                        <a:lnTo>
                          <a:pt x="744" y="354"/>
                        </a:lnTo>
                        <a:lnTo>
                          <a:pt x="750" y="348"/>
                        </a:lnTo>
                        <a:lnTo>
                          <a:pt x="756" y="330"/>
                        </a:lnTo>
                        <a:lnTo>
                          <a:pt x="756" y="300"/>
                        </a:lnTo>
                        <a:lnTo>
                          <a:pt x="762" y="294"/>
                        </a:lnTo>
                        <a:lnTo>
                          <a:pt x="768" y="264"/>
                        </a:lnTo>
                        <a:lnTo>
                          <a:pt x="774" y="252"/>
                        </a:lnTo>
                        <a:lnTo>
                          <a:pt x="786" y="240"/>
                        </a:lnTo>
                        <a:lnTo>
                          <a:pt x="786" y="234"/>
                        </a:lnTo>
                        <a:lnTo>
                          <a:pt x="792" y="228"/>
                        </a:lnTo>
                        <a:lnTo>
                          <a:pt x="792" y="222"/>
                        </a:lnTo>
                        <a:lnTo>
                          <a:pt x="798" y="216"/>
                        </a:lnTo>
                        <a:lnTo>
                          <a:pt x="798" y="210"/>
                        </a:lnTo>
                        <a:lnTo>
                          <a:pt x="810" y="210"/>
                        </a:lnTo>
                        <a:lnTo>
                          <a:pt x="822" y="204"/>
                        </a:lnTo>
                        <a:lnTo>
                          <a:pt x="840" y="186"/>
                        </a:lnTo>
                        <a:lnTo>
                          <a:pt x="840" y="174"/>
                        </a:lnTo>
                        <a:lnTo>
                          <a:pt x="834" y="168"/>
                        </a:lnTo>
                        <a:lnTo>
                          <a:pt x="834" y="162"/>
                        </a:lnTo>
                        <a:lnTo>
                          <a:pt x="840" y="156"/>
                        </a:lnTo>
                        <a:lnTo>
                          <a:pt x="840" y="126"/>
                        </a:lnTo>
                        <a:lnTo>
                          <a:pt x="810" y="126"/>
                        </a:lnTo>
                        <a:lnTo>
                          <a:pt x="810" y="120"/>
                        </a:lnTo>
                        <a:lnTo>
                          <a:pt x="804" y="108"/>
                        </a:lnTo>
                        <a:lnTo>
                          <a:pt x="804" y="60"/>
                        </a:lnTo>
                        <a:lnTo>
                          <a:pt x="774" y="12"/>
                        </a:lnTo>
                        <a:lnTo>
                          <a:pt x="756" y="12"/>
                        </a:lnTo>
                        <a:lnTo>
                          <a:pt x="750" y="18"/>
                        </a:lnTo>
                        <a:lnTo>
                          <a:pt x="750" y="24"/>
                        </a:lnTo>
                        <a:lnTo>
                          <a:pt x="744" y="30"/>
                        </a:lnTo>
                        <a:lnTo>
                          <a:pt x="744" y="36"/>
                        </a:lnTo>
                        <a:lnTo>
                          <a:pt x="720" y="36"/>
                        </a:lnTo>
                        <a:lnTo>
                          <a:pt x="714" y="42"/>
                        </a:lnTo>
                        <a:lnTo>
                          <a:pt x="702" y="48"/>
                        </a:lnTo>
                        <a:lnTo>
                          <a:pt x="696" y="54"/>
                        </a:lnTo>
                        <a:lnTo>
                          <a:pt x="684" y="60"/>
                        </a:lnTo>
                        <a:lnTo>
                          <a:pt x="654" y="60"/>
                        </a:lnTo>
                        <a:lnTo>
                          <a:pt x="648" y="54"/>
                        </a:lnTo>
                        <a:lnTo>
                          <a:pt x="636" y="48"/>
                        </a:lnTo>
                        <a:lnTo>
                          <a:pt x="600" y="36"/>
                        </a:lnTo>
                        <a:lnTo>
                          <a:pt x="546" y="36"/>
                        </a:lnTo>
                        <a:lnTo>
                          <a:pt x="528" y="42"/>
                        </a:lnTo>
                        <a:lnTo>
                          <a:pt x="516" y="54"/>
                        </a:lnTo>
                        <a:lnTo>
                          <a:pt x="504" y="60"/>
                        </a:lnTo>
                        <a:lnTo>
                          <a:pt x="492" y="84"/>
                        </a:lnTo>
                        <a:lnTo>
                          <a:pt x="486" y="90"/>
                        </a:lnTo>
                        <a:lnTo>
                          <a:pt x="480" y="90"/>
                        </a:lnTo>
                        <a:lnTo>
                          <a:pt x="468" y="84"/>
                        </a:lnTo>
                        <a:lnTo>
                          <a:pt x="438" y="84"/>
                        </a:lnTo>
                        <a:lnTo>
                          <a:pt x="414" y="72"/>
                        </a:lnTo>
                        <a:lnTo>
                          <a:pt x="402" y="60"/>
                        </a:lnTo>
                        <a:lnTo>
                          <a:pt x="390" y="54"/>
                        </a:lnTo>
                        <a:lnTo>
                          <a:pt x="384" y="48"/>
                        </a:lnTo>
                        <a:lnTo>
                          <a:pt x="372" y="42"/>
                        </a:lnTo>
                        <a:lnTo>
                          <a:pt x="360" y="42"/>
                        </a:lnTo>
                        <a:lnTo>
                          <a:pt x="336" y="54"/>
                        </a:lnTo>
                        <a:lnTo>
                          <a:pt x="324" y="66"/>
                        </a:lnTo>
                        <a:lnTo>
                          <a:pt x="312" y="72"/>
                        </a:lnTo>
                        <a:lnTo>
                          <a:pt x="306" y="72"/>
                        </a:lnTo>
                        <a:lnTo>
                          <a:pt x="294" y="66"/>
                        </a:lnTo>
                        <a:lnTo>
                          <a:pt x="288" y="60"/>
                        </a:lnTo>
                        <a:lnTo>
                          <a:pt x="288" y="54"/>
                        </a:lnTo>
                        <a:lnTo>
                          <a:pt x="282" y="48"/>
                        </a:lnTo>
                        <a:lnTo>
                          <a:pt x="282" y="42"/>
                        </a:lnTo>
                        <a:lnTo>
                          <a:pt x="258" y="18"/>
                        </a:lnTo>
                        <a:lnTo>
                          <a:pt x="222" y="18"/>
                        </a:lnTo>
                        <a:lnTo>
                          <a:pt x="222" y="12"/>
                        </a:lnTo>
                        <a:lnTo>
                          <a:pt x="210" y="0"/>
                        </a:lnTo>
                        <a:lnTo>
                          <a:pt x="198" y="0"/>
                        </a:lnTo>
                        <a:lnTo>
                          <a:pt x="186" y="6"/>
                        </a:lnTo>
                        <a:lnTo>
                          <a:pt x="180" y="6"/>
                        </a:lnTo>
                        <a:lnTo>
                          <a:pt x="180" y="12"/>
                        </a:lnTo>
                        <a:lnTo>
                          <a:pt x="126" y="12"/>
                        </a:lnTo>
                        <a:lnTo>
                          <a:pt x="102" y="36"/>
                        </a:lnTo>
                        <a:lnTo>
                          <a:pt x="102" y="60"/>
                        </a:lnTo>
                        <a:lnTo>
                          <a:pt x="96" y="78"/>
                        </a:lnTo>
                        <a:lnTo>
                          <a:pt x="90" y="90"/>
                        </a:lnTo>
                        <a:lnTo>
                          <a:pt x="84" y="96"/>
                        </a:lnTo>
                        <a:lnTo>
                          <a:pt x="78" y="108"/>
                        </a:lnTo>
                        <a:lnTo>
                          <a:pt x="72" y="114"/>
                        </a:lnTo>
                        <a:lnTo>
                          <a:pt x="66" y="114"/>
                        </a:lnTo>
                        <a:lnTo>
                          <a:pt x="66" y="168"/>
                        </a:lnTo>
                        <a:lnTo>
                          <a:pt x="60" y="180"/>
                        </a:lnTo>
                        <a:lnTo>
                          <a:pt x="60" y="186"/>
                        </a:lnTo>
                        <a:lnTo>
                          <a:pt x="54" y="192"/>
                        </a:lnTo>
                        <a:lnTo>
                          <a:pt x="66" y="216"/>
                        </a:lnTo>
                        <a:lnTo>
                          <a:pt x="72" y="222"/>
                        </a:lnTo>
                        <a:lnTo>
                          <a:pt x="78" y="234"/>
                        </a:lnTo>
                        <a:lnTo>
                          <a:pt x="78" y="246"/>
                        </a:lnTo>
                        <a:lnTo>
                          <a:pt x="84" y="252"/>
                        </a:lnTo>
                        <a:lnTo>
                          <a:pt x="84" y="264"/>
                        </a:lnTo>
                        <a:lnTo>
                          <a:pt x="78" y="270"/>
                        </a:lnTo>
                        <a:lnTo>
                          <a:pt x="72" y="270"/>
                        </a:lnTo>
                        <a:lnTo>
                          <a:pt x="60" y="276"/>
                        </a:lnTo>
                        <a:lnTo>
                          <a:pt x="60" y="318"/>
                        </a:lnTo>
                        <a:lnTo>
                          <a:pt x="48" y="324"/>
                        </a:lnTo>
                        <a:lnTo>
                          <a:pt x="42" y="336"/>
                        </a:lnTo>
                        <a:lnTo>
                          <a:pt x="36" y="342"/>
                        </a:lnTo>
                        <a:lnTo>
                          <a:pt x="36" y="372"/>
                        </a:lnTo>
                        <a:lnTo>
                          <a:pt x="24" y="396"/>
                        </a:lnTo>
                        <a:lnTo>
                          <a:pt x="6" y="396"/>
                        </a:lnTo>
                        <a:lnTo>
                          <a:pt x="0" y="426"/>
                        </a:lnTo>
                        <a:lnTo>
                          <a:pt x="6" y="462"/>
                        </a:lnTo>
                        <a:lnTo>
                          <a:pt x="0" y="492"/>
                        </a:lnTo>
                        <a:lnTo>
                          <a:pt x="0" y="606"/>
                        </a:lnTo>
                        <a:lnTo>
                          <a:pt x="6" y="612"/>
                        </a:lnTo>
                        <a:lnTo>
                          <a:pt x="30" y="612"/>
                        </a:lnTo>
                        <a:lnTo>
                          <a:pt x="54" y="600"/>
                        </a:lnTo>
                        <a:lnTo>
                          <a:pt x="60" y="594"/>
                        </a:lnTo>
                        <a:lnTo>
                          <a:pt x="66" y="600"/>
                        </a:lnTo>
                        <a:lnTo>
                          <a:pt x="108" y="600"/>
                        </a:lnTo>
                        <a:lnTo>
                          <a:pt x="126" y="606"/>
                        </a:lnTo>
                        <a:lnTo>
                          <a:pt x="138" y="618"/>
                        </a:lnTo>
                        <a:lnTo>
                          <a:pt x="150" y="636"/>
                        </a:lnTo>
                        <a:lnTo>
                          <a:pt x="156" y="648"/>
                        </a:lnTo>
                        <a:lnTo>
                          <a:pt x="168" y="660"/>
                        </a:lnTo>
                        <a:lnTo>
                          <a:pt x="186" y="660"/>
                        </a:lnTo>
                        <a:lnTo>
                          <a:pt x="180" y="666"/>
                        </a:lnTo>
                        <a:lnTo>
                          <a:pt x="180" y="678"/>
                        </a:lnTo>
                        <a:lnTo>
                          <a:pt x="174" y="684"/>
                        </a:lnTo>
                        <a:lnTo>
                          <a:pt x="186" y="684"/>
                        </a:lnTo>
                        <a:lnTo>
                          <a:pt x="198" y="678"/>
                        </a:lnTo>
                        <a:lnTo>
                          <a:pt x="198" y="684"/>
                        </a:lnTo>
                        <a:lnTo>
                          <a:pt x="192" y="690"/>
                        </a:lnTo>
                        <a:lnTo>
                          <a:pt x="186" y="702"/>
                        </a:lnTo>
                        <a:lnTo>
                          <a:pt x="186" y="714"/>
                        </a:lnTo>
                        <a:lnTo>
                          <a:pt x="204" y="750"/>
                        </a:lnTo>
                        <a:lnTo>
                          <a:pt x="216" y="762"/>
                        </a:lnTo>
                        <a:lnTo>
                          <a:pt x="234" y="768"/>
                        </a:lnTo>
                        <a:lnTo>
                          <a:pt x="270" y="768"/>
                        </a:lnTo>
                        <a:lnTo>
                          <a:pt x="276" y="762"/>
                        </a:lnTo>
                        <a:lnTo>
                          <a:pt x="282" y="762"/>
                        </a:lnTo>
                        <a:lnTo>
                          <a:pt x="288" y="738"/>
                        </a:lnTo>
                        <a:lnTo>
                          <a:pt x="312" y="750"/>
                        </a:lnTo>
                        <a:lnTo>
                          <a:pt x="336" y="744"/>
                        </a:lnTo>
                        <a:lnTo>
                          <a:pt x="354" y="756"/>
                        </a:lnTo>
                        <a:lnTo>
                          <a:pt x="396" y="756"/>
                        </a:lnTo>
                        <a:lnTo>
                          <a:pt x="396" y="732"/>
                        </a:lnTo>
                        <a:lnTo>
                          <a:pt x="420" y="732"/>
                        </a:lnTo>
                        <a:lnTo>
                          <a:pt x="420" y="73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77" name="Niger"/>
                  <p:cNvSpPr>
                    <a:spLocks/>
                  </p:cNvSpPr>
                  <p:nvPr/>
                </p:nvSpPr>
                <p:spPr bwMode="gray">
                  <a:xfrm>
                    <a:off x="2658" y="1826"/>
                    <a:ext cx="284" cy="241"/>
                  </a:xfrm>
                  <a:custGeom>
                    <a:avLst/>
                    <a:gdLst>
                      <a:gd name="T0" fmla="*/ 2147483647 w 1110"/>
                      <a:gd name="T1" fmla="*/ 2147483647 h 942"/>
                      <a:gd name="T2" fmla="*/ 2147483647 w 1110"/>
                      <a:gd name="T3" fmla="*/ 2147483647 h 942"/>
                      <a:gd name="T4" fmla="*/ 2147483647 w 1110"/>
                      <a:gd name="T5" fmla="*/ 2147483647 h 942"/>
                      <a:gd name="T6" fmla="*/ 2147483647 w 1110"/>
                      <a:gd name="T7" fmla="*/ 2147483647 h 942"/>
                      <a:gd name="T8" fmla="*/ 2147483647 w 1110"/>
                      <a:gd name="T9" fmla="*/ 2147483647 h 942"/>
                      <a:gd name="T10" fmla="*/ 2147483647 w 1110"/>
                      <a:gd name="T11" fmla="*/ 2147483647 h 942"/>
                      <a:gd name="T12" fmla="*/ 2147483647 w 1110"/>
                      <a:gd name="T13" fmla="*/ 2147483647 h 942"/>
                      <a:gd name="T14" fmla="*/ 2147483647 w 1110"/>
                      <a:gd name="T15" fmla="*/ 2147483647 h 942"/>
                      <a:gd name="T16" fmla="*/ 2147483647 w 1110"/>
                      <a:gd name="T17" fmla="*/ 2147483647 h 942"/>
                      <a:gd name="T18" fmla="*/ 2147483647 w 1110"/>
                      <a:gd name="T19" fmla="*/ 2147483647 h 942"/>
                      <a:gd name="T20" fmla="*/ 2147483647 w 1110"/>
                      <a:gd name="T21" fmla="*/ 2147483647 h 942"/>
                      <a:gd name="T22" fmla="*/ 2147483647 w 1110"/>
                      <a:gd name="T23" fmla="*/ 2147483647 h 942"/>
                      <a:gd name="T24" fmla="*/ 2147483647 w 1110"/>
                      <a:gd name="T25" fmla="*/ 2147483647 h 942"/>
                      <a:gd name="T26" fmla="*/ 2147483647 w 1110"/>
                      <a:gd name="T27" fmla="*/ 2147483647 h 942"/>
                      <a:gd name="T28" fmla="*/ 2147483647 w 1110"/>
                      <a:gd name="T29" fmla="*/ 2147483647 h 942"/>
                      <a:gd name="T30" fmla="*/ 2147483647 w 1110"/>
                      <a:gd name="T31" fmla="*/ 2147483647 h 942"/>
                      <a:gd name="T32" fmla="*/ 2147483647 w 1110"/>
                      <a:gd name="T33" fmla="*/ 2147483647 h 942"/>
                      <a:gd name="T34" fmla="*/ 2147483647 w 1110"/>
                      <a:gd name="T35" fmla="*/ 2147483647 h 942"/>
                      <a:gd name="T36" fmla="*/ 2147483647 w 1110"/>
                      <a:gd name="T37" fmla="*/ 2147483647 h 942"/>
                      <a:gd name="T38" fmla="*/ 2147483647 w 1110"/>
                      <a:gd name="T39" fmla="*/ 2147483647 h 942"/>
                      <a:gd name="T40" fmla="*/ 2147483647 w 1110"/>
                      <a:gd name="T41" fmla="*/ 2147483647 h 942"/>
                      <a:gd name="T42" fmla="*/ 2147483647 w 1110"/>
                      <a:gd name="T43" fmla="*/ 2147483647 h 942"/>
                      <a:gd name="T44" fmla="*/ 2147483647 w 1110"/>
                      <a:gd name="T45" fmla="*/ 2147483647 h 942"/>
                      <a:gd name="T46" fmla="*/ 2147483647 w 1110"/>
                      <a:gd name="T47" fmla="*/ 2147483647 h 942"/>
                      <a:gd name="T48" fmla="*/ 2147483647 w 1110"/>
                      <a:gd name="T49" fmla="*/ 2147483647 h 942"/>
                      <a:gd name="T50" fmla="*/ 2147483647 w 1110"/>
                      <a:gd name="T51" fmla="*/ 2147483647 h 942"/>
                      <a:gd name="T52" fmla="*/ 2147483647 w 1110"/>
                      <a:gd name="T53" fmla="*/ 2147483647 h 942"/>
                      <a:gd name="T54" fmla="*/ 2147483647 w 1110"/>
                      <a:gd name="T55" fmla="*/ 2147483647 h 942"/>
                      <a:gd name="T56" fmla="*/ 2147483647 w 1110"/>
                      <a:gd name="T57" fmla="*/ 2147483647 h 942"/>
                      <a:gd name="T58" fmla="*/ 2147483647 w 1110"/>
                      <a:gd name="T59" fmla="*/ 2147483647 h 942"/>
                      <a:gd name="T60" fmla="*/ 2147483647 w 1110"/>
                      <a:gd name="T61" fmla="*/ 2147483647 h 942"/>
                      <a:gd name="T62" fmla="*/ 2147483647 w 1110"/>
                      <a:gd name="T63" fmla="*/ 2147483647 h 942"/>
                      <a:gd name="T64" fmla="*/ 2147483647 w 1110"/>
                      <a:gd name="T65" fmla="*/ 2147483647 h 942"/>
                      <a:gd name="T66" fmla="*/ 2147483647 w 1110"/>
                      <a:gd name="T67" fmla="*/ 2147483647 h 942"/>
                      <a:gd name="T68" fmla="*/ 2147483647 w 1110"/>
                      <a:gd name="T69" fmla="*/ 2147483647 h 942"/>
                      <a:gd name="T70" fmla="*/ 2147483647 w 1110"/>
                      <a:gd name="T71" fmla="*/ 2147483647 h 942"/>
                      <a:gd name="T72" fmla="*/ 2147483647 w 1110"/>
                      <a:gd name="T73" fmla="*/ 2147483647 h 942"/>
                      <a:gd name="T74" fmla="*/ 2147483647 w 1110"/>
                      <a:gd name="T75" fmla="*/ 2147483647 h 942"/>
                      <a:gd name="T76" fmla="*/ 2147483647 w 1110"/>
                      <a:gd name="T77" fmla="*/ 2147483647 h 942"/>
                      <a:gd name="T78" fmla="*/ 2147483647 w 1110"/>
                      <a:gd name="T79" fmla="*/ 2147483647 h 942"/>
                      <a:gd name="T80" fmla="*/ 2147483647 w 1110"/>
                      <a:gd name="T81" fmla="*/ 2147483647 h 942"/>
                      <a:gd name="T82" fmla="*/ 2147483647 w 1110"/>
                      <a:gd name="T83" fmla="*/ 2147483647 h 942"/>
                      <a:gd name="T84" fmla="*/ 2147483647 w 1110"/>
                      <a:gd name="T85" fmla="*/ 2147483647 h 942"/>
                      <a:gd name="T86" fmla="*/ 2147483647 w 1110"/>
                      <a:gd name="T87" fmla="*/ 2147483647 h 942"/>
                      <a:gd name="T88" fmla="*/ 2147483647 w 1110"/>
                      <a:gd name="T89" fmla="*/ 2147483647 h 942"/>
                      <a:gd name="T90" fmla="*/ 2147483647 w 1110"/>
                      <a:gd name="T91" fmla="*/ 2147483647 h 942"/>
                      <a:gd name="T92" fmla="*/ 2147483647 w 1110"/>
                      <a:gd name="T93" fmla="*/ 2147483647 h 942"/>
                      <a:gd name="T94" fmla="*/ 2147483647 w 1110"/>
                      <a:gd name="T95" fmla="*/ 2147483647 h 942"/>
                      <a:gd name="T96" fmla="*/ 2147483647 w 1110"/>
                      <a:gd name="T97" fmla="*/ 2147483647 h 942"/>
                      <a:gd name="T98" fmla="*/ 0 w 1110"/>
                      <a:gd name="T99" fmla="*/ 2147483647 h 942"/>
                      <a:gd name="T100" fmla="*/ 2147483647 w 1110"/>
                      <a:gd name="T101" fmla="*/ 2147483647 h 94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110"/>
                      <a:gd name="T154" fmla="*/ 0 h 942"/>
                      <a:gd name="T155" fmla="*/ 1110 w 1110"/>
                      <a:gd name="T156" fmla="*/ 942 h 94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110" h="942">
                        <a:moveTo>
                          <a:pt x="54" y="792"/>
                        </a:moveTo>
                        <a:lnTo>
                          <a:pt x="54" y="810"/>
                        </a:lnTo>
                        <a:lnTo>
                          <a:pt x="66" y="810"/>
                        </a:lnTo>
                        <a:lnTo>
                          <a:pt x="48" y="828"/>
                        </a:lnTo>
                        <a:lnTo>
                          <a:pt x="48" y="834"/>
                        </a:lnTo>
                        <a:lnTo>
                          <a:pt x="72" y="858"/>
                        </a:lnTo>
                        <a:lnTo>
                          <a:pt x="84" y="864"/>
                        </a:lnTo>
                        <a:lnTo>
                          <a:pt x="90" y="876"/>
                        </a:lnTo>
                        <a:lnTo>
                          <a:pt x="108" y="876"/>
                        </a:lnTo>
                        <a:lnTo>
                          <a:pt x="120" y="864"/>
                        </a:lnTo>
                        <a:lnTo>
                          <a:pt x="132" y="864"/>
                        </a:lnTo>
                        <a:lnTo>
                          <a:pt x="144" y="876"/>
                        </a:lnTo>
                        <a:lnTo>
                          <a:pt x="150" y="888"/>
                        </a:lnTo>
                        <a:lnTo>
                          <a:pt x="126" y="894"/>
                        </a:lnTo>
                        <a:lnTo>
                          <a:pt x="150" y="930"/>
                        </a:lnTo>
                        <a:lnTo>
                          <a:pt x="150" y="906"/>
                        </a:lnTo>
                        <a:lnTo>
                          <a:pt x="180" y="894"/>
                        </a:lnTo>
                        <a:lnTo>
                          <a:pt x="192" y="906"/>
                        </a:lnTo>
                        <a:lnTo>
                          <a:pt x="198" y="918"/>
                        </a:lnTo>
                        <a:lnTo>
                          <a:pt x="204" y="924"/>
                        </a:lnTo>
                        <a:lnTo>
                          <a:pt x="210" y="924"/>
                        </a:lnTo>
                        <a:lnTo>
                          <a:pt x="216" y="930"/>
                        </a:lnTo>
                        <a:lnTo>
                          <a:pt x="222" y="930"/>
                        </a:lnTo>
                        <a:lnTo>
                          <a:pt x="234" y="936"/>
                        </a:lnTo>
                        <a:lnTo>
                          <a:pt x="240" y="942"/>
                        </a:lnTo>
                        <a:lnTo>
                          <a:pt x="240" y="888"/>
                        </a:lnTo>
                        <a:lnTo>
                          <a:pt x="246" y="888"/>
                        </a:lnTo>
                        <a:lnTo>
                          <a:pt x="252" y="882"/>
                        </a:lnTo>
                        <a:lnTo>
                          <a:pt x="258" y="870"/>
                        </a:lnTo>
                        <a:lnTo>
                          <a:pt x="264" y="864"/>
                        </a:lnTo>
                        <a:lnTo>
                          <a:pt x="270" y="852"/>
                        </a:lnTo>
                        <a:lnTo>
                          <a:pt x="276" y="834"/>
                        </a:lnTo>
                        <a:lnTo>
                          <a:pt x="276" y="810"/>
                        </a:lnTo>
                        <a:lnTo>
                          <a:pt x="300" y="786"/>
                        </a:lnTo>
                        <a:lnTo>
                          <a:pt x="354" y="786"/>
                        </a:lnTo>
                        <a:lnTo>
                          <a:pt x="354" y="780"/>
                        </a:lnTo>
                        <a:lnTo>
                          <a:pt x="360" y="780"/>
                        </a:lnTo>
                        <a:lnTo>
                          <a:pt x="372" y="774"/>
                        </a:lnTo>
                        <a:lnTo>
                          <a:pt x="384" y="774"/>
                        </a:lnTo>
                        <a:lnTo>
                          <a:pt x="396" y="786"/>
                        </a:lnTo>
                        <a:lnTo>
                          <a:pt x="396" y="792"/>
                        </a:lnTo>
                        <a:lnTo>
                          <a:pt x="432" y="792"/>
                        </a:lnTo>
                        <a:lnTo>
                          <a:pt x="456" y="816"/>
                        </a:lnTo>
                        <a:lnTo>
                          <a:pt x="456" y="822"/>
                        </a:lnTo>
                        <a:lnTo>
                          <a:pt x="462" y="828"/>
                        </a:lnTo>
                        <a:lnTo>
                          <a:pt x="462" y="834"/>
                        </a:lnTo>
                        <a:lnTo>
                          <a:pt x="468" y="840"/>
                        </a:lnTo>
                        <a:lnTo>
                          <a:pt x="480" y="846"/>
                        </a:lnTo>
                        <a:lnTo>
                          <a:pt x="486" y="846"/>
                        </a:lnTo>
                        <a:lnTo>
                          <a:pt x="498" y="840"/>
                        </a:lnTo>
                        <a:lnTo>
                          <a:pt x="510" y="828"/>
                        </a:lnTo>
                        <a:lnTo>
                          <a:pt x="534" y="816"/>
                        </a:lnTo>
                        <a:lnTo>
                          <a:pt x="546" y="816"/>
                        </a:lnTo>
                        <a:lnTo>
                          <a:pt x="558" y="822"/>
                        </a:lnTo>
                        <a:lnTo>
                          <a:pt x="564" y="828"/>
                        </a:lnTo>
                        <a:lnTo>
                          <a:pt x="576" y="834"/>
                        </a:lnTo>
                        <a:lnTo>
                          <a:pt x="588" y="846"/>
                        </a:lnTo>
                        <a:lnTo>
                          <a:pt x="612" y="858"/>
                        </a:lnTo>
                        <a:lnTo>
                          <a:pt x="642" y="858"/>
                        </a:lnTo>
                        <a:lnTo>
                          <a:pt x="654" y="864"/>
                        </a:lnTo>
                        <a:lnTo>
                          <a:pt x="660" y="864"/>
                        </a:lnTo>
                        <a:lnTo>
                          <a:pt x="666" y="858"/>
                        </a:lnTo>
                        <a:lnTo>
                          <a:pt x="678" y="834"/>
                        </a:lnTo>
                        <a:lnTo>
                          <a:pt x="690" y="828"/>
                        </a:lnTo>
                        <a:lnTo>
                          <a:pt x="702" y="816"/>
                        </a:lnTo>
                        <a:lnTo>
                          <a:pt x="720" y="810"/>
                        </a:lnTo>
                        <a:lnTo>
                          <a:pt x="774" y="810"/>
                        </a:lnTo>
                        <a:lnTo>
                          <a:pt x="810" y="822"/>
                        </a:lnTo>
                        <a:lnTo>
                          <a:pt x="822" y="828"/>
                        </a:lnTo>
                        <a:lnTo>
                          <a:pt x="828" y="834"/>
                        </a:lnTo>
                        <a:lnTo>
                          <a:pt x="858" y="834"/>
                        </a:lnTo>
                        <a:lnTo>
                          <a:pt x="870" y="828"/>
                        </a:lnTo>
                        <a:lnTo>
                          <a:pt x="876" y="822"/>
                        </a:lnTo>
                        <a:lnTo>
                          <a:pt x="888" y="816"/>
                        </a:lnTo>
                        <a:lnTo>
                          <a:pt x="894" y="810"/>
                        </a:lnTo>
                        <a:lnTo>
                          <a:pt x="918" y="810"/>
                        </a:lnTo>
                        <a:lnTo>
                          <a:pt x="918" y="804"/>
                        </a:lnTo>
                        <a:lnTo>
                          <a:pt x="924" y="798"/>
                        </a:lnTo>
                        <a:lnTo>
                          <a:pt x="924" y="792"/>
                        </a:lnTo>
                        <a:lnTo>
                          <a:pt x="930" y="786"/>
                        </a:lnTo>
                        <a:lnTo>
                          <a:pt x="936" y="786"/>
                        </a:lnTo>
                        <a:lnTo>
                          <a:pt x="930" y="726"/>
                        </a:lnTo>
                        <a:lnTo>
                          <a:pt x="948" y="720"/>
                        </a:lnTo>
                        <a:lnTo>
                          <a:pt x="948" y="714"/>
                        </a:lnTo>
                        <a:lnTo>
                          <a:pt x="954" y="708"/>
                        </a:lnTo>
                        <a:lnTo>
                          <a:pt x="954" y="696"/>
                        </a:lnTo>
                        <a:lnTo>
                          <a:pt x="960" y="678"/>
                        </a:lnTo>
                        <a:lnTo>
                          <a:pt x="966" y="666"/>
                        </a:lnTo>
                        <a:lnTo>
                          <a:pt x="978" y="648"/>
                        </a:lnTo>
                        <a:lnTo>
                          <a:pt x="984" y="636"/>
                        </a:lnTo>
                        <a:lnTo>
                          <a:pt x="1002" y="618"/>
                        </a:lnTo>
                        <a:lnTo>
                          <a:pt x="1026" y="588"/>
                        </a:lnTo>
                        <a:lnTo>
                          <a:pt x="1050" y="564"/>
                        </a:lnTo>
                        <a:lnTo>
                          <a:pt x="1068" y="540"/>
                        </a:lnTo>
                        <a:lnTo>
                          <a:pt x="1074" y="534"/>
                        </a:lnTo>
                        <a:lnTo>
                          <a:pt x="1092" y="288"/>
                        </a:lnTo>
                        <a:lnTo>
                          <a:pt x="1110" y="252"/>
                        </a:lnTo>
                        <a:lnTo>
                          <a:pt x="1080" y="216"/>
                        </a:lnTo>
                        <a:lnTo>
                          <a:pt x="1074" y="192"/>
                        </a:lnTo>
                        <a:lnTo>
                          <a:pt x="1044" y="156"/>
                        </a:lnTo>
                        <a:lnTo>
                          <a:pt x="1056" y="108"/>
                        </a:lnTo>
                        <a:lnTo>
                          <a:pt x="1038" y="42"/>
                        </a:lnTo>
                        <a:lnTo>
                          <a:pt x="1020" y="48"/>
                        </a:lnTo>
                        <a:lnTo>
                          <a:pt x="1002" y="60"/>
                        </a:lnTo>
                        <a:lnTo>
                          <a:pt x="990" y="66"/>
                        </a:lnTo>
                        <a:lnTo>
                          <a:pt x="984" y="66"/>
                        </a:lnTo>
                        <a:lnTo>
                          <a:pt x="978" y="60"/>
                        </a:lnTo>
                        <a:lnTo>
                          <a:pt x="966" y="54"/>
                        </a:lnTo>
                        <a:lnTo>
                          <a:pt x="960" y="42"/>
                        </a:lnTo>
                        <a:lnTo>
                          <a:pt x="954" y="36"/>
                        </a:lnTo>
                        <a:lnTo>
                          <a:pt x="942" y="30"/>
                        </a:lnTo>
                        <a:lnTo>
                          <a:pt x="936" y="24"/>
                        </a:lnTo>
                        <a:lnTo>
                          <a:pt x="930" y="24"/>
                        </a:lnTo>
                        <a:lnTo>
                          <a:pt x="918" y="18"/>
                        </a:lnTo>
                        <a:lnTo>
                          <a:pt x="900" y="12"/>
                        </a:lnTo>
                        <a:lnTo>
                          <a:pt x="888" y="12"/>
                        </a:lnTo>
                        <a:lnTo>
                          <a:pt x="876" y="6"/>
                        </a:lnTo>
                        <a:lnTo>
                          <a:pt x="864" y="6"/>
                        </a:lnTo>
                        <a:lnTo>
                          <a:pt x="828" y="0"/>
                        </a:lnTo>
                        <a:lnTo>
                          <a:pt x="816" y="6"/>
                        </a:lnTo>
                        <a:lnTo>
                          <a:pt x="786" y="30"/>
                        </a:lnTo>
                        <a:lnTo>
                          <a:pt x="738" y="66"/>
                        </a:lnTo>
                        <a:lnTo>
                          <a:pt x="684" y="102"/>
                        </a:lnTo>
                        <a:lnTo>
                          <a:pt x="624" y="144"/>
                        </a:lnTo>
                        <a:lnTo>
                          <a:pt x="576" y="180"/>
                        </a:lnTo>
                        <a:lnTo>
                          <a:pt x="534" y="210"/>
                        </a:lnTo>
                        <a:lnTo>
                          <a:pt x="510" y="222"/>
                        </a:lnTo>
                        <a:lnTo>
                          <a:pt x="480" y="246"/>
                        </a:lnTo>
                        <a:lnTo>
                          <a:pt x="450" y="282"/>
                        </a:lnTo>
                        <a:lnTo>
                          <a:pt x="414" y="312"/>
                        </a:lnTo>
                        <a:lnTo>
                          <a:pt x="390" y="330"/>
                        </a:lnTo>
                        <a:lnTo>
                          <a:pt x="366" y="336"/>
                        </a:lnTo>
                        <a:lnTo>
                          <a:pt x="324" y="342"/>
                        </a:lnTo>
                        <a:lnTo>
                          <a:pt x="282" y="354"/>
                        </a:lnTo>
                        <a:lnTo>
                          <a:pt x="282" y="558"/>
                        </a:lnTo>
                        <a:lnTo>
                          <a:pt x="264" y="582"/>
                        </a:lnTo>
                        <a:lnTo>
                          <a:pt x="264" y="594"/>
                        </a:lnTo>
                        <a:lnTo>
                          <a:pt x="258" y="606"/>
                        </a:lnTo>
                        <a:lnTo>
                          <a:pt x="258" y="624"/>
                        </a:lnTo>
                        <a:lnTo>
                          <a:pt x="252" y="636"/>
                        </a:lnTo>
                        <a:lnTo>
                          <a:pt x="240" y="642"/>
                        </a:lnTo>
                        <a:lnTo>
                          <a:pt x="222" y="648"/>
                        </a:lnTo>
                        <a:lnTo>
                          <a:pt x="198" y="648"/>
                        </a:lnTo>
                        <a:lnTo>
                          <a:pt x="186" y="654"/>
                        </a:lnTo>
                        <a:lnTo>
                          <a:pt x="138" y="648"/>
                        </a:lnTo>
                        <a:lnTo>
                          <a:pt x="138" y="666"/>
                        </a:lnTo>
                        <a:lnTo>
                          <a:pt x="72" y="660"/>
                        </a:lnTo>
                        <a:lnTo>
                          <a:pt x="48" y="678"/>
                        </a:lnTo>
                        <a:lnTo>
                          <a:pt x="0" y="690"/>
                        </a:lnTo>
                        <a:lnTo>
                          <a:pt x="0" y="726"/>
                        </a:lnTo>
                        <a:lnTo>
                          <a:pt x="6" y="738"/>
                        </a:lnTo>
                        <a:lnTo>
                          <a:pt x="6" y="762"/>
                        </a:lnTo>
                        <a:lnTo>
                          <a:pt x="18" y="786"/>
                        </a:lnTo>
                        <a:lnTo>
                          <a:pt x="30" y="792"/>
                        </a:lnTo>
                        <a:lnTo>
                          <a:pt x="54" y="79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78" name="Nicaragua"/>
                  <p:cNvSpPr>
                    <a:spLocks/>
                  </p:cNvSpPr>
                  <p:nvPr/>
                </p:nvSpPr>
                <p:spPr bwMode="gray">
                  <a:xfrm>
                    <a:off x="1070" y="2004"/>
                    <a:ext cx="83" cy="85"/>
                  </a:xfrm>
                  <a:custGeom>
                    <a:avLst/>
                    <a:gdLst>
                      <a:gd name="T0" fmla="*/ 2147483647 w 324"/>
                      <a:gd name="T1" fmla="*/ 2147483647 h 330"/>
                      <a:gd name="T2" fmla="*/ 2147483647 w 324"/>
                      <a:gd name="T3" fmla="*/ 0 h 330"/>
                      <a:gd name="T4" fmla="*/ 2147483647 w 324"/>
                      <a:gd name="T5" fmla="*/ 2147483647 h 330"/>
                      <a:gd name="T6" fmla="*/ 2147483647 w 324"/>
                      <a:gd name="T7" fmla="*/ 2147483647 h 330"/>
                      <a:gd name="T8" fmla="*/ 2147483647 w 324"/>
                      <a:gd name="T9" fmla="*/ 0 h 330"/>
                      <a:gd name="T10" fmla="*/ 2147483647 w 324"/>
                      <a:gd name="T11" fmla="*/ 2147483647 h 330"/>
                      <a:gd name="T12" fmla="*/ 2147483647 w 324"/>
                      <a:gd name="T13" fmla="*/ 2147483647 h 330"/>
                      <a:gd name="T14" fmla="*/ 2147483647 w 324"/>
                      <a:gd name="T15" fmla="*/ 2147483647 h 330"/>
                      <a:gd name="T16" fmla="*/ 2147483647 w 324"/>
                      <a:gd name="T17" fmla="*/ 2147483647 h 330"/>
                      <a:gd name="T18" fmla="*/ 2147483647 w 324"/>
                      <a:gd name="T19" fmla="*/ 2147483647 h 330"/>
                      <a:gd name="T20" fmla="*/ 2147483647 w 324"/>
                      <a:gd name="T21" fmla="*/ 2147483647 h 330"/>
                      <a:gd name="T22" fmla="*/ 2147483647 w 324"/>
                      <a:gd name="T23" fmla="*/ 2147483647 h 330"/>
                      <a:gd name="T24" fmla="*/ 2147483647 w 324"/>
                      <a:gd name="T25" fmla="*/ 2147483647 h 330"/>
                      <a:gd name="T26" fmla="*/ 2147483647 w 324"/>
                      <a:gd name="T27" fmla="*/ 2147483647 h 330"/>
                      <a:gd name="T28" fmla="*/ 2147483647 w 324"/>
                      <a:gd name="T29" fmla="*/ 2147483647 h 330"/>
                      <a:gd name="T30" fmla="*/ 2147483647 w 324"/>
                      <a:gd name="T31" fmla="*/ 2147483647 h 330"/>
                      <a:gd name="T32" fmla="*/ 2147483647 w 324"/>
                      <a:gd name="T33" fmla="*/ 2147483647 h 330"/>
                      <a:gd name="T34" fmla="*/ 2147483647 w 324"/>
                      <a:gd name="T35" fmla="*/ 2147483647 h 330"/>
                      <a:gd name="T36" fmla="*/ 2147483647 w 324"/>
                      <a:gd name="T37" fmla="*/ 2147483647 h 330"/>
                      <a:gd name="T38" fmla="*/ 2147483647 w 324"/>
                      <a:gd name="T39" fmla="*/ 2147483647 h 330"/>
                      <a:gd name="T40" fmla="*/ 2147483647 w 324"/>
                      <a:gd name="T41" fmla="*/ 2147483647 h 330"/>
                      <a:gd name="T42" fmla="*/ 2147483647 w 324"/>
                      <a:gd name="T43" fmla="*/ 2147483647 h 330"/>
                      <a:gd name="T44" fmla="*/ 2147483647 w 324"/>
                      <a:gd name="T45" fmla="*/ 2147483647 h 330"/>
                      <a:gd name="T46" fmla="*/ 2147483647 w 324"/>
                      <a:gd name="T47" fmla="*/ 2147483647 h 330"/>
                      <a:gd name="T48" fmla="*/ 2147483647 w 324"/>
                      <a:gd name="T49" fmla="*/ 2147483647 h 330"/>
                      <a:gd name="T50" fmla="*/ 2147483647 w 324"/>
                      <a:gd name="T51" fmla="*/ 2147483647 h 330"/>
                      <a:gd name="T52" fmla="*/ 2147483647 w 324"/>
                      <a:gd name="T53" fmla="*/ 2147483647 h 330"/>
                      <a:gd name="T54" fmla="*/ 2147483647 w 324"/>
                      <a:gd name="T55" fmla="*/ 2147483647 h 330"/>
                      <a:gd name="T56" fmla="*/ 2147483647 w 324"/>
                      <a:gd name="T57" fmla="*/ 2147483647 h 330"/>
                      <a:gd name="T58" fmla="*/ 2147483647 w 324"/>
                      <a:gd name="T59" fmla="*/ 2147483647 h 330"/>
                      <a:gd name="T60" fmla="*/ 2147483647 w 324"/>
                      <a:gd name="T61" fmla="*/ 2147483647 h 330"/>
                      <a:gd name="T62" fmla="*/ 2147483647 w 324"/>
                      <a:gd name="T63" fmla="*/ 2147483647 h 330"/>
                      <a:gd name="T64" fmla="*/ 2147483647 w 324"/>
                      <a:gd name="T65" fmla="*/ 2147483647 h 330"/>
                      <a:gd name="T66" fmla="*/ 2147483647 w 324"/>
                      <a:gd name="T67" fmla="*/ 2147483647 h 330"/>
                      <a:gd name="T68" fmla="*/ 2147483647 w 324"/>
                      <a:gd name="T69" fmla="*/ 2147483647 h 330"/>
                      <a:gd name="T70" fmla="*/ 2147483647 w 324"/>
                      <a:gd name="T71" fmla="*/ 2147483647 h 330"/>
                      <a:gd name="T72" fmla="*/ 2147483647 w 324"/>
                      <a:gd name="T73" fmla="*/ 2147483647 h 330"/>
                      <a:gd name="T74" fmla="*/ 2147483647 w 324"/>
                      <a:gd name="T75" fmla="*/ 2147483647 h 330"/>
                      <a:gd name="T76" fmla="*/ 2147483647 w 324"/>
                      <a:gd name="T77" fmla="*/ 2147483647 h 330"/>
                      <a:gd name="T78" fmla="*/ 2147483647 w 324"/>
                      <a:gd name="T79" fmla="*/ 2147483647 h 330"/>
                      <a:gd name="T80" fmla="*/ 2147483647 w 324"/>
                      <a:gd name="T81" fmla="*/ 2147483647 h 33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24"/>
                      <a:gd name="T124" fmla="*/ 0 h 330"/>
                      <a:gd name="T125" fmla="*/ 324 w 324"/>
                      <a:gd name="T126" fmla="*/ 330 h 33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24" h="330">
                        <a:moveTo>
                          <a:pt x="324" y="18"/>
                        </a:moveTo>
                        <a:lnTo>
                          <a:pt x="318" y="12"/>
                        </a:lnTo>
                        <a:lnTo>
                          <a:pt x="318" y="6"/>
                        </a:lnTo>
                        <a:lnTo>
                          <a:pt x="312" y="0"/>
                        </a:lnTo>
                        <a:lnTo>
                          <a:pt x="264" y="0"/>
                        </a:lnTo>
                        <a:lnTo>
                          <a:pt x="264" y="6"/>
                        </a:lnTo>
                        <a:lnTo>
                          <a:pt x="252" y="18"/>
                        </a:lnTo>
                        <a:lnTo>
                          <a:pt x="240" y="18"/>
                        </a:lnTo>
                        <a:lnTo>
                          <a:pt x="222" y="0"/>
                        </a:lnTo>
                        <a:lnTo>
                          <a:pt x="210" y="0"/>
                        </a:lnTo>
                        <a:lnTo>
                          <a:pt x="198" y="12"/>
                        </a:lnTo>
                        <a:lnTo>
                          <a:pt x="198" y="30"/>
                        </a:lnTo>
                        <a:lnTo>
                          <a:pt x="180" y="30"/>
                        </a:lnTo>
                        <a:lnTo>
                          <a:pt x="168" y="54"/>
                        </a:lnTo>
                        <a:lnTo>
                          <a:pt x="144" y="78"/>
                        </a:lnTo>
                        <a:lnTo>
                          <a:pt x="126" y="78"/>
                        </a:lnTo>
                        <a:lnTo>
                          <a:pt x="120" y="72"/>
                        </a:lnTo>
                        <a:lnTo>
                          <a:pt x="120" y="66"/>
                        </a:lnTo>
                        <a:lnTo>
                          <a:pt x="108" y="66"/>
                        </a:lnTo>
                        <a:lnTo>
                          <a:pt x="102" y="72"/>
                        </a:lnTo>
                        <a:lnTo>
                          <a:pt x="96" y="84"/>
                        </a:lnTo>
                        <a:lnTo>
                          <a:pt x="60" y="84"/>
                        </a:lnTo>
                        <a:lnTo>
                          <a:pt x="54" y="90"/>
                        </a:lnTo>
                        <a:lnTo>
                          <a:pt x="54" y="102"/>
                        </a:lnTo>
                        <a:lnTo>
                          <a:pt x="60" y="108"/>
                        </a:lnTo>
                        <a:lnTo>
                          <a:pt x="60" y="120"/>
                        </a:lnTo>
                        <a:lnTo>
                          <a:pt x="66" y="126"/>
                        </a:lnTo>
                        <a:lnTo>
                          <a:pt x="48" y="126"/>
                        </a:lnTo>
                        <a:lnTo>
                          <a:pt x="48" y="144"/>
                        </a:lnTo>
                        <a:lnTo>
                          <a:pt x="36" y="150"/>
                        </a:lnTo>
                        <a:lnTo>
                          <a:pt x="0" y="150"/>
                        </a:lnTo>
                        <a:lnTo>
                          <a:pt x="48" y="204"/>
                        </a:lnTo>
                        <a:lnTo>
                          <a:pt x="48" y="210"/>
                        </a:lnTo>
                        <a:lnTo>
                          <a:pt x="54" y="216"/>
                        </a:lnTo>
                        <a:lnTo>
                          <a:pt x="54" y="228"/>
                        </a:lnTo>
                        <a:lnTo>
                          <a:pt x="66" y="252"/>
                        </a:lnTo>
                        <a:lnTo>
                          <a:pt x="72" y="258"/>
                        </a:lnTo>
                        <a:lnTo>
                          <a:pt x="96" y="270"/>
                        </a:lnTo>
                        <a:lnTo>
                          <a:pt x="108" y="282"/>
                        </a:lnTo>
                        <a:lnTo>
                          <a:pt x="114" y="294"/>
                        </a:lnTo>
                        <a:lnTo>
                          <a:pt x="138" y="294"/>
                        </a:lnTo>
                        <a:lnTo>
                          <a:pt x="132" y="294"/>
                        </a:lnTo>
                        <a:lnTo>
                          <a:pt x="120" y="282"/>
                        </a:lnTo>
                        <a:lnTo>
                          <a:pt x="120" y="276"/>
                        </a:lnTo>
                        <a:lnTo>
                          <a:pt x="126" y="270"/>
                        </a:lnTo>
                        <a:lnTo>
                          <a:pt x="138" y="270"/>
                        </a:lnTo>
                        <a:lnTo>
                          <a:pt x="138" y="264"/>
                        </a:lnTo>
                        <a:lnTo>
                          <a:pt x="132" y="258"/>
                        </a:lnTo>
                        <a:lnTo>
                          <a:pt x="126" y="258"/>
                        </a:lnTo>
                        <a:lnTo>
                          <a:pt x="120" y="264"/>
                        </a:lnTo>
                        <a:lnTo>
                          <a:pt x="114" y="264"/>
                        </a:lnTo>
                        <a:lnTo>
                          <a:pt x="114" y="222"/>
                        </a:lnTo>
                        <a:lnTo>
                          <a:pt x="120" y="222"/>
                        </a:lnTo>
                        <a:lnTo>
                          <a:pt x="132" y="228"/>
                        </a:lnTo>
                        <a:lnTo>
                          <a:pt x="144" y="240"/>
                        </a:lnTo>
                        <a:lnTo>
                          <a:pt x="156" y="246"/>
                        </a:lnTo>
                        <a:lnTo>
                          <a:pt x="180" y="270"/>
                        </a:lnTo>
                        <a:lnTo>
                          <a:pt x="192" y="306"/>
                        </a:lnTo>
                        <a:lnTo>
                          <a:pt x="210" y="306"/>
                        </a:lnTo>
                        <a:lnTo>
                          <a:pt x="216" y="312"/>
                        </a:lnTo>
                        <a:lnTo>
                          <a:pt x="222" y="312"/>
                        </a:lnTo>
                        <a:lnTo>
                          <a:pt x="222" y="318"/>
                        </a:lnTo>
                        <a:lnTo>
                          <a:pt x="234" y="330"/>
                        </a:lnTo>
                        <a:lnTo>
                          <a:pt x="270" y="330"/>
                        </a:lnTo>
                        <a:lnTo>
                          <a:pt x="270" y="324"/>
                        </a:lnTo>
                        <a:lnTo>
                          <a:pt x="258" y="312"/>
                        </a:lnTo>
                        <a:lnTo>
                          <a:pt x="252" y="300"/>
                        </a:lnTo>
                        <a:lnTo>
                          <a:pt x="252" y="276"/>
                        </a:lnTo>
                        <a:lnTo>
                          <a:pt x="264" y="264"/>
                        </a:lnTo>
                        <a:lnTo>
                          <a:pt x="270" y="264"/>
                        </a:lnTo>
                        <a:lnTo>
                          <a:pt x="270" y="246"/>
                        </a:lnTo>
                        <a:lnTo>
                          <a:pt x="264" y="234"/>
                        </a:lnTo>
                        <a:lnTo>
                          <a:pt x="264" y="222"/>
                        </a:lnTo>
                        <a:lnTo>
                          <a:pt x="270" y="174"/>
                        </a:lnTo>
                        <a:lnTo>
                          <a:pt x="282" y="192"/>
                        </a:lnTo>
                        <a:lnTo>
                          <a:pt x="288" y="108"/>
                        </a:lnTo>
                        <a:lnTo>
                          <a:pt x="288" y="102"/>
                        </a:lnTo>
                        <a:lnTo>
                          <a:pt x="294" y="96"/>
                        </a:lnTo>
                        <a:lnTo>
                          <a:pt x="306" y="72"/>
                        </a:lnTo>
                        <a:lnTo>
                          <a:pt x="312" y="66"/>
                        </a:lnTo>
                        <a:lnTo>
                          <a:pt x="324" y="42"/>
                        </a:lnTo>
                        <a:lnTo>
                          <a:pt x="324"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79" name="New Zealand"/>
                  <p:cNvSpPr>
                    <a:spLocks noEditPoints="1"/>
                  </p:cNvSpPr>
                  <p:nvPr/>
                </p:nvSpPr>
                <p:spPr bwMode="gray">
                  <a:xfrm>
                    <a:off x="5368" y="3017"/>
                    <a:ext cx="325" cy="251"/>
                  </a:xfrm>
                  <a:custGeom>
                    <a:avLst/>
                    <a:gdLst>
                      <a:gd name="T0" fmla="*/ 2147483647 w 1272"/>
                      <a:gd name="T1" fmla="*/ 2147483647 h 984"/>
                      <a:gd name="T2" fmla="*/ 2147483647 w 1272"/>
                      <a:gd name="T3" fmla="*/ 2147483647 h 984"/>
                      <a:gd name="T4" fmla="*/ 2147483647 w 1272"/>
                      <a:gd name="T5" fmla="*/ 2147483647 h 984"/>
                      <a:gd name="T6" fmla="*/ 2147483647 w 1272"/>
                      <a:gd name="T7" fmla="*/ 2147483647 h 984"/>
                      <a:gd name="T8" fmla="*/ 2147483647 w 1272"/>
                      <a:gd name="T9" fmla="*/ 2147483647 h 984"/>
                      <a:gd name="T10" fmla="*/ 2147483647 w 1272"/>
                      <a:gd name="T11" fmla="*/ 2147483647 h 984"/>
                      <a:gd name="T12" fmla="*/ 2147483647 w 1272"/>
                      <a:gd name="T13" fmla="*/ 2147483647 h 984"/>
                      <a:gd name="T14" fmla="*/ 2147483647 w 1272"/>
                      <a:gd name="T15" fmla="*/ 2147483647 h 984"/>
                      <a:gd name="T16" fmla="*/ 2147483647 w 1272"/>
                      <a:gd name="T17" fmla="*/ 2147483647 h 984"/>
                      <a:gd name="T18" fmla="*/ 2147483647 w 1272"/>
                      <a:gd name="T19" fmla="*/ 2147483647 h 984"/>
                      <a:gd name="T20" fmla="*/ 2147483647 w 1272"/>
                      <a:gd name="T21" fmla="*/ 2147483647 h 984"/>
                      <a:gd name="T22" fmla="*/ 2147483647 w 1272"/>
                      <a:gd name="T23" fmla="*/ 2147483647 h 984"/>
                      <a:gd name="T24" fmla="*/ 2147483647 w 1272"/>
                      <a:gd name="T25" fmla="*/ 2147483647 h 984"/>
                      <a:gd name="T26" fmla="*/ 2147483647 w 1272"/>
                      <a:gd name="T27" fmla="*/ 2147483647 h 984"/>
                      <a:gd name="T28" fmla="*/ 2147483647 w 1272"/>
                      <a:gd name="T29" fmla="*/ 2147483647 h 984"/>
                      <a:gd name="T30" fmla="*/ 2147483647 w 1272"/>
                      <a:gd name="T31" fmla="*/ 2147483647 h 984"/>
                      <a:gd name="T32" fmla="*/ 2147483647 w 1272"/>
                      <a:gd name="T33" fmla="*/ 2147483647 h 984"/>
                      <a:gd name="T34" fmla="*/ 2147483647 w 1272"/>
                      <a:gd name="T35" fmla="*/ 2147483647 h 984"/>
                      <a:gd name="T36" fmla="*/ 2147483647 w 1272"/>
                      <a:gd name="T37" fmla="*/ 2147483647 h 984"/>
                      <a:gd name="T38" fmla="*/ 2147483647 w 1272"/>
                      <a:gd name="T39" fmla="*/ 2147483647 h 984"/>
                      <a:gd name="T40" fmla="*/ 2147483647 w 1272"/>
                      <a:gd name="T41" fmla="*/ 2147483647 h 984"/>
                      <a:gd name="T42" fmla="*/ 2147483647 w 1272"/>
                      <a:gd name="T43" fmla="*/ 2147483647 h 984"/>
                      <a:gd name="T44" fmla="*/ 2147483647 w 1272"/>
                      <a:gd name="T45" fmla="*/ 2147483647 h 984"/>
                      <a:gd name="T46" fmla="*/ 2147483647 w 1272"/>
                      <a:gd name="T47" fmla="*/ 2147483647 h 984"/>
                      <a:gd name="T48" fmla="*/ 2147483647 w 1272"/>
                      <a:gd name="T49" fmla="*/ 2147483647 h 984"/>
                      <a:gd name="T50" fmla="*/ 2147483647 w 1272"/>
                      <a:gd name="T51" fmla="*/ 2147483647 h 984"/>
                      <a:gd name="T52" fmla="*/ 2147483647 w 1272"/>
                      <a:gd name="T53" fmla="*/ 2147483647 h 984"/>
                      <a:gd name="T54" fmla="*/ 2147483647 w 1272"/>
                      <a:gd name="T55" fmla="*/ 2147483647 h 984"/>
                      <a:gd name="T56" fmla="*/ 2147483647 w 1272"/>
                      <a:gd name="T57" fmla="*/ 2147483647 h 984"/>
                      <a:gd name="T58" fmla="*/ 2147483647 w 1272"/>
                      <a:gd name="T59" fmla="*/ 2147483647 h 984"/>
                      <a:gd name="T60" fmla="*/ 2147483647 w 1272"/>
                      <a:gd name="T61" fmla="*/ 2147483647 h 984"/>
                      <a:gd name="T62" fmla="*/ 2147483647 w 1272"/>
                      <a:gd name="T63" fmla="*/ 2147483647 h 984"/>
                      <a:gd name="T64" fmla="*/ 2147483647 w 1272"/>
                      <a:gd name="T65" fmla="*/ 2147483647 h 984"/>
                      <a:gd name="T66" fmla="*/ 2147483647 w 1272"/>
                      <a:gd name="T67" fmla="*/ 2147483647 h 984"/>
                      <a:gd name="T68" fmla="*/ 2147483647 w 1272"/>
                      <a:gd name="T69" fmla="*/ 2147483647 h 984"/>
                      <a:gd name="T70" fmla="*/ 2147483647 w 1272"/>
                      <a:gd name="T71" fmla="*/ 2147483647 h 984"/>
                      <a:gd name="T72" fmla="*/ 2147483647 w 1272"/>
                      <a:gd name="T73" fmla="*/ 2147483647 h 984"/>
                      <a:gd name="T74" fmla="*/ 2147483647 w 1272"/>
                      <a:gd name="T75" fmla="*/ 2147483647 h 984"/>
                      <a:gd name="T76" fmla="*/ 2147483647 w 1272"/>
                      <a:gd name="T77" fmla="*/ 2147483647 h 984"/>
                      <a:gd name="T78" fmla="*/ 2147483647 w 1272"/>
                      <a:gd name="T79" fmla="*/ 2147483647 h 984"/>
                      <a:gd name="T80" fmla="*/ 2147483647 w 1272"/>
                      <a:gd name="T81" fmla="*/ 2147483647 h 984"/>
                      <a:gd name="T82" fmla="*/ 2147483647 w 1272"/>
                      <a:gd name="T83" fmla="*/ 2147483647 h 984"/>
                      <a:gd name="T84" fmla="*/ 2147483647 w 1272"/>
                      <a:gd name="T85" fmla="*/ 2147483647 h 984"/>
                      <a:gd name="T86" fmla="*/ 2147483647 w 1272"/>
                      <a:gd name="T87" fmla="*/ 2147483647 h 984"/>
                      <a:gd name="T88" fmla="*/ 2147483647 w 1272"/>
                      <a:gd name="T89" fmla="*/ 2147483647 h 984"/>
                      <a:gd name="T90" fmla="*/ 2147483647 w 1272"/>
                      <a:gd name="T91" fmla="*/ 2147483647 h 984"/>
                      <a:gd name="T92" fmla="*/ 2147483647 w 1272"/>
                      <a:gd name="T93" fmla="*/ 2147483647 h 984"/>
                      <a:gd name="T94" fmla="*/ 2147483647 w 1272"/>
                      <a:gd name="T95" fmla="*/ 2147483647 h 984"/>
                      <a:gd name="T96" fmla="*/ 2147483647 w 1272"/>
                      <a:gd name="T97" fmla="*/ 2147483647 h 984"/>
                      <a:gd name="T98" fmla="*/ 2147483647 w 1272"/>
                      <a:gd name="T99" fmla="*/ 2147483647 h 984"/>
                      <a:gd name="T100" fmla="*/ 2147483647 w 1272"/>
                      <a:gd name="T101" fmla="*/ 2147483647 h 984"/>
                      <a:gd name="T102" fmla="*/ 2147483647 w 1272"/>
                      <a:gd name="T103" fmla="*/ 2147483647 h 984"/>
                      <a:gd name="T104" fmla="*/ 2147483647 w 1272"/>
                      <a:gd name="T105" fmla="*/ 2147483647 h 984"/>
                      <a:gd name="T106" fmla="*/ 2147483647 w 1272"/>
                      <a:gd name="T107" fmla="*/ 2147483647 h 984"/>
                      <a:gd name="T108" fmla="*/ 2147483647 w 1272"/>
                      <a:gd name="T109" fmla="*/ 2147483647 h 984"/>
                      <a:gd name="T110" fmla="*/ 2147483647 w 1272"/>
                      <a:gd name="T111" fmla="*/ 2147483647 h 984"/>
                      <a:gd name="T112" fmla="*/ 2147483647 w 1272"/>
                      <a:gd name="T113" fmla="*/ 2147483647 h 984"/>
                      <a:gd name="T114" fmla="*/ 2147483647 w 1272"/>
                      <a:gd name="T115" fmla="*/ 2147483647 h 984"/>
                      <a:gd name="T116" fmla="*/ 2147483647 w 1272"/>
                      <a:gd name="T117" fmla="*/ 2147483647 h 984"/>
                      <a:gd name="T118" fmla="*/ 2147483647 w 1272"/>
                      <a:gd name="T119" fmla="*/ 2147483647 h 984"/>
                      <a:gd name="T120" fmla="*/ 2147483647 w 1272"/>
                      <a:gd name="T121" fmla="*/ 2147483647 h 98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272"/>
                      <a:gd name="T184" fmla="*/ 0 h 984"/>
                      <a:gd name="T185" fmla="*/ 1272 w 1272"/>
                      <a:gd name="T186" fmla="*/ 984 h 98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272" h="984">
                        <a:moveTo>
                          <a:pt x="750" y="564"/>
                        </a:moveTo>
                        <a:lnTo>
                          <a:pt x="738" y="564"/>
                        </a:lnTo>
                        <a:lnTo>
                          <a:pt x="744" y="528"/>
                        </a:lnTo>
                        <a:lnTo>
                          <a:pt x="720" y="546"/>
                        </a:lnTo>
                        <a:lnTo>
                          <a:pt x="726" y="540"/>
                        </a:lnTo>
                        <a:lnTo>
                          <a:pt x="726" y="504"/>
                        </a:lnTo>
                        <a:lnTo>
                          <a:pt x="708" y="504"/>
                        </a:lnTo>
                        <a:lnTo>
                          <a:pt x="702" y="510"/>
                        </a:lnTo>
                        <a:lnTo>
                          <a:pt x="696" y="522"/>
                        </a:lnTo>
                        <a:lnTo>
                          <a:pt x="690" y="528"/>
                        </a:lnTo>
                        <a:lnTo>
                          <a:pt x="672" y="540"/>
                        </a:lnTo>
                        <a:lnTo>
                          <a:pt x="660" y="546"/>
                        </a:lnTo>
                        <a:lnTo>
                          <a:pt x="654" y="558"/>
                        </a:lnTo>
                        <a:lnTo>
                          <a:pt x="642" y="570"/>
                        </a:lnTo>
                        <a:lnTo>
                          <a:pt x="630" y="576"/>
                        </a:lnTo>
                        <a:lnTo>
                          <a:pt x="618" y="588"/>
                        </a:lnTo>
                        <a:lnTo>
                          <a:pt x="606" y="588"/>
                        </a:lnTo>
                        <a:lnTo>
                          <a:pt x="588" y="600"/>
                        </a:lnTo>
                        <a:lnTo>
                          <a:pt x="576" y="606"/>
                        </a:lnTo>
                        <a:lnTo>
                          <a:pt x="546" y="636"/>
                        </a:lnTo>
                        <a:lnTo>
                          <a:pt x="540" y="648"/>
                        </a:lnTo>
                        <a:lnTo>
                          <a:pt x="534" y="648"/>
                        </a:lnTo>
                        <a:lnTo>
                          <a:pt x="528" y="654"/>
                        </a:lnTo>
                        <a:lnTo>
                          <a:pt x="510" y="660"/>
                        </a:lnTo>
                        <a:lnTo>
                          <a:pt x="498" y="666"/>
                        </a:lnTo>
                        <a:lnTo>
                          <a:pt x="462" y="678"/>
                        </a:lnTo>
                        <a:lnTo>
                          <a:pt x="438" y="690"/>
                        </a:lnTo>
                        <a:lnTo>
                          <a:pt x="426" y="702"/>
                        </a:lnTo>
                        <a:lnTo>
                          <a:pt x="414" y="708"/>
                        </a:lnTo>
                        <a:lnTo>
                          <a:pt x="408" y="720"/>
                        </a:lnTo>
                        <a:lnTo>
                          <a:pt x="396" y="726"/>
                        </a:lnTo>
                        <a:lnTo>
                          <a:pt x="378" y="726"/>
                        </a:lnTo>
                        <a:lnTo>
                          <a:pt x="366" y="732"/>
                        </a:lnTo>
                        <a:lnTo>
                          <a:pt x="312" y="750"/>
                        </a:lnTo>
                        <a:lnTo>
                          <a:pt x="288" y="762"/>
                        </a:lnTo>
                        <a:lnTo>
                          <a:pt x="270" y="774"/>
                        </a:lnTo>
                        <a:lnTo>
                          <a:pt x="246" y="786"/>
                        </a:lnTo>
                        <a:lnTo>
                          <a:pt x="222" y="792"/>
                        </a:lnTo>
                        <a:lnTo>
                          <a:pt x="198" y="804"/>
                        </a:lnTo>
                        <a:lnTo>
                          <a:pt x="180" y="810"/>
                        </a:lnTo>
                        <a:lnTo>
                          <a:pt x="174" y="816"/>
                        </a:lnTo>
                        <a:lnTo>
                          <a:pt x="168" y="828"/>
                        </a:lnTo>
                        <a:lnTo>
                          <a:pt x="168" y="846"/>
                        </a:lnTo>
                        <a:lnTo>
                          <a:pt x="156" y="834"/>
                        </a:lnTo>
                        <a:lnTo>
                          <a:pt x="150" y="834"/>
                        </a:lnTo>
                        <a:lnTo>
                          <a:pt x="144" y="840"/>
                        </a:lnTo>
                        <a:lnTo>
                          <a:pt x="120" y="852"/>
                        </a:lnTo>
                        <a:lnTo>
                          <a:pt x="108" y="864"/>
                        </a:lnTo>
                        <a:lnTo>
                          <a:pt x="72" y="882"/>
                        </a:lnTo>
                        <a:lnTo>
                          <a:pt x="66" y="882"/>
                        </a:lnTo>
                        <a:lnTo>
                          <a:pt x="54" y="888"/>
                        </a:lnTo>
                        <a:lnTo>
                          <a:pt x="36" y="888"/>
                        </a:lnTo>
                        <a:lnTo>
                          <a:pt x="18" y="894"/>
                        </a:lnTo>
                        <a:lnTo>
                          <a:pt x="12" y="906"/>
                        </a:lnTo>
                        <a:lnTo>
                          <a:pt x="0" y="912"/>
                        </a:lnTo>
                        <a:lnTo>
                          <a:pt x="18" y="912"/>
                        </a:lnTo>
                        <a:lnTo>
                          <a:pt x="24" y="918"/>
                        </a:lnTo>
                        <a:lnTo>
                          <a:pt x="30" y="918"/>
                        </a:lnTo>
                        <a:lnTo>
                          <a:pt x="24" y="924"/>
                        </a:lnTo>
                        <a:lnTo>
                          <a:pt x="24" y="942"/>
                        </a:lnTo>
                        <a:lnTo>
                          <a:pt x="30" y="948"/>
                        </a:lnTo>
                        <a:lnTo>
                          <a:pt x="42" y="948"/>
                        </a:lnTo>
                        <a:lnTo>
                          <a:pt x="54" y="942"/>
                        </a:lnTo>
                        <a:lnTo>
                          <a:pt x="60" y="936"/>
                        </a:lnTo>
                        <a:lnTo>
                          <a:pt x="72" y="948"/>
                        </a:lnTo>
                        <a:lnTo>
                          <a:pt x="96" y="948"/>
                        </a:lnTo>
                        <a:lnTo>
                          <a:pt x="102" y="954"/>
                        </a:lnTo>
                        <a:lnTo>
                          <a:pt x="132" y="954"/>
                        </a:lnTo>
                        <a:lnTo>
                          <a:pt x="150" y="972"/>
                        </a:lnTo>
                        <a:lnTo>
                          <a:pt x="180" y="966"/>
                        </a:lnTo>
                        <a:lnTo>
                          <a:pt x="192" y="972"/>
                        </a:lnTo>
                        <a:lnTo>
                          <a:pt x="198" y="978"/>
                        </a:lnTo>
                        <a:lnTo>
                          <a:pt x="216" y="984"/>
                        </a:lnTo>
                        <a:lnTo>
                          <a:pt x="228" y="984"/>
                        </a:lnTo>
                        <a:lnTo>
                          <a:pt x="252" y="972"/>
                        </a:lnTo>
                        <a:lnTo>
                          <a:pt x="264" y="948"/>
                        </a:lnTo>
                        <a:lnTo>
                          <a:pt x="288" y="936"/>
                        </a:lnTo>
                        <a:lnTo>
                          <a:pt x="312" y="936"/>
                        </a:lnTo>
                        <a:lnTo>
                          <a:pt x="336" y="924"/>
                        </a:lnTo>
                        <a:lnTo>
                          <a:pt x="342" y="912"/>
                        </a:lnTo>
                        <a:lnTo>
                          <a:pt x="342" y="894"/>
                        </a:lnTo>
                        <a:lnTo>
                          <a:pt x="348" y="882"/>
                        </a:lnTo>
                        <a:lnTo>
                          <a:pt x="372" y="870"/>
                        </a:lnTo>
                        <a:lnTo>
                          <a:pt x="396" y="870"/>
                        </a:lnTo>
                        <a:lnTo>
                          <a:pt x="408" y="858"/>
                        </a:lnTo>
                        <a:lnTo>
                          <a:pt x="408" y="846"/>
                        </a:lnTo>
                        <a:lnTo>
                          <a:pt x="402" y="840"/>
                        </a:lnTo>
                        <a:lnTo>
                          <a:pt x="420" y="840"/>
                        </a:lnTo>
                        <a:lnTo>
                          <a:pt x="480" y="792"/>
                        </a:lnTo>
                        <a:lnTo>
                          <a:pt x="462" y="774"/>
                        </a:lnTo>
                        <a:lnTo>
                          <a:pt x="504" y="792"/>
                        </a:lnTo>
                        <a:lnTo>
                          <a:pt x="504" y="774"/>
                        </a:lnTo>
                        <a:lnTo>
                          <a:pt x="510" y="768"/>
                        </a:lnTo>
                        <a:lnTo>
                          <a:pt x="540" y="768"/>
                        </a:lnTo>
                        <a:lnTo>
                          <a:pt x="546" y="774"/>
                        </a:lnTo>
                        <a:lnTo>
                          <a:pt x="558" y="780"/>
                        </a:lnTo>
                        <a:lnTo>
                          <a:pt x="570" y="780"/>
                        </a:lnTo>
                        <a:lnTo>
                          <a:pt x="576" y="774"/>
                        </a:lnTo>
                        <a:lnTo>
                          <a:pt x="576" y="768"/>
                        </a:lnTo>
                        <a:lnTo>
                          <a:pt x="582" y="762"/>
                        </a:lnTo>
                        <a:lnTo>
                          <a:pt x="582" y="756"/>
                        </a:lnTo>
                        <a:lnTo>
                          <a:pt x="570" y="744"/>
                        </a:lnTo>
                        <a:lnTo>
                          <a:pt x="612" y="702"/>
                        </a:lnTo>
                        <a:lnTo>
                          <a:pt x="618" y="702"/>
                        </a:lnTo>
                        <a:lnTo>
                          <a:pt x="624" y="696"/>
                        </a:lnTo>
                        <a:lnTo>
                          <a:pt x="660" y="678"/>
                        </a:lnTo>
                        <a:lnTo>
                          <a:pt x="666" y="666"/>
                        </a:lnTo>
                        <a:lnTo>
                          <a:pt x="672" y="660"/>
                        </a:lnTo>
                        <a:lnTo>
                          <a:pt x="672" y="654"/>
                        </a:lnTo>
                        <a:lnTo>
                          <a:pt x="696" y="654"/>
                        </a:lnTo>
                        <a:lnTo>
                          <a:pt x="708" y="648"/>
                        </a:lnTo>
                        <a:lnTo>
                          <a:pt x="738" y="618"/>
                        </a:lnTo>
                        <a:lnTo>
                          <a:pt x="738" y="612"/>
                        </a:lnTo>
                        <a:lnTo>
                          <a:pt x="744" y="612"/>
                        </a:lnTo>
                        <a:lnTo>
                          <a:pt x="750" y="606"/>
                        </a:lnTo>
                        <a:lnTo>
                          <a:pt x="768" y="594"/>
                        </a:lnTo>
                        <a:lnTo>
                          <a:pt x="780" y="582"/>
                        </a:lnTo>
                        <a:lnTo>
                          <a:pt x="786" y="570"/>
                        </a:lnTo>
                        <a:lnTo>
                          <a:pt x="786" y="546"/>
                        </a:lnTo>
                        <a:lnTo>
                          <a:pt x="780" y="540"/>
                        </a:lnTo>
                        <a:lnTo>
                          <a:pt x="780" y="534"/>
                        </a:lnTo>
                        <a:lnTo>
                          <a:pt x="750" y="564"/>
                        </a:lnTo>
                        <a:close/>
                        <a:moveTo>
                          <a:pt x="1224" y="324"/>
                        </a:moveTo>
                        <a:lnTo>
                          <a:pt x="1236" y="318"/>
                        </a:lnTo>
                        <a:lnTo>
                          <a:pt x="1242" y="318"/>
                        </a:lnTo>
                        <a:lnTo>
                          <a:pt x="1266" y="306"/>
                        </a:lnTo>
                        <a:lnTo>
                          <a:pt x="1272" y="300"/>
                        </a:lnTo>
                        <a:lnTo>
                          <a:pt x="1272" y="282"/>
                        </a:lnTo>
                        <a:lnTo>
                          <a:pt x="1266" y="270"/>
                        </a:lnTo>
                        <a:lnTo>
                          <a:pt x="1260" y="264"/>
                        </a:lnTo>
                        <a:lnTo>
                          <a:pt x="1248" y="264"/>
                        </a:lnTo>
                        <a:lnTo>
                          <a:pt x="1236" y="276"/>
                        </a:lnTo>
                        <a:lnTo>
                          <a:pt x="1236" y="282"/>
                        </a:lnTo>
                        <a:lnTo>
                          <a:pt x="1224" y="282"/>
                        </a:lnTo>
                        <a:lnTo>
                          <a:pt x="1212" y="276"/>
                        </a:lnTo>
                        <a:lnTo>
                          <a:pt x="1200" y="276"/>
                        </a:lnTo>
                        <a:lnTo>
                          <a:pt x="1194" y="282"/>
                        </a:lnTo>
                        <a:lnTo>
                          <a:pt x="1176" y="288"/>
                        </a:lnTo>
                        <a:lnTo>
                          <a:pt x="1158" y="288"/>
                        </a:lnTo>
                        <a:lnTo>
                          <a:pt x="1146" y="276"/>
                        </a:lnTo>
                        <a:lnTo>
                          <a:pt x="1146" y="222"/>
                        </a:lnTo>
                        <a:lnTo>
                          <a:pt x="1170" y="180"/>
                        </a:lnTo>
                        <a:lnTo>
                          <a:pt x="1170" y="174"/>
                        </a:lnTo>
                        <a:lnTo>
                          <a:pt x="1164" y="162"/>
                        </a:lnTo>
                        <a:lnTo>
                          <a:pt x="1158" y="156"/>
                        </a:lnTo>
                        <a:lnTo>
                          <a:pt x="1146" y="156"/>
                        </a:lnTo>
                        <a:lnTo>
                          <a:pt x="1140" y="168"/>
                        </a:lnTo>
                        <a:lnTo>
                          <a:pt x="1134" y="174"/>
                        </a:lnTo>
                        <a:lnTo>
                          <a:pt x="1134" y="204"/>
                        </a:lnTo>
                        <a:lnTo>
                          <a:pt x="1128" y="216"/>
                        </a:lnTo>
                        <a:lnTo>
                          <a:pt x="1116" y="222"/>
                        </a:lnTo>
                        <a:lnTo>
                          <a:pt x="1116" y="192"/>
                        </a:lnTo>
                        <a:lnTo>
                          <a:pt x="1092" y="174"/>
                        </a:lnTo>
                        <a:lnTo>
                          <a:pt x="1104" y="150"/>
                        </a:lnTo>
                        <a:lnTo>
                          <a:pt x="1116" y="138"/>
                        </a:lnTo>
                        <a:lnTo>
                          <a:pt x="1122" y="126"/>
                        </a:lnTo>
                        <a:lnTo>
                          <a:pt x="1128" y="108"/>
                        </a:lnTo>
                        <a:lnTo>
                          <a:pt x="1128" y="84"/>
                        </a:lnTo>
                        <a:lnTo>
                          <a:pt x="1116" y="78"/>
                        </a:lnTo>
                        <a:lnTo>
                          <a:pt x="1110" y="72"/>
                        </a:lnTo>
                        <a:lnTo>
                          <a:pt x="1098" y="66"/>
                        </a:lnTo>
                        <a:lnTo>
                          <a:pt x="1092" y="60"/>
                        </a:lnTo>
                        <a:lnTo>
                          <a:pt x="1080" y="60"/>
                        </a:lnTo>
                        <a:lnTo>
                          <a:pt x="1086" y="42"/>
                        </a:lnTo>
                        <a:lnTo>
                          <a:pt x="1062" y="42"/>
                        </a:lnTo>
                        <a:lnTo>
                          <a:pt x="1044" y="18"/>
                        </a:lnTo>
                        <a:lnTo>
                          <a:pt x="1050" y="0"/>
                        </a:lnTo>
                        <a:lnTo>
                          <a:pt x="1020" y="18"/>
                        </a:lnTo>
                        <a:lnTo>
                          <a:pt x="1044" y="54"/>
                        </a:lnTo>
                        <a:lnTo>
                          <a:pt x="1032" y="90"/>
                        </a:lnTo>
                        <a:lnTo>
                          <a:pt x="1056" y="102"/>
                        </a:lnTo>
                        <a:lnTo>
                          <a:pt x="1044" y="108"/>
                        </a:lnTo>
                        <a:lnTo>
                          <a:pt x="1044" y="126"/>
                        </a:lnTo>
                        <a:lnTo>
                          <a:pt x="1068" y="132"/>
                        </a:lnTo>
                        <a:lnTo>
                          <a:pt x="1044" y="150"/>
                        </a:lnTo>
                        <a:lnTo>
                          <a:pt x="1062" y="156"/>
                        </a:lnTo>
                        <a:lnTo>
                          <a:pt x="1062" y="168"/>
                        </a:lnTo>
                        <a:lnTo>
                          <a:pt x="1056" y="174"/>
                        </a:lnTo>
                        <a:lnTo>
                          <a:pt x="1056" y="192"/>
                        </a:lnTo>
                        <a:lnTo>
                          <a:pt x="1068" y="198"/>
                        </a:lnTo>
                        <a:lnTo>
                          <a:pt x="1074" y="204"/>
                        </a:lnTo>
                        <a:lnTo>
                          <a:pt x="1056" y="210"/>
                        </a:lnTo>
                        <a:lnTo>
                          <a:pt x="1044" y="222"/>
                        </a:lnTo>
                        <a:lnTo>
                          <a:pt x="1062" y="234"/>
                        </a:lnTo>
                        <a:lnTo>
                          <a:pt x="1038" y="258"/>
                        </a:lnTo>
                        <a:lnTo>
                          <a:pt x="1032" y="270"/>
                        </a:lnTo>
                        <a:lnTo>
                          <a:pt x="1026" y="276"/>
                        </a:lnTo>
                        <a:lnTo>
                          <a:pt x="1026" y="288"/>
                        </a:lnTo>
                        <a:lnTo>
                          <a:pt x="1038" y="300"/>
                        </a:lnTo>
                        <a:lnTo>
                          <a:pt x="1026" y="300"/>
                        </a:lnTo>
                        <a:lnTo>
                          <a:pt x="1014" y="306"/>
                        </a:lnTo>
                        <a:lnTo>
                          <a:pt x="1002" y="306"/>
                        </a:lnTo>
                        <a:lnTo>
                          <a:pt x="978" y="318"/>
                        </a:lnTo>
                        <a:lnTo>
                          <a:pt x="948" y="348"/>
                        </a:lnTo>
                        <a:lnTo>
                          <a:pt x="930" y="360"/>
                        </a:lnTo>
                        <a:lnTo>
                          <a:pt x="894" y="372"/>
                        </a:lnTo>
                        <a:lnTo>
                          <a:pt x="870" y="384"/>
                        </a:lnTo>
                        <a:lnTo>
                          <a:pt x="858" y="396"/>
                        </a:lnTo>
                        <a:lnTo>
                          <a:pt x="858" y="432"/>
                        </a:lnTo>
                        <a:lnTo>
                          <a:pt x="864" y="444"/>
                        </a:lnTo>
                        <a:lnTo>
                          <a:pt x="870" y="450"/>
                        </a:lnTo>
                        <a:lnTo>
                          <a:pt x="870" y="456"/>
                        </a:lnTo>
                        <a:lnTo>
                          <a:pt x="924" y="456"/>
                        </a:lnTo>
                        <a:lnTo>
                          <a:pt x="924" y="474"/>
                        </a:lnTo>
                        <a:lnTo>
                          <a:pt x="918" y="486"/>
                        </a:lnTo>
                        <a:lnTo>
                          <a:pt x="918" y="522"/>
                        </a:lnTo>
                        <a:lnTo>
                          <a:pt x="894" y="534"/>
                        </a:lnTo>
                        <a:lnTo>
                          <a:pt x="882" y="534"/>
                        </a:lnTo>
                        <a:lnTo>
                          <a:pt x="864" y="540"/>
                        </a:lnTo>
                        <a:lnTo>
                          <a:pt x="852" y="546"/>
                        </a:lnTo>
                        <a:lnTo>
                          <a:pt x="852" y="558"/>
                        </a:lnTo>
                        <a:lnTo>
                          <a:pt x="840" y="570"/>
                        </a:lnTo>
                        <a:lnTo>
                          <a:pt x="852" y="576"/>
                        </a:lnTo>
                        <a:lnTo>
                          <a:pt x="858" y="582"/>
                        </a:lnTo>
                        <a:lnTo>
                          <a:pt x="876" y="588"/>
                        </a:lnTo>
                        <a:lnTo>
                          <a:pt x="888" y="588"/>
                        </a:lnTo>
                        <a:lnTo>
                          <a:pt x="912" y="576"/>
                        </a:lnTo>
                        <a:lnTo>
                          <a:pt x="924" y="558"/>
                        </a:lnTo>
                        <a:lnTo>
                          <a:pt x="972" y="510"/>
                        </a:lnTo>
                        <a:lnTo>
                          <a:pt x="996" y="498"/>
                        </a:lnTo>
                        <a:lnTo>
                          <a:pt x="1014" y="492"/>
                        </a:lnTo>
                        <a:lnTo>
                          <a:pt x="1026" y="486"/>
                        </a:lnTo>
                        <a:lnTo>
                          <a:pt x="1032" y="480"/>
                        </a:lnTo>
                        <a:lnTo>
                          <a:pt x="1038" y="480"/>
                        </a:lnTo>
                        <a:lnTo>
                          <a:pt x="1044" y="474"/>
                        </a:lnTo>
                        <a:lnTo>
                          <a:pt x="1050" y="462"/>
                        </a:lnTo>
                        <a:lnTo>
                          <a:pt x="1056" y="462"/>
                        </a:lnTo>
                        <a:lnTo>
                          <a:pt x="1062" y="456"/>
                        </a:lnTo>
                        <a:lnTo>
                          <a:pt x="1074" y="450"/>
                        </a:lnTo>
                        <a:lnTo>
                          <a:pt x="1080" y="444"/>
                        </a:lnTo>
                        <a:lnTo>
                          <a:pt x="1080" y="420"/>
                        </a:lnTo>
                        <a:lnTo>
                          <a:pt x="1074" y="414"/>
                        </a:lnTo>
                        <a:lnTo>
                          <a:pt x="1080" y="414"/>
                        </a:lnTo>
                        <a:lnTo>
                          <a:pt x="1086" y="408"/>
                        </a:lnTo>
                        <a:lnTo>
                          <a:pt x="1110" y="396"/>
                        </a:lnTo>
                        <a:lnTo>
                          <a:pt x="1140" y="396"/>
                        </a:lnTo>
                        <a:lnTo>
                          <a:pt x="1152" y="402"/>
                        </a:lnTo>
                        <a:lnTo>
                          <a:pt x="1164" y="402"/>
                        </a:lnTo>
                        <a:lnTo>
                          <a:pt x="1176" y="390"/>
                        </a:lnTo>
                        <a:lnTo>
                          <a:pt x="1176" y="360"/>
                        </a:lnTo>
                        <a:lnTo>
                          <a:pt x="1200" y="360"/>
                        </a:lnTo>
                        <a:lnTo>
                          <a:pt x="1212" y="354"/>
                        </a:lnTo>
                        <a:lnTo>
                          <a:pt x="1218" y="354"/>
                        </a:lnTo>
                        <a:lnTo>
                          <a:pt x="1224" y="348"/>
                        </a:lnTo>
                        <a:lnTo>
                          <a:pt x="1224" y="3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80" name="Newfoundland"/>
                  <p:cNvSpPr>
                    <a:spLocks/>
                  </p:cNvSpPr>
                  <p:nvPr/>
                </p:nvSpPr>
                <p:spPr bwMode="gray">
                  <a:xfrm>
                    <a:off x="1722" y="1254"/>
                    <a:ext cx="109" cy="98"/>
                  </a:xfrm>
                  <a:custGeom>
                    <a:avLst/>
                    <a:gdLst>
                      <a:gd name="T0" fmla="*/ 2147483647 w 426"/>
                      <a:gd name="T1" fmla="*/ 2147483647 h 384"/>
                      <a:gd name="T2" fmla="*/ 2147483647 w 426"/>
                      <a:gd name="T3" fmla="*/ 2147483647 h 384"/>
                      <a:gd name="T4" fmla="*/ 2147483647 w 426"/>
                      <a:gd name="T5" fmla="*/ 0 h 384"/>
                      <a:gd name="T6" fmla="*/ 2147483647 w 426"/>
                      <a:gd name="T7" fmla="*/ 2147483647 h 384"/>
                      <a:gd name="T8" fmla="*/ 2147483647 w 426"/>
                      <a:gd name="T9" fmla="*/ 2147483647 h 384"/>
                      <a:gd name="T10" fmla="*/ 2147483647 w 426"/>
                      <a:gd name="T11" fmla="*/ 2147483647 h 384"/>
                      <a:gd name="T12" fmla="*/ 2147483647 w 426"/>
                      <a:gd name="T13" fmla="*/ 2147483647 h 384"/>
                      <a:gd name="T14" fmla="*/ 2147483647 w 426"/>
                      <a:gd name="T15" fmla="*/ 2147483647 h 384"/>
                      <a:gd name="T16" fmla="*/ 2147483647 w 426"/>
                      <a:gd name="T17" fmla="*/ 2147483647 h 384"/>
                      <a:gd name="T18" fmla="*/ 2147483647 w 426"/>
                      <a:gd name="T19" fmla="*/ 2147483647 h 384"/>
                      <a:gd name="T20" fmla="*/ 2147483647 w 426"/>
                      <a:gd name="T21" fmla="*/ 2147483647 h 384"/>
                      <a:gd name="T22" fmla="*/ 2147483647 w 426"/>
                      <a:gd name="T23" fmla="*/ 2147483647 h 384"/>
                      <a:gd name="T24" fmla="*/ 2147483647 w 426"/>
                      <a:gd name="T25" fmla="*/ 2147483647 h 384"/>
                      <a:gd name="T26" fmla="*/ 2147483647 w 426"/>
                      <a:gd name="T27" fmla="*/ 2147483647 h 384"/>
                      <a:gd name="T28" fmla="*/ 2147483647 w 426"/>
                      <a:gd name="T29" fmla="*/ 2147483647 h 384"/>
                      <a:gd name="T30" fmla="*/ 2147483647 w 426"/>
                      <a:gd name="T31" fmla="*/ 2147483647 h 384"/>
                      <a:gd name="T32" fmla="*/ 2147483647 w 426"/>
                      <a:gd name="T33" fmla="*/ 2147483647 h 384"/>
                      <a:gd name="T34" fmla="*/ 2147483647 w 426"/>
                      <a:gd name="T35" fmla="*/ 2147483647 h 384"/>
                      <a:gd name="T36" fmla="*/ 2147483647 w 426"/>
                      <a:gd name="T37" fmla="*/ 2147483647 h 384"/>
                      <a:gd name="T38" fmla="*/ 2147483647 w 426"/>
                      <a:gd name="T39" fmla="*/ 2147483647 h 384"/>
                      <a:gd name="T40" fmla="*/ 2147483647 w 426"/>
                      <a:gd name="T41" fmla="*/ 2147483647 h 384"/>
                      <a:gd name="T42" fmla="*/ 2147483647 w 426"/>
                      <a:gd name="T43" fmla="*/ 2147483647 h 384"/>
                      <a:gd name="T44" fmla="*/ 2147483647 w 426"/>
                      <a:gd name="T45" fmla="*/ 2147483647 h 384"/>
                      <a:gd name="T46" fmla="*/ 2147483647 w 426"/>
                      <a:gd name="T47" fmla="*/ 2147483647 h 384"/>
                      <a:gd name="T48" fmla="*/ 2147483647 w 426"/>
                      <a:gd name="T49" fmla="*/ 2147483647 h 384"/>
                      <a:gd name="T50" fmla="*/ 2147483647 w 426"/>
                      <a:gd name="T51" fmla="*/ 2147483647 h 384"/>
                      <a:gd name="T52" fmla="*/ 2147483647 w 426"/>
                      <a:gd name="T53" fmla="*/ 2147483647 h 384"/>
                      <a:gd name="T54" fmla="*/ 2147483647 w 426"/>
                      <a:gd name="T55" fmla="*/ 2147483647 h 384"/>
                      <a:gd name="T56" fmla="*/ 2147483647 w 426"/>
                      <a:gd name="T57" fmla="*/ 2147483647 h 384"/>
                      <a:gd name="T58" fmla="*/ 2147483647 w 426"/>
                      <a:gd name="T59" fmla="*/ 2147483647 h 384"/>
                      <a:gd name="T60" fmla="*/ 2147483647 w 426"/>
                      <a:gd name="T61" fmla="*/ 2147483647 h 384"/>
                      <a:gd name="T62" fmla="*/ 2147483647 w 426"/>
                      <a:gd name="T63" fmla="*/ 2147483647 h 384"/>
                      <a:gd name="T64" fmla="*/ 2147483647 w 426"/>
                      <a:gd name="T65" fmla="*/ 2147483647 h 384"/>
                      <a:gd name="T66" fmla="*/ 2147483647 w 426"/>
                      <a:gd name="T67" fmla="*/ 2147483647 h 384"/>
                      <a:gd name="T68" fmla="*/ 2147483647 w 426"/>
                      <a:gd name="T69" fmla="*/ 2147483647 h 384"/>
                      <a:gd name="T70" fmla="*/ 2147483647 w 426"/>
                      <a:gd name="T71" fmla="*/ 2147483647 h 384"/>
                      <a:gd name="T72" fmla="*/ 2147483647 w 426"/>
                      <a:gd name="T73" fmla="*/ 2147483647 h 384"/>
                      <a:gd name="T74" fmla="*/ 2147483647 w 426"/>
                      <a:gd name="T75" fmla="*/ 2147483647 h 384"/>
                      <a:gd name="T76" fmla="*/ 2147483647 w 426"/>
                      <a:gd name="T77" fmla="*/ 2147483647 h 384"/>
                      <a:gd name="T78" fmla="*/ 2147483647 w 426"/>
                      <a:gd name="T79" fmla="*/ 2147483647 h 384"/>
                      <a:gd name="T80" fmla="*/ 2147483647 w 426"/>
                      <a:gd name="T81" fmla="*/ 2147483647 h 384"/>
                      <a:gd name="T82" fmla="*/ 2147483647 w 426"/>
                      <a:gd name="T83" fmla="*/ 2147483647 h 384"/>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26"/>
                      <a:gd name="T127" fmla="*/ 0 h 384"/>
                      <a:gd name="T128" fmla="*/ 426 w 426"/>
                      <a:gd name="T129" fmla="*/ 384 h 384"/>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26" h="384">
                        <a:moveTo>
                          <a:pt x="258" y="18"/>
                        </a:moveTo>
                        <a:lnTo>
                          <a:pt x="270" y="12"/>
                        </a:lnTo>
                        <a:lnTo>
                          <a:pt x="276" y="12"/>
                        </a:lnTo>
                        <a:lnTo>
                          <a:pt x="294" y="6"/>
                        </a:lnTo>
                        <a:lnTo>
                          <a:pt x="306" y="0"/>
                        </a:lnTo>
                        <a:lnTo>
                          <a:pt x="330" y="0"/>
                        </a:lnTo>
                        <a:lnTo>
                          <a:pt x="342" y="6"/>
                        </a:lnTo>
                        <a:lnTo>
                          <a:pt x="342" y="18"/>
                        </a:lnTo>
                        <a:lnTo>
                          <a:pt x="336" y="24"/>
                        </a:lnTo>
                        <a:lnTo>
                          <a:pt x="312" y="42"/>
                        </a:lnTo>
                        <a:lnTo>
                          <a:pt x="312" y="48"/>
                        </a:lnTo>
                        <a:lnTo>
                          <a:pt x="306" y="54"/>
                        </a:lnTo>
                        <a:lnTo>
                          <a:pt x="300" y="72"/>
                        </a:lnTo>
                        <a:lnTo>
                          <a:pt x="276" y="96"/>
                        </a:lnTo>
                        <a:lnTo>
                          <a:pt x="258" y="102"/>
                        </a:lnTo>
                        <a:lnTo>
                          <a:pt x="246" y="102"/>
                        </a:lnTo>
                        <a:lnTo>
                          <a:pt x="210" y="150"/>
                        </a:lnTo>
                        <a:lnTo>
                          <a:pt x="210" y="174"/>
                        </a:lnTo>
                        <a:lnTo>
                          <a:pt x="234" y="156"/>
                        </a:lnTo>
                        <a:lnTo>
                          <a:pt x="264" y="108"/>
                        </a:lnTo>
                        <a:lnTo>
                          <a:pt x="282" y="126"/>
                        </a:lnTo>
                        <a:lnTo>
                          <a:pt x="306" y="138"/>
                        </a:lnTo>
                        <a:lnTo>
                          <a:pt x="294" y="168"/>
                        </a:lnTo>
                        <a:lnTo>
                          <a:pt x="324" y="168"/>
                        </a:lnTo>
                        <a:lnTo>
                          <a:pt x="330" y="192"/>
                        </a:lnTo>
                        <a:lnTo>
                          <a:pt x="384" y="162"/>
                        </a:lnTo>
                        <a:lnTo>
                          <a:pt x="402" y="174"/>
                        </a:lnTo>
                        <a:lnTo>
                          <a:pt x="396" y="180"/>
                        </a:lnTo>
                        <a:lnTo>
                          <a:pt x="390" y="192"/>
                        </a:lnTo>
                        <a:lnTo>
                          <a:pt x="378" y="204"/>
                        </a:lnTo>
                        <a:lnTo>
                          <a:pt x="372" y="204"/>
                        </a:lnTo>
                        <a:lnTo>
                          <a:pt x="384" y="204"/>
                        </a:lnTo>
                        <a:lnTo>
                          <a:pt x="396" y="210"/>
                        </a:lnTo>
                        <a:lnTo>
                          <a:pt x="408" y="210"/>
                        </a:lnTo>
                        <a:lnTo>
                          <a:pt x="408" y="216"/>
                        </a:lnTo>
                        <a:lnTo>
                          <a:pt x="396" y="240"/>
                        </a:lnTo>
                        <a:lnTo>
                          <a:pt x="384" y="252"/>
                        </a:lnTo>
                        <a:lnTo>
                          <a:pt x="378" y="264"/>
                        </a:lnTo>
                        <a:lnTo>
                          <a:pt x="366" y="276"/>
                        </a:lnTo>
                        <a:lnTo>
                          <a:pt x="360" y="288"/>
                        </a:lnTo>
                        <a:lnTo>
                          <a:pt x="354" y="294"/>
                        </a:lnTo>
                        <a:lnTo>
                          <a:pt x="390" y="294"/>
                        </a:lnTo>
                        <a:lnTo>
                          <a:pt x="354" y="312"/>
                        </a:lnTo>
                        <a:lnTo>
                          <a:pt x="384" y="312"/>
                        </a:lnTo>
                        <a:lnTo>
                          <a:pt x="420" y="300"/>
                        </a:lnTo>
                        <a:lnTo>
                          <a:pt x="426" y="324"/>
                        </a:lnTo>
                        <a:lnTo>
                          <a:pt x="360" y="384"/>
                        </a:lnTo>
                        <a:lnTo>
                          <a:pt x="318" y="378"/>
                        </a:lnTo>
                        <a:lnTo>
                          <a:pt x="336" y="354"/>
                        </a:lnTo>
                        <a:lnTo>
                          <a:pt x="306" y="360"/>
                        </a:lnTo>
                        <a:lnTo>
                          <a:pt x="300" y="348"/>
                        </a:lnTo>
                        <a:lnTo>
                          <a:pt x="228" y="360"/>
                        </a:lnTo>
                        <a:lnTo>
                          <a:pt x="192" y="354"/>
                        </a:lnTo>
                        <a:lnTo>
                          <a:pt x="186" y="348"/>
                        </a:lnTo>
                        <a:lnTo>
                          <a:pt x="228" y="336"/>
                        </a:lnTo>
                        <a:lnTo>
                          <a:pt x="234" y="330"/>
                        </a:lnTo>
                        <a:lnTo>
                          <a:pt x="234" y="324"/>
                        </a:lnTo>
                        <a:lnTo>
                          <a:pt x="228" y="324"/>
                        </a:lnTo>
                        <a:lnTo>
                          <a:pt x="222" y="318"/>
                        </a:lnTo>
                        <a:lnTo>
                          <a:pt x="198" y="318"/>
                        </a:lnTo>
                        <a:lnTo>
                          <a:pt x="162" y="312"/>
                        </a:lnTo>
                        <a:lnTo>
                          <a:pt x="126" y="300"/>
                        </a:lnTo>
                        <a:lnTo>
                          <a:pt x="96" y="294"/>
                        </a:lnTo>
                        <a:lnTo>
                          <a:pt x="78" y="294"/>
                        </a:lnTo>
                        <a:lnTo>
                          <a:pt x="72" y="300"/>
                        </a:lnTo>
                        <a:lnTo>
                          <a:pt x="48" y="300"/>
                        </a:lnTo>
                        <a:lnTo>
                          <a:pt x="36" y="306"/>
                        </a:lnTo>
                        <a:lnTo>
                          <a:pt x="24" y="306"/>
                        </a:lnTo>
                        <a:lnTo>
                          <a:pt x="12" y="300"/>
                        </a:lnTo>
                        <a:lnTo>
                          <a:pt x="6" y="294"/>
                        </a:lnTo>
                        <a:lnTo>
                          <a:pt x="18" y="282"/>
                        </a:lnTo>
                        <a:lnTo>
                          <a:pt x="24" y="282"/>
                        </a:lnTo>
                        <a:lnTo>
                          <a:pt x="30" y="276"/>
                        </a:lnTo>
                        <a:lnTo>
                          <a:pt x="42" y="276"/>
                        </a:lnTo>
                        <a:lnTo>
                          <a:pt x="30" y="276"/>
                        </a:lnTo>
                        <a:lnTo>
                          <a:pt x="12" y="270"/>
                        </a:lnTo>
                        <a:lnTo>
                          <a:pt x="0" y="258"/>
                        </a:lnTo>
                        <a:lnTo>
                          <a:pt x="6" y="252"/>
                        </a:lnTo>
                        <a:lnTo>
                          <a:pt x="18" y="252"/>
                        </a:lnTo>
                        <a:lnTo>
                          <a:pt x="54" y="234"/>
                        </a:lnTo>
                        <a:lnTo>
                          <a:pt x="60" y="228"/>
                        </a:lnTo>
                        <a:lnTo>
                          <a:pt x="66" y="228"/>
                        </a:lnTo>
                        <a:lnTo>
                          <a:pt x="204" y="90"/>
                        </a:lnTo>
                        <a:lnTo>
                          <a:pt x="258"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81" name="Netherlands"/>
                  <p:cNvSpPr>
                    <a:spLocks/>
                  </p:cNvSpPr>
                  <p:nvPr/>
                </p:nvSpPr>
                <p:spPr bwMode="gray">
                  <a:xfrm>
                    <a:off x="2724" y="1215"/>
                    <a:ext cx="69" cy="54"/>
                  </a:xfrm>
                  <a:custGeom>
                    <a:avLst/>
                    <a:gdLst>
                      <a:gd name="T0" fmla="*/ 0 w 270"/>
                      <a:gd name="T1" fmla="*/ 2147483647 h 210"/>
                      <a:gd name="T2" fmla="*/ 2147483647 w 270"/>
                      <a:gd name="T3" fmla="*/ 2147483647 h 210"/>
                      <a:gd name="T4" fmla="*/ 2147483647 w 270"/>
                      <a:gd name="T5" fmla="*/ 2147483647 h 210"/>
                      <a:gd name="T6" fmla="*/ 2147483647 w 270"/>
                      <a:gd name="T7" fmla="*/ 2147483647 h 210"/>
                      <a:gd name="T8" fmla="*/ 2147483647 w 270"/>
                      <a:gd name="T9" fmla="*/ 2147483647 h 210"/>
                      <a:gd name="T10" fmla="*/ 2147483647 w 270"/>
                      <a:gd name="T11" fmla="*/ 2147483647 h 210"/>
                      <a:gd name="T12" fmla="*/ 2147483647 w 270"/>
                      <a:gd name="T13" fmla="*/ 2147483647 h 210"/>
                      <a:gd name="T14" fmla="*/ 2147483647 w 270"/>
                      <a:gd name="T15" fmla="*/ 2147483647 h 210"/>
                      <a:gd name="T16" fmla="*/ 2147483647 w 270"/>
                      <a:gd name="T17" fmla="*/ 2147483647 h 210"/>
                      <a:gd name="T18" fmla="*/ 2147483647 w 270"/>
                      <a:gd name="T19" fmla="*/ 2147483647 h 210"/>
                      <a:gd name="T20" fmla="*/ 2147483647 w 270"/>
                      <a:gd name="T21" fmla="*/ 2147483647 h 210"/>
                      <a:gd name="T22" fmla="*/ 2147483647 w 270"/>
                      <a:gd name="T23" fmla="*/ 2147483647 h 210"/>
                      <a:gd name="T24" fmla="*/ 2147483647 w 270"/>
                      <a:gd name="T25" fmla="*/ 2147483647 h 210"/>
                      <a:gd name="T26" fmla="*/ 2147483647 w 270"/>
                      <a:gd name="T27" fmla="*/ 2147483647 h 210"/>
                      <a:gd name="T28" fmla="*/ 2147483647 w 270"/>
                      <a:gd name="T29" fmla="*/ 2147483647 h 210"/>
                      <a:gd name="T30" fmla="*/ 2147483647 w 270"/>
                      <a:gd name="T31" fmla="*/ 2147483647 h 210"/>
                      <a:gd name="T32" fmla="*/ 2147483647 w 270"/>
                      <a:gd name="T33" fmla="*/ 2147483647 h 210"/>
                      <a:gd name="T34" fmla="*/ 2147483647 w 270"/>
                      <a:gd name="T35" fmla="*/ 2147483647 h 210"/>
                      <a:gd name="T36" fmla="*/ 2147483647 w 270"/>
                      <a:gd name="T37" fmla="*/ 2147483647 h 210"/>
                      <a:gd name="T38" fmla="*/ 2147483647 w 270"/>
                      <a:gd name="T39" fmla="*/ 2147483647 h 210"/>
                      <a:gd name="T40" fmla="*/ 2147483647 w 270"/>
                      <a:gd name="T41" fmla="*/ 2147483647 h 210"/>
                      <a:gd name="T42" fmla="*/ 2147483647 w 270"/>
                      <a:gd name="T43" fmla="*/ 2147483647 h 210"/>
                      <a:gd name="T44" fmla="*/ 2147483647 w 270"/>
                      <a:gd name="T45" fmla="*/ 2147483647 h 210"/>
                      <a:gd name="T46" fmla="*/ 2147483647 w 270"/>
                      <a:gd name="T47" fmla="*/ 2147483647 h 210"/>
                      <a:gd name="T48" fmla="*/ 2147483647 w 270"/>
                      <a:gd name="T49" fmla="*/ 2147483647 h 210"/>
                      <a:gd name="T50" fmla="*/ 2147483647 w 270"/>
                      <a:gd name="T51" fmla="*/ 2147483647 h 210"/>
                      <a:gd name="T52" fmla="*/ 2147483647 w 270"/>
                      <a:gd name="T53" fmla="*/ 2147483647 h 210"/>
                      <a:gd name="T54" fmla="*/ 2147483647 w 270"/>
                      <a:gd name="T55" fmla="*/ 2147483647 h 210"/>
                      <a:gd name="T56" fmla="*/ 2147483647 w 270"/>
                      <a:gd name="T57" fmla="*/ 2147483647 h 210"/>
                      <a:gd name="T58" fmla="*/ 2147483647 w 270"/>
                      <a:gd name="T59" fmla="*/ 0 h 210"/>
                      <a:gd name="T60" fmla="*/ 2147483647 w 270"/>
                      <a:gd name="T61" fmla="*/ 2147483647 h 210"/>
                      <a:gd name="T62" fmla="*/ 2147483647 w 270"/>
                      <a:gd name="T63" fmla="*/ 2147483647 h 210"/>
                      <a:gd name="T64" fmla="*/ 2147483647 w 270"/>
                      <a:gd name="T65" fmla="*/ 2147483647 h 210"/>
                      <a:gd name="T66" fmla="*/ 2147483647 w 270"/>
                      <a:gd name="T67" fmla="*/ 2147483647 h 210"/>
                      <a:gd name="T68" fmla="*/ 2147483647 w 270"/>
                      <a:gd name="T69" fmla="*/ 2147483647 h 210"/>
                      <a:gd name="T70" fmla="*/ 2147483647 w 270"/>
                      <a:gd name="T71" fmla="*/ 2147483647 h 210"/>
                      <a:gd name="T72" fmla="*/ 2147483647 w 270"/>
                      <a:gd name="T73" fmla="*/ 2147483647 h 210"/>
                      <a:gd name="T74" fmla="*/ 2147483647 w 270"/>
                      <a:gd name="T75" fmla="*/ 2147483647 h 210"/>
                      <a:gd name="T76" fmla="*/ 2147483647 w 270"/>
                      <a:gd name="T77" fmla="*/ 2147483647 h 210"/>
                      <a:gd name="T78" fmla="*/ 2147483647 w 270"/>
                      <a:gd name="T79" fmla="*/ 2147483647 h 210"/>
                      <a:gd name="T80" fmla="*/ 2147483647 w 270"/>
                      <a:gd name="T81" fmla="*/ 2147483647 h 210"/>
                      <a:gd name="T82" fmla="*/ 2147483647 w 270"/>
                      <a:gd name="T83" fmla="*/ 2147483647 h 210"/>
                      <a:gd name="T84" fmla="*/ 2147483647 w 270"/>
                      <a:gd name="T85" fmla="*/ 2147483647 h 210"/>
                      <a:gd name="T86" fmla="*/ 2147483647 w 270"/>
                      <a:gd name="T87" fmla="*/ 2147483647 h 210"/>
                      <a:gd name="T88" fmla="*/ 2147483647 w 270"/>
                      <a:gd name="T89" fmla="*/ 2147483647 h 21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70"/>
                      <a:gd name="T136" fmla="*/ 0 h 210"/>
                      <a:gd name="T137" fmla="*/ 270 w 270"/>
                      <a:gd name="T138" fmla="*/ 210 h 21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70" h="210">
                        <a:moveTo>
                          <a:pt x="18" y="156"/>
                        </a:moveTo>
                        <a:lnTo>
                          <a:pt x="0" y="174"/>
                        </a:lnTo>
                        <a:lnTo>
                          <a:pt x="12" y="162"/>
                        </a:lnTo>
                        <a:lnTo>
                          <a:pt x="24" y="162"/>
                        </a:lnTo>
                        <a:lnTo>
                          <a:pt x="30" y="168"/>
                        </a:lnTo>
                        <a:lnTo>
                          <a:pt x="54" y="168"/>
                        </a:lnTo>
                        <a:lnTo>
                          <a:pt x="60" y="174"/>
                        </a:lnTo>
                        <a:lnTo>
                          <a:pt x="66" y="162"/>
                        </a:lnTo>
                        <a:lnTo>
                          <a:pt x="84" y="168"/>
                        </a:lnTo>
                        <a:lnTo>
                          <a:pt x="84" y="156"/>
                        </a:lnTo>
                        <a:lnTo>
                          <a:pt x="96" y="162"/>
                        </a:lnTo>
                        <a:lnTo>
                          <a:pt x="96" y="156"/>
                        </a:lnTo>
                        <a:lnTo>
                          <a:pt x="132" y="156"/>
                        </a:lnTo>
                        <a:lnTo>
                          <a:pt x="132" y="168"/>
                        </a:lnTo>
                        <a:lnTo>
                          <a:pt x="138" y="174"/>
                        </a:lnTo>
                        <a:lnTo>
                          <a:pt x="150" y="174"/>
                        </a:lnTo>
                        <a:lnTo>
                          <a:pt x="162" y="168"/>
                        </a:lnTo>
                        <a:lnTo>
                          <a:pt x="168" y="168"/>
                        </a:lnTo>
                        <a:lnTo>
                          <a:pt x="174" y="174"/>
                        </a:lnTo>
                        <a:lnTo>
                          <a:pt x="174" y="192"/>
                        </a:lnTo>
                        <a:lnTo>
                          <a:pt x="168" y="198"/>
                        </a:lnTo>
                        <a:lnTo>
                          <a:pt x="168" y="210"/>
                        </a:lnTo>
                        <a:lnTo>
                          <a:pt x="180" y="210"/>
                        </a:lnTo>
                        <a:lnTo>
                          <a:pt x="180" y="198"/>
                        </a:lnTo>
                        <a:lnTo>
                          <a:pt x="186" y="192"/>
                        </a:lnTo>
                        <a:lnTo>
                          <a:pt x="186" y="180"/>
                        </a:lnTo>
                        <a:lnTo>
                          <a:pt x="180" y="174"/>
                        </a:lnTo>
                        <a:lnTo>
                          <a:pt x="186" y="168"/>
                        </a:lnTo>
                        <a:lnTo>
                          <a:pt x="198" y="162"/>
                        </a:lnTo>
                        <a:lnTo>
                          <a:pt x="198" y="156"/>
                        </a:lnTo>
                        <a:lnTo>
                          <a:pt x="192" y="150"/>
                        </a:lnTo>
                        <a:lnTo>
                          <a:pt x="192" y="144"/>
                        </a:lnTo>
                        <a:lnTo>
                          <a:pt x="186" y="120"/>
                        </a:lnTo>
                        <a:lnTo>
                          <a:pt x="192" y="120"/>
                        </a:lnTo>
                        <a:lnTo>
                          <a:pt x="198" y="126"/>
                        </a:lnTo>
                        <a:lnTo>
                          <a:pt x="222" y="126"/>
                        </a:lnTo>
                        <a:lnTo>
                          <a:pt x="222" y="120"/>
                        </a:lnTo>
                        <a:lnTo>
                          <a:pt x="228" y="114"/>
                        </a:lnTo>
                        <a:lnTo>
                          <a:pt x="234" y="114"/>
                        </a:lnTo>
                        <a:lnTo>
                          <a:pt x="240" y="102"/>
                        </a:lnTo>
                        <a:lnTo>
                          <a:pt x="246" y="96"/>
                        </a:lnTo>
                        <a:lnTo>
                          <a:pt x="252" y="96"/>
                        </a:lnTo>
                        <a:lnTo>
                          <a:pt x="252" y="90"/>
                        </a:lnTo>
                        <a:lnTo>
                          <a:pt x="240" y="78"/>
                        </a:lnTo>
                        <a:lnTo>
                          <a:pt x="234" y="78"/>
                        </a:lnTo>
                        <a:lnTo>
                          <a:pt x="228" y="72"/>
                        </a:lnTo>
                        <a:lnTo>
                          <a:pt x="228" y="66"/>
                        </a:lnTo>
                        <a:lnTo>
                          <a:pt x="234" y="66"/>
                        </a:lnTo>
                        <a:lnTo>
                          <a:pt x="246" y="60"/>
                        </a:lnTo>
                        <a:lnTo>
                          <a:pt x="258" y="60"/>
                        </a:lnTo>
                        <a:lnTo>
                          <a:pt x="252" y="54"/>
                        </a:lnTo>
                        <a:lnTo>
                          <a:pt x="252" y="36"/>
                        </a:lnTo>
                        <a:lnTo>
                          <a:pt x="258" y="36"/>
                        </a:lnTo>
                        <a:lnTo>
                          <a:pt x="270" y="30"/>
                        </a:lnTo>
                        <a:lnTo>
                          <a:pt x="264" y="18"/>
                        </a:lnTo>
                        <a:lnTo>
                          <a:pt x="270" y="12"/>
                        </a:lnTo>
                        <a:lnTo>
                          <a:pt x="264" y="12"/>
                        </a:lnTo>
                        <a:lnTo>
                          <a:pt x="252" y="6"/>
                        </a:lnTo>
                        <a:lnTo>
                          <a:pt x="246" y="6"/>
                        </a:lnTo>
                        <a:lnTo>
                          <a:pt x="234" y="0"/>
                        </a:lnTo>
                        <a:lnTo>
                          <a:pt x="180" y="0"/>
                        </a:lnTo>
                        <a:lnTo>
                          <a:pt x="168" y="12"/>
                        </a:lnTo>
                        <a:lnTo>
                          <a:pt x="156" y="18"/>
                        </a:lnTo>
                        <a:lnTo>
                          <a:pt x="156" y="30"/>
                        </a:lnTo>
                        <a:lnTo>
                          <a:pt x="162" y="36"/>
                        </a:lnTo>
                        <a:lnTo>
                          <a:pt x="162" y="54"/>
                        </a:lnTo>
                        <a:lnTo>
                          <a:pt x="168" y="60"/>
                        </a:lnTo>
                        <a:lnTo>
                          <a:pt x="174" y="60"/>
                        </a:lnTo>
                        <a:lnTo>
                          <a:pt x="180" y="66"/>
                        </a:lnTo>
                        <a:lnTo>
                          <a:pt x="180" y="78"/>
                        </a:lnTo>
                        <a:lnTo>
                          <a:pt x="168" y="84"/>
                        </a:lnTo>
                        <a:lnTo>
                          <a:pt x="162" y="90"/>
                        </a:lnTo>
                        <a:lnTo>
                          <a:pt x="144" y="90"/>
                        </a:lnTo>
                        <a:lnTo>
                          <a:pt x="138" y="84"/>
                        </a:lnTo>
                        <a:lnTo>
                          <a:pt x="138" y="66"/>
                        </a:lnTo>
                        <a:lnTo>
                          <a:pt x="150" y="54"/>
                        </a:lnTo>
                        <a:lnTo>
                          <a:pt x="150" y="36"/>
                        </a:lnTo>
                        <a:lnTo>
                          <a:pt x="144" y="30"/>
                        </a:lnTo>
                        <a:lnTo>
                          <a:pt x="144" y="24"/>
                        </a:lnTo>
                        <a:lnTo>
                          <a:pt x="132" y="36"/>
                        </a:lnTo>
                        <a:lnTo>
                          <a:pt x="120" y="42"/>
                        </a:lnTo>
                        <a:lnTo>
                          <a:pt x="114" y="48"/>
                        </a:lnTo>
                        <a:lnTo>
                          <a:pt x="102" y="54"/>
                        </a:lnTo>
                        <a:lnTo>
                          <a:pt x="96" y="66"/>
                        </a:lnTo>
                        <a:lnTo>
                          <a:pt x="96" y="84"/>
                        </a:lnTo>
                        <a:lnTo>
                          <a:pt x="90" y="90"/>
                        </a:lnTo>
                        <a:lnTo>
                          <a:pt x="90" y="102"/>
                        </a:lnTo>
                        <a:lnTo>
                          <a:pt x="60" y="132"/>
                        </a:lnTo>
                        <a:lnTo>
                          <a:pt x="72" y="144"/>
                        </a:lnTo>
                        <a:lnTo>
                          <a:pt x="42" y="144"/>
                        </a:lnTo>
                        <a:lnTo>
                          <a:pt x="18" y="15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82" name="Nepal"/>
                  <p:cNvSpPr>
                    <a:spLocks/>
                  </p:cNvSpPr>
                  <p:nvPr/>
                </p:nvSpPr>
                <p:spPr bwMode="gray">
                  <a:xfrm>
                    <a:off x="4064" y="1682"/>
                    <a:ext cx="150" cy="84"/>
                  </a:xfrm>
                  <a:custGeom>
                    <a:avLst/>
                    <a:gdLst>
                      <a:gd name="T0" fmla="*/ 2147483647 w 588"/>
                      <a:gd name="T1" fmla="*/ 2147483647 h 330"/>
                      <a:gd name="T2" fmla="*/ 2147483647 w 588"/>
                      <a:gd name="T3" fmla="*/ 2147483647 h 330"/>
                      <a:gd name="T4" fmla="*/ 2147483647 w 588"/>
                      <a:gd name="T5" fmla="*/ 2147483647 h 330"/>
                      <a:gd name="T6" fmla="*/ 2147483647 w 588"/>
                      <a:gd name="T7" fmla="*/ 2147483647 h 330"/>
                      <a:gd name="T8" fmla="*/ 2147483647 w 588"/>
                      <a:gd name="T9" fmla="*/ 2147483647 h 330"/>
                      <a:gd name="T10" fmla="*/ 2147483647 w 588"/>
                      <a:gd name="T11" fmla="*/ 2147483647 h 330"/>
                      <a:gd name="T12" fmla="*/ 2147483647 w 588"/>
                      <a:gd name="T13" fmla="*/ 2147483647 h 330"/>
                      <a:gd name="T14" fmla="*/ 2147483647 w 588"/>
                      <a:gd name="T15" fmla="*/ 2147483647 h 330"/>
                      <a:gd name="T16" fmla="*/ 2147483647 w 588"/>
                      <a:gd name="T17" fmla="*/ 2147483647 h 330"/>
                      <a:gd name="T18" fmla="*/ 2147483647 w 588"/>
                      <a:gd name="T19" fmla="*/ 2147483647 h 330"/>
                      <a:gd name="T20" fmla="*/ 2147483647 w 588"/>
                      <a:gd name="T21" fmla="*/ 2147483647 h 330"/>
                      <a:gd name="T22" fmla="*/ 2147483647 w 588"/>
                      <a:gd name="T23" fmla="*/ 2147483647 h 330"/>
                      <a:gd name="T24" fmla="*/ 2147483647 w 588"/>
                      <a:gd name="T25" fmla="*/ 2147483647 h 330"/>
                      <a:gd name="T26" fmla="*/ 2147483647 w 588"/>
                      <a:gd name="T27" fmla="*/ 2147483647 h 330"/>
                      <a:gd name="T28" fmla="*/ 2147483647 w 588"/>
                      <a:gd name="T29" fmla="*/ 2147483647 h 330"/>
                      <a:gd name="T30" fmla="*/ 2147483647 w 588"/>
                      <a:gd name="T31" fmla="*/ 2147483647 h 330"/>
                      <a:gd name="T32" fmla="*/ 2147483647 w 588"/>
                      <a:gd name="T33" fmla="*/ 2147483647 h 330"/>
                      <a:gd name="T34" fmla="*/ 2147483647 w 588"/>
                      <a:gd name="T35" fmla="*/ 2147483647 h 330"/>
                      <a:gd name="T36" fmla="*/ 2147483647 w 588"/>
                      <a:gd name="T37" fmla="*/ 2147483647 h 330"/>
                      <a:gd name="T38" fmla="*/ 2147483647 w 588"/>
                      <a:gd name="T39" fmla="*/ 2147483647 h 330"/>
                      <a:gd name="T40" fmla="*/ 2147483647 w 588"/>
                      <a:gd name="T41" fmla="*/ 2147483647 h 330"/>
                      <a:gd name="T42" fmla="*/ 2147483647 w 588"/>
                      <a:gd name="T43" fmla="*/ 2147483647 h 330"/>
                      <a:gd name="T44" fmla="*/ 2147483647 w 588"/>
                      <a:gd name="T45" fmla="*/ 2147483647 h 330"/>
                      <a:gd name="T46" fmla="*/ 2147483647 w 588"/>
                      <a:gd name="T47" fmla="*/ 2147483647 h 330"/>
                      <a:gd name="T48" fmla="*/ 2147483647 w 588"/>
                      <a:gd name="T49" fmla="*/ 2147483647 h 330"/>
                      <a:gd name="T50" fmla="*/ 2147483647 w 588"/>
                      <a:gd name="T51" fmla="*/ 2147483647 h 330"/>
                      <a:gd name="T52" fmla="*/ 2147483647 w 588"/>
                      <a:gd name="T53" fmla="*/ 2147483647 h 330"/>
                      <a:gd name="T54" fmla="*/ 2147483647 w 588"/>
                      <a:gd name="T55" fmla="*/ 2147483647 h 330"/>
                      <a:gd name="T56" fmla="*/ 2147483647 w 588"/>
                      <a:gd name="T57" fmla="*/ 2147483647 h 330"/>
                      <a:gd name="T58" fmla="*/ 2147483647 w 588"/>
                      <a:gd name="T59" fmla="*/ 2147483647 h 330"/>
                      <a:gd name="T60" fmla="*/ 2147483647 w 588"/>
                      <a:gd name="T61" fmla="*/ 2147483647 h 330"/>
                      <a:gd name="T62" fmla="*/ 2147483647 w 588"/>
                      <a:gd name="T63" fmla="*/ 2147483647 h 330"/>
                      <a:gd name="T64" fmla="*/ 2147483647 w 588"/>
                      <a:gd name="T65" fmla="*/ 2147483647 h 330"/>
                      <a:gd name="T66" fmla="*/ 2147483647 w 588"/>
                      <a:gd name="T67" fmla="*/ 2147483647 h 330"/>
                      <a:gd name="T68" fmla="*/ 2147483647 w 588"/>
                      <a:gd name="T69" fmla="*/ 2147483647 h 330"/>
                      <a:gd name="T70" fmla="*/ 2147483647 w 588"/>
                      <a:gd name="T71" fmla="*/ 0 h 330"/>
                      <a:gd name="T72" fmla="*/ 2147483647 w 588"/>
                      <a:gd name="T73" fmla="*/ 2147483647 h 330"/>
                      <a:gd name="T74" fmla="*/ 2147483647 w 588"/>
                      <a:gd name="T75" fmla="*/ 2147483647 h 330"/>
                      <a:gd name="T76" fmla="*/ 2147483647 w 588"/>
                      <a:gd name="T77" fmla="*/ 2147483647 h 330"/>
                      <a:gd name="T78" fmla="*/ 2147483647 w 588"/>
                      <a:gd name="T79" fmla="*/ 2147483647 h 330"/>
                      <a:gd name="T80" fmla="*/ 2147483647 w 588"/>
                      <a:gd name="T81" fmla="*/ 2147483647 h 330"/>
                      <a:gd name="T82" fmla="*/ 2147483647 w 588"/>
                      <a:gd name="T83" fmla="*/ 2147483647 h 330"/>
                      <a:gd name="T84" fmla="*/ 0 w 588"/>
                      <a:gd name="T85" fmla="*/ 2147483647 h 330"/>
                      <a:gd name="T86" fmla="*/ 2147483647 w 588"/>
                      <a:gd name="T87" fmla="*/ 2147483647 h 330"/>
                      <a:gd name="T88" fmla="*/ 2147483647 w 588"/>
                      <a:gd name="T89" fmla="*/ 2147483647 h 330"/>
                      <a:gd name="T90" fmla="*/ 2147483647 w 588"/>
                      <a:gd name="T91" fmla="*/ 2147483647 h 330"/>
                      <a:gd name="T92" fmla="*/ 2147483647 w 588"/>
                      <a:gd name="T93" fmla="*/ 2147483647 h 330"/>
                      <a:gd name="T94" fmla="*/ 2147483647 w 588"/>
                      <a:gd name="T95" fmla="*/ 2147483647 h 330"/>
                      <a:gd name="T96" fmla="*/ 2147483647 w 588"/>
                      <a:gd name="T97" fmla="*/ 2147483647 h 330"/>
                      <a:gd name="T98" fmla="*/ 2147483647 w 588"/>
                      <a:gd name="T99" fmla="*/ 2147483647 h 330"/>
                      <a:gd name="T100" fmla="*/ 2147483647 w 588"/>
                      <a:gd name="T101" fmla="*/ 2147483647 h 330"/>
                      <a:gd name="T102" fmla="*/ 2147483647 w 588"/>
                      <a:gd name="T103" fmla="*/ 2147483647 h 330"/>
                      <a:gd name="T104" fmla="*/ 2147483647 w 588"/>
                      <a:gd name="T105" fmla="*/ 2147483647 h 330"/>
                      <a:gd name="T106" fmla="*/ 2147483647 w 588"/>
                      <a:gd name="T107" fmla="*/ 2147483647 h 330"/>
                      <a:gd name="T108" fmla="*/ 2147483647 w 588"/>
                      <a:gd name="T109" fmla="*/ 2147483647 h 3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88"/>
                      <a:gd name="T166" fmla="*/ 0 h 330"/>
                      <a:gd name="T167" fmla="*/ 588 w 588"/>
                      <a:gd name="T168" fmla="*/ 330 h 33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88" h="330">
                        <a:moveTo>
                          <a:pt x="294" y="234"/>
                        </a:moveTo>
                        <a:lnTo>
                          <a:pt x="306" y="246"/>
                        </a:lnTo>
                        <a:lnTo>
                          <a:pt x="306" y="252"/>
                        </a:lnTo>
                        <a:lnTo>
                          <a:pt x="330" y="252"/>
                        </a:lnTo>
                        <a:lnTo>
                          <a:pt x="384" y="306"/>
                        </a:lnTo>
                        <a:lnTo>
                          <a:pt x="402" y="294"/>
                        </a:lnTo>
                        <a:lnTo>
                          <a:pt x="432" y="312"/>
                        </a:lnTo>
                        <a:lnTo>
                          <a:pt x="438" y="306"/>
                        </a:lnTo>
                        <a:lnTo>
                          <a:pt x="456" y="306"/>
                        </a:lnTo>
                        <a:lnTo>
                          <a:pt x="474" y="312"/>
                        </a:lnTo>
                        <a:lnTo>
                          <a:pt x="486" y="318"/>
                        </a:lnTo>
                        <a:lnTo>
                          <a:pt x="492" y="330"/>
                        </a:lnTo>
                        <a:lnTo>
                          <a:pt x="498" y="318"/>
                        </a:lnTo>
                        <a:lnTo>
                          <a:pt x="510" y="312"/>
                        </a:lnTo>
                        <a:lnTo>
                          <a:pt x="516" y="312"/>
                        </a:lnTo>
                        <a:lnTo>
                          <a:pt x="522" y="318"/>
                        </a:lnTo>
                        <a:lnTo>
                          <a:pt x="522" y="330"/>
                        </a:lnTo>
                        <a:lnTo>
                          <a:pt x="588" y="330"/>
                        </a:lnTo>
                        <a:lnTo>
                          <a:pt x="588" y="294"/>
                        </a:lnTo>
                        <a:lnTo>
                          <a:pt x="576" y="270"/>
                        </a:lnTo>
                        <a:lnTo>
                          <a:pt x="576" y="222"/>
                        </a:lnTo>
                        <a:lnTo>
                          <a:pt x="564" y="204"/>
                        </a:lnTo>
                        <a:lnTo>
                          <a:pt x="540" y="216"/>
                        </a:lnTo>
                        <a:lnTo>
                          <a:pt x="522" y="216"/>
                        </a:lnTo>
                        <a:lnTo>
                          <a:pt x="498" y="204"/>
                        </a:lnTo>
                        <a:lnTo>
                          <a:pt x="480" y="198"/>
                        </a:lnTo>
                        <a:lnTo>
                          <a:pt x="474" y="192"/>
                        </a:lnTo>
                        <a:lnTo>
                          <a:pt x="462" y="186"/>
                        </a:lnTo>
                        <a:lnTo>
                          <a:pt x="462" y="192"/>
                        </a:lnTo>
                        <a:lnTo>
                          <a:pt x="456" y="198"/>
                        </a:lnTo>
                        <a:lnTo>
                          <a:pt x="438" y="198"/>
                        </a:lnTo>
                        <a:lnTo>
                          <a:pt x="432" y="192"/>
                        </a:lnTo>
                        <a:lnTo>
                          <a:pt x="432" y="180"/>
                        </a:lnTo>
                        <a:lnTo>
                          <a:pt x="432" y="186"/>
                        </a:lnTo>
                        <a:lnTo>
                          <a:pt x="420" y="198"/>
                        </a:lnTo>
                        <a:lnTo>
                          <a:pt x="408" y="198"/>
                        </a:lnTo>
                        <a:lnTo>
                          <a:pt x="402" y="192"/>
                        </a:lnTo>
                        <a:lnTo>
                          <a:pt x="402" y="174"/>
                        </a:lnTo>
                        <a:lnTo>
                          <a:pt x="396" y="174"/>
                        </a:lnTo>
                        <a:lnTo>
                          <a:pt x="390" y="180"/>
                        </a:lnTo>
                        <a:lnTo>
                          <a:pt x="378" y="180"/>
                        </a:lnTo>
                        <a:lnTo>
                          <a:pt x="360" y="174"/>
                        </a:lnTo>
                        <a:lnTo>
                          <a:pt x="354" y="168"/>
                        </a:lnTo>
                        <a:lnTo>
                          <a:pt x="348" y="168"/>
                        </a:lnTo>
                        <a:lnTo>
                          <a:pt x="348" y="162"/>
                        </a:lnTo>
                        <a:lnTo>
                          <a:pt x="354" y="156"/>
                        </a:lnTo>
                        <a:lnTo>
                          <a:pt x="354" y="150"/>
                        </a:lnTo>
                        <a:lnTo>
                          <a:pt x="348" y="144"/>
                        </a:lnTo>
                        <a:lnTo>
                          <a:pt x="342" y="144"/>
                        </a:lnTo>
                        <a:lnTo>
                          <a:pt x="330" y="150"/>
                        </a:lnTo>
                        <a:lnTo>
                          <a:pt x="324" y="156"/>
                        </a:lnTo>
                        <a:lnTo>
                          <a:pt x="312" y="150"/>
                        </a:lnTo>
                        <a:lnTo>
                          <a:pt x="282" y="120"/>
                        </a:lnTo>
                        <a:lnTo>
                          <a:pt x="282" y="102"/>
                        </a:lnTo>
                        <a:lnTo>
                          <a:pt x="276" y="90"/>
                        </a:lnTo>
                        <a:lnTo>
                          <a:pt x="270" y="84"/>
                        </a:lnTo>
                        <a:lnTo>
                          <a:pt x="258" y="84"/>
                        </a:lnTo>
                        <a:lnTo>
                          <a:pt x="252" y="96"/>
                        </a:lnTo>
                        <a:lnTo>
                          <a:pt x="246" y="102"/>
                        </a:lnTo>
                        <a:lnTo>
                          <a:pt x="246" y="108"/>
                        </a:lnTo>
                        <a:lnTo>
                          <a:pt x="234" y="108"/>
                        </a:lnTo>
                        <a:lnTo>
                          <a:pt x="234" y="96"/>
                        </a:lnTo>
                        <a:lnTo>
                          <a:pt x="228" y="90"/>
                        </a:lnTo>
                        <a:lnTo>
                          <a:pt x="222" y="78"/>
                        </a:lnTo>
                        <a:lnTo>
                          <a:pt x="216" y="72"/>
                        </a:lnTo>
                        <a:lnTo>
                          <a:pt x="210" y="60"/>
                        </a:lnTo>
                        <a:lnTo>
                          <a:pt x="168" y="54"/>
                        </a:lnTo>
                        <a:lnTo>
                          <a:pt x="150" y="36"/>
                        </a:lnTo>
                        <a:lnTo>
                          <a:pt x="138" y="30"/>
                        </a:lnTo>
                        <a:lnTo>
                          <a:pt x="132" y="18"/>
                        </a:lnTo>
                        <a:lnTo>
                          <a:pt x="120" y="6"/>
                        </a:lnTo>
                        <a:lnTo>
                          <a:pt x="108" y="0"/>
                        </a:lnTo>
                        <a:lnTo>
                          <a:pt x="96" y="0"/>
                        </a:lnTo>
                        <a:lnTo>
                          <a:pt x="84" y="6"/>
                        </a:lnTo>
                        <a:lnTo>
                          <a:pt x="78" y="12"/>
                        </a:lnTo>
                        <a:lnTo>
                          <a:pt x="54" y="30"/>
                        </a:lnTo>
                        <a:lnTo>
                          <a:pt x="36" y="12"/>
                        </a:lnTo>
                        <a:lnTo>
                          <a:pt x="30" y="36"/>
                        </a:lnTo>
                        <a:lnTo>
                          <a:pt x="6" y="60"/>
                        </a:lnTo>
                        <a:lnTo>
                          <a:pt x="12" y="72"/>
                        </a:lnTo>
                        <a:lnTo>
                          <a:pt x="6" y="78"/>
                        </a:lnTo>
                        <a:lnTo>
                          <a:pt x="6" y="84"/>
                        </a:lnTo>
                        <a:lnTo>
                          <a:pt x="18" y="96"/>
                        </a:lnTo>
                        <a:lnTo>
                          <a:pt x="12" y="96"/>
                        </a:lnTo>
                        <a:lnTo>
                          <a:pt x="0" y="108"/>
                        </a:lnTo>
                        <a:lnTo>
                          <a:pt x="0" y="120"/>
                        </a:lnTo>
                        <a:lnTo>
                          <a:pt x="30" y="150"/>
                        </a:lnTo>
                        <a:lnTo>
                          <a:pt x="42" y="144"/>
                        </a:lnTo>
                        <a:lnTo>
                          <a:pt x="60" y="168"/>
                        </a:lnTo>
                        <a:lnTo>
                          <a:pt x="84" y="168"/>
                        </a:lnTo>
                        <a:lnTo>
                          <a:pt x="96" y="186"/>
                        </a:lnTo>
                        <a:lnTo>
                          <a:pt x="138" y="204"/>
                        </a:lnTo>
                        <a:lnTo>
                          <a:pt x="150" y="204"/>
                        </a:lnTo>
                        <a:lnTo>
                          <a:pt x="156" y="210"/>
                        </a:lnTo>
                        <a:lnTo>
                          <a:pt x="162" y="222"/>
                        </a:lnTo>
                        <a:lnTo>
                          <a:pt x="168" y="228"/>
                        </a:lnTo>
                        <a:lnTo>
                          <a:pt x="186" y="228"/>
                        </a:lnTo>
                        <a:lnTo>
                          <a:pt x="192" y="222"/>
                        </a:lnTo>
                        <a:lnTo>
                          <a:pt x="204" y="222"/>
                        </a:lnTo>
                        <a:lnTo>
                          <a:pt x="204" y="234"/>
                        </a:lnTo>
                        <a:lnTo>
                          <a:pt x="210" y="240"/>
                        </a:lnTo>
                        <a:lnTo>
                          <a:pt x="234" y="240"/>
                        </a:lnTo>
                        <a:lnTo>
                          <a:pt x="240" y="246"/>
                        </a:lnTo>
                        <a:lnTo>
                          <a:pt x="246" y="258"/>
                        </a:lnTo>
                        <a:lnTo>
                          <a:pt x="258" y="246"/>
                        </a:lnTo>
                        <a:lnTo>
                          <a:pt x="276" y="246"/>
                        </a:lnTo>
                        <a:lnTo>
                          <a:pt x="282" y="252"/>
                        </a:lnTo>
                        <a:lnTo>
                          <a:pt x="282" y="258"/>
                        </a:lnTo>
                        <a:lnTo>
                          <a:pt x="282" y="240"/>
                        </a:lnTo>
                        <a:lnTo>
                          <a:pt x="288" y="234"/>
                        </a:lnTo>
                        <a:lnTo>
                          <a:pt x="294" y="23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83" name="Namibia"/>
                  <p:cNvSpPr>
                    <a:spLocks/>
                  </p:cNvSpPr>
                  <p:nvPr/>
                </p:nvSpPr>
                <p:spPr bwMode="gray">
                  <a:xfrm>
                    <a:off x="2864" y="2659"/>
                    <a:ext cx="244" cy="249"/>
                  </a:xfrm>
                  <a:custGeom>
                    <a:avLst/>
                    <a:gdLst>
                      <a:gd name="T0" fmla="*/ 2147483647 w 954"/>
                      <a:gd name="T1" fmla="*/ 2147483647 h 972"/>
                      <a:gd name="T2" fmla="*/ 2147483647 w 954"/>
                      <a:gd name="T3" fmla="*/ 2147483647 h 972"/>
                      <a:gd name="T4" fmla="*/ 2147483647 w 954"/>
                      <a:gd name="T5" fmla="*/ 2147483647 h 972"/>
                      <a:gd name="T6" fmla="*/ 2147483647 w 954"/>
                      <a:gd name="T7" fmla="*/ 2147483647 h 972"/>
                      <a:gd name="T8" fmla="*/ 2147483647 w 954"/>
                      <a:gd name="T9" fmla="*/ 2147483647 h 972"/>
                      <a:gd name="T10" fmla="*/ 2147483647 w 954"/>
                      <a:gd name="T11" fmla="*/ 2147483647 h 972"/>
                      <a:gd name="T12" fmla="*/ 2147483647 w 954"/>
                      <a:gd name="T13" fmla="*/ 2147483647 h 972"/>
                      <a:gd name="T14" fmla="*/ 2147483647 w 954"/>
                      <a:gd name="T15" fmla="*/ 2147483647 h 972"/>
                      <a:gd name="T16" fmla="*/ 2147483647 w 954"/>
                      <a:gd name="T17" fmla="*/ 2147483647 h 972"/>
                      <a:gd name="T18" fmla="*/ 2147483647 w 954"/>
                      <a:gd name="T19" fmla="*/ 2147483647 h 972"/>
                      <a:gd name="T20" fmla="*/ 2147483647 w 954"/>
                      <a:gd name="T21" fmla="*/ 2147483647 h 972"/>
                      <a:gd name="T22" fmla="*/ 2147483647 w 954"/>
                      <a:gd name="T23" fmla="*/ 2147483647 h 972"/>
                      <a:gd name="T24" fmla="*/ 2147483647 w 954"/>
                      <a:gd name="T25" fmla="*/ 2147483647 h 972"/>
                      <a:gd name="T26" fmla="*/ 2147483647 w 954"/>
                      <a:gd name="T27" fmla="*/ 2147483647 h 972"/>
                      <a:gd name="T28" fmla="*/ 2147483647 w 954"/>
                      <a:gd name="T29" fmla="*/ 2147483647 h 972"/>
                      <a:gd name="T30" fmla="*/ 2147483647 w 954"/>
                      <a:gd name="T31" fmla="*/ 2147483647 h 972"/>
                      <a:gd name="T32" fmla="*/ 2147483647 w 954"/>
                      <a:gd name="T33" fmla="*/ 2147483647 h 972"/>
                      <a:gd name="T34" fmla="*/ 2147483647 w 954"/>
                      <a:gd name="T35" fmla="*/ 2147483647 h 972"/>
                      <a:gd name="T36" fmla="*/ 2147483647 w 954"/>
                      <a:gd name="T37" fmla="*/ 2147483647 h 972"/>
                      <a:gd name="T38" fmla="*/ 2147483647 w 954"/>
                      <a:gd name="T39" fmla="*/ 2147483647 h 972"/>
                      <a:gd name="T40" fmla="*/ 2147483647 w 954"/>
                      <a:gd name="T41" fmla="*/ 2147483647 h 972"/>
                      <a:gd name="T42" fmla="*/ 2147483647 w 954"/>
                      <a:gd name="T43" fmla="*/ 2147483647 h 972"/>
                      <a:gd name="T44" fmla="*/ 2147483647 w 954"/>
                      <a:gd name="T45" fmla="*/ 2147483647 h 972"/>
                      <a:gd name="T46" fmla="*/ 2147483647 w 954"/>
                      <a:gd name="T47" fmla="*/ 2147483647 h 972"/>
                      <a:gd name="T48" fmla="*/ 2147483647 w 954"/>
                      <a:gd name="T49" fmla="*/ 2147483647 h 972"/>
                      <a:gd name="T50" fmla="*/ 2147483647 w 954"/>
                      <a:gd name="T51" fmla="*/ 2147483647 h 972"/>
                      <a:gd name="T52" fmla="*/ 2147483647 w 954"/>
                      <a:gd name="T53" fmla="*/ 2147483647 h 972"/>
                      <a:gd name="T54" fmla="*/ 2147483647 w 954"/>
                      <a:gd name="T55" fmla="*/ 2147483647 h 972"/>
                      <a:gd name="T56" fmla="*/ 2147483647 w 954"/>
                      <a:gd name="T57" fmla="*/ 2147483647 h 972"/>
                      <a:gd name="T58" fmla="*/ 2147483647 w 954"/>
                      <a:gd name="T59" fmla="*/ 2147483647 h 972"/>
                      <a:gd name="T60" fmla="*/ 2147483647 w 954"/>
                      <a:gd name="T61" fmla="*/ 2147483647 h 972"/>
                      <a:gd name="T62" fmla="*/ 2147483647 w 954"/>
                      <a:gd name="T63" fmla="*/ 2147483647 h 972"/>
                      <a:gd name="T64" fmla="*/ 2147483647 w 954"/>
                      <a:gd name="T65" fmla="*/ 2147483647 h 972"/>
                      <a:gd name="T66" fmla="*/ 2147483647 w 954"/>
                      <a:gd name="T67" fmla="*/ 0 h 972"/>
                      <a:gd name="T68" fmla="*/ 2147483647 w 954"/>
                      <a:gd name="T69" fmla="*/ 2147483647 h 972"/>
                      <a:gd name="T70" fmla="*/ 2147483647 w 954"/>
                      <a:gd name="T71" fmla="*/ 2147483647 h 972"/>
                      <a:gd name="T72" fmla="*/ 0 w 954"/>
                      <a:gd name="T73" fmla="*/ 2147483647 h 972"/>
                      <a:gd name="T74" fmla="*/ 2147483647 w 954"/>
                      <a:gd name="T75" fmla="*/ 2147483647 h 972"/>
                      <a:gd name="T76" fmla="*/ 2147483647 w 954"/>
                      <a:gd name="T77" fmla="*/ 2147483647 h 972"/>
                      <a:gd name="T78" fmla="*/ 2147483647 w 954"/>
                      <a:gd name="T79" fmla="*/ 2147483647 h 972"/>
                      <a:gd name="T80" fmla="*/ 2147483647 w 954"/>
                      <a:gd name="T81" fmla="*/ 2147483647 h 972"/>
                      <a:gd name="T82" fmla="*/ 2147483647 w 954"/>
                      <a:gd name="T83" fmla="*/ 2147483647 h 972"/>
                      <a:gd name="T84" fmla="*/ 2147483647 w 954"/>
                      <a:gd name="T85" fmla="*/ 2147483647 h 972"/>
                      <a:gd name="T86" fmla="*/ 2147483647 w 954"/>
                      <a:gd name="T87" fmla="*/ 2147483647 h 972"/>
                      <a:gd name="T88" fmla="*/ 2147483647 w 954"/>
                      <a:gd name="T89" fmla="*/ 2147483647 h 972"/>
                      <a:gd name="T90" fmla="*/ 2147483647 w 954"/>
                      <a:gd name="T91" fmla="*/ 2147483647 h 972"/>
                      <a:gd name="T92" fmla="*/ 2147483647 w 954"/>
                      <a:gd name="T93" fmla="*/ 2147483647 h 972"/>
                      <a:gd name="T94" fmla="*/ 2147483647 w 954"/>
                      <a:gd name="T95" fmla="*/ 2147483647 h 972"/>
                      <a:gd name="T96" fmla="*/ 2147483647 w 954"/>
                      <a:gd name="T97" fmla="*/ 2147483647 h 972"/>
                      <a:gd name="T98" fmla="*/ 2147483647 w 954"/>
                      <a:gd name="T99" fmla="*/ 2147483647 h 972"/>
                      <a:gd name="T100" fmla="*/ 2147483647 w 954"/>
                      <a:gd name="T101" fmla="*/ 2147483647 h 972"/>
                      <a:gd name="T102" fmla="*/ 2147483647 w 954"/>
                      <a:gd name="T103" fmla="*/ 2147483647 h 972"/>
                      <a:gd name="T104" fmla="*/ 2147483647 w 954"/>
                      <a:gd name="T105" fmla="*/ 2147483647 h 972"/>
                      <a:gd name="T106" fmla="*/ 2147483647 w 954"/>
                      <a:gd name="T107" fmla="*/ 2147483647 h 972"/>
                      <a:gd name="T108" fmla="*/ 2147483647 w 954"/>
                      <a:gd name="T109" fmla="*/ 2147483647 h 972"/>
                      <a:gd name="T110" fmla="*/ 2147483647 w 954"/>
                      <a:gd name="T111" fmla="*/ 2147483647 h 972"/>
                      <a:gd name="T112" fmla="*/ 2147483647 w 954"/>
                      <a:gd name="T113" fmla="*/ 2147483647 h 972"/>
                      <a:gd name="T114" fmla="*/ 2147483647 w 954"/>
                      <a:gd name="T115" fmla="*/ 2147483647 h 972"/>
                      <a:gd name="T116" fmla="*/ 2147483647 w 954"/>
                      <a:gd name="T117" fmla="*/ 2147483647 h 972"/>
                      <a:gd name="T118" fmla="*/ 2147483647 w 954"/>
                      <a:gd name="T119" fmla="*/ 2147483647 h 9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54"/>
                      <a:gd name="T181" fmla="*/ 0 h 972"/>
                      <a:gd name="T182" fmla="*/ 954 w 954"/>
                      <a:gd name="T183" fmla="*/ 972 h 97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54" h="972">
                        <a:moveTo>
                          <a:pt x="366" y="894"/>
                        </a:moveTo>
                        <a:lnTo>
                          <a:pt x="372" y="894"/>
                        </a:lnTo>
                        <a:lnTo>
                          <a:pt x="390" y="912"/>
                        </a:lnTo>
                        <a:lnTo>
                          <a:pt x="390" y="936"/>
                        </a:lnTo>
                        <a:lnTo>
                          <a:pt x="396" y="948"/>
                        </a:lnTo>
                        <a:lnTo>
                          <a:pt x="402" y="954"/>
                        </a:lnTo>
                        <a:lnTo>
                          <a:pt x="426" y="954"/>
                        </a:lnTo>
                        <a:lnTo>
                          <a:pt x="432" y="960"/>
                        </a:lnTo>
                        <a:lnTo>
                          <a:pt x="432" y="966"/>
                        </a:lnTo>
                        <a:lnTo>
                          <a:pt x="438" y="972"/>
                        </a:lnTo>
                        <a:lnTo>
                          <a:pt x="462" y="972"/>
                        </a:lnTo>
                        <a:lnTo>
                          <a:pt x="474" y="960"/>
                        </a:lnTo>
                        <a:lnTo>
                          <a:pt x="486" y="960"/>
                        </a:lnTo>
                        <a:lnTo>
                          <a:pt x="498" y="972"/>
                        </a:lnTo>
                        <a:lnTo>
                          <a:pt x="522" y="972"/>
                        </a:lnTo>
                        <a:lnTo>
                          <a:pt x="522" y="948"/>
                        </a:lnTo>
                        <a:lnTo>
                          <a:pt x="534" y="948"/>
                        </a:lnTo>
                        <a:lnTo>
                          <a:pt x="534" y="942"/>
                        </a:lnTo>
                        <a:lnTo>
                          <a:pt x="540" y="936"/>
                        </a:lnTo>
                        <a:lnTo>
                          <a:pt x="552" y="930"/>
                        </a:lnTo>
                        <a:lnTo>
                          <a:pt x="570" y="930"/>
                        </a:lnTo>
                        <a:lnTo>
                          <a:pt x="582" y="414"/>
                        </a:lnTo>
                        <a:lnTo>
                          <a:pt x="654" y="414"/>
                        </a:lnTo>
                        <a:lnTo>
                          <a:pt x="648" y="288"/>
                        </a:lnTo>
                        <a:lnTo>
                          <a:pt x="654" y="282"/>
                        </a:lnTo>
                        <a:lnTo>
                          <a:pt x="654" y="108"/>
                        </a:lnTo>
                        <a:lnTo>
                          <a:pt x="690" y="108"/>
                        </a:lnTo>
                        <a:lnTo>
                          <a:pt x="708" y="102"/>
                        </a:lnTo>
                        <a:lnTo>
                          <a:pt x="744" y="102"/>
                        </a:lnTo>
                        <a:lnTo>
                          <a:pt x="792" y="90"/>
                        </a:lnTo>
                        <a:lnTo>
                          <a:pt x="804" y="84"/>
                        </a:lnTo>
                        <a:lnTo>
                          <a:pt x="822" y="84"/>
                        </a:lnTo>
                        <a:lnTo>
                          <a:pt x="828" y="90"/>
                        </a:lnTo>
                        <a:lnTo>
                          <a:pt x="828" y="108"/>
                        </a:lnTo>
                        <a:lnTo>
                          <a:pt x="834" y="108"/>
                        </a:lnTo>
                        <a:lnTo>
                          <a:pt x="834" y="126"/>
                        </a:lnTo>
                        <a:lnTo>
                          <a:pt x="840" y="126"/>
                        </a:lnTo>
                        <a:lnTo>
                          <a:pt x="882" y="84"/>
                        </a:lnTo>
                        <a:lnTo>
                          <a:pt x="906" y="84"/>
                        </a:lnTo>
                        <a:lnTo>
                          <a:pt x="918" y="72"/>
                        </a:lnTo>
                        <a:lnTo>
                          <a:pt x="954" y="66"/>
                        </a:lnTo>
                        <a:lnTo>
                          <a:pt x="936" y="48"/>
                        </a:lnTo>
                        <a:lnTo>
                          <a:pt x="906" y="54"/>
                        </a:lnTo>
                        <a:lnTo>
                          <a:pt x="906" y="48"/>
                        </a:lnTo>
                        <a:lnTo>
                          <a:pt x="900" y="42"/>
                        </a:lnTo>
                        <a:lnTo>
                          <a:pt x="882" y="42"/>
                        </a:lnTo>
                        <a:lnTo>
                          <a:pt x="876" y="48"/>
                        </a:lnTo>
                        <a:lnTo>
                          <a:pt x="870" y="48"/>
                        </a:lnTo>
                        <a:lnTo>
                          <a:pt x="846" y="60"/>
                        </a:lnTo>
                        <a:lnTo>
                          <a:pt x="828" y="54"/>
                        </a:lnTo>
                        <a:lnTo>
                          <a:pt x="816" y="60"/>
                        </a:lnTo>
                        <a:lnTo>
                          <a:pt x="780" y="72"/>
                        </a:lnTo>
                        <a:lnTo>
                          <a:pt x="732" y="78"/>
                        </a:lnTo>
                        <a:lnTo>
                          <a:pt x="696" y="84"/>
                        </a:lnTo>
                        <a:lnTo>
                          <a:pt x="624" y="84"/>
                        </a:lnTo>
                        <a:lnTo>
                          <a:pt x="618" y="72"/>
                        </a:lnTo>
                        <a:lnTo>
                          <a:pt x="546" y="78"/>
                        </a:lnTo>
                        <a:lnTo>
                          <a:pt x="540" y="66"/>
                        </a:lnTo>
                        <a:lnTo>
                          <a:pt x="504" y="66"/>
                        </a:lnTo>
                        <a:lnTo>
                          <a:pt x="480" y="42"/>
                        </a:lnTo>
                        <a:lnTo>
                          <a:pt x="480" y="36"/>
                        </a:lnTo>
                        <a:lnTo>
                          <a:pt x="174" y="36"/>
                        </a:lnTo>
                        <a:lnTo>
                          <a:pt x="168" y="30"/>
                        </a:lnTo>
                        <a:lnTo>
                          <a:pt x="156" y="30"/>
                        </a:lnTo>
                        <a:lnTo>
                          <a:pt x="132" y="18"/>
                        </a:lnTo>
                        <a:lnTo>
                          <a:pt x="126" y="6"/>
                        </a:lnTo>
                        <a:lnTo>
                          <a:pt x="120" y="0"/>
                        </a:lnTo>
                        <a:lnTo>
                          <a:pt x="90" y="0"/>
                        </a:lnTo>
                        <a:lnTo>
                          <a:pt x="90" y="6"/>
                        </a:lnTo>
                        <a:lnTo>
                          <a:pt x="72" y="24"/>
                        </a:lnTo>
                        <a:lnTo>
                          <a:pt x="42" y="24"/>
                        </a:lnTo>
                        <a:lnTo>
                          <a:pt x="36" y="18"/>
                        </a:lnTo>
                        <a:lnTo>
                          <a:pt x="18" y="24"/>
                        </a:lnTo>
                        <a:lnTo>
                          <a:pt x="0" y="24"/>
                        </a:lnTo>
                        <a:lnTo>
                          <a:pt x="6" y="96"/>
                        </a:lnTo>
                        <a:lnTo>
                          <a:pt x="12" y="108"/>
                        </a:lnTo>
                        <a:lnTo>
                          <a:pt x="30" y="126"/>
                        </a:lnTo>
                        <a:lnTo>
                          <a:pt x="36" y="138"/>
                        </a:lnTo>
                        <a:lnTo>
                          <a:pt x="54" y="162"/>
                        </a:lnTo>
                        <a:lnTo>
                          <a:pt x="72" y="192"/>
                        </a:lnTo>
                        <a:lnTo>
                          <a:pt x="96" y="228"/>
                        </a:lnTo>
                        <a:lnTo>
                          <a:pt x="102" y="258"/>
                        </a:lnTo>
                        <a:lnTo>
                          <a:pt x="102" y="276"/>
                        </a:lnTo>
                        <a:lnTo>
                          <a:pt x="114" y="294"/>
                        </a:lnTo>
                        <a:lnTo>
                          <a:pt x="120" y="312"/>
                        </a:lnTo>
                        <a:lnTo>
                          <a:pt x="138" y="348"/>
                        </a:lnTo>
                        <a:lnTo>
                          <a:pt x="156" y="366"/>
                        </a:lnTo>
                        <a:lnTo>
                          <a:pt x="156" y="390"/>
                        </a:lnTo>
                        <a:lnTo>
                          <a:pt x="162" y="396"/>
                        </a:lnTo>
                        <a:lnTo>
                          <a:pt x="174" y="402"/>
                        </a:lnTo>
                        <a:lnTo>
                          <a:pt x="180" y="414"/>
                        </a:lnTo>
                        <a:lnTo>
                          <a:pt x="192" y="420"/>
                        </a:lnTo>
                        <a:lnTo>
                          <a:pt x="198" y="432"/>
                        </a:lnTo>
                        <a:lnTo>
                          <a:pt x="198" y="582"/>
                        </a:lnTo>
                        <a:lnTo>
                          <a:pt x="222" y="630"/>
                        </a:lnTo>
                        <a:lnTo>
                          <a:pt x="222" y="678"/>
                        </a:lnTo>
                        <a:lnTo>
                          <a:pt x="216" y="678"/>
                        </a:lnTo>
                        <a:lnTo>
                          <a:pt x="228" y="726"/>
                        </a:lnTo>
                        <a:lnTo>
                          <a:pt x="228" y="762"/>
                        </a:lnTo>
                        <a:lnTo>
                          <a:pt x="240" y="762"/>
                        </a:lnTo>
                        <a:lnTo>
                          <a:pt x="240" y="804"/>
                        </a:lnTo>
                        <a:lnTo>
                          <a:pt x="252" y="810"/>
                        </a:lnTo>
                        <a:lnTo>
                          <a:pt x="258" y="816"/>
                        </a:lnTo>
                        <a:lnTo>
                          <a:pt x="258" y="846"/>
                        </a:lnTo>
                        <a:lnTo>
                          <a:pt x="264" y="858"/>
                        </a:lnTo>
                        <a:lnTo>
                          <a:pt x="270" y="864"/>
                        </a:lnTo>
                        <a:lnTo>
                          <a:pt x="276" y="876"/>
                        </a:lnTo>
                        <a:lnTo>
                          <a:pt x="282" y="894"/>
                        </a:lnTo>
                        <a:lnTo>
                          <a:pt x="282" y="900"/>
                        </a:lnTo>
                        <a:lnTo>
                          <a:pt x="288" y="912"/>
                        </a:lnTo>
                        <a:lnTo>
                          <a:pt x="294" y="918"/>
                        </a:lnTo>
                        <a:lnTo>
                          <a:pt x="318" y="930"/>
                        </a:lnTo>
                        <a:lnTo>
                          <a:pt x="324" y="936"/>
                        </a:lnTo>
                        <a:lnTo>
                          <a:pt x="330" y="936"/>
                        </a:lnTo>
                        <a:lnTo>
                          <a:pt x="330" y="942"/>
                        </a:lnTo>
                        <a:lnTo>
                          <a:pt x="348" y="930"/>
                        </a:lnTo>
                        <a:lnTo>
                          <a:pt x="348" y="924"/>
                        </a:lnTo>
                        <a:lnTo>
                          <a:pt x="354" y="918"/>
                        </a:lnTo>
                        <a:lnTo>
                          <a:pt x="360" y="906"/>
                        </a:lnTo>
                        <a:lnTo>
                          <a:pt x="360" y="900"/>
                        </a:lnTo>
                        <a:lnTo>
                          <a:pt x="366" y="89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84" name="Myanmar"/>
                  <p:cNvSpPr>
                    <a:spLocks/>
                  </p:cNvSpPr>
                  <p:nvPr/>
                </p:nvSpPr>
                <p:spPr bwMode="gray">
                  <a:xfrm>
                    <a:off x="4300" y="1722"/>
                    <a:ext cx="163" cy="383"/>
                  </a:xfrm>
                  <a:custGeom>
                    <a:avLst/>
                    <a:gdLst>
                      <a:gd name="T0" fmla="*/ 2147483647 w 636"/>
                      <a:gd name="T1" fmla="*/ 2147483647 h 1500"/>
                      <a:gd name="T2" fmla="*/ 2147483647 w 636"/>
                      <a:gd name="T3" fmla="*/ 2147483647 h 1500"/>
                      <a:gd name="T4" fmla="*/ 2147483647 w 636"/>
                      <a:gd name="T5" fmla="*/ 2147483647 h 1500"/>
                      <a:gd name="T6" fmla="*/ 2147483647 w 636"/>
                      <a:gd name="T7" fmla="*/ 2147483647 h 1500"/>
                      <a:gd name="T8" fmla="*/ 2147483647 w 636"/>
                      <a:gd name="T9" fmla="*/ 2147483647 h 1500"/>
                      <a:gd name="T10" fmla="*/ 2147483647 w 636"/>
                      <a:gd name="T11" fmla="*/ 2147483647 h 1500"/>
                      <a:gd name="T12" fmla="*/ 2147483647 w 636"/>
                      <a:gd name="T13" fmla="*/ 2147483647 h 1500"/>
                      <a:gd name="T14" fmla="*/ 2147483647 w 636"/>
                      <a:gd name="T15" fmla="*/ 2147483647 h 1500"/>
                      <a:gd name="T16" fmla="*/ 2147483647 w 636"/>
                      <a:gd name="T17" fmla="*/ 2147483647 h 1500"/>
                      <a:gd name="T18" fmla="*/ 2147483647 w 636"/>
                      <a:gd name="T19" fmla="*/ 2147483647 h 1500"/>
                      <a:gd name="T20" fmla="*/ 2147483647 w 636"/>
                      <a:gd name="T21" fmla="*/ 2147483647 h 1500"/>
                      <a:gd name="T22" fmla="*/ 2147483647 w 636"/>
                      <a:gd name="T23" fmla="*/ 2147483647 h 1500"/>
                      <a:gd name="T24" fmla="*/ 2147483647 w 636"/>
                      <a:gd name="T25" fmla="*/ 2147483647 h 1500"/>
                      <a:gd name="T26" fmla="*/ 2147483647 w 636"/>
                      <a:gd name="T27" fmla="*/ 2147483647 h 1500"/>
                      <a:gd name="T28" fmla="*/ 2147483647 w 636"/>
                      <a:gd name="T29" fmla="*/ 2147483647 h 1500"/>
                      <a:gd name="T30" fmla="*/ 2147483647 w 636"/>
                      <a:gd name="T31" fmla="*/ 2147483647 h 1500"/>
                      <a:gd name="T32" fmla="*/ 2147483647 w 636"/>
                      <a:gd name="T33" fmla="*/ 2147483647 h 1500"/>
                      <a:gd name="T34" fmla="*/ 2147483647 w 636"/>
                      <a:gd name="T35" fmla="*/ 2147483647 h 1500"/>
                      <a:gd name="T36" fmla="*/ 2147483647 w 636"/>
                      <a:gd name="T37" fmla="*/ 2147483647 h 1500"/>
                      <a:gd name="T38" fmla="*/ 2147483647 w 636"/>
                      <a:gd name="T39" fmla="*/ 2147483647 h 1500"/>
                      <a:gd name="T40" fmla="*/ 2147483647 w 636"/>
                      <a:gd name="T41" fmla="*/ 2147483647 h 1500"/>
                      <a:gd name="T42" fmla="*/ 2147483647 w 636"/>
                      <a:gd name="T43" fmla="*/ 2147483647 h 1500"/>
                      <a:gd name="T44" fmla="*/ 2147483647 w 636"/>
                      <a:gd name="T45" fmla="*/ 2147483647 h 1500"/>
                      <a:gd name="T46" fmla="*/ 2147483647 w 636"/>
                      <a:gd name="T47" fmla="*/ 2147483647 h 1500"/>
                      <a:gd name="T48" fmla="*/ 2147483647 w 636"/>
                      <a:gd name="T49" fmla="*/ 2147483647 h 1500"/>
                      <a:gd name="T50" fmla="*/ 2147483647 w 636"/>
                      <a:gd name="T51" fmla="*/ 2147483647 h 1500"/>
                      <a:gd name="T52" fmla="*/ 2147483647 w 636"/>
                      <a:gd name="T53" fmla="*/ 2147483647 h 1500"/>
                      <a:gd name="T54" fmla="*/ 2147483647 w 636"/>
                      <a:gd name="T55" fmla="*/ 2147483647 h 1500"/>
                      <a:gd name="T56" fmla="*/ 2147483647 w 636"/>
                      <a:gd name="T57" fmla="*/ 2147483647 h 1500"/>
                      <a:gd name="T58" fmla="*/ 2147483647 w 636"/>
                      <a:gd name="T59" fmla="*/ 2147483647 h 1500"/>
                      <a:gd name="T60" fmla="*/ 2147483647 w 636"/>
                      <a:gd name="T61" fmla="*/ 2147483647 h 1500"/>
                      <a:gd name="T62" fmla="*/ 2147483647 w 636"/>
                      <a:gd name="T63" fmla="*/ 2147483647 h 1500"/>
                      <a:gd name="T64" fmla="*/ 2147483647 w 636"/>
                      <a:gd name="T65" fmla="*/ 2147483647 h 1500"/>
                      <a:gd name="T66" fmla="*/ 2147483647 w 636"/>
                      <a:gd name="T67" fmla="*/ 2147483647 h 1500"/>
                      <a:gd name="T68" fmla="*/ 2147483647 w 636"/>
                      <a:gd name="T69" fmla="*/ 2147483647 h 1500"/>
                      <a:gd name="T70" fmla="*/ 2147483647 w 636"/>
                      <a:gd name="T71" fmla="*/ 2147483647 h 1500"/>
                      <a:gd name="T72" fmla="*/ 2147483647 w 636"/>
                      <a:gd name="T73" fmla="*/ 2147483647 h 1500"/>
                      <a:gd name="T74" fmla="*/ 2147483647 w 636"/>
                      <a:gd name="T75" fmla="*/ 2147483647 h 1500"/>
                      <a:gd name="T76" fmla="*/ 2147483647 w 636"/>
                      <a:gd name="T77" fmla="*/ 2147483647 h 1500"/>
                      <a:gd name="T78" fmla="*/ 2147483647 w 636"/>
                      <a:gd name="T79" fmla="*/ 2147483647 h 1500"/>
                      <a:gd name="T80" fmla="*/ 2147483647 w 636"/>
                      <a:gd name="T81" fmla="*/ 2147483647 h 1500"/>
                      <a:gd name="T82" fmla="*/ 2147483647 w 636"/>
                      <a:gd name="T83" fmla="*/ 2147483647 h 1500"/>
                      <a:gd name="T84" fmla="*/ 2147483647 w 636"/>
                      <a:gd name="T85" fmla="*/ 2147483647 h 1500"/>
                      <a:gd name="T86" fmla="*/ 2147483647 w 636"/>
                      <a:gd name="T87" fmla="*/ 0 h 1500"/>
                      <a:gd name="T88" fmla="*/ 2147483647 w 636"/>
                      <a:gd name="T89" fmla="*/ 2147483647 h 1500"/>
                      <a:gd name="T90" fmla="*/ 2147483647 w 636"/>
                      <a:gd name="T91" fmla="*/ 2147483647 h 1500"/>
                      <a:gd name="T92" fmla="*/ 2147483647 w 636"/>
                      <a:gd name="T93" fmla="*/ 2147483647 h 1500"/>
                      <a:gd name="T94" fmla="*/ 2147483647 w 636"/>
                      <a:gd name="T95" fmla="*/ 2147483647 h 1500"/>
                      <a:gd name="T96" fmla="*/ 2147483647 w 636"/>
                      <a:gd name="T97" fmla="*/ 2147483647 h 1500"/>
                      <a:gd name="T98" fmla="*/ 2147483647 w 636"/>
                      <a:gd name="T99" fmla="*/ 2147483647 h 1500"/>
                      <a:gd name="T100" fmla="*/ 2147483647 w 636"/>
                      <a:gd name="T101" fmla="*/ 2147483647 h 1500"/>
                      <a:gd name="T102" fmla="*/ 2147483647 w 636"/>
                      <a:gd name="T103" fmla="*/ 2147483647 h 1500"/>
                      <a:gd name="T104" fmla="*/ 2147483647 w 636"/>
                      <a:gd name="T105" fmla="*/ 2147483647 h 1500"/>
                      <a:gd name="T106" fmla="*/ 2147483647 w 636"/>
                      <a:gd name="T107" fmla="*/ 2147483647 h 1500"/>
                      <a:gd name="T108" fmla="*/ 2147483647 w 636"/>
                      <a:gd name="T109" fmla="*/ 2147483647 h 15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636"/>
                      <a:gd name="T166" fmla="*/ 0 h 1500"/>
                      <a:gd name="T167" fmla="*/ 636 w 636"/>
                      <a:gd name="T168" fmla="*/ 1500 h 150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636" h="1500">
                        <a:moveTo>
                          <a:pt x="0" y="588"/>
                        </a:moveTo>
                        <a:lnTo>
                          <a:pt x="18" y="588"/>
                        </a:lnTo>
                        <a:lnTo>
                          <a:pt x="12" y="630"/>
                        </a:lnTo>
                        <a:lnTo>
                          <a:pt x="18" y="630"/>
                        </a:lnTo>
                        <a:lnTo>
                          <a:pt x="24" y="636"/>
                        </a:lnTo>
                        <a:lnTo>
                          <a:pt x="42" y="642"/>
                        </a:lnTo>
                        <a:lnTo>
                          <a:pt x="54" y="648"/>
                        </a:lnTo>
                        <a:lnTo>
                          <a:pt x="72" y="666"/>
                        </a:lnTo>
                        <a:lnTo>
                          <a:pt x="84" y="690"/>
                        </a:lnTo>
                        <a:lnTo>
                          <a:pt x="90" y="696"/>
                        </a:lnTo>
                        <a:lnTo>
                          <a:pt x="90" y="702"/>
                        </a:lnTo>
                        <a:lnTo>
                          <a:pt x="126" y="696"/>
                        </a:lnTo>
                        <a:lnTo>
                          <a:pt x="102" y="738"/>
                        </a:lnTo>
                        <a:lnTo>
                          <a:pt x="108" y="738"/>
                        </a:lnTo>
                        <a:lnTo>
                          <a:pt x="114" y="744"/>
                        </a:lnTo>
                        <a:lnTo>
                          <a:pt x="126" y="744"/>
                        </a:lnTo>
                        <a:lnTo>
                          <a:pt x="144" y="750"/>
                        </a:lnTo>
                        <a:lnTo>
                          <a:pt x="156" y="762"/>
                        </a:lnTo>
                        <a:lnTo>
                          <a:pt x="168" y="768"/>
                        </a:lnTo>
                        <a:lnTo>
                          <a:pt x="174" y="780"/>
                        </a:lnTo>
                        <a:lnTo>
                          <a:pt x="186" y="792"/>
                        </a:lnTo>
                        <a:lnTo>
                          <a:pt x="192" y="804"/>
                        </a:lnTo>
                        <a:lnTo>
                          <a:pt x="192" y="822"/>
                        </a:lnTo>
                        <a:lnTo>
                          <a:pt x="198" y="834"/>
                        </a:lnTo>
                        <a:lnTo>
                          <a:pt x="198" y="840"/>
                        </a:lnTo>
                        <a:lnTo>
                          <a:pt x="204" y="846"/>
                        </a:lnTo>
                        <a:lnTo>
                          <a:pt x="210" y="858"/>
                        </a:lnTo>
                        <a:lnTo>
                          <a:pt x="222" y="870"/>
                        </a:lnTo>
                        <a:lnTo>
                          <a:pt x="210" y="888"/>
                        </a:lnTo>
                        <a:lnTo>
                          <a:pt x="216" y="978"/>
                        </a:lnTo>
                        <a:lnTo>
                          <a:pt x="204" y="990"/>
                        </a:lnTo>
                        <a:lnTo>
                          <a:pt x="204" y="1002"/>
                        </a:lnTo>
                        <a:lnTo>
                          <a:pt x="222" y="1020"/>
                        </a:lnTo>
                        <a:lnTo>
                          <a:pt x="234" y="1020"/>
                        </a:lnTo>
                        <a:lnTo>
                          <a:pt x="246" y="1014"/>
                        </a:lnTo>
                        <a:lnTo>
                          <a:pt x="252" y="1008"/>
                        </a:lnTo>
                        <a:lnTo>
                          <a:pt x="258" y="1014"/>
                        </a:lnTo>
                        <a:lnTo>
                          <a:pt x="258" y="1020"/>
                        </a:lnTo>
                        <a:lnTo>
                          <a:pt x="276" y="1020"/>
                        </a:lnTo>
                        <a:lnTo>
                          <a:pt x="282" y="1014"/>
                        </a:lnTo>
                        <a:lnTo>
                          <a:pt x="294" y="1008"/>
                        </a:lnTo>
                        <a:lnTo>
                          <a:pt x="300" y="996"/>
                        </a:lnTo>
                        <a:lnTo>
                          <a:pt x="306" y="990"/>
                        </a:lnTo>
                        <a:lnTo>
                          <a:pt x="312" y="978"/>
                        </a:lnTo>
                        <a:lnTo>
                          <a:pt x="324" y="978"/>
                        </a:lnTo>
                        <a:lnTo>
                          <a:pt x="360" y="960"/>
                        </a:lnTo>
                        <a:lnTo>
                          <a:pt x="366" y="954"/>
                        </a:lnTo>
                        <a:lnTo>
                          <a:pt x="366" y="900"/>
                        </a:lnTo>
                        <a:lnTo>
                          <a:pt x="372" y="894"/>
                        </a:lnTo>
                        <a:lnTo>
                          <a:pt x="378" y="894"/>
                        </a:lnTo>
                        <a:lnTo>
                          <a:pt x="396" y="912"/>
                        </a:lnTo>
                        <a:lnTo>
                          <a:pt x="402" y="924"/>
                        </a:lnTo>
                        <a:lnTo>
                          <a:pt x="402" y="954"/>
                        </a:lnTo>
                        <a:lnTo>
                          <a:pt x="408" y="954"/>
                        </a:lnTo>
                        <a:lnTo>
                          <a:pt x="426" y="972"/>
                        </a:lnTo>
                        <a:lnTo>
                          <a:pt x="432" y="984"/>
                        </a:lnTo>
                        <a:lnTo>
                          <a:pt x="444" y="1014"/>
                        </a:lnTo>
                        <a:lnTo>
                          <a:pt x="450" y="1050"/>
                        </a:lnTo>
                        <a:lnTo>
                          <a:pt x="450" y="1074"/>
                        </a:lnTo>
                        <a:lnTo>
                          <a:pt x="456" y="1092"/>
                        </a:lnTo>
                        <a:lnTo>
                          <a:pt x="456" y="1128"/>
                        </a:lnTo>
                        <a:lnTo>
                          <a:pt x="462" y="1134"/>
                        </a:lnTo>
                        <a:lnTo>
                          <a:pt x="480" y="1170"/>
                        </a:lnTo>
                        <a:lnTo>
                          <a:pt x="486" y="1176"/>
                        </a:lnTo>
                        <a:lnTo>
                          <a:pt x="486" y="1182"/>
                        </a:lnTo>
                        <a:lnTo>
                          <a:pt x="528" y="1272"/>
                        </a:lnTo>
                        <a:lnTo>
                          <a:pt x="540" y="1320"/>
                        </a:lnTo>
                        <a:lnTo>
                          <a:pt x="522" y="1320"/>
                        </a:lnTo>
                        <a:lnTo>
                          <a:pt x="516" y="1326"/>
                        </a:lnTo>
                        <a:lnTo>
                          <a:pt x="516" y="1350"/>
                        </a:lnTo>
                        <a:lnTo>
                          <a:pt x="510" y="1362"/>
                        </a:lnTo>
                        <a:lnTo>
                          <a:pt x="510" y="1374"/>
                        </a:lnTo>
                        <a:lnTo>
                          <a:pt x="552" y="1362"/>
                        </a:lnTo>
                        <a:lnTo>
                          <a:pt x="540" y="1416"/>
                        </a:lnTo>
                        <a:lnTo>
                          <a:pt x="540" y="1428"/>
                        </a:lnTo>
                        <a:lnTo>
                          <a:pt x="534" y="1440"/>
                        </a:lnTo>
                        <a:lnTo>
                          <a:pt x="534" y="1464"/>
                        </a:lnTo>
                        <a:lnTo>
                          <a:pt x="540" y="1482"/>
                        </a:lnTo>
                        <a:lnTo>
                          <a:pt x="540" y="1488"/>
                        </a:lnTo>
                        <a:lnTo>
                          <a:pt x="546" y="1500"/>
                        </a:lnTo>
                        <a:lnTo>
                          <a:pt x="552" y="1488"/>
                        </a:lnTo>
                        <a:lnTo>
                          <a:pt x="558" y="1482"/>
                        </a:lnTo>
                        <a:lnTo>
                          <a:pt x="564" y="1470"/>
                        </a:lnTo>
                        <a:lnTo>
                          <a:pt x="564" y="1458"/>
                        </a:lnTo>
                        <a:lnTo>
                          <a:pt x="558" y="1452"/>
                        </a:lnTo>
                        <a:lnTo>
                          <a:pt x="558" y="1440"/>
                        </a:lnTo>
                        <a:lnTo>
                          <a:pt x="576" y="1422"/>
                        </a:lnTo>
                        <a:lnTo>
                          <a:pt x="594" y="1386"/>
                        </a:lnTo>
                        <a:lnTo>
                          <a:pt x="594" y="1368"/>
                        </a:lnTo>
                        <a:lnTo>
                          <a:pt x="600" y="1356"/>
                        </a:lnTo>
                        <a:lnTo>
                          <a:pt x="600" y="1326"/>
                        </a:lnTo>
                        <a:lnTo>
                          <a:pt x="594" y="1314"/>
                        </a:lnTo>
                        <a:lnTo>
                          <a:pt x="594" y="1290"/>
                        </a:lnTo>
                        <a:lnTo>
                          <a:pt x="570" y="1266"/>
                        </a:lnTo>
                        <a:lnTo>
                          <a:pt x="570" y="1242"/>
                        </a:lnTo>
                        <a:lnTo>
                          <a:pt x="564" y="1224"/>
                        </a:lnTo>
                        <a:lnTo>
                          <a:pt x="564" y="1194"/>
                        </a:lnTo>
                        <a:lnTo>
                          <a:pt x="558" y="1182"/>
                        </a:lnTo>
                        <a:lnTo>
                          <a:pt x="516" y="1140"/>
                        </a:lnTo>
                        <a:lnTo>
                          <a:pt x="510" y="1128"/>
                        </a:lnTo>
                        <a:lnTo>
                          <a:pt x="504" y="1122"/>
                        </a:lnTo>
                        <a:lnTo>
                          <a:pt x="498" y="1110"/>
                        </a:lnTo>
                        <a:lnTo>
                          <a:pt x="492" y="1104"/>
                        </a:lnTo>
                        <a:lnTo>
                          <a:pt x="492" y="1098"/>
                        </a:lnTo>
                        <a:lnTo>
                          <a:pt x="486" y="1092"/>
                        </a:lnTo>
                        <a:lnTo>
                          <a:pt x="504" y="1056"/>
                        </a:lnTo>
                        <a:lnTo>
                          <a:pt x="510" y="1050"/>
                        </a:lnTo>
                        <a:lnTo>
                          <a:pt x="516" y="1038"/>
                        </a:lnTo>
                        <a:lnTo>
                          <a:pt x="516" y="1014"/>
                        </a:lnTo>
                        <a:lnTo>
                          <a:pt x="510" y="1002"/>
                        </a:lnTo>
                        <a:lnTo>
                          <a:pt x="522" y="1002"/>
                        </a:lnTo>
                        <a:lnTo>
                          <a:pt x="528" y="996"/>
                        </a:lnTo>
                        <a:lnTo>
                          <a:pt x="528" y="978"/>
                        </a:lnTo>
                        <a:lnTo>
                          <a:pt x="522" y="972"/>
                        </a:lnTo>
                        <a:lnTo>
                          <a:pt x="516" y="978"/>
                        </a:lnTo>
                        <a:lnTo>
                          <a:pt x="510" y="978"/>
                        </a:lnTo>
                        <a:lnTo>
                          <a:pt x="504" y="972"/>
                        </a:lnTo>
                        <a:lnTo>
                          <a:pt x="498" y="960"/>
                        </a:lnTo>
                        <a:lnTo>
                          <a:pt x="498" y="942"/>
                        </a:lnTo>
                        <a:lnTo>
                          <a:pt x="504" y="942"/>
                        </a:lnTo>
                        <a:lnTo>
                          <a:pt x="504" y="936"/>
                        </a:lnTo>
                        <a:lnTo>
                          <a:pt x="498" y="930"/>
                        </a:lnTo>
                        <a:lnTo>
                          <a:pt x="486" y="924"/>
                        </a:lnTo>
                        <a:lnTo>
                          <a:pt x="474" y="912"/>
                        </a:lnTo>
                        <a:lnTo>
                          <a:pt x="462" y="906"/>
                        </a:lnTo>
                        <a:lnTo>
                          <a:pt x="444" y="888"/>
                        </a:lnTo>
                        <a:lnTo>
                          <a:pt x="438" y="876"/>
                        </a:lnTo>
                        <a:lnTo>
                          <a:pt x="438" y="870"/>
                        </a:lnTo>
                        <a:lnTo>
                          <a:pt x="432" y="870"/>
                        </a:lnTo>
                        <a:lnTo>
                          <a:pt x="438" y="846"/>
                        </a:lnTo>
                        <a:lnTo>
                          <a:pt x="426" y="840"/>
                        </a:lnTo>
                        <a:lnTo>
                          <a:pt x="402" y="816"/>
                        </a:lnTo>
                        <a:lnTo>
                          <a:pt x="402" y="810"/>
                        </a:lnTo>
                        <a:lnTo>
                          <a:pt x="426" y="810"/>
                        </a:lnTo>
                        <a:lnTo>
                          <a:pt x="426" y="792"/>
                        </a:lnTo>
                        <a:lnTo>
                          <a:pt x="408" y="774"/>
                        </a:lnTo>
                        <a:lnTo>
                          <a:pt x="408" y="768"/>
                        </a:lnTo>
                        <a:lnTo>
                          <a:pt x="414" y="762"/>
                        </a:lnTo>
                        <a:lnTo>
                          <a:pt x="420" y="762"/>
                        </a:lnTo>
                        <a:lnTo>
                          <a:pt x="426" y="756"/>
                        </a:lnTo>
                        <a:lnTo>
                          <a:pt x="426" y="708"/>
                        </a:lnTo>
                        <a:lnTo>
                          <a:pt x="456" y="708"/>
                        </a:lnTo>
                        <a:lnTo>
                          <a:pt x="468" y="714"/>
                        </a:lnTo>
                        <a:lnTo>
                          <a:pt x="480" y="714"/>
                        </a:lnTo>
                        <a:lnTo>
                          <a:pt x="486" y="708"/>
                        </a:lnTo>
                        <a:lnTo>
                          <a:pt x="492" y="696"/>
                        </a:lnTo>
                        <a:lnTo>
                          <a:pt x="498" y="690"/>
                        </a:lnTo>
                        <a:lnTo>
                          <a:pt x="498" y="684"/>
                        </a:lnTo>
                        <a:lnTo>
                          <a:pt x="522" y="684"/>
                        </a:lnTo>
                        <a:lnTo>
                          <a:pt x="528" y="660"/>
                        </a:lnTo>
                        <a:lnTo>
                          <a:pt x="534" y="660"/>
                        </a:lnTo>
                        <a:lnTo>
                          <a:pt x="540" y="654"/>
                        </a:lnTo>
                        <a:lnTo>
                          <a:pt x="564" y="654"/>
                        </a:lnTo>
                        <a:lnTo>
                          <a:pt x="564" y="642"/>
                        </a:lnTo>
                        <a:lnTo>
                          <a:pt x="582" y="624"/>
                        </a:lnTo>
                        <a:lnTo>
                          <a:pt x="594" y="624"/>
                        </a:lnTo>
                        <a:lnTo>
                          <a:pt x="600" y="618"/>
                        </a:lnTo>
                        <a:lnTo>
                          <a:pt x="594" y="612"/>
                        </a:lnTo>
                        <a:lnTo>
                          <a:pt x="600" y="600"/>
                        </a:lnTo>
                        <a:lnTo>
                          <a:pt x="600" y="588"/>
                        </a:lnTo>
                        <a:lnTo>
                          <a:pt x="636" y="570"/>
                        </a:lnTo>
                        <a:lnTo>
                          <a:pt x="636" y="552"/>
                        </a:lnTo>
                        <a:lnTo>
                          <a:pt x="630" y="546"/>
                        </a:lnTo>
                        <a:lnTo>
                          <a:pt x="618" y="546"/>
                        </a:lnTo>
                        <a:lnTo>
                          <a:pt x="600" y="564"/>
                        </a:lnTo>
                        <a:lnTo>
                          <a:pt x="600" y="570"/>
                        </a:lnTo>
                        <a:lnTo>
                          <a:pt x="558" y="570"/>
                        </a:lnTo>
                        <a:lnTo>
                          <a:pt x="558" y="552"/>
                        </a:lnTo>
                        <a:lnTo>
                          <a:pt x="546" y="552"/>
                        </a:lnTo>
                        <a:lnTo>
                          <a:pt x="534" y="522"/>
                        </a:lnTo>
                        <a:lnTo>
                          <a:pt x="480" y="516"/>
                        </a:lnTo>
                        <a:lnTo>
                          <a:pt x="486" y="504"/>
                        </a:lnTo>
                        <a:lnTo>
                          <a:pt x="486" y="498"/>
                        </a:lnTo>
                        <a:lnTo>
                          <a:pt x="492" y="492"/>
                        </a:lnTo>
                        <a:lnTo>
                          <a:pt x="492" y="480"/>
                        </a:lnTo>
                        <a:lnTo>
                          <a:pt x="480" y="468"/>
                        </a:lnTo>
                        <a:lnTo>
                          <a:pt x="486" y="462"/>
                        </a:lnTo>
                        <a:lnTo>
                          <a:pt x="498" y="462"/>
                        </a:lnTo>
                        <a:lnTo>
                          <a:pt x="504" y="456"/>
                        </a:lnTo>
                        <a:lnTo>
                          <a:pt x="504" y="450"/>
                        </a:lnTo>
                        <a:lnTo>
                          <a:pt x="498" y="444"/>
                        </a:lnTo>
                        <a:lnTo>
                          <a:pt x="486" y="438"/>
                        </a:lnTo>
                        <a:lnTo>
                          <a:pt x="456" y="438"/>
                        </a:lnTo>
                        <a:lnTo>
                          <a:pt x="444" y="396"/>
                        </a:lnTo>
                        <a:lnTo>
                          <a:pt x="420" y="378"/>
                        </a:lnTo>
                        <a:lnTo>
                          <a:pt x="450" y="354"/>
                        </a:lnTo>
                        <a:lnTo>
                          <a:pt x="390" y="354"/>
                        </a:lnTo>
                        <a:lnTo>
                          <a:pt x="384" y="360"/>
                        </a:lnTo>
                        <a:lnTo>
                          <a:pt x="372" y="360"/>
                        </a:lnTo>
                        <a:lnTo>
                          <a:pt x="366" y="366"/>
                        </a:lnTo>
                        <a:lnTo>
                          <a:pt x="354" y="372"/>
                        </a:lnTo>
                        <a:lnTo>
                          <a:pt x="366" y="354"/>
                        </a:lnTo>
                        <a:lnTo>
                          <a:pt x="360" y="342"/>
                        </a:lnTo>
                        <a:lnTo>
                          <a:pt x="342" y="324"/>
                        </a:lnTo>
                        <a:lnTo>
                          <a:pt x="342" y="306"/>
                        </a:lnTo>
                        <a:lnTo>
                          <a:pt x="354" y="306"/>
                        </a:lnTo>
                        <a:lnTo>
                          <a:pt x="348" y="276"/>
                        </a:lnTo>
                        <a:lnTo>
                          <a:pt x="360" y="276"/>
                        </a:lnTo>
                        <a:lnTo>
                          <a:pt x="366" y="270"/>
                        </a:lnTo>
                        <a:lnTo>
                          <a:pt x="366" y="234"/>
                        </a:lnTo>
                        <a:lnTo>
                          <a:pt x="372" y="240"/>
                        </a:lnTo>
                        <a:lnTo>
                          <a:pt x="384" y="240"/>
                        </a:lnTo>
                        <a:lnTo>
                          <a:pt x="390" y="234"/>
                        </a:lnTo>
                        <a:lnTo>
                          <a:pt x="396" y="222"/>
                        </a:lnTo>
                        <a:lnTo>
                          <a:pt x="396" y="216"/>
                        </a:lnTo>
                        <a:lnTo>
                          <a:pt x="378" y="198"/>
                        </a:lnTo>
                        <a:lnTo>
                          <a:pt x="390" y="198"/>
                        </a:lnTo>
                        <a:lnTo>
                          <a:pt x="396" y="192"/>
                        </a:lnTo>
                        <a:lnTo>
                          <a:pt x="408" y="192"/>
                        </a:lnTo>
                        <a:lnTo>
                          <a:pt x="396" y="132"/>
                        </a:lnTo>
                        <a:lnTo>
                          <a:pt x="384" y="108"/>
                        </a:lnTo>
                        <a:lnTo>
                          <a:pt x="384" y="78"/>
                        </a:lnTo>
                        <a:lnTo>
                          <a:pt x="378" y="72"/>
                        </a:lnTo>
                        <a:lnTo>
                          <a:pt x="342" y="72"/>
                        </a:lnTo>
                        <a:lnTo>
                          <a:pt x="342" y="66"/>
                        </a:lnTo>
                        <a:lnTo>
                          <a:pt x="336" y="60"/>
                        </a:lnTo>
                        <a:lnTo>
                          <a:pt x="318" y="24"/>
                        </a:lnTo>
                        <a:lnTo>
                          <a:pt x="306" y="18"/>
                        </a:lnTo>
                        <a:lnTo>
                          <a:pt x="300" y="6"/>
                        </a:lnTo>
                        <a:lnTo>
                          <a:pt x="294" y="0"/>
                        </a:lnTo>
                        <a:lnTo>
                          <a:pt x="288" y="0"/>
                        </a:lnTo>
                        <a:lnTo>
                          <a:pt x="282" y="18"/>
                        </a:lnTo>
                        <a:lnTo>
                          <a:pt x="282" y="48"/>
                        </a:lnTo>
                        <a:lnTo>
                          <a:pt x="276" y="48"/>
                        </a:lnTo>
                        <a:lnTo>
                          <a:pt x="270" y="54"/>
                        </a:lnTo>
                        <a:lnTo>
                          <a:pt x="258" y="60"/>
                        </a:lnTo>
                        <a:lnTo>
                          <a:pt x="246" y="72"/>
                        </a:lnTo>
                        <a:lnTo>
                          <a:pt x="252" y="84"/>
                        </a:lnTo>
                        <a:lnTo>
                          <a:pt x="258" y="90"/>
                        </a:lnTo>
                        <a:lnTo>
                          <a:pt x="270" y="96"/>
                        </a:lnTo>
                        <a:lnTo>
                          <a:pt x="276" y="102"/>
                        </a:lnTo>
                        <a:lnTo>
                          <a:pt x="276" y="108"/>
                        </a:lnTo>
                        <a:lnTo>
                          <a:pt x="258" y="108"/>
                        </a:lnTo>
                        <a:lnTo>
                          <a:pt x="252" y="102"/>
                        </a:lnTo>
                        <a:lnTo>
                          <a:pt x="216" y="102"/>
                        </a:lnTo>
                        <a:lnTo>
                          <a:pt x="204" y="108"/>
                        </a:lnTo>
                        <a:lnTo>
                          <a:pt x="198" y="108"/>
                        </a:lnTo>
                        <a:lnTo>
                          <a:pt x="198" y="126"/>
                        </a:lnTo>
                        <a:lnTo>
                          <a:pt x="186" y="138"/>
                        </a:lnTo>
                        <a:lnTo>
                          <a:pt x="174" y="144"/>
                        </a:lnTo>
                        <a:lnTo>
                          <a:pt x="162" y="144"/>
                        </a:lnTo>
                        <a:lnTo>
                          <a:pt x="156" y="150"/>
                        </a:lnTo>
                        <a:lnTo>
                          <a:pt x="150" y="150"/>
                        </a:lnTo>
                        <a:lnTo>
                          <a:pt x="150" y="174"/>
                        </a:lnTo>
                        <a:lnTo>
                          <a:pt x="156" y="180"/>
                        </a:lnTo>
                        <a:lnTo>
                          <a:pt x="156" y="186"/>
                        </a:lnTo>
                        <a:lnTo>
                          <a:pt x="162" y="192"/>
                        </a:lnTo>
                        <a:lnTo>
                          <a:pt x="162" y="204"/>
                        </a:lnTo>
                        <a:lnTo>
                          <a:pt x="144" y="234"/>
                        </a:lnTo>
                        <a:lnTo>
                          <a:pt x="138" y="240"/>
                        </a:lnTo>
                        <a:lnTo>
                          <a:pt x="126" y="246"/>
                        </a:lnTo>
                        <a:lnTo>
                          <a:pt x="126" y="264"/>
                        </a:lnTo>
                        <a:lnTo>
                          <a:pt x="132" y="276"/>
                        </a:lnTo>
                        <a:lnTo>
                          <a:pt x="138" y="282"/>
                        </a:lnTo>
                        <a:lnTo>
                          <a:pt x="120" y="336"/>
                        </a:lnTo>
                        <a:lnTo>
                          <a:pt x="120" y="372"/>
                        </a:lnTo>
                        <a:lnTo>
                          <a:pt x="108" y="372"/>
                        </a:lnTo>
                        <a:lnTo>
                          <a:pt x="96" y="366"/>
                        </a:lnTo>
                        <a:lnTo>
                          <a:pt x="42" y="366"/>
                        </a:lnTo>
                        <a:lnTo>
                          <a:pt x="48" y="366"/>
                        </a:lnTo>
                        <a:lnTo>
                          <a:pt x="66" y="384"/>
                        </a:lnTo>
                        <a:lnTo>
                          <a:pt x="72" y="432"/>
                        </a:lnTo>
                        <a:lnTo>
                          <a:pt x="66" y="432"/>
                        </a:lnTo>
                        <a:lnTo>
                          <a:pt x="48" y="450"/>
                        </a:lnTo>
                        <a:lnTo>
                          <a:pt x="54" y="462"/>
                        </a:lnTo>
                        <a:lnTo>
                          <a:pt x="54" y="486"/>
                        </a:lnTo>
                        <a:lnTo>
                          <a:pt x="72" y="504"/>
                        </a:lnTo>
                        <a:lnTo>
                          <a:pt x="72" y="516"/>
                        </a:lnTo>
                        <a:lnTo>
                          <a:pt x="60" y="516"/>
                        </a:lnTo>
                        <a:lnTo>
                          <a:pt x="54" y="510"/>
                        </a:lnTo>
                        <a:lnTo>
                          <a:pt x="48" y="510"/>
                        </a:lnTo>
                        <a:lnTo>
                          <a:pt x="48" y="534"/>
                        </a:lnTo>
                        <a:lnTo>
                          <a:pt x="30" y="516"/>
                        </a:lnTo>
                        <a:lnTo>
                          <a:pt x="42" y="576"/>
                        </a:lnTo>
                        <a:lnTo>
                          <a:pt x="6" y="570"/>
                        </a:lnTo>
                        <a:lnTo>
                          <a:pt x="6" y="576"/>
                        </a:lnTo>
                        <a:lnTo>
                          <a:pt x="0" y="58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85" name="Mozambique"/>
                  <p:cNvSpPr>
                    <a:spLocks/>
                  </p:cNvSpPr>
                  <p:nvPr/>
                </p:nvSpPr>
                <p:spPr bwMode="gray">
                  <a:xfrm>
                    <a:off x="3197" y="2526"/>
                    <a:ext cx="195" cy="342"/>
                  </a:xfrm>
                  <a:custGeom>
                    <a:avLst/>
                    <a:gdLst>
                      <a:gd name="T0" fmla="*/ 2147483647 w 762"/>
                      <a:gd name="T1" fmla="*/ 2147483647 h 1338"/>
                      <a:gd name="T2" fmla="*/ 2147483647 w 762"/>
                      <a:gd name="T3" fmla="*/ 2147483647 h 1338"/>
                      <a:gd name="T4" fmla="*/ 2147483647 w 762"/>
                      <a:gd name="T5" fmla="*/ 2147483647 h 1338"/>
                      <a:gd name="T6" fmla="*/ 2147483647 w 762"/>
                      <a:gd name="T7" fmla="*/ 2147483647 h 1338"/>
                      <a:gd name="T8" fmla="*/ 2147483647 w 762"/>
                      <a:gd name="T9" fmla="*/ 2147483647 h 1338"/>
                      <a:gd name="T10" fmla="*/ 2147483647 w 762"/>
                      <a:gd name="T11" fmla="*/ 2147483647 h 1338"/>
                      <a:gd name="T12" fmla="*/ 2147483647 w 762"/>
                      <a:gd name="T13" fmla="*/ 2147483647 h 1338"/>
                      <a:gd name="T14" fmla="*/ 2147483647 w 762"/>
                      <a:gd name="T15" fmla="*/ 2147483647 h 1338"/>
                      <a:gd name="T16" fmla="*/ 2147483647 w 762"/>
                      <a:gd name="T17" fmla="*/ 2147483647 h 1338"/>
                      <a:gd name="T18" fmla="*/ 2147483647 w 762"/>
                      <a:gd name="T19" fmla="*/ 2147483647 h 1338"/>
                      <a:gd name="T20" fmla="*/ 2147483647 w 762"/>
                      <a:gd name="T21" fmla="*/ 2147483647 h 1338"/>
                      <a:gd name="T22" fmla="*/ 2147483647 w 762"/>
                      <a:gd name="T23" fmla="*/ 2147483647 h 1338"/>
                      <a:gd name="T24" fmla="*/ 2147483647 w 762"/>
                      <a:gd name="T25" fmla="*/ 2147483647 h 1338"/>
                      <a:gd name="T26" fmla="*/ 2147483647 w 762"/>
                      <a:gd name="T27" fmla="*/ 2147483647 h 1338"/>
                      <a:gd name="T28" fmla="*/ 2147483647 w 762"/>
                      <a:gd name="T29" fmla="*/ 2147483647 h 1338"/>
                      <a:gd name="T30" fmla="*/ 2147483647 w 762"/>
                      <a:gd name="T31" fmla="*/ 2147483647 h 1338"/>
                      <a:gd name="T32" fmla="*/ 2147483647 w 762"/>
                      <a:gd name="T33" fmla="*/ 2147483647 h 1338"/>
                      <a:gd name="T34" fmla="*/ 2147483647 w 762"/>
                      <a:gd name="T35" fmla="*/ 2147483647 h 1338"/>
                      <a:gd name="T36" fmla="*/ 2147483647 w 762"/>
                      <a:gd name="T37" fmla="*/ 2147483647 h 1338"/>
                      <a:gd name="T38" fmla="*/ 2147483647 w 762"/>
                      <a:gd name="T39" fmla="*/ 2147483647 h 1338"/>
                      <a:gd name="T40" fmla="*/ 2147483647 w 762"/>
                      <a:gd name="T41" fmla="*/ 2147483647 h 1338"/>
                      <a:gd name="T42" fmla="*/ 2147483647 w 762"/>
                      <a:gd name="T43" fmla="*/ 2147483647 h 1338"/>
                      <a:gd name="T44" fmla="*/ 2147483647 w 762"/>
                      <a:gd name="T45" fmla="*/ 2147483647 h 1338"/>
                      <a:gd name="T46" fmla="*/ 2147483647 w 762"/>
                      <a:gd name="T47" fmla="*/ 2147483647 h 1338"/>
                      <a:gd name="T48" fmla="*/ 2147483647 w 762"/>
                      <a:gd name="T49" fmla="*/ 2147483647 h 1338"/>
                      <a:gd name="T50" fmla="*/ 2147483647 w 762"/>
                      <a:gd name="T51" fmla="*/ 2147483647 h 1338"/>
                      <a:gd name="T52" fmla="*/ 2147483647 w 762"/>
                      <a:gd name="T53" fmla="*/ 2147483647 h 1338"/>
                      <a:gd name="T54" fmla="*/ 2147483647 w 762"/>
                      <a:gd name="T55" fmla="*/ 2147483647 h 1338"/>
                      <a:gd name="T56" fmla="*/ 0 w 762"/>
                      <a:gd name="T57" fmla="*/ 2147483647 h 1338"/>
                      <a:gd name="T58" fmla="*/ 2147483647 w 762"/>
                      <a:gd name="T59" fmla="*/ 2147483647 h 1338"/>
                      <a:gd name="T60" fmla="*/ 2147483647 w 762"/>
                      <a:gd name="T61" fmla="*/ 2147483647 h 1338"/>
                      <a:gd name="T62" fmla="*/ 2147483647 w 762"/>
                      <a:gd name="T63" fmla="*/ 2147483647 h 1338"/>
                      <a:gd name="T64" fmla="*/ 2147483647 w 762"/>
                      <a:gd name="T65" fmla="*/ 2147483647 h 1338"/>
                      <a:gd name="T66" fmla="*/ 2147483647 w 762"/>
                      <a:gd name="T67" fmla="*/ 2147483647 h 1338"/>
                      <a:gd name="T68" fmla="*/ 2147483647 w 762"/>
                      <a:gd name="T69" fmla="*/ 2147483647 h 1338"/>
                      <a:gd name="T70" fmla="*/ 2147483647 w 762"/>
                      <a:gd name="T71" fmla="*/ 2147483647 h 1338"/>
                      <a:gd name="T72" fmla="*/ 2147483647 w 762"/>
                      <a:gd name="T73" fmla="*/ 2147483647 h 1338"/>
                      <a:gd name="T74" fmla="*/ 2147483647 w 762"/>
                      <a:gd name="T75" fmla="*/ 2147483647 h 1338"/>
                      <a:gd name="T76" fmla="*/ 2147483647 w 762"/>
                      <a:gd name="T77" fmla="*/ 2147483647 h 1338"/>
                      <a:gd name="T78" fmla="*/ 2147483647 w 762"/>
                      <a:gd name="T79" fmla="*/ 2147483647 h 1338"/>
                      <a:gd name="T80" fmla="*/ 2147483647 w 762"/>
                      <a:gd name="T81" fmla="*/ 2147483647 h 1338"/>
                      <a:gd name="T82" fmla="*/ 2147483647 w 762"/>
                      <a:gd name="T83" fmla="*/ 2147483647 h 1338"/>
                      <a:gd name="T84" fmla="*/ 2147483647 w 762"/>
                      <a:gd name="T85" fmla="*/ 2147483647 h 1338"/>
                      <a:gd name="T86" fmla="*/ 2147483647 w 762"/>
                      <a:gd name="T87" fmla="*/ 2147483647 h 1338"/>
                      <a:gd name="T88" fmla="*/ 2147483647 w 762"/>
                      <a:gd name="T89" fmla="*/ 2147483647 h 1338"/>
                      <a:gd name="T90" fmla="*/ 2147483647 w 762"/>
                      <a:gd name="T91" fmla="*/ 2147483647 h 1338"/>
                      <a:gd name="T92" fmla="*/ 2147483647 w 762"/>
                      <a:gd name="T93" fmla="*/ 2147483647 h 1338"/>
                      <a:gd name="T94" fmla="*/ 2147483647 w 762"/>
                      <a:gd name="T95" fmla="*/ 2147483647 h 1338"/>
                      <a:gd name="T96" fmla="*/ 2147483647 w 762"/>
                      <a:gd name="T97" fmla="*/ 2147483647 h 1338"/>
                      <a:gd name="T98" fmla="*/ 2147483647 w 762"/>
                      <a:gd name="T99" fmla="*/ 2147483647 h 1338"/>
                      <a:gd name="T100" fmla="*/ 2147483647 w 762"/>
                      <a:gd name="T101" fmla="*/ 2147483647 h 1338"/>
                      <a:gd name="T102" fmla="*/ 2147483647 w 762"/>
                      <a:gd name="T103" fmla="*/ 2147483647 h 1338"/>
                      <a:gd name="T104" fmla="*/ 2147483647 w 762"/>
                      <a:gd name="T105" fmla="*/ 2147483647 h 1338"/>
                      <a:gd name="T106" fmla="*/ 2147483647 w 762"/>
                      <a:gd name="T107" fmla="*/ 2147483647 h 1338"/>
                      <a:gd name="T108" fmla="*/ 2147483647 w 762"/>
                      <a:gd name="T109" fmla="*/ 2147483647 h 1338"/>
                      <a:gd name="T110" fmla="*/ 2147483647 w 762"/>
                      <a:gd name="T111" fmla="*/ 2147483647 h 1338"/>
                      <a:gd name="T112" fmla="*/ 2147483647 w 762"/>
                      <a:gd name="T113" fmla="*/ 2147483647 h 1338"/>
                      <a:gd name="T114" fmla="*/ 2147483647 w 762"/>
                      <a:gd name="T115" fmla="*/ 2147483647 h 1338"/>
                      <a:gd name="T116" fmla="*/ 2147483647 w 762"/>
                      <a:gd name="T117" fmla="*/ 2147483647 h 1338"/>
                      <a:gd name="T118" fmla="*/ 2147483647 w 762"/>
                      <a:gd name="T119" fmla="*/ 2147483647 h 1338"/>
                      <a:gd name="T120" fmla="*/ 2147483647 w 762"/>
                      <a:gd name="T121" fmla="*/ 2147483647 h 1338"/>
                      <a:gd name="T122" fmla="*/ 2147483647 w 762"/>
                      <a:gd name="T123" fmla="*/ 2147483647 h 133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62"/>
                      <a:gd name="T187" fmla="*/ 0 h 1338"/>
                      <a:gd name="T188" fmla="*/ 762 w 762"/>
                      <a:gd name="T189" fmla="*/ 1338 h 133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62" h="1338">
                        <a:moveTo>
                          <a:pt x="762" y="342"/>
                        </a:moveTo>
                        <a:lnTo>
                          <a:pt x="762" y="324"/>
                        </a:lnTo>
                        <a:lnTo>
                          <a:pt x="756" y="318"/>
                        </a:lnTo>
                        <a:lnTo>
                          <a:pt x="744" y="318"/>
                        </a:lnTo>
                        <a:lnTo>
                          <a:pt x="744" y="258"/>
                        </a:lnTo>
                        <a:lnTo>
                          <a:pt x="732" y="246"/>
                        </a:lnTo>
                        <a:lnTo>
                          <a:pt x="750" y="234"/>
                        </a:lnTo>
                        <a:lnTo>
                          <a:pt x="738" y="186"/>
                        </a:lnTo>
                        <a:lnTo>
                          <a:pt x="750" y="156"/>
                        </a:lnTo>
                        <a:lnTo>
                          <a:pt x="738" y="120"/>
                        </a:lnTo>
                        <a:lnTo>
                          <a:pt x="738" y="108"/>
                        </a:lnTo>
                        <a:lnTo>
                          <a:pt x="750" y="72"/>
                        </a:lnTo>
                        <a:lnTo>
                          <a:pt x="756" y="42"/>
                        </a:lnTo>
                        <a:lnTo>
                          <a:pt x="756" y="12"/>
                        </a:lnTo>
                        <a:lnTo>
                          <a:pt x="744" y="0"/>
                        </a:lnTo>
                        <a:lnTo>
                          <a:pt x="666" y="54"/>
                        </a:lnTo>
                        <a:lnTo>
                          <a:pt x="636" y="60"/>
                        </a:lnTo>
                        <a:lnTo>
                          <a:pt x="630" y="60"/>
                        </a:lnTo>
                        <a:lnTo>
                          <a:pt x="618" y="72"/>
                        </a:lnTo>
                        <a:lnTo>
                          <a:pt x="606" y="78"/>
                        </a:lnTo>
                        <a:lnTo>
                          <a:pt x="594" y="78"/>
                        </a:lnTo>
                        <a:lnTo>
                          <a:pt x="594" y="72"/>
                        </a:lnTo>
                        <a:lnTo>
                          <a:pt x="588" y="66"/>
                        </a:lnTo>
                        <a:lnTo>
                          <a:pt x="564" y="66"/>
                        </a:lnTo>
                        <a:lnTo>
                          <a:pt x="558" y="72"/>
                        </a:lnTo>
                        <a:lnTo>
                          <a:pt x="552" y="84"/>
                        </a:lnTo>
                        <a:lnTo>
                          <a:pt x="540" y="90"/>
                        </a:lnTo>
                        <a:lnTo>
                          <a:pt x="528" y="102"/>
                        </a:lnTo>
                        <a:lnTo>
                          <a:pt x="510" y="102"/>
                        </a:lnTo>
                        <a:lnTo>
                          <a:pt x="498" y="96"/>
                        </a:lnTo>
                        <a:lnTo>
                          <a:pt x="492" y="90"/>
                        </a:lnTo>
                        <a:lnTo>
                          <a:pt x="486" y="90"/>
                        </a:lnTo>
                        <a:lnTo>
                          <a:pt x="468" y="108"/>
                        </a:lnTo>
                        <a:lnTo>
                          <a:pt x="456" y="108"/>
                        </a:lnTo>
                        <a:lnTo>
                          <a:pt x="450" y="102"/>
                        </a:lnTo>
                        <a:lnTo>
                          <a:pt x="438" y="96"/>
                        </a:lnTo>
                        <a:lnTo>
                          <a:pt x="432" y="84"/>
                        </a:lnTo>
                        <a:lnTo>
                          <a:pt x="420" y="78"/>
                        </a:lnTo>
                        <a:lnTo>
                          <a:pt x="408" y="78"/>
                        </a:lnTo>
                        <a:lnTo>
                          <a:pt x="396" y="90"/>
                        </a:lnTo>
                        <a:lnTo>
                          <a:pt x="390" y="90"/>
                        </a:lnTo>
                        <a:lnTo>
                          <a:pt x="384" y="96"/>
                        </a:lnTo>
                        <a:lnTo>
                          <a:pt x="354" y="96"/>
                        </a:lnTo>
                        <a:lnTo>
                          <a:pt x="354" y="114"/>
                        </a:lnTo>
                        <a:lnTo>
                          <a:pt x="330" y="138"/>
                        </a:lnTo>
                        <a:lnTo>
                          <a:pt x="330" y="150"/>
                        </a:lnTo>
                        <a:lnTo>
                          <a:pt x="342" y="162"/>
                        </a:lnTo>
                        <a:lnTo>
                          <a:pt x="348" y="174"/>
                        </a:lnTo>
                        <a:lnTo>
                          <a:pt x="348" y="204"/>
                        </a:lnTo>
                        <a:lnTo>
                          <a:pt x="342" y="216"/>
                        </a:lnTo>
                        <a:lnTo>
                          <a:pt x="336" y="234"/>
                        </a:lnTo>
                        <a:lnTo>
                          <a:pt x="336" y="246"/>
                        </a:lnTo>
                        <a:lnTo>
                          <a:pt x="342" y="246"/>
                        </a:lnTo>
                        <a:lnTo>
                          <a:pt x="342" y="252"/>
                        </a:lnTo>
                        <a:lnTo>
                          <a:pt x="348" y="252"/>
                        </a:lnTo>
                        <a:lnTo>
                          <a:pt x="372" y="276"/>
                        </a:lnTo>
                        <a:lnTo>
                          <a:pt x="384" y="300"/>
                        </a:lnTo>
                        <a:lnTo>
                          <a:pt x="390" y="306"/>
                        </a:lnTo>
                        <a:lnTo>
                          <a:pt x="396" y="318"/>
                        </a:lnTo>
                        <a:lnTo>
                          <a:pt x="408" y="336"/>
                        </a:lnTo>
                        <a:lnTo>
                          <a:pt x="420" y="348"/>
                        </a:lnTo>
                        <a:lnTo>
                          <a:pt x="420" y="366"/>
                        </a:lnTo>
                        <a:lnTo>
                          <a:pt x="414" y="372"/>
                        </a:lnTo>
                        <a:lnTo>
                          <a:pt x="408" y="384"/>
                        </a:lnTo>
                        <a:lnTo>
                          <a:pt x="402" y="390"/>
                        </a:lnTo>
                        <a:lnTo>
                          <a:pt x="402" y="450"/>
                        </a:lnTo>
                        <a:lnTo>
                          <a:pt x="396" y="456"/>
                        </a:lnTo>
                        <a:lnTo>
                          <a:pt x="372" y="456"/>
                        </a:lnTo>
                        <a:lnTo>
                          <a:pt x="360" y="462"/>
                        </a:lnTo>
                        <a:lnTo>
                          <a:pt x="354" y="474"/>
                        </a:lnTo>
                        <a:lnTo>
                          <a:pt x="354" y="492"/>
                        </a:lnTo>
                        <a:lnTo>
                          <a:pt x="360" y="492"/>
                        </a:lnTo>
                        <a:lnTo>
                          <a:pt x="366" y="498"/>
                        </a:lnTo>
                        <a:lnTo>
                          <a:pt x="366" y="528"/>
                        </a:lnTo>
                        <a:lnTo>
                          <a:pt x="354" y="534"/>
                        </a:lnTo>
                        <a:lnTo>
                          <a:pt x="348" y="540"/>
                        </a:lnTo>
                        <a:lnTo>
                          <a:pt x="342" y="534"/>
                        </a:lnTo>
                        <a:lnTo>
                          <a:pt x="342" y="522"/>
                        </a:lnTo>
                        <a:lnTo>
                          <a:pt x="348" y="516"/>
                        </a:lnTo>
                        <a:lnTo>
                          <a:pt x="348" y="504"/>
                        </a:lnTo>
                        <a:lnTo>
                          <a:pt x="336" y="498"/>
                        </a:lnTo>
                        <a:lnTo>
                          <a:pt x="330" y="492"/>
                        </a:lnTo>
                        <a:lnTo>
                          <a:pt x="318" y="486"/>
                        </a:lnTo>
                        <a:lnTo>
                          <a:pt x="312" y="480"/>
                        </a:lnTo>
                        <a:lnTo>
                          <a:pt x="300" y="474"/>
                        </a:lnTo>
                        <a:lnTo>
                          <a:pt x="300" y="444"/>
                        </a:lnTo>
                        <a:lnTo>
                          <a:pt x="288" y="444"/>
                        </a:lnTo>
                        <a:lnTo>
                          <a:pt x="288" y="438"/>
                        </a:lnTo>
                        <a:lnTo>
                          <a:pt x="294" y="432"/>
                        </a:lnTo>
                        <a:lnTo>
                          <a:pt x="306" y="426"/>
                        </a:lnTo>
                        <a:lnTo>
                          <a:pt x="312" y="420"/>
                        </a:lnTo>
                        <a:lnTo>
                          <a:pt x="300" y="402"/>
                        </a:lnTo>
                        <a:lnTo>
                          <a:pt x="312" y="396"/>
                        </a:lnTo>
                        <a:lnTo>
                          <a:pt x="318" y="366"/>
                        </a:lnTo>
                        <a:lnTo>
                          <a:pt x="312" y="366"/>
                        </a:lnTo>
                        <a:lnTo>
                          <a:pt x="312" y="330"/>
                        </a:lnTo>
                        <a:lnTo>
                          <a:pt x="306" y="324"/>
                        </a:lnTo>
                        <a:lnTo>
                          <a:pt x="288" y="324"/>
                        </a:lnTo>
                        <a:lnTo>
                          <a:pt x="282" y="330"/>
                        </a:lnTo>
                        <a:lnTo>
                          <a:pt x="252" y="330"/>
                        </a:lnTo>
                        <a:lnTo>
                          <a:pt x="222" y="282"/>
                        </a:lnTo>
                        <a:lnTo>
                          <a:pt x="216" y="282"/>
                        </a:lnTo>
                        <a:lnTo>
                          <a:pt x="210" y="288"/>
                        </a:lnTo>
                        <a:lnTo>
                          <a:pt x="192" y="294"/>
                        </a:lnTo>
                        <a:lnTo>
                          <a:pt x="180" y="300"/>
                        </a:lnTo>
                        <a:lnTo>
                          <a:pt x="162" y="312"/>
                        </a:lnTo>
                        <a:lnTo>
                          <a:pt x="138" y="324"/>
                        </a:lnTo>
                        <a:lnTo>
                          <a:pt x="132" y="324"/>
                        </a:lnTo>
                        <a:lnTo>
                          <a:pt x="120" y="330"/>
                        </a:lnTo>
                        <a:lnTo>
                          <a:pt x="102" y="336"/>
                        </a:lnTo>
                        <a:lnTo>
                          <a:pt x="84" y="336"/>
                        </a:lnTo>
                        <a:lnTo>
                          <a:pt x="72" y="342"/>
                        </a:lnTo>
                        <a:lnTo>
                          <a:pt x="60" y="342"/>
                        </a:lnTo>
                        <a:lnTo>
                          <a:pt x="42" y="360"/>
                        </a:lnTo>
                        <a:lnTo>
                          <a:pt x="12" y="360"/>
                        </a:lnTo>
                        <a:lnTo>
                          <a:pt x="0" y="372"/>
                        </a:lnTo>
                        <a:lnTo>
                          <a:pt x="18" y="390"/>
                        </a:lnTo>
                        <a:lnTo>
                          <a:pt x="24" y="444"/>
                        </a:lnTo>
                        <a:lnTo>
                          <a:pt x="84" y="444"/>
                        </a:lnTo>
                        <a:lnTo>
                          <a:pt x="96" y="462"/>
                        </a:lnTo>
                        <a:lnTo>
                          <a:pt x="114" y="462"/>
                        </a:lnTo>
                        <a:lnTo>
                          <a:pt x="132" y="486"/>
                        </a:lnTo>
                        <a:lnTo>
                          <a:pt x="138" y="486"/>
                        </a:lnTo>
                        <a:lnTo>
                          <a:pt x="150" y="480"/>
                        </a:lnTo>
                        <a:lnTo>
                          <a:pt x="162" y="480"/>
                        </a:lnTo>
                        <a:lnTo>
                          <a:pt x="180" y="498"/>
                        </a:lnTo>
                        <a:lnTo>
                          <a:pt x="192" y="498"/>
                        </a:lnTo>
                        <a:lnTo>
                          <a:pt x="204" y="510"/>
                        </a:lnTo>
                        <a:lnTo>
                          <a:pt x="204" y="516"/>
                        </a:lnTo>
                        <a:lnTo>
                          <a:pt x="198" y="528"/>
                        </a:lnTo>
                        <a:lnTo>
                          <a:pt x="192" y="534"/>
                        </a:lnTo>
                        <a:lnTo>
                          <a:pt x="204" y="552"/>
                        </a:lnTo>
                        <a:lnTo>
                          <a:pt x="192" y="564"/>
                        </a:lnTo>
                        <a:lnTo>
                          <a:pt x="204" y="576"/>
                        </a:lnTo>
                        <a:lnTo>
                          <a:pt x="198" y="582"/>
                        </a:lnTo>
                        <a:lnTo>
                          <a:pt x="198" y="588"/>
                        </a:lnTo>
                        <a:lnTo>
                          <a:pt x="192" y="594"/>
                        </a:lnTo>
                        <a:lnTo>
                          <a:pt x="192" y="606"/>
                        </a:lnTo>
                        <a:lnTo>
                          <a:pt x="204" y="630"/>
                        </a:lnTo>
                        <a:lnTo>
                          <a:pt x="204" y="642"/>
                        </a:lnTo>
                        <a:lnTo>
                          <a:pt x="198" y="648"/>
                        </a:lnTo>
                        <a:lnTo>
                          <a:pt x="198" y="654"/>
                        </a:lnTo>
                        <a:lnTo>
                          <a:pt x="192" y="654"/>
                        </a:lnTo>
                        <a:lnTo>
                          <a:pt x="192" y="666"/>
                        </a:lnTo>
                        <a:lnTo>
                          <a:pt x="174" y="678"/>
                        </a:lnTo>
                        <a:lnTo>
                          <a:pt x="192" y="702"/>
                        </a:lnTo>
                        <a:lnTo>
                          <a:pt x="174" y="720"/>
                        </a:lnTo>
                        <a:lnTo>
                          <a:pt x="174" y="732"/>
                        </a:lnTo>
                        <a:lnTo>
                          <a:pt x="198" y="756"/>
                        </a:lnTo>
                        <a:lnTo>
                          <a:pt x="198" y="762"/>
                        </a:lnTo>
                        <a:lnTo>
                          <a:pt x="192" y="774"/>
                        </a:lnTo>
                        <a:lnTo>
                          <a:pt x="180" y="786"/>
                        </a:lnTo>
                        <a:lnTo>
                          <a:pt x="180" y="798"/>
                        </a:lnTo>
                        <a:lnTo>
                          <a:pt x="168" y="810"/>
                        </a:lnTo>
                        <a:lnTo>
                          <a:pt x="156" y="816"/>
                        </a:lnTo>
                        <a:lnTo>
                          <a:pt x="156" y="846"/>
                        </a:lnTo>
                        <a:lnTo>
                          <a:pt x="144" y="858"/>
                        </a:lnTo>
                        <a:lnTo>
                          <a:pt x="156" y="876"/>
                        </a:lnTo>
                        <a:lnTo>
                          <a:pt x="138" y="882"/>
                        </a:lnTo>
                        <a:lnTo>
                          <a:pt x="72" y="966"/>
                        </a:lnTo>
                        <a:lnTo>
                          <a:pt x="72" y="996"/>
                        </a:lnTo>
                        <a:lnTo>
                          <a:pt x="78" y="1014"/>
                        </a:lnTo>
                        <a:lnTo>
                          <a:pt x="78" y="1032"/>
                        </a:lnTo>
                        <a:lnTo>
                          <a:pt x="84" y="1044"/>
                        </a:lnTo>
                        <a:lnTo>
                          <a:pt x="84" y="1062"/>
                        </a:lnTo>
                        <a:lnTo>
                          <a:pt x="114" y="1122"/>
                        </a:lnTo>
                        <a:lnTo>
                          <a:pt x="114" y="1212"/>
                        </a:lnTo>
                        <a:lnTo>
                          <a:pt x="90" y="1248"/>
                        </a:lnTo>
                        <a:lnTo>
                          <a:pt x="114" y="1248"/>
                        </a:lnTo>
                        <a:lnTo>
                          <a:pt x="108" y="1260"/>
                        </a:lnTo>
                        <a:lnTo>
                          <a:pt x="108" y="1284"/>
                        </a:lnTo>
                        <a:lnTo>
                          <a:pt x="114" y="1290"/>
                        </a:lnTo>
                        <a:lnTo>
                          <a:pt x="120" y="1290"/>
                        </a:lnTo>
                        <a:lnTo>
                          <a:pt x="126" y="1314"/>
                        </a:lnTo>
                        <a:lnTo>
                          <a:pt x="144" y="1314"/>
                        </a:lnTo>
                        <a:lnTo>
                          <a:pt x="156" y="1326"/>
                        </a:lnTo>
                        <a:lnTo>
                          <a:pt x="162" y="1338"/>
                        </a:lnTo>
                        <a:lnTo>
                          <a:pt x="168" y="1320"/>
                        </a:lnTo>
                        <a:lnTo>
                          <a:pt x="168" y="1284"/>
                        </a:lnTo>
                        <a:lnTo>
                          <a:pt x="162" y="1272"/>
                        </a:lnTo>
                        <a:lnTo>
                          <a:pt x="156" y="1266"/>
                        </a:lnTo>
                        <a:lnTo>
                          <a:pt x="150" y="1266"/>
                        </a:lnTo>
                        <a:lnTo>
                          <a:pt x="150" y="1242"/>
                        </a:lnTo>
                        <a:lnTo>
                          <a:pt x="162" y="1230"/>
                        </a:lnTo>
                        <a:lnTo>
                          <a:pt x="222" y="1188"/>
                        </a:lnTo>
                        <a:lnTo>
                          <a:pt x="276" y="1158"/>
                        </a:lnTo>
                        <a:lnTo>
                          <a:pt x="294" y="1146"/>
                        </a:lnTo>
                        <a:lnTo>
                          <a:pt x="312" y="1140"/>
                        </a:lnTo>
                        <a:lnTo>
                          <a:pt x="330" y="1128"/>
                        </a:lnTo>
                        <a:lnTo>
                          <a:pt x="342" y="1122"/>
                        </a:lnTo>
                        <a:lnTo>
                          <a:pt x="360" y="1104"/>
                        </a:lnTo>
                        <a:lnTo>
                          <a:pt x="360" y="1080"/>
                        </a:lnTo>
                        <a:lnTo>
                          <a:pt x="354" y="1080"/>
                        </a:lnTo>
                        <a:lnTo>
                          <a:pt x="354" y="1086"/>
                        </a:lnTo>
                        <a:lnTo>
                          <a:pt x="348" y="1080"/>
                        </a:lnTo>
                        <a:lnTo>
                          <a:pt x="342" y="1080"/>
                        </a:lnTo>
                        <a:lnTo>
                          <a:pt x="342" y="1068"/>
                        </a:lnTo>
                        <a:lnTo>
                          <a:pt x="366" y="1020"/>
                        </a:lnTo>
                        <a:lnTo>
                          <a:pt x="366" y="990"/>
                        </a:lnTo>
                        <a:lnTo>
                          <a:pt x="360" y="984"/>
                        </a:lnTo>
                        <a:lnTo>
                          <a:pt x="360" y="978"/>
                        </a:lnTo>
                        <a:lnTo>
                          <a:pt x="372" y="948"/>
                        </a:lnTo>
                        <a:lnTo>
                          <a:pt x="366" y="942"/>
                        </a:lnTo>
                        <a:lnTo>
                          <a:pt x="348" y="960"/>
                        </a:lnTo>
                        <a:lnTo>
                          <a:pt x="354" y="918"/>
                        </a:lnTo>
                        <a:lnTo>
                          <a:pt x="348" y="906"/>
                        </a:lnTo>
                        <a:lnTo>
                          <a:pt x="336" y="900"/>
                        </a:lnTo>
                        <a:lnTo>
                          <a:pt x="330" y="888"/>
                        </a:lnTo>
                        <a:lnTo>
                          <a:pt x="330" y="870"/>
                        </a:lnTo>
                        <a:lnTo>
                          <a:pt x="336" y="858"/>
                        </a:lnTo>
                        <a:lnTo>
                          <a:pt x="336" y="834"/>
                        </a:lnTo>
                        <a:lnTo>
                          <a:pt x="324" y="822"/>
                        </a:lnTo>
                        <a:lnTo>
                          <a:pt x="318" y="822"/>
                        </a:lnTo>
                        <a:lnTo>
                          <a:pt x="312" y="816"/>
                        </a:lnTo>
                        <a:lnTo>
                          <a:pt x="312" y="792"/>
                        </a:lnTo>
                        <a:lnTo>
                          <a:pt x="318" y="780"/>
                        </a:lnTo>
                        <a:lnTo>
                          <a:pt x="324" y="762"/>
                        </a:lnTo>
                        <a:lnTo>
                          <a:pt x="336" y="750"/>
                        </a:lnTo>
                        <a:lnTo>
                          <a:pt x="372" y="732"/>
                        </a:lnTo>
                        <a:lnTo>
                          <a:pt x="378" y="726"/>
                        </a:lnTo>
                        <a:lnTo>
                          <a:pt x="378" y="714"/>
                        </a:lnTo>
                        <a:lnTo>
                          <a:pt x="390" y="690"/>
                        </a:lnTo>
                        <a:lnTo>
                          <a:pt x="396" y="684"/>
                        </a:lnTo>
                        <a:lnTo>
                          <a:pt x="402" y="684"/>
                        </a:lnTo>
                        <a:lnTo>
                          <a:pt x="414" y="678"/>
                        </a:lnTo>
                        <a:lnTo>
                          <a:pt x="420" y="678"/>
                        </a:lnTo>
                        <a:lnTo>
                          <a:pt x="426" y="672"/>
                        </a:lnTo>
                        <a:lnTo>
                          <a:pt x="450" y="660"/>
                        </a:lnTo>
                        <a:lnTo>
                          <a:pt x="462" y="648"/>
                        </a:lnTo>
                        <a:lnTo>
                          <a:pt x="474" y="612"/>
                        </a:lnTo>
                        <a:lnTo>
                          <a:pt x="498" y="576"/>
                        </a:lnTo>
                        <a:lnTo>
                          <a:pt x="522" y="564"/>
                        </a:lnTo>
                        <a:lnTo>
                          <a:pt x="558" y="552"/>
                        </a:lnTo>
                        <a:lnTo>
                          <a:pt x="600" y="534"/>
                        </a:lnTo>
                        <a:lnTo>
                          <a:pt x="624" y="522"/>
                        </a:lnTo>
                        <a:lnTo>
                          <a:pt x="630" y="516"/>
                        </a:lnTo>
                        <a:lnTo>
                          <a:pt x="666" y="498"/>
                        </a:lnTo>
                        <a:lnTo>
                          <a:pt x="672" y="492"/>
                        </a:lnTo>
                        <a:lnTo>
                          <a:pt x="684" y="486"/>
                        </a:lnTo>
                        <a:lnTo>
                          <a:pt x="684" y="474"/>
                        </a:lnTo>
                        <a:lnTo>
                          <a:pt x="714" y="444"/>
                        </a:lnTo>
                        <a:lnTo>
                          <a:pt x="714" y="432"/>
                        </a:lnTo>
                        <a:lnTo>
                          <a:pt x="720" y="420"/>
                        </a:lnTo>
                        <a:lnTo>
                          <a:pt x="732" y="414"/>
                        </a:lnTo>
                        <a:lnTo>
                          <a:pt x="738" y="402"/>
                        </a:lnTo>
                        <a:lnTo>
                          <a:pt x="744" y="396"/>
                        </a:lnTo>
                        <a:lnTo>
                          <a:pt x="744" y="378"/>
                        </a:lnTo>
                        <a:lnTo>
                          <a:pt x="750" y="372"/>
                        </a:lnTo>
                        <a:lnTo>
                          <a:pt x="762" y="348"/>
                        </a:lnTo>
                        <a:lnTo>
                          <a:pt x="762" y="3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86" name="Morocco"/>
                  <p:cNvSpPr>
                    <a:spLocks/>
                  </p:cNvSpPr>
                  <p:nvPr/>
                </p:nvSpPr>
                <p:spPr bwMode="gray">
                  <a:xfrm>
                    <a:off x="2426" y="1571"/>
                    <a:ext cx="217" cy="169"/>
                  </a:xfrm>
                  <a:custGeom>
                    <a:avLst/>
                    <a:gdLst>
                      <a:gd name="T0" fmla="*/ 2147483647 w 846"/>
                      <a:gd name="T1" fmla="*/ 2147483647 h 660"/>
                      <a:gd name="T2" fmla="*/ 2147483647 w 846"/>
                      <a:gd name="T3" fmla="*/ 2147483647 h 660"/>
                      <a:gd name="T4" fmla="*/ 2147483647 w 846"/>
                      <a:gd name="T5" fmla="*/ 2147483647 h 660"/>
                      <a:gd name="T6" fmla="*/ 2147483647 w 846"/>
                      <a:gd name="T7" fmla="*/ 2147483647 h 660"/>
                      <a:gd name="T8" fmla="*/ 2147483647 w 846"/>
                      <a:gd name="T9" fmla="*/ 2147483647 h 660"/>
                      <a:gd name="T10" fmla="*/ 2147483647 w 846"/>
                      <a:gd name="T11" fmla="*/ 2147483647 h 660"/>
                      <a:gd name="T12" fmla="*/ 2147483647 w 846"/>
                      <a:gd name="T13" fmla="*/ 2147483647 h 660"/>
                      <a:gd name="T14" fmla="*/ 2147483647 w 846"/>
                      <a:gd name="T15" fmla="*/ 2147483647 h 660"/>
                      <a:gd name="T16" fmla="*/ 2147483647 w 846"/>
                      <a:gd name="T17" fmla="*/ 2147483647 h 660"/>
                      <a:gd name="T18" fmla="*/ 2147483647 w 846"/>
                      <a:gd name="T19" fmla="*/ 0 h 660"/>
                      <a:gd name="T20" fmla="*/ 2147483647 w 846"/>
                      <a:gd name="T21" fmla="*/ 2147483647 h 660"/>
                      <a:gd name="T22" fmla="*/ 2147483647 w 846"/>
                      <a:gd name="T23" fmla="*/ 2147483647 h 660"/>
                      <a:gd name="T24" fmla="*/ 2147483647 w 846"/>
                      <a:gd name="T25" fmla="*/ 2147483647 h 660"/>
                      <a:gd name="T26" fmla="*/ 2147483647 w 846"/>
                      <a:gd name="T27" fmla="*/ 2147483647 h 660"/>
                      <a:gd name="T28" fmla="*/ 2147483647 w 846"/>
                      <a:gd name="T29" fmla="*/ 2147483647 h 660"/>
                      <a:gd name="T30" fmla="*/ 2147483647 w 846"/>
                      <a:gd name="T31" fmla="*/ 2147483647 h 660"/>
                      <a:gd name="T32" fmla="*/ 2147483647 w 846"/>
                      <a:gd name="T33" fmla="*/ 2147483647 h 660"/>
                      <a:gd name="T34" fmla="*/ 2147483647 w 846"/>
                      <a:gd name="T35" fmla="*/ 2147483647 h 660"/>
                      <a:gd name="T36" fmla="*/ 2147483647 w 846"/>
                      <a:gd name="T37" fmla="*/ 2147483647 h 660"/>
                      <a:gd name="T38" fmla="*/ 2147483647 w 846"/>
                      <a:gd name="T39" fmla="*/ 2147483647 h 660"/>
                      <a:gd name="T40" fmla="*/ 2147483647 w 846"/>
                      <a:gd name="T41" fmla="*/ 2147483647 h 660"/>
                      <a:gd name="T42" fmla="*/ 2147483647 w 846"/>
                      <a:gd name="T43" fmla="*/ 2147483647 h 660"/>
                      <a:gd name="T44" fmla="*/ 2147483647 w 846"/>
                      <a:gd name="T45" fmla="*/ 2147483647 h 660"/>
                      <a:gd name="T46" fmla="*/ 2147483647 w 846"/>
                      <a:gd name="T47" fmla="*/ 2147483647 h 660"/>
                      <a:gd name="T48" fmla="*/ 2147483647 w 846"/>
                      <a:gd name="T49" fmla="*/ 2147483647 h 660"/>
                      <a:gd name="T50" fmla="*/ 2147483647 w 846"/>
                      <a:gd name="T51" fmla="*/ 2147483647 h 660"/>
                      <a:gd name="T52" fmla="*/ 2147483647 w 846"/>
                      <a:gd name="T53" fmla="*/ 2147483647 h 660"/>
                      <a:gd name="T54" fmla="*/ 2147483647 w 846"/>
                      <a:gd name="T55" fmla="*/ 2147483647 h 660"/>
                      <a:gd name="T56" fmla="*/ 2147483647 w 846"/>
                      <a:gd name="T57" fmla="*/ 2147483647 h 660"/>
                      <a:gd name="T58" fmla="*/ 2147483647 w 846"/>
                      <a:gd name="T59" fmla="*/ 2147483647 h 660"/>
                      <a:gd name="T60" fmla="*/ 2147483647 w 846"/>
                      <a:gd name="T61" fmla="*/ 2147483647 h 660"/>
                      <a:gd name="T62" fmla="*/ 2147483647 w 846"/>
                      <a:gd name="T63" fmla="*/ 2147483647 h 660"/>
                      <a:gd name="T64" fmla="*/ 2147483647 w 846"/>
                      <a:gd name="T65" fmla="*/ 2147483647 h 660"/>
                      <a:gd name="T66" fmla="*/ 2147483647 w 846"/>
                      <a:gd name="T67" fmla="*/ 2147483647 h 660"/>
                      <a:gd name="T68" fmla="*/ 2147483647 w 846"/>
                      <a:gd name="T69" fmla="*/ 2147483647 h 660"/>
                      <a:gd name="T70" fmla="*/ 2147483647 w 846"/>
                      <a:gd name="T71" fmla="*/ 2147483647 h 660"/>
                      <a:gd name="T72" fmla="*/ 2147483647 w 846"/>
                      <a:gd name="T73" fmla="*/ 2147483647 h 660"/>
                      <a:gd name="T74" fmla="*/ 2147483647 w 846"/>
                      <a:gd name="T75" fmla="*/ 2147483647 h 660"/>
                      <a:gd name="T76" fmla="*/ 2147483647 w 846"/>
                      <a:gd name="T77" fmla="*/ 2147483647 h 660"/>
                      <a:gd name="T78" fmla="*/ 2147483647 w 846"/>
                      <a:gd name="T79" fmla="*/ 2147483647 h 660"/>
                      <a:gd name="T80" fmla="*/ 2147483647 w 846"/>
                      <a:gd name="T81" fmla="*/ 2147483647 h 660"/>
                      <a:gd name="T82" fmla="*/ 2147483647 w 846"/>
                      <a:gd name="T83" fmla="*/ 2147483647 h 660"/>
                      <a:gd name="T84" fmla="*/ 2147483647 w 846"/>
                      <a:gd name="T85" fmla="*/ 2147483647 h 660"/>
                      <a:gd name="T86" fmla="*/ 2147483647 w 846"/>
                      <a:gd name="T87" fmla="*/ 2147483647 h 660"/>
                      <a:gd name="T88" fmla="*/ 2147483647 w 846"/>
                      <a:gd name="T89" fmla="*/ 2147483647 h 66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846"/>
                      <a:gd name="T136" fmla="*/ 0 h 660"/>
                      <a:gd name="T137" fmla="*/ 846 w 846"/>
                      <a:gd name="T138" fmla="*/ 660 h 660"/>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846" h="660">
                        <a:moveTo>
                          <a:pt x="822" y="246"/>
                        </a:moveTo>
                        <a:lnTo>
                          <a:pt x="822" y="216"/>
                        </a:lnTo>
                        <a:lnTo>
                          <a:pt x="804" y="216"/>
                        </a:lnTo>
                        <a:lnTo>
                          <a:pt x="816" y="186"/>
                        </a:lnTo>
                        <a:lnTo>
                          <a:pt x="804" y="168"/>
                        </a:lnTo>
                        <a:lnTo>
                          <a:pt x="810" y="102"/>
                        </a:lnTo>
                        <a:lnTo>
                          <a:pt x="798" y="102"/>
                        </a:lnTo>
                        <a:lnTo>
                          <a:pt x="798" y="90"/>
                        </a:lnTo>
                        <a:lnTo>
                          <a:pt x="804" y="84"/>
                        </a:lnTo>
                        <a:lnTo>
                          <a:pt x="792" y="78"/>
                        </a:lnTo>
                        <a:lnTo>
                          <a:pt x="786" y="66"/>
                        </a:lnTo>
                        <a:lnTo>
                          <a:pt x="780" y="60"/>
                        </a:lnTo>
                        <a:lnTo>
                          <a:pt x="744" y="42"/>
                        </a:lnTo>
                        <a:lnTo>
                          <a:pt x="720" y="42"/>
                        </a:lnTo>
                        <a:lnTo>
                          <a:pt x="708" y="48"/>
                        </a:lnTo>
                        <a:lnTo>
                          <a:pt x="702" y="54"/>
                        </a:lnTo>
                        <a:lnTo>
                          <a:pt x="696" y="54"/>
                        </a:lnTo>
                        <a:lnTo>
                          <a:pt x="690" y="48"/>
                        </a:lnTo>
                        <a:lnTo>
                          <a:pt x="678" y="48"/>
                        </a:lnTo>
                        <a:lnTo>
                          <a:pt x="666" y="42"/>
                        </a:lnTo>
                        <a:lnTo>
                          <a:pt x="654" y="42"/>
                        </a:lnTo>
                        <a:lnTo>
                          <a:pt x="642" y="48"/>
                        </a:lnTo>
                        <a:lnTo>
                          <a:pt x="636" y="54"/>
                        </a:lnTo>
                        <a:lnTo>
                          <a:pt x="624" y="54"/>
                        </a:lnTo>
                        <a:lnTo>
                          <a:pt x="588" y="36"/>
                        </a:lnTo>
                        <a:lnTo>
                          <a:pt x="570" y="18"/>
                        </a:lnTo>
                        <a:lnTo>
                          <a:pt x="564" y="6"/>
                        </a:lnTo>
                        <a:lnTo>
                          <a:pt x="558" y="6"/>
                        </a:lnTo>
                        <a:lnTo>
                          <a:pt x="552" y="0"/>
                        </a:lnTo>
                        <a:lnTo>
                          <a:pt x="528" y="0"/>
                        </a:lnTo>
                        <a:lnTo>
                          <a:pt x="528" y="6"/>
                        </a:lnTo>
                        <a:lnTo>
                          <a:pt x="522" y="12"/>
                        </a:lnTo>
                        <a:lnTo>
                          <a:pt x="522" y="30"/>
                        </a:lnTo>
                        <a:lnTo>
                          <a:pt x="516" y="48"/>
                        </a:lnTo>
                        <a:lnTo>
                          <a:pt x="498" y="84"/>
                        </a:lnTo>
                        <a:lnTo>
                          <a:pt x="492" y="102"/>
                        </a:lnTo>
                        <a:lnTo>
                          <a:pt x="468" y="138"/>
                        </a:lnTo>
                        <a:lnTo>
                          <a:pt x="462" y="150"/>
                        </a:lnTo>
                        <a:lnTo>
                          <a:pt x="450" y="162"/>
                        </a:lnTo>
                        <a:lnTo>
                          <a:pt x="438" y="168"/>
                        </a:lnTo>
                        <a:lnTo>
                          <a:pt x="420" y="168"/>
                        </a:lnTo>
                        <a:lnTo>
                          <a:pt x="408" y="174"/>
                        </a:lnTo>
                        <a:lnTo>
                          <a:pt x="402" y="174"/>
                        </a:lnTo>
                        <a:lnTo>
                          <a:pt x="396" y="180"/>
                        </a:lnTo>
                        <a:lnTo>
                          <a:pt x="384" y="186"/>
                        </a:lnTo>
                        <a:lnTo>
                          <a:pt x="378" y="198"/>
                        </a:lnTo>
                        <a:lnTo>
                          <a:pt x="360" y="192"/>
                        </a:lnTo>
                        <a:lnTo>
                          <a:pt x="330" y="204"/>
                        </a:lnTo>
                        <a:lnTo>
                          <a:pt x="330" y="210"/>
                        </a:lnTo>
                        <a:lnTo>
                          <a:pt x="324" y="216"/>
                        </a:lnTo>
                        <a:lnTo>
                          <a:pt x="324" y="228"/>
                        </a:lnTo>
                        <a:lnTo>
                          <a:pt x="318" y="240"/>
                        </a:lnTo>
                        <a:lnTo>
                          <a:pt x="312" y="240"/>
                        </a:lnTo>
                        <a:lnTo>
                          <a:pt x="288" y="264"/>
                        </a:lnTo>
                        <a:lnTo>
                          <a:pt x="288" y="288"/>
                        </a:lnTo>
                        <a:lnTo>
                          <a:pt x="276" y="312"/>
                        </a:lnTo>
                        <a:lnTo>
                          <a:pt x="264" y="324"/>
                        </a:lnTo>
                        <a:lnTo>
                          <a:pt x="258" y="336"/>
                        </a:lnTo>
                        <a:lnTo>
                          <a:pt x="246" y="354"/>
                        </a:lnTo>
                        <a:lnTo>
                          <a:pt x="246" y="402"/>
                        </a:lnTo>
                        <a:lnTo>
                          <a:pt x="240" y="408"/>
                        </a:lnTo>
                        <a:lnTo>
                          <a:pt x="234" y="408"/>
                        </a:lnTo>
                        <a:lnTo>
                          <a:pt x="234" y="414"/>
                        </a:lnTo>
                        <a:lnTo>
                          <a:pt x="240" y="420"/>
                        </a:lnTo>
                        <a:lnTo>
                          <a:pt x="252" y="420"/>
                        </a:lnTo>
                        <a:lnTo>
                          <a:pt x="252" y="474"/>
                        </a:lnTo>
                        <a:lnTo>
                          <a:pt x="240" y="474"/>
                        </a:lnTo>
                        <a:lnTo>
                          <a:pt x="228" y="480"/>
                        </a:lnTo>
                        <a:lnTo>
                          <a:pt x="192" y="540"/>
                        </a:lnTo>
                        <a:lnTo>
                          <a:pt x="180" y="552"/>
                        </a:lnTo>
                        <a:lnTo>
                          <a:pt x="168" y="552"/>
                        </a:lnTo>
                        <a:lnTo>
                          <a:pt x="162" y="558"/>
                        </a:lnTo>
                        <a:lnTo>
                          <a:pt x="150" y="564"/>
                        </a:lnTo>
                        <a:lnTo>
                          <a:pt x="144" y="576"/>
                        </a:lnTo>
                        <a:lnTo>
                          <a:pt x="132" y="588"/>
                        </a:lnTo>
                        <a:lnTo>
                          <a:pt x="126" y="600"/>
                        </a:lnTo>
                        <a:lnTo>
                          <a:pt x="120" y="606"/>
                        </a:lnTo>
                        <a:lnTo>
                          <a:pt x="84" y="624"/>
                        </a:lnTo>
                        <a:lnTo>
                          <a:pt x="66" y="624"/>
                        </a:lnTo>
                        <a:lnTo>
                          <a:pt x="54" y="630"/>
                        </a:lnTo>
                        <a:lnTo>
                          <a:pt x="48" y="630"/>
                        </a:lnTo>
                        <a:lnTo>
                          <a:pt x="42" y="636"/>
                        </a:lnTo>
                        <a:lnTo>
                          <a:pt x="12" y="636"/>
                        </a:lnTo>
                        <a:lnTo>
                          <a:pt x="6" y="642"/>
                        </a:lnTo>
                        <a:lnTo>
                          <a:pt x="6" y="654"/>
                        </a:lnTo>
                        <a:lnTo>
                          <a:pt x="0" y="660"/>
                        </a:lnTo>
                        <a:lnTo>
                          <a:pt x="312" y="660"/>
                        </a:lnTo>
                        <a:lnTo>
                          <a:pt x="312" y="600"/>
                        </a:lnTo>
                        <a:lnTo>
                          <a:pt x="318" y="570"/>
                        </a:lnTo>
                        <a:lnTo>
                          <a:pt x="330" y="564"/>
                        </a:lnTo>
                        <a:lnTo>
                          <a:pt x="336" y="558"/>
                        </a:lnTo>
                        <a:lnTo>
                          <a:pt x="348" y="552"/>
                        </a:lnTo>
                        <a:lnTo>
                          <a:pt x="378" y="522"/>
                        </a:lnTo>
                        <a:lnTo>
                          <a:pt x="378" y="516"/>
                        </a:lnTo>
                        <a:lnTo>
                          <a:pt x="396" y="516"/>
                        </a:lnTo>
                        <a:lnTo>
                          <a:pt x="426" y="498"/>
                        </a:lnTo>
                        <a:lnTo>
                          <a:pt x="438" y="504"/>
                        </a:lnTo>
                        <a:lnTo>
                          <a:pt x="444" y="510"/>
                        </a:lnTo>
                        <a:lnTo>
                          <a:pt x="456" y="510"/>
                        </a:lnTo>
                        <a:lnTo>
                          <a:pt x="462" y="498"/>
                        </a:lnTo>
                        <a:lnTo>
                          <a:pt x="462" y="492"/>
                        </a:lnTo>
                        <a:lnTo>
                          <a:pt x="486" y="486"/>
                        </a:lnTo>
                        <a:lnTo>
                          <a:pt x="492" y="474"/>
                        </a:lnTo>
                        <a:lnTo>
                          <a:pt x="504" y="474"/>
                        </a:lnTo>
                        <a:lnTo>
                          <a:pt x="516" y="480"/>
                        </a:lnTo>
                        <a:lnTo>
                          <a:pt x="540" y="480"/>
                        </a:lnTo>
                        <a:lnTo>
                          <a:pt x="552" y="468"/>
                        </a:lnTo>
                        <a:lnTo>
                          <a:pt x="564" y="444"/>
                        </a:lnTo>
                        <a:lnTo>
                          <a:pt x="570" y="438"/>
                        </a:lnTo>
                        <a:lnTo>
                          <a:pt x="576" y="426"/>
                        </a:lnTo>
                        <a:lnTo>
                          <a:pt x="618" y="426"/>
                        </a:lnTo>
                        <a:lnTo>
                          <a:pt x="624" y="420"/>
                        </a:lnTo>
                        <a:lnTo>
                          <a:pt x="636" y="414"/>
                        </a:lnTo>
                        <a:lnTo>
                          <a:pt x="648" y="402"/>
                        </a:lnTo>
                        <a:lnTo>
                          <a:pt x="648" y="396"/>
                        </a:lnTo>
                        <a:lnTo>
                          <a:pt x="672" y="384"/>
                        </a:lnTo>
                        <a:lnTo>
                          <a:pt x="660" y="366"/>
                        </a:lnTo>
                        <a:lnTo>
                          <a:pt x="654" y="354"/>
                        </a:lnTo>
                        <a:lnTo>
                          <a:pt x="648" y="348"/>
                        </a:lnTo>
                        <a:lnTo>
                          <a:pt x="648" y="336"/>
                        </a:lnTo>
                        <a:lnTo>
                          <a:pt x="654" y="330"/>
                        </a:lnTo>
                        <a:lnTo>
                          <a:pt x="678" y="330"/>
                        </a:lnTo>
                        <a:lnTo>
                          <a:pt x="690" y="324"/>
                        </a:lnTo>
                        <a:lnTo>
                          <a:pt x="714" y="324"/>
                        </a:lnTo>
                        <a:lnTo>
                          <a:pt x="714" y="312"/>
                        </a:lnTo>
                        <a:lnTo>
                          <a:pt x="720" y="306"/>
                        </a:lnTo>
                        <a:lnTo>
                          <a:pt x="720" y="300"/>
                        </a:lnTo>
                        <a:lnTo>
                          <a:pt x="732" y="300"/>
                        </a:lnTo>
                        <a:lnTo>
                          <a:pt x="738" y="306"/>
                        </a:lnTo>
                        <a:lnTo>
                          <a:pt x="744" y="300"/>
                        </a:lnTo>
                        <a:lnTo>
                          <a:pt x="744" y="294"/>
                        </a:lnTo>
                        <a:lnTo>
                          <a:pt x="762" y="294"/>
                        </a:lnTo>
                        <a:lnTo>
                          <a:pt x="774" y="300"/>
                        </a:lnTo>
                        <a:lnTo>
                          <a:pt x="828" y="294"/>
                        </a:lnTo>
                        <a:lnTo>
                          <a:pt x="828" y="282"/>
                        </a:lnTo>
                        <a:lnTo>
                          <a:pt x="846" y="264"/>
                        </a:lnTo>
                        <a:lnTo>
                          <a:pt x="822" y="24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87" name="Mongolia"/>
                  <p:cNvSpPr>
                    <a:spLocks/>
                  </p:cNvSpPr>
                  <p:nvPr/>
                </p:nvSpPr>
                <p:spPr bwMode="gray">
                  <a:xfrm>
                    <a:off x="4073" y="1240"/>
                    <a:ext cx="537" cy="213"/>
                  </a:xfrm>
                  <a:custGeom>
                    <a:avLst/>
                    <a:gdLst>
                      <a:gd name="T0" fmla="*/ 2147483647 w 2100"/>
                      <a:gd name="T1" fmla="*/ 2147483647 h 834"/>
                      <a:gd name="T2" fmla="*/ 2147483647 w 2100"/>
                      <a:gd name="T3" fmla="*/ 2147483647 h 834"/>
                      <a:gd name="T4" fmla="*/ 2147483647 w 2100"/>
                      <a:gd name="T5" fmla="*/ 2147483647 h 834"/>
                      <a:gd name="T6" fmla="*/ 2147483647 w 2100"/>
                      <a:gd name="T7" fmla="*/ 2147483647 h 834"/>
                      <a:gd name="T8" fmla="*/ 2147483647 w 2100"/>
                      <a:gd name="T9" fmla="*/ 2147483647 h 834"/>
                      <a:gd name="T10" fmla="*/ 2147483647 w 2100"/>
                      <a:gd name="T11" fmla="*/ 2147483647 h 834"/>
                      <a:gd name="T12" fmla="*/ 2147483647 w 2100"/>
                      <a:gd name="T13" fmla="*/ 2147483647 h 834"/>
                      <a:gd name="T14" fmla="*/ 2147483647 w 2100"/>
                      <a:gd name="T15" fmla="*/ 2147483647 h 834"/>
                      <a:gd name="T16" fmla="*/ 2147483647 w 2100"/>
                      <a:gd name="T17" fmla="*/ 2147483647 h 834"/>
                      <a:gd name="T18" fmla="*/ 2147483647 w 2100"/>
                      <a:gd name="T19" fmla="*/ 2147483647 h 834"/>
                      <a:gd name="T20" fmla="*/ 2147483647 w 2100"/>
                      <a:gd name="T21" fmla="*/ 2147483647 h 834"/>
                      <a:gd name="T22" fmla="*/ 2147483647 w 2100"/>
                      <a:gd name="T23" fmla="*/ 2147483647 h 834"/>
                      <a:gd name="T24" fmla="*/ 2147483647 w 2100"/>
                      <a:gd name="T25" fmla="*/ 2147483647 h 834"/>
                      <a:gd name="T26" fmla="*/ 2147483647 w 2100"/>
                      <a:gd name="T27" fmla="*/ 2147483647 h 834"/>
                      <a:gd name="T28" fmla="*/ 2147483647 w 2100"/>
                      <a:gd name="T29" fmla="*/ 2147483647 h 834"/>
                      <a:gd name="T30" fmla="*/ 2147483647 w 2100"/>
                      <a:gd name="T31" fmla="*/ 2147483647 h 834"/>
                      <a:gd name="T32" fmla="*/ 2147483647 w 2100"/>
                      <a:gd name="T33" fmla="*/ 2147483647 h 834"/>
                      <a:gd name="T34" fmla="*/ 2147483647 w 2100"/>
                      <a:gd name="T35" fmla="*/ 2147483647 h 834"/>
                      <a:gd name="T36" fmla="*/ 2147483647 w 2100"/>
                      <a:gd name="T37" fmla="*/ 2147483647 h 834"/>
                      <a:gd name="T38" fmla="*/ 2147483647 w 2100"/>
                      <a:gd name="T39" fmla="*/ 2147483647 h 834"/>
                      <a:gd name="T40" fmla="*/ 2147483647 w 2100"/>
                      <a:gd name="T41" fmla="*/ 2147483647 h 834"/>
                      <a:gd name="T42" fmla="*/ 2147483647 w 2100"/>
                      <a:gd name="T43" fmla="*/ 2147483647 h 834"/>
                      <a:gd name="T44" fmla="*/ 2147483647 w 2100"/>
                      <a:gd name="T45" fmla="*/ 2147483647 h 834"/>
                      <a:gd name="T46" fmla="*/ 2147483647 w 2100"/>
                      <a:gd name="T47" fmla="*/ 2147483647 h 834"/>
                      <a:gd name="T48" fmla="*/ 2147483647 w 2100"/>
                      <a:gd name="T49" fmla="*/ 2147483647 h 834"/>
                      <a:gd name="T50" fmla="*/ 2147483647 w 2100"/>
                      <a:gd name="T51" fmla="*/ 2147483647 h 834"/>
                      <a:gd name="T52" fmla="*/ 2147483647 w 2100"/>
                      <a:gd name="T53" fmla="*/ 2147483647 h 834"/>
                      <a:gd name="T54" fmla="*/ 2147483647 w 2100"/>
                      <a:gd name="T55" fmla="*/ 2147483647 h 834"/>
                      <a:gd name="T56" fmla="*/ 2147483647 w 2100"/>
                      <a:gd name="T57" fmla="*/ 2147483647 h 834"/>
                      <a:gd name="T58" fmla="*/ 2147483647 w 2100"/>
                      <a:gd name="T59" fmla="*/ 2147483647 h 834"/>
                      <a:gd name="T60" fmla="*/ 2147483647 w 2100"/>
                      <a:gd name="T61" fmla="*/ 2147483647 h 834"/>
                      <a:gd name="T62" fmla="*/ 0 w 2100"/>
                      <a:gd name="T63" fmla="*/ 2147483647 h 834"/>
                      <a:gd name="T64" fmla="*/ 2147483647 w 2100"/>
                      <a:gd name="T65" fmla="*/ 2147483647 h 834"/>
                      <a:gd name="T66" fmla="*/ 2147483647 w 2100"/>
                      <a:gd name="T67" fmla="*/ 2147483647 h 834"/>
                      <a:gd name="T68" fmla="*/ 2147483647 w 2100"/>
                      <a:gd name="T69" fmla="*/ 2147483647 h 834"/>
                      <a:gd name="T70" fmla="*/ 2147483647 w 2100"/>
                      <a:gd name="T71" fmla="*/ 2147483647 h 834"/>
                      <a:gd name="T72" fmla="*/ 2147483647 w 2100"/>
                      <a:gd name="T73" fmla="*/ 2147483647 h 834"/>
                      <a:gd name="T74" fmla="*/ 2147483647 w 2100"/>
                      <a:gd name="T75" fmla="*/ 2147483647 h 834"/>
                      <a:gd name="T76" fmla="*/ 2147483647 w 2100"/>
                      <a:gd name="T77" fmla="*/ 2147483647 h 834"/>
                      <a:gd name="T78" fmla="*/ 2147483647 w 2100"/>
                      <a:gd name="T79" fmla="*/ 2147483647 h 834"/>
                      <a:gd name="T80" fmla="*/ 2147483647 w 2100"/>
                      <a:gd name="T81" fmla="*/ 2147483647 h 834"/>
                      <a:gd name="T82" fmla="*/ 2147483647 w 2100"/>
                      <a:gd name="T83" fmla="*/ 2147483647 h 834"/>
                      <a:gd name="T84" fmla="*/ 2147483647 w 2100"/>
                      <a:gd name="T85" fmla="*/ 2147483647 h 834"/>
                      <a:gd name="T86" fmla="*/ 2147483647 w 2100"/>
                      <a:gd name="T87" fmla="*/ 2147483647 h 834"/>
                      <a:gd name="T88" fmla="*/ 2147483647 w 2100"/>
                      <a:gd name="T89" fmla="*/ 2147483647 h 834"/>
                      <a:gd name="T90" fmla="*/ 2147483647 w 2100"/>
                      <a:gd name="T91" fmla="*/ 2147483647 h 834"/>
                      <a:gd name="T92" fmla="*/ 2147483647 w 2100"/>
                      <a:gd name="T93" fmla="*/ 2147483647 h 834"/>
                      <a:gd name="T94" fmla="*/ 2147483647 w 2100"/>
                      <a:gd name="T95" fmla="*/ 2147483647 h 834"/>
                      <a:gd name="T96" fmla="*/ 2147483647 w 2100"/>
                      <a:gd name="T97" fmla="*/ 2147483647 h 834"/>
                      <a:gd name="T98" fmla="*/ 2147483647 w 2100"/>
                      <a:gd name="T99" fmla="*/ 2147483647 h 834"/>
                      <a:gd name="T100" fmla="*/ 2147483647 w 2100"/>
                      <a:gd name="T101" fmla="*/ 2147483647 h 834"/>
                      <a:gd name="T102" fmla="*/ 2147483647 w 2100"/>
                      <a:gd name="T103" fmla="*/ 2147483647 h 834"/>
                      <a:gd name="T104" fmla="*/ 2147483647 w 2100"/>
                      <a:gd name="T105" fmla="*/ 2147483647 h 834"/>
                      <a:gd name="T106" fmla="*/ 2147483647 w 2100"/>
                      <a:gd name="T107" fmla="*/ 2147483647 h 834"/>
                      <a:gd name="T108" fmla="*/ 2147483647 w 2100"/>
                      <a:gd name="T109" fmla="*/ 2147483647 h 834"/>
                      <a:gd name="T110" fmla="*/ 2147483647 w 2100"/>
                      <a:gd name="T111" fmla="*/ 2147483647 h 834"/>
                      <a:gd name="T112" fmla="*/ 2147483647 w 2100"/>
                      <a:gd name="T113" fmla="*/ 2147483647 h 834"/>
                      <a:gd name="T114" fmla="*/ 2147483647 w 2100"/>
                      <a:gd name="T115" fmla="*/ 2147483647 h 834"/>
                      <a:gd name="T116" fmla="*/ 2147483647 w 2100"/>
                      <a:gd name="T117" fmla="*/ 2147483647 h 834"/>
                      <a:gd name="T118" fmla="*/ 2147483647 w 2100"/>
                      <a:gd name="T119" fmla="*/ 2147483647 h 834"/>
                      <a:gd name="T120" fmla="*/ 2147483647 w 2100"/>
                      <a:gd name="T121" fmla="*/ 2147483647 h 834"/>
                      <a:gd name="T122" fmla="*/ 2147483647 w 2100"/>
                      <a:gd name="T123" fmla="*/ 2147483647 h 83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100"/>
                      <a:gd name="T187" fmla="*/ 0 h 834"/>
                      <a:gd name="T188" fmla="*/ 2100 w 2100"/>
                      <a:gd name="T189" fmla="*/ 834 h 83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100" h="834">
                        <a:moveTo>
                          <a:pt x="2088" y="408"/>
                        </a:moveTo>
                        <a:lnTo>
                          <a:pt x="2076" y="396"/>
                        </a:lnTo>
                        <a:lnTo>
                          <a:pt x="2070" y="384"/>
                        </a:lnTo>
                        <a:lnTo>
                          <a:pt x="2058" y="384"/>
                        </a:lnTo>
                        <a:lnTo>
                          <a:pt x="2034" y="372"/>
                        </a:lnTo>
                        <a:lnTo>
                          <a:pt x="2022" y="360"/>
                        </a:lnTo>
                        <a:lnTo>
                          <a:pt x="2010" y="354"/>
                        </a:lnTo>
                        <a:lnTo>
                          <a:pt x="2004" y="348"/>
                        </a:lnTo>
                        <a:lnTo>
                          <a:pt x="1986" y="348"/>
                        </a:lnTo>
                        <a:lnTo>
                          <a:pt x="1974" y="342"/>
                        </a:lnTo>
                        <a:lnTo>
                          <a:pt x="1968" y="336"/>
                        </a:lnTo>
                        <a:lnTo>
                          <a:pt x="1968" y="324"/>
                        </a:lnTo>
                        <a:lnTo>
                          <a:pt x="1902" y="324"/>
                        </a:lnTo>
                        <a:lnTo>
                          <a:pt x="1902" y="348"/>
                        </a:lnTo>
                        <a:lnTo>
                          <a:pt x="1896" y="354"/>
                        </a:lnTo>
                        <a:lnTo>
                          <a:pt x="1890" y="354"/>
                        </a:lnTo>
                        <a:lnTo>
                          <a:pt x="1878" y="348"/>
                        </a:lnTo>
                        <a:lnTo>
                          <a:pt x="1866" y="336"/>
                        </a:lnTo>
                        <a:lnTo>
                          <a:pt x="1812" y="336"/>
                        </a:lnTo>
                        <a:lnTo>
                          <a:pt x="1806" y="342"/>
                        </a:lnTo>
                        <a:lnTo>
                          <a:pt x="1812" y="342"/>
                        </a:lnTo>
                        <a:lnTo>
                          <a:pt x="1812" y="348"/>
                        </a:lnTo>
                        <a:lnTo>
                          <a:pt x="1794" y="348"/>
                        </a:lnTo>
                        <a:lnTo>
                          <a:pt x="1788" y="342"/>
                        </a:lnTo>
                        <a:lnTo>
                          <a:pt x="1776" y="336"/>
                        </a:lnTo>
                        <a:lnTo>
                          <a:pt x="1770" y="324"/>
                        </a:lnTo>
                        <a:lnTo>
                          <a:pt x="1770" y="306"/>
                        </a:lnTo>
                        <a:lnTo>
                          <a:pt x="1776" y="306"/>
                        </a:lnTo>
                        <a:lnTo>
                          <a:pt x="1770" y="294"/>
                        </a:lnTo>
                        <a:lnTo>
                          <a:pt x="1764" y="270"/>
                        </a:lnTo>
                        <a:lnTo>
                          <a:pt x="1758" y="258"/>
                        </a:lnTo>
                        <a:lnTo>
                          <a:pt x="1758" y="174"/>
                        </a:lnTo>
                        <a:lnTo>
                          <a:pt x="1740" y="174"/>
                        </a:lnTo>
                        <a:lnTo>
                          <a:pt x="1716" y="168"/>
                        </a:lnTo>
                        <a:lnTo>
                          <a:pt x="1710" y="174"/>
                        </a:lnTo>
                        <a:lnTo>
                          <a:pt x="1698" y="180"/>
                        </a:lnTo>
                        <a:lnTo>
                          <a:pt x="1674" y="180"/>
                        </a:lnTo>
                        <a:lnTo>
                          <a:pt x="1662" y="174"/>
                        </a:lnTo>
                        <a:lnTo>
                          <a:pt x="1644" y="156"/>
                        </a:lnTo>
                        <a:lnTo>
                          <a:pt x="1608" y="156"/>
                        </a:lnTo>
                        <a:lnTo>
                          <a:pt x="1596" y="150"/>
                        </a:lnTo>
                        <a:lnTo>
                          <a:pt x="1578" y="150"/>
                        </a:lnTo>
                        <a:lnTo>
                          <a:pt x="1548" y="180"/>
                        </a:lnTo>
                        <a:lnTo>
                          <a:pt x="1548" y="192"/>
                        </a:lnTo>
                        <a:lnTo>
                          <a:pt x="1536" y="204"/>
                        </a:lnTo>
                        <a:lnTo>
                          <a:pt x="1500" y="204"/>
                        </a:lnTo>
                        <a:lnTo>
                          <a:pt x="1488" y="216"/>
                        </a:lnTo>
                        <a:lnTo>
                          <a:pt x="1440" y="216"/>
                        </a:lnTo>
                        <a:lnTo>
                          <a:pt x="1440" y="222"/>
                        </a:lnTo>
                        <a:lnTo>
                          <a:pt x="1422" y="240"/>
                        </a:lnTo>
                        <a:lnTo>
                          <a:pt x="1416" y="240"/>
                        </a:lnTo>
                        <a:lnTo>
                          <a:pt x="1416" y="234"/>
                        </a:lnTo>
                        <a:lnTo>
                          <a:pt x="1410" y="228"/>
                        </a:lnTo>
                        <a:lnTo>
                          <a:pt x="1392" y="228"/>
                        </a:lnTo>
                        <a:lnTo>
                          <a:pt x="1380" y="234"/>
                        </a:lnTo>
                        <a:lnTo>
                          <a:pt x="1356" y="234"/>
                        </a:lnTo>
                        <a:lnTo>
                          <a:pt x="1344" y="228"/>
                        </a:lnTo>
                        <a:lnTo>
                          <a:pt x="1338" y="228"/>
                        </a:lnTo>
                        <a:lnTo>
                          <a:pt x="1332" y="222"/>
                        </a:lnTo>
                        <a:lnTo>
                          <a:pt x="1266" y="222"/>
                        </a:lnTo>
                        <a:lnTo>
                          <a:pt x="1260" y="216"/>
                        </a:lnTo>
                        <a:lnTo>
                          <a:pt x="1260" y="204"/>
                        </a:lnTo>
                        <a:lnTo>
                          <a:pt x="1248" y="198"/>
                        </a:lnTo>
                        <a:lnTo>
                          <a:pt x="1230" y="198"/>
                        </a:lnTo>
                        <a:lnTo>
                          <a:pt x="1230" y="192"/>
                        </a:lnTo>
                        <a:lnTo>
                          <a:pt x="1218" y="180"/>
                        </a:lnTo>
                        <a:lnTo>
                          <a:pt x="1218" y="174"/>
                        </a:lnTo>
                        <a:lnTo>
                          <a:pt x="1212" y="168"/>
                        </a:lnTo>
                        <a:lnTo>
                          <a:pt x="1152" y="168"/>
                        </a:lnTo>
                        <a:lnTo>
                          <a:pt x="1128" y="144"/>
                        </a:lnTo>
                        <a:lnTo>
                          <a:pt x="1092" y="144"/>
                        </a:lnTo>
                        <a:lnTo>
                          <a:pt x="1086" y="138"/>
                        </a:lnTo>
                        <a:lnTo>
                          <a:pt x="1080" y="138"/>
                        </a:lnTo>
                        <a:lnTo>
                          <a:pt x="1068" y="132"/>
                        </a:lnTo>
                        <a:lnTo>
                          <a:pt x="1020" y="132"/>
                        </a:lnTo>
                        <a:lnTo>
                          <a:pt x="966" y="150"/>
                        </a:lnTo>
                        <a:lnTo>
                          <a:pt x="954" y="156"/>
                        </a:lnTo>
                        <a:lnTo>
                          <a:pt x="942" y="156"/>
                        </a:lnTo>
                        <a:lnTo>
                          <a:pt x="930" y="150"/>
                        </a:lnTo>
                        <a:lnTo>
                          <a:pt x="918" y="150"/>
                        </a:lnTo>
                        <a:lnTo>
                          <a:pt x="912" y="144"/>
                        </a:lnTo>
                        <a:lnTo>
                          <a:pt x="882" y="144"/>
                        </a:lnTo>
                        <a:lnTo>
                          <a:pt x="864" y="126"/>
                        </a:lnTo>
                        <a:lnTo>
                          <a:pt x="864" y="120"/>
                        </a:lnTo>
                        <a:lnTo>
                          <a:pt x="840" y="126"/>
                        </a:lnTo>
                        <a:lnTo>
                          <a:pt x="840" y="120"/>
                        </a:lnTo>
                        <a:lnTo>
                          <a:pt x="834" y="114"/>
                        </a:lnTo>
                        <a:lnTo>
                          <a:pt x="822" y="90"/>
                        </a:lnTo>
                        <a:lnTo>
                          <a:pt x="810" y="78"/>
                        </a:lnTo>
                        <a:lnTo>
                          <a:pt x="804" y="66"/>
                        </a:lnTo>
                        <a:lnTo>
                          <a:pt x="798" y="60"/>
                        </a:lnTo>
                        <a:lnTo>
                          <a:pt x="786" y="54"/>
                        </a:lnTo>
                        <a:lnTo>
                          <a:pt x="768" y="54"/>
                        </a:lnTo>
                        <a:lnTo>
                          <a:pt x="756" y="60"/>
                        </a:lnTo>
                        <a:lnTo>
                          <a:pt x="750" y="60"/>
                        </a:lnTo>
                        <a:lnTo>
                          <a:pt x="726" y="48"/>
                        </a:lnTo>
                        <a:lnTo>
                          <a:pt x="720" y="42"/>
                        </a:lnTo>
                        <a:lnTo>
                          <a:pt x="708" y="36"/>
                        </a:lnTo>
                        <a:lnTo>
                          <a:pt x="672" y="36"/>
                        </a:lnTo>
                        <a:lnTo>
                          <a:pt x="648" y="30"/>
                        </a:lnTo>
                        <a:lnTo>
                          <a:pt x="636" y="30"/>
                        </a:lnTo>
                        <a:lnTo>
                          <a:pt x="576" y="0"/>
                        </a:lnTo>
                        <a:lnTo>
                          <a:pt x="576" y="18"/>
                        </a:lnTo>
                        <a:lnTo>
                          <a:pt x="570" y="30"/>
                        </a:lnTo>
                        <a:lnTo>
                          <a:pt x="558" y="36"/>
                        </a:lnTo>
                        <a:lnTo>
                          <a:pt x="552" y="36"/>
                        </a:lnTo>
                        <a:lnTo>
                          <a:pt x="558" y="48"/>
                        </a:lnTo>
                        <a:lnTo>
                          <a:pt x="540" y="48"/>
                        </a:lnTo>
                        <a:lnTo>
                          <a:pt x="540" y="60"/>
                        </a:lnTo>
                        <a:lnTo>
                          <a:pt x="552" y="72"/>
                        </a:lnTo>
                        <a:lnTo>
                          <a:pt x="558" y="90"/>
                        </a:lnTo>
                        <a:lnTo>
                          <a:pt x="582" y="126"/>
                        </a:lnTo>
                        <a:lnTo>
                          <a:pt x="588" y="126"/>
                        </a:lnTo>
                        <a:lnTo>
                          <a:pt x="594" y="132"/>
                        </a:lnTo>
                        <a:lnTo>
                          <a:pt x="600" y="144"/>
                        </a:lnTo>
                        <a:lnTo>
                          <a:pt x="600" y="168"/>
                        </a:lnTo>
                        <a:lnTo>
                          <a:pt x="582" y="168"/>
                        </a:lnTo>
                        <a:lnTo>
                          <a:pt x="582" y="174"/>
                        </a:lnTo>
                        <a:lnTo>
                          <a:pt x="576" y="180"/>
                        </a:lnTo>
                        <a:lnTo>
                          <a:pt x="552" y="192"/>
                        </a:lnTo>
                        <a:lnTo>
                          <a:pt x="546" y="186"/>
                        </a:lnTo>
                        <a:lnTo>
                          <a:pt x="546" y="174"/>
                        </a:lnTo>
                        <a:lnTo>
                          <a:pt x="498" y="180"/>
                        </a:lnTo>
                        <a:lnTo>
                          <a:pt x="498" y="168"/>
                        </a:lnTo>
                        <a:lnTo>
                          <a:pt x="456" y="168"/>
                        </a:lnTo>
                        <a:lnTo>
                          <a:pt x="450" y="174"/>
                        </a:lnTo>
                        <a:lnTo>
                          <a:pt x="450" y="180"/>
                        </a:lnTo>
                        <a:lnTo>
                          <a:pt x="444" y="168"/>
                        </a:lnTo>
                        <a:lnTo>
                          <a:pt x="420" y="174"/>
                        </a:lnTo>
                        <a:lnTo>
                          <a:pt x="414" y="162"/>
                        </a:lnTo>
                        <a:lnTo>
                          <a:pt x="384" y="162"/>
                        </a:lnTo>
                        <a:lnTo>
                          <a:pt x="366" y="156"/>
                        </a:lnTo>
                        <a:lnTo>
                          <a:pt x="360" y="150"/>
                        </a:lnTo>
                        <a:lnTo>
                          <a:pt x="360" y="138"/>
                        </a:lnTo>
                        <a:lnTo>
                          <a:pt x="354" y="132"/>
                        </a:lnTo>
                        <a:lnTo>
                          <a:pt x="354" y="126"/>
                        </a:lnTo>
                        <a:lnTo>
                          <a:pt x="312" y="126"/>
                        </a:lnTo>
                        <a:lnTo>
                          <a:pt x="294" y="132"/>
                        </a:lnTo>
                        <a:lnTo>
                          <a:pt x="270" y="132"/>
                        </a:lnTo>
                        <a:lnTo>
                          <a:pt x="264" y="114"/>
                        </a:lnTo>
                        <a:lnTo>
                          <a:pt x="228" y="114"/>
                        </a:lnTo>
                        <a:lnTo>
                          <a:pt x="228" y="108"/>
                        </a:lnTo>
                        <a:lnTo>
                          <a:pt x="210" y="114"/>
                        </a:lnTo>
                        <a:lnTo>
                          <a:pt x="204" y="108"/>
                        </a:lnTo>
                        <a:lnTo>
                          <a:pt x="186" y="108"/>
                        </a:lnTo>
                        <a:lnTo>
                          <a:pt x="180" y="114"/>
                        </a:lnTo>
                        <a:lnTo>
                          <a:pt x="180" y="120"/>
                        </a:lnTo>
                        <a:lnTo>
                          <a:pt x="174" y="126"/>
                        </a:lnTo>
                        <a:lnTo>
                          <a:pt x="174" y="132"/>
                        </a:lnTo>
                        <a:lnTo>
                          <a:pt x="150" y="132"/>
                        </a:lnTo>
                        <a:lnTo>
                          <a:pt x="138" y="150"/>
                        </a:lnTo>
                        <a:lnTo>
                          <a:pt x="120" y="150"/>
                        </a:lnTo>
                        <a:lnTo>
                          <a:pt x="84" y="186"/>
                        </a:lnTo>
                        <a:lnTo>
                          <a:pt x="84" y="192"/>
                        </a:lnTo>
                        <a:lnTo>
                          <a:pt x="90" y="198"/>
                        </a:lnTo>
                        <a:lnTo>
                          <a:pt x="66" y="198"/>
                        </a:lnTo>
                        <a:lnTo>
                          <a:pt x="72" y="210"/>
                        </a:lnTo>
                        <a:lnTo>
                          <a:pt x="12" y="210"/>
                        </a:lnTo>
                        <a:lnTo>
                          <a:pt x="12" y="228"/>
                        </a:lnTo>
                        <a:lnTo>
                          <a:pt x="0" y="240"/>
                        </a:lnTo>
                        <a:lnTo>
                          <a:pt x="6" y="246"/>
                        </a:lnTo>
                        <a:lnTo>
                          <a:pt x="6" y="258"/>
                        </a:lnTo>
                        <a:lnTo>
                          <a:pt x="0" y="264"/>
                        </a:lnTo>
                        <a:lnTo>
                          <a:pt x="24" y="264"/>
                        </a:lnTo>
                        <a:lnTo>
                          <a:pt x="24" y="282"/>
                        </a:lnTo>
                        <a:lnTo>
                          <a:pt x="36" y="288"/>
                        </a:lnTo>
                        <a:lnTo>
                          <a:pt x="48" y="288"/>
                        </a:lnTo>
                        <a:lnTo>
                          <a:pt x="60" y="294"/>
                        </a:lnTo>
                        <a:lnTo>
                          <a:pt x="72" y="294"/>
                        </a:lnTo>
                        <a:lnTo>
                          <a:pt x="78" y="306"/>
                        </a:lnTo>
                        <a:lnTo>
                          <a:pt x="102" y="330"/>
                        </a:lnTo>
                        <a:lnTo>
                          <a:pt x="138" y="318"/>
                        </a:lnTo>
                        <a:lnTo>
                          <a:pt x="156" y="330"/>
                        </a:lnTo>
                        <a:lnTo>
                          <a:pt x="162" y="336"/>
                        </a:lnTo>
                        <a:lnTo>
                          <a:pt x="174" y="336"/>
                        </a:lnTo>
                        <a:lnTo>
                          <a:pt x="186" y="342"/>
                        </a:lnTo>
                        <a:lnTo>
                          <a:pt x="204" y="348"/>
                        </a:lnTo>
                        <a:lnTo>
                          <a:pt x="222" y="366"/>
                        </a:lnTo>
                        <a:lnTo>
                          <a:pt x="228" y="378"/>
                        </a:lnTo>
                        <a:lnTo>
                          <a:pt x="240" y="396"/>
                        </a:lnTo>
                        <a:lnTo>
                          <a:pt x="264" y="414"/>
                        </a:lnTo>
                        <a:lnTo>
                          <a:pt x="276" y="426"/>
                        </a:lnTo>
                        <a:lnTo>
                          <a:pt x="282" y="438"/>
                        </a:lnTo>
                        <a:lnTo>
                          <a:pt x="282" y="450"/>
                        </a:lnTo>
                        <a:lnTo>
                          <a:pt x="288" y="456"/>
                        </a:lnTo>
                        <a:lnTo>
                          <a:pt x="294" y="468"/>
                        </a:lnTo>
                        <a:lnTo>
                          <a:pt x="300" y="474"/>
                        </a:lnTo>
                        <a:lnTo>
                          <a:pt x="300" y="480"/>
                        </a:lnTo>
                        <a:lnTo>
                          <a:pt x="288" y="492"/>
                        </a:lnTo>
                        <a:lnTo>
                          <a:pt x="288" y="504"/>
                        </a:lnTo>
                        <a:lnTo>
                          <a:pt x="294" y="522"/>
                        </a:lnTo>
                        <a:lnTo>
                          <a:pt x="300" y="534"/>
                        </a:lnTo>
                        <a:lnTo>
                          <a:pt x="306" y="540"/>
                        </a:lnTo>
                        <a:lnTo>
                          <a:pt x="318" y="546"/>
                        </a:lnTo>
                        <a:lnTo>
                          <a:pt x="330" y="546"/>
                        </a:lnTo>
                        <a:lnTo>
                          <a:pt x="342" y="552"/>
                        </a:lnTo>
                        <a:lnTo>
                          <a:pt x="348" y="552"/>
                        </a:lnTo>
                        <a:lnTo>
                          <a:pt x="366" y="558"/>
                        </a:lnTo>
                        <a:lnTo>
                          <a:pt x="390" y="564"/>
                        </a:lnTo>
                        <a:lnTo>
                          <a:pt x="486" y="564"/>
                        </a:lnTo>
                        <a:lnTo>
                          <a:pt x="492" y="570"/>
                        </a:lnTo>
                        <a:lnTo>
                          <a:pt x="498" y="570"/>
                        </a:lnTo>
                        <a:lnTo>
                          <a:pt x="510" y="576"/>
                        </a:lnTo>
                        <a:lnTo>
                          <a:pt x="516" y="576"/>
                        </a:lnTo>
                        <a:lnTo>
                          <a:pt x="528" y="582"/>
                        </a:lnTo>
                        <a:lnTo>
                          <a:pt x="534" y="594"/>
                        </a:lnTo>
                        <a:lnTo>
                          <a:pt x="540" y="594"/>
                        </a:lnTo>
                        <a:lnTo>
                          <a:pt x="546" y="600"/>
                        </a:lnTo>
                        <a:lnTo>
                          <a:pt x="552" y="600"/>
                        </a:lnTo>
                        <a:lnTo>
                          <a:pt x="576" y="612"/>
                        </a:lnTo>
                        <a:lnTo>
                          <a:pt x="588" y="612"/>
                        </a:lnTo>
                        <a:lnTo>
                          <a:pt x="594" y="618"/>
                        </a:lnTo>
                        <a:lnTo>
                          <a:pt x="630" y="618"/>
                        </a:lnTo>
                        <a:lnTo>
                          <a:pt x="642" y="642"/>
                        </a:lnTo>
                        <a:lnTo>
                          <a:pt x="684" y="684"/>
                        </a:lnTo>
                        <a:lnTo>
                          <a:pt x="690" y="696"/>
                        </a:lnTo>
                        <a:lnTo>
                          <a:pt x="720" y="726"/>
                        </a:lnTo>
                        <a:lnTo>
                          <a:pt x="732" y="732"/>
                        </a:lnTo>
                        <a:lnTo>
                          <a:pt x="738" y="744"/>
                        </a:lnTo>
                        <a:lnTo>
                          <a:pt x="750" y="750"/>
                        </a:lnTo>
                        <a:lnTo>
                          <a:pt x="810" y="744"/>
                        </a:lnTo>
                        <a:lnTo>
                          <a:pt x="864" y="750"/>
                        </a:lnTo>
                        <a:lnTo>
                          <a:pt x="912" y="750"/>
                        </a:lnTo>
                        <a:lnTo>
                          <a:pt x="948" y="756"/>
                        </a:lnTo>
                        <a:lnTo>
                          <a:pt x="954" y="750"/>
                        </a:lnTo>
                        <a:lnTo>
                          <a:pt x="966" y="744"/>
                        </a:lnTo>
                        <a:lnTo>
                          <a:pt x="972" y="738"/>
                        </a:lnTo>
                        <a:lnTo>
                          <a:pt x="984" y="738"/>
                        </a:lnTo>
                        <a:lnTo>
                          <a:pt x="996" y="744"/>
                        </a:lnTo>
                        <a:lnTo>
                          <a:pt x="1002" y="744"/>
                        </a:lnTo>
                        <a:lnTo>
                          <a:pt x="1008" y="750"/>
                        </a:lnTo>
                        <a:lnTo>
                          <a:pt x="1062" y="750"/>
                        </a:lnTo>
                        <a:lnTo>
                          <a:pt x="1080" y="756"/>
                        </a:lnTo>
                        <a:lnTo>
                          <a:pt x="1092" y="756"/>
                        </a:lnTo>
                        <a:lnTo>
                          <a:pt x="1110" y="774"/>
                        </a:lnTo>
                        <a:lnTo>
                          <a:pt x="1116" y="786"/>
                        </a:lnTo>
                        <a:lnTo>
                          <a:pt x="1128" y="792"/>
                        </a:lnTo>
                        <a:lnTo>
                          <a:pt x="1152" y="798"/>
                        </a:lnTo>
                        <a:lnTo>
                          <a:pt x="1200" y="798"/>
                        </a:lnTo>
                        <a:lnTo>
                          <a:pt x="1218" y="804"/>
                        </a:lnTo>
                        <a:lnTo>
                          <a:pt x="1242" y="816"/>
                        </a:lnTo>
                        <a:lnTo>
                          <a:pt x="1248" y="822"/>
                        </a:lnTo>
                        <a:lnTo>
                          <a:pt x="1260" y="822"/>
                        </a:lnTo>
                        <a:lnTo>
                          <a:pt x="1266" y="816"/>
                        </a:lnTo>
                        <a:lnTo>
                          <a:pt x="1278" y="816"/>
                        </a:lnTo>
                        <a:lnTo>
                          <a:pt x="1290" y="810"/>
                        </a:lnTo>
                        <a:lnTo>
                          <a:pt x="1302" y="810"/>
                        </a:lnTo>
                        <a:lnTo>
                          <a:pt x="1302" y="816"/>
                        </a:lnTo>
                        <a:lnTo>
                          <a:pt x="1308" y="828"/>
                        </a:lnTo>
                        <a:lnTo>
                          <a:pt x="1314" y="828"/>
                        </a:lnTo>
                        <a:lnTo>
                          <a:pt x="1320" y="834"/>
                        </a:lnTo>
                        <a:lnTo>
                          <a:pt x="1338" y="834"/>
                        </a:lnTo>
                        <a:lnTo>
                          <a:pt x="1344" y="828"/>
                        </a:lnTo>
                        <a:lnTo>
                          <a:pt x="1362" y="816"/>
                        </a:lnTo>
                        <a:lnTo>
                          <a:pt x="1422" y="780"/>
                        </a:lnTo>
                        <a:lnTo>
                          <a:pt x="1440" y="768"/>
                        </a:lnTo>
                        <a:lnTo>
                          <a:pt x="1596" y="768"/>
                        </a:lnTo>
                        <a:lnTo>
                          <a:pt x="1614" y="744"/>
                        </a:lnTo>
                        <a:lnTo>
                          <a:pt x="1638" y="744"/>
                        </a:lnTo>
                        <a:lnTo>
                          <a:pt x="1650" y="738"/>
                        </a:lnTo>
                        <a:lnTo>
                          <a:pt x="1662" y="714"/>
                        </a:lnTo>
                        <a:lnTo>
                          <a:pt x="1662" y="708"/>
                        </a:lnTo>
                        <a:lnTo>
                          <a:pt x="1668" y="696"/>
                        </a:lnTo>
                        <a:lnTo>
                          <a:pt x="1668" y="690"/>
                        </a:lnTo>
                        <a:lnTo>
                          <a:pt x="1692" y="690"/>
                        </a:lnTo>
                        <a:lnTo>
                          <a:pt x="1704" y="678"/>
                        </a:lnTo>
                        <a:lnTo>
                          <a:pt x="1710" y="666"/>
                        </a:lnTo>
                        <a:lnTo>
                          <a:pt x="1716" y="660"/>
                        </a:lnTo>
                        <a:lnTo>
                          <a:pt x="1716" y="654"/>
                        </a:lnTo>
                        <a:lnTo>
                          <a:pt x="1704" y="648"/>
                        </a:lnTo>
                        <a:lnTo>
                          <a:pt x="1686" y="630"/>
                        </a:lnTo>
                        <a:lnTo>
                          <a:pt x="1674" y="624"/>
                        </a:lnTo>
                        <a:lnTo>
                          <a:pt x="1656" y="606"/>
                        </a:lnTo>
                        <a:lnTo>
                          <a:pt x="1650" y="594"/>
                        </a:lnTo>
                        <a:lnTo>
                          <a:pt x="1650" y="582"/>
                        </a:lnTo>
                        <a:lnTo>
                          <a:pt x="1656" y="570"/>
                        </a:lnTo>
                        <a:lnTo>
                          <a:pt x="1656" y="558"/>
                        </a:lnTo>
                        <a:lnTo>
                          <a:pt x="1668" y="552"/>
                        </a:lnTo>
                        <a:lnTo>
                          <a:pt x="1692" y="552"/>
                        </a:lnTo>
                        <a:lnTo>
                          <a:pt x="1698" y="558"/>
                        </a:lnTo>
                        <a:lnTo>
                          <a:pt x="1704" y="558"/>
                        </a:lnTo>
                        <a:lnTo>
                          <a:pt x="1710" y="564"/>
                        </a:lnTo>
                        <a:lnTo>
                          <a:pt x="1722" y="570"/>
                        </a:lnTo>
                        <a:lnTo>
                          <a:pt x="1728" y="576"/>
                        </a:lnTo>
                        <a:lnTo>
                          <a:pt x="1740" y="582"/>
                        </a:lnTo>
                        <a:lnTo>
                          <a:pt x="1764" y="582"/>
                        </a:lnTo>
                        <a:lnTo>
                          <a:pt x="1776" y="576"/>
                        </a:lnTo>
                        <a:lnTo>
                          <a:pt x="1794" y="576"/>
                        </a:lnTo>
                        <a:lnTo>
                          <a:pt x="1806" y="570"/>
                        </a:lnTo>
                        <a:lnTo>
                          <a:pt x="1812" y="558"/>
                        </a:lnTo>
                        <a:lnTo>
                          <a:pt x="1818" y="552"/>
                        </a:lnTo>
                        <a:lnTo>
                          <a:pt x="1818" y="528"/>
                        </a:lnTo>
                        <a:lnTo>
                          <a:pt x="1890" y="528"/>
                        </a:lnTo>
                        <a:lnTo>
                          <a:pt x="1914" y="504"/>
                        </a:lnTo>
                        <a:lnTo>
                          <a:pt x="1902" y="492"/>
                        </a:lnTo>
                        <a:lnTo>
                          <a:pt x="1896" y="480"/>
                        </a:lnTo>
                        <a:lnTo>
                          <a:pt x="1902" y="474"/>
                        </a:lnTo>
                        <a:lnTo>
                          <a:pt x="1938" y="456"/>
                        </a:lnTo>
                        <a:lnTo>
                          <a:pt x="1950" y="456"/>
                        </a:lnTo>
                        <a:lnTo>
                          <a:pt x="1950" y="438"/>
                        </a:lnTo>
                        <a:lnTo>
                          <a:pt x="1980" y="444"/>
                        </a:lnTo>
                        <a:lnTo>
                          <a:pt x="1998" y="426"/>
                        </a:lnTo>
                        <a:lnTo>
                          <a:pt x="2004" y="426"/>
                        </a:lnTo>
                        <a:lnTo>
                          <a:pt x="2010" y="420"/>
                        </a:lnTo>
                        <a:lnTo>
                          <a:pt x="2040" y="420"/>
                        </a:lnTo>
                        <a:lnTo>
                          <a:pt x="2052" y="426"/>
                        </a:lnTo>
                        <a:lnTo>
                          <a:pt x="2058" y="432"/>
                        </a:lnTo>
                        <a:lnTo>
                          <a:pt x="2094" y="432"/>
                        </a:lnTo>
                        <a:lnTo>
                          <a:pt x="2100" y="426"/>
                        </a:lnTo>
                        <a:lnTo>
                          <a:pt x="2100" y="420"/>
                        </a:lnTo>
                        <a:lnTo>
                          <a:pt x="2088" y="40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88" name="Moldova"/>
                  <p:cNvSpPr>
                    <a:spLocks/>
                  </p:cNvSpPr>
                  <p:nvPr/>
                </p:nvSpPr>
                <p:spPr bwMode="gray">
                  <a:xfrm>
                    <a:off x="3102" y="1314"/>
                    <a:ext cx="55" cy="61"/>
                  </a:xfrm>
                  <a:custGeom>
                    <a:avLst/>
                    <a:gdLst>
                      <a:gd name="T0" fmla="*/ 2147483647 w 216"/>
                      <a:gd name="T1" fmla="*/ 2147483647 h 240"/>
                      <a:gd name="T2" fmla="*/ 2147483647 w 216"/>
                      <a:gd name="T3" fmla="*/ 2147483647 h 240"/>
                      <a:gd name="T4" fmla="*/ 2147483647 w 216"/>
                      <a:gd name="T5" fmla="*/ 2147483647 h 240"/>
                      <a:gd name="T6" fmla="*/ 2147483647 w 216"/>
                      <a:gd name="T7" fmla="*/ 2147483647 h 240"/>
                      <a:gd name="T8" fmla="*/ 2147483647 w 216"/>
                      <a:gd name="T9" fmla="*/ 2147483647 h 240"/>
                      <a:gd name="T10" fmla="*/ 2147483647 w 216"/>
                      <a:gd name="T11" fmla="*/ 2147483647 h 240"/>
                      <a:gd name="T12" fmla="*/ 2147483647 w 216"/>
                      <a:gd name="T13" fmla="*/ 2147483647 h 240"/>
                      <a:gd name="T14" fmla="*/ 2147483647 w 216"/>
                      <a:gd name="T15" fmla="*/ 2147483647 h 240"/>
                      <a:gd name="T16" fmla="*/ 2147483647 w 216"/>
                      <a:gd name="T17" fmla="*/ 2147483647 h 240"/>
                      <a:gd name="T18" fmla="*/ 2147483647 w 216"/>
                      <a:gd name="T19" fmla="*/ 2147483647 h 240"/>
                      <a:gd name="T20" fmla="*/ 2147483647 w 216"/>
                      <a:gd name="T21" fmla="*/ 2147483647 h 240"/>
                      <a:gd name="T22" fmla="*/ 2147483647 w 216"/>
                      <a:gd name="T23" fmla="*/ 2147483647 h 240"/>
                      <a:gd name="T24" fmla="*/ 2147483647 w 216"/>
                      <a:gd name="T25" fmla="*/ 2147483647 h 240"/>
                      <a:gd name="T26" fmla="*/ 2147483647 w 216"/>
                      <a:gd name="T27" fmla="*/ 2147483647 h 240"/>
                      <a:gd name="T28" fmla="*/ 2147483647 w 216"/>
                      <a:gd name="T29" fmla="*/ 2147483647 h 240"/>
                      <a:gd name="T30" fmla="*/ 2147483647 w 216"/>
                      <a:gd name="T31" fmla="*/ 2147483647 h 240"/>
                      <a:gd name="T32" fmla="*/ 2147483647 w 216"/>
                      <a:gd name="T33" fmla="*/ 2147483647 h 240"/>
                      <a:gd name="T34" fmla="*/ 2147483647 w 216"/>
                      <a:gd name="T35" fmla="*/ 2147483647 h 240"/>
                      <a:gd name="T36" fmla="*/ 2147483647 w 216"/>
                      <a:gd name="T37" fmla="*/ 2147483647 h 240"/>
                      <a:gd name="T38" fmla="*/ 2147483647 w 216"/>
                      <a:gd name="T39" fmla="*/ 2147483647 h 240"/>
                      <a:gd name="T40" fmla="*/ 2147483647 w 216"/>
                      <a:gd name="T41" fmla="*/ 2147483647 h 240"/>
                      <a:gd name="T42" fmla="*/ 2147483647 w 216"/>
                      <a:gd name="T43" fmla="*/ 2147483647 h 240"/>
                      <a:gd name="T44" fmla="*/ 2147483647 w 216"/>
                      <a:gd name="T45" fmla="*/ 2147483647 h 240"/>
                      <a:gd name="T46" fmla="*/ 2147483647 w 216"/>
                      <a:gd name="T47" fmla="*/ 2147483647 h 240"/>
                      <a:gd name="T48" fmla="*/ 2147483647 w 216"/>
                      <a:gd name="T49" fmla="*/ 2147483647 h 240"/>
                      <a:gd name="T50" fmla="*/ 2147483647 w 216"/>
                      <a:gd name="T51" fmla="*/ 2147483647 h 240"/>
                      <a:gd name="T52" fmla="*/ 2147483647 w 216"/>
                      <a:gd name="T53" fmla="*/ 2147483647 h 240"/>
                      <a:gd name="T54" fmla="*/ 2147483647 w 216"/>
                      <a:gd name="T55" fmla="*/ 2147483647 h 240"/>
                      <a:gd name="T56" fmla="*/ 2147483647 w 216"/>
                      <a:gd name="T57" fmla="*/ 2147483647 h 240"/>
                      <a:gd name="T58" fmla="*/ 2147483647 w 216"/>
                      <a:gd name="T59" fmla="*/ 2147483647 h 240"/>
                      <a:gd name="T60" fmla="*/ 2147483647 w 216"/>
                      <a:gd name="T61" fmla="*/ 0 h 240"/>
                      <a:gd name="T62" fmla="*/ 2147483647 w 216"/>
                      <a:gd name="T63" fmla="*/ 2147483647 h 240"/>
                      <a:gd name="T64" fmla="*/ 2147483647 w 216"/>
                      <a:gd name="T65" fmla="*/ 2147483647 h 240"/>
                      <a:gd name="T66" fmla="*/ 2147483647 w 216"/>
                      <a:gd name="T67" fmla="*/ 2147483647 h 24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240"/>
                      <a:gd name="T104" fmla="*/ 216 w 216"/>
                      <a:gd name="T105" fmla="*/ 240 h 24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240">
                        <a:moveTo>
                          <a:pt x="0" y="18"/>
                        </a:moveTo>
                        <a:lnTo>
                          <a:pt x="18" y="24"/>
                        </a:lnTo>
                        <a:lnTo>
                          <a:pt x="24" y="30"/>
                        </a:lnTo>
                        <a:lnTo>
                          <a:pt x="30" y="42"/>
                        </a:lnTo>
                        <a:lnTo>
                          <a:pt x="36" y="48"/>
                        </a:lnTo>
                        <a:lnTo>
                          <a:pt x="36" y="60"/>
                        </a:lnTo>
                        <a:lnTo>
                          <a:pt x="60" y="72"/>
                        </a:lnTo>
                        <a:lnTo>
                          <a:pt x="66" y="96"/>
                        </a:lnTo>
                        <a:lnTo>
                          <a:pt x="78" y="96"/>
                        </a:lnTo>
                        <a:lnTo>
                          <a:pt x="84" y="114"/>
                        </a:lnTo>
                        <a:lnTo>
                          <a:pt x="102" y="114"/>
                        </a:lnTo>
                        <a:lnTo>
                          <a:pt x="108" y="120"/>
                        </a:lnTo>
                        <a:lnTo>
                          <a:pt x="108" y="162"/>
                        </a:lnTo>
                        <a:lnTo>
                          <a:pt x="114" y="162"/>
                        </a:lnTo>
                        <a:lnTo>
                          <a:pt x="108" y="168"/>
                        </a:lnTo>
                        <a:lnTo>
                          <a:pt x="108" y="180"/>
                        </a:lnTo>
                        <a:lnTo>
                          <a:pt x="102" y="186"/>
                        </a:lnTo>
                        <a:lnTo>
                          <a:pt x="102" y="198"/>
                        </a:lnTo>
                        <a:lnTo>
                          <a:pt x="108" y="210"/>
                        </a:lnTo>
                        <a:lnTo>
                          <a:pt x="114" y="216"/>
                        </a:lnTo>
                        <a:lnTo>
                          <a:pt x="114" y="240"/>
                        </a:lnTo>
                        <a:lnTo>
                          <a:pt x="138" y="234"/>
                        </a:lnTo>
                        <a:lnTo>
                          <a:pt x="138" y="222"/>
                        </a:lnTo>
                        <a:lnTo>
                          <a:pt x="132" y="216"/>
                        </a:lnTo>
                        <a:lnTo>
                          <a:pt x="132" y="204"/>
                        </a:lnTo>
                        <a:lnTo>
                          <a:pt x="138" y="204"/>
                        </a:lnTo>
                        <a:lnTo>
                          <a:pt x="150" y="198"/>
                        </a:lnTo>
                        <a:lnTo>
                          <a:pt x="156" y="192"/>
                        </a:lnTo>
                        <a:lnTo>
                          <a:pt x="174" y="180"/>
                        </a:lnTo>
                        <a:lnTo>
                          <a:pt x="168" y="174"/>
                        </a:lnTo>
                        <a:lnTo>
                          <a:pt x="156" y="168"/>
                        </a:lnTo>
                        <a:lnTo>
                          <a:pt x="150" y="168"/>
                        </a:lnTo>
                        <a:lnTo>
                          <a:pt x="150" y="162"/>
                        </a:lnTo>
                        <a:lnTo>
                          <a:pt x="156" y="156"/>
                        </a:lnTo>
                        <a:lnTo>
                          <a:pt x="174" y="156"/>
                        </a:lnTo>
                        <a:lnTo>
                          <a:pt x="180" y="162"/>
                        </a:lnTo>
                        <a:lnTo>
                          <a:pt x="198" y="162"/>
                        </a:lnTo>
                        <a:lnTo>
                          <a:pt x="210" y="156"/>
                        </a:lnTo>
                        <a:lnTo>
                          <a:pt x="216" y="156"/>
                        </a:lnTo>
                        <a:lnTo>
                          <a:pt x="216" y="126"/>
                        </a:lnTo>
                        <a:lnTo>
                          <a:pt x="210" y="120"/>
                        </a:lnTo>
                        <a:lnTo>
                          <a:pt x="198" y="120"/>
                        </a:lnTo>
                        <a:lnTo>
                          <a:pt x="192" y="114"/>
                        </a:lnTo>
                        <a:lnTo>
                          <a:pt x="180" y="114"/>
                        </a:lnTo>
                        <a:lnTo>
                          <a:pt x="180" y="96"/>
                        </a:lnTo>
                        <a:lnTo>
                          <a:pt x="186" y="90"/>
                        </a:lnTo>
                        <a:lnTo>
                          <a:pt x="180" y="84"/>
                        </a:lnTo>
                        <a:lnTo>
                          <a:pt x="174" y="84"/>
                        </a:lnTo>
                        <a:lnTo>
                          <a:pt x="162" y="90"/>
                        </a:lnTo>
                        <a:lnTo>
                          <a:pt x="162" y="66"/>
                        </a:lnTo>
                        <a:lnTo>
                          <a:pt x="168" y="60"/>
                        </a:lnTo>
                        <a:lnTo>
                          <a:pt x="162" y="48"/>
                        </a:lnTo>
                        <a:lnTo>
                          <a:pt x="156" y="42"/>
                        </a:lnTo>
                        <a:lnTo>
                          <a:pt x="144" y="36"/>
                        </a:lnTo>
                        <a:lnTo>
                          <a:pt x="126" y="36"/>
                        </a:lnTo>
                        <a:lnTo>
                          <a:pt x="126" y="24"/>
                        </a:lnTo>
                        <a:lnTo>
                          <a:pt x="120" y="18"/>
                        </a:lnTo>
                        <a:lnTo>
                          <a:pt x="78" y="18"/>
                        </a:lnTo>
                        <a:lnTo>
                          <a:pt x="78" y="12"/>
                        </a:lnTo>
                        <a:lnTo>
                          <a:pt x="72" y="12"/>
                        </a:lnTo>
                        <a:lnTo>
                          <a:pt x="60" y="0"/>
                        </a:lnTo>
                        <a:lnTo>
                          <a:pt x="54" y="0"/>
                        </a:lnTo>
                        <a:lnTo>
                          <a:pt x="42" y="6"/>
                        </a:lnTo>
                        <a:lnTo>
                          <a:pt x="36" y="6"/>
                        </a:lnTo>
                        <a:lnTo>
                          <a:pt x="36" y="12"/>
                        </a:lnTo>
                        <a:lnTo>
                          <a:pt x="24" y="12"/>
                        </a:lnTo>
                        <a:lnTo>
                          <a:pt x="12" y="6"/>
                        </a:lnTo>
                        <a:lnTo>
                          <a:pt x="6" y="6"/>
                        </a:lnTo>
                        <a:lnTo>
                          <a:pt x="0"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89" name="Mexico"/>
                  <p:cNvSpPr>
                    <a:spLocks/>
                  </p:cNvSpPr>
                  <p:nvPr/>
                </p:nvSpPr>
                <p:spPr bwMode="gray">
                  <a:xfrm>
                    <a:off x="631" y="1637"/>
                    <a:ext cx="476" cy="373"/>
                  </a:xfrm>
                  <a:custGeom>
                    <a:avLst/>
                    <a:gdLst>
                      <a:gd name="T0" fmla="*/ 2147483647 w 1860"/>
                      <a:gd name="T1" fmla="*/ 2147483647 h 1458"/>
                      <a:gd name="T2" fmla="*/ 2147483647 w 1860"/>
                      <a:gd name="T3" fmla="*/ 2147483647 h 1458"/>
                      <a:gd name="T4" fmla="*/ 2147483647 w 1860"/>
                      <a:gd name="T5" fmla="*/ 2147483647 h 1458"/>
                      <a:gd name="T6" fmla="*/ 2147483647 w 1860"/>
                      <a:gd name="T7" fmla="*/ 2147483647 h 1458"/>
                      <a:gd name="T8" fmla="*/ 2147483647 w 1860"/>
                      <a:gd name="T9" fmla="*/ 2147483647 h 1458"/>
                      <a:gd name="T10" fmla="*/ 2147483647 w 1860"/>
                      <a:gd name="T11" fmla="*/ 2147483647 h 1458"/>
                      <a:gd name="T12" fmla="*/ 2147483647 w 1860"/>
                      <a:gd name="T13" fmla="*/ 2147483647 h 1458"/>
                      <a:gd name="T14" fmla="*/ 2147483647 w 1860"/>
                      <a:gd name="T15" fmla="*/ 2147483647 h 1458"/>
                      <a:gd name="T16" fmla="*/ 2147483647 w 1860"/>
                      <a:gd name="T17" fmla="*/ 2147483647 h 1458"/>
                      <a:gd name="T18" fmla="*/ 2147483647 w 1860"/>
                      <a:gd name="T19" fmla="*/ 2147483647 h 1458"/>
                      <a:gd name="T20" fmla="*/ 2147483647 w 1860"/>
                      <a:gd name="T21" fmla="*/ 2147483647 h 1458"/>
                      <a:gd name="T22" fmla="*/ 2147483647 w 1860"/>
                      <a:gd name="T23" fmla="*/ 2147483647 h 1458"/>
                      <a:gd name="T24" fmla="*/ 2147483647 w 1860"/>
                      <a:gd name="T25" fmla="*/ 2147483647 h 1458"/>
                      <a:gd name="T26" fmla="*/ 2147483647 w 1860"/>
                      <a:gd name="T27" fmla="*/ 2147483647 h 1458"/>
                      <a:gd name="T28" fmla="*/ 2147483647 w 1860"/>
                      <a:gd name="T29" fmla="*/ 2147483647 h 1458"/>
                      <a:gd name="T30" fmla="*/ 2147483647 w 1860"/>
                      <a:gd name="T31" fmla="*/ 2147483647 h 1458"/>
                      <a:gd name="T32" fmla="*/ 2147483647 w 1860"/>
                      <a:gd name="T33" fmla="*/ 2147483647 h 1458"/>
                      <a:gd name="T34" fmla="*/ 2147483647 w 1860"/>
                      <a:gd name="T35" fmla="*/ 2147483647 h 1458"/>
                      <a:gd name="T36" fmla="*/ 2147483647 w 1860"/>
                      <a:gd name="T37" fmla="*/ 2147483647 h 1458"/>
                      <a:gd name="T38" fmla="*/ 2147483647 w 1860"/>
                      <a:gd name="T39" fmla="*/ 2147483647 h 1458"/>
                      <a:gd name="T40" fmla="*/ 2147483647 w 1860"/>
                      <a:gd name="T41" fmla="*/ 2147483647 h 1458"/>
                      <a:gd name="T42" fmla="*/ 2147483647 w 1860"/>
                      <a:gd name="T43" fmla="*/ 2147483647 h 1458"/>
                      <a:gd name="T44" fmla="*/ 2147483647 w 1860"/>
                      <a:gd name="T45" fmla="*/ 2147483647 h 1458"/>
                      <a:gd name="T46" fmla="*/ 2147483647 w 1860"/>
                      <a:gd name="T47" fmla="*/ 2147483647 h 1458"/>
                      <a:gd name="T48" fmla="*/ 2147483647 w 1860"/>
                      <a:gd name="T49" fmla="*/ 2147483647 h 1458"/>
                      <a:gd name="T50" fmla="*/ 2147483647 w 1860"/>
                      <a:gd name="T51" fmla="*/ 2147483647 h 1458"/>
                      <a:gd name="T52" fmla="*/ 2147483647 w 1860"/>
                      <a:gd name="T53" fmla="*/ 2147483647 h 1458"/>
                      <a:gd name="T54" fmla="*/ 2147483647 w 1860"/>
                      <a:gd name="T55" fmla="*/ 2147483647 h 1458"/>
                      <a:gd name="T56" fmla="*/ 0 w 1860"/>
                      <a:gd name="T57" fmla="*/ 2147483647 h 1458"/>
                      <a:gd name="T58" fmla="*/ 2147483647 w 1860"/>
                      <a:gd name="T59" fmla="*/ 2147483647 h 1458"/>
                      <a:gd name="T60" fmla="*/ 2147483647 w 1860"/>
                      <a:gd name="T61" fmla="*/ 2147483647 h 1458"/>
                      <a:gd name="T62" fmla="*/ 2147483647 w 1860"/>
                      <a:gd name="T63" fmla="*/ 2147483647 h 1458"/>
                      <a:gd name="T64" fmla="*/ 2147483647 w 1860"/>
                      <a:gd name="T65" fmla="*/ 2147483647 h 1458"/>
                      <a:gd name="T66" fmla="*/ 2147483647 w 1860"/>
                      <a:gd name="T67" fmla="*/ 2147483647 h 1458"/>
                      <a:gd name="T68" fmla="*/ 2147483647 w 1860"/>
                      <a:gd name="T69" fmla="*/ 2147483647 h 1458"/>
                      <a:gd name="T70" fmla="*/ 2147483647 w 1860"/>
                      <a:gd name="T71" fmla="*/ 2147483647 h 1458"/>
                      <a:gd name="T72" fmla="*/ 2147483647 w 1860"/>
                      <a:gd name="T73" fmla="*/ 2147483647 h 1458"/>
                      <a:gd name="T74" fmla="*/ 2147483647 w 1860"/>
                      <a:gd name="T75" fmla="*/ 2147483647 h 1458"/>
                      <a:gd name="T76" fmla="*/ 2147483647 w 1860"/>
                      <a:gd name="T77" fmla="*/ 2147483647 h 1458"/>
                      <a:gd name="T78" fmla="*/ 2147483647 w 1860"/>
                      <a:gd name="T79" fmla="*/ 2147483647 h 1458"/>
                      <a:gd name="T80" fmla="*/ 2147483647 w 1860"/>
                      <a:gd name="T81" fmla="*/ 2147483647 h 1458"/>
                      <a:gd name="T82" fmla="*/ 2147483647 w 1860"/>
                      <a:gd name="T83" fmla="*/ 2147483647 h 1458"/>
                      <a:gd name="T84" fmla="*/ 2147483647 w 1860"/>
                      <a:gd name="T85" fmla="*/ 2147483647 h 1458"/>
                      <a:gd name="T86" fmla="*/ 2147483647 w 1860"/>
                      <a:gd name="T87" fmla="*/ 2147483647 h 1458"/>
                      <a:gd name="T88" fmla="*/ 2147483647 w 1860"/>
                      <a:gd name="T89" fmla="*/ 2147483647 h 1458"/>
                      <a:gd name="T90" fmla="*/ 2147483647 w 1860"/>
                      <a:gd name="T91" fmla="*/ 2147483647 h 1458"/>
                      <a:gd name="T92" fmla="*/ 2147483647 w 1860"/>
                      <a:gd name="T93" fmla="*/ 2147483647 h 1458"/>
                      <a:gd name="T94" fmla="*/ 2147483647 w 1860"/>
                      <a:gd name="T95" fmla="*/ 2147483647 h 1458"/>
                      <a:gd name="T96" fmla="*/ 2147483647 w 1860"/>
                      <a:gd name="T97" fmla="*/ 2147483647 h 1458"/>
                      <a:gd name="T98" fmla="*/ 2147483647 w 1860"/>
                      <a:gd name="T99" fmla="*/ 2147483647 h 1458"/>
                      <a:gd name="T100" fmla="*/ 2147483647 w 1860"/>
                      <a:gd name="T101" fmla="*/ 2147483647 h 1458"/>
                      <a:gd name="T102" fmla="*/ 2147483647 w 1860"/>
                      <a:gd name="T103" fmla="*/ 2147483647 h 1458"/>
                      <a:gd name="T104" fmla="*/ 2147483647 w 1860"/>
                      <a:gd name="T105" fmla="*/ 2147483647 h 1458"/>
                      <a:gd name="T106" fmla="*/ 2147483647 w 1860"/>
                      <a:gd name="T107" fmla="*/ 2147483647 h 1458"/>
                      <a:gd name="T108" fmla="*/ 2147483647 w 1860"/>
                      <a:gd name="T109" fmla="*/ 2147483647 h 1458"/>
                      <a:gd name="T110" fmla="*/ 2147483647 w 1860"/>
                      <a:gd name="T111" fmla="*/ 2147483647 h 1458"/>
                      <a:gd name="T112" fmla="*/ 2147483647 w 1860"/>
                      <a:gd name="T113" fmla="*/ 2147483647 h 1458"/>
                      <a:gd name="T114" fmla="*/ 2147483647 w 1860"/>
                      <a:gd name="T115" fmla="*/ 2147483647 h 1458"/>
                      <a:gd name="T116" fmla="*/ 2147483647 w 1860"/>
                      <a:gd name="T117" fmla="*/ 2147483647 h 1458"/>
                      <a:gd name="T118" fmla="*/ 2147483647 w 1860"/>
                      <a:gd name="T119" fmla="*/ 2147483647 h 1458"/>
                      <a:gd name="T120" fmla="*/ 2147483647 w 1860"/>
                      <a:gd name="T121" fmla="*/ 2147483647 h 145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860"/>
                      <a:gd name="T184" fmla="*/ 0 h 1458"/>
                      <a:gd name="T185" fmla="*/ 1860 w 1860"/>
                      <a:gd name="T186" fmla="*/ 1458 h 145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860" h="1458">
                        <a:moveTo>
                          <a:pt x="1422" y="1440"/>
                        </a:moveTo>
                        <a:lnTo>
                          <a:pt x="1422" y="1380"/>
                        </a:lnTo>
                        <a:lnTo>
                          <a:pt x="1452" y="1332"/>
                        </a:lnTo>
                        <a:lnTo>
                          <a:pt x="1542" y="1338"/>
                        </a:lnTo>
                        <a:lnTo>
                          <a:pt x="1542" y="1320"/>
                        </a:lnTo>
                        <a:lnTo>
                          <a:pt x="1548" y="1320"/>
                        </a:lnTo>
                        <a:lnTo>
                          <a:pt x="1554" y="1314"/>
                        </a:lnTo>
                        <a:lnTo>
                          <a:pt x="1554" y="1302"/>
                        </a:lnTo>
                        <a:lnTo>
                          <a:pt x="1536" y="1302"/>
                        </a:lnTo>
                        <a:lnTo>
                          <a:pt x="1530" y="1278"/>
                        </a:lnTo>
                        <a:lnTo>
                          <a:pt x="1524" y="1278"/>
                        </a:lnTo>
                        <a:lnTo>
                          <a:pt x="1512" y="1272"/>
                        </a:lnTo>
                        <a:lnTo>
                          <a:pt x="1506" y="1272"/>
                        </a:lnTo>
                        <a:lnTo>
                          <a:pt x="1500" y="1266"/>
                        </a:lnTo>
                        <a:lnTo>
                          <a:pt x="1494" y="1254"/>
                        </a:lnTo>
                        <a:lnTo>
                          <a:pt x="1494" y="1248"/>
                        </a:lnTo>
                        <a:lnTo>
                          <a:pt x="1482" y="1242"/>
                        </a:lnTo>
                        <a:lnTo>
                          <a:pt x="1506" y="1242"/>
                        </a:lnTo>
                        <a:lnTo>
                          <a:pt x="1518" y="1236"/>
                        </a:lnTo>
                        <a:lnTo>
                          <a:pt x="1524" y="1236"/>
                        </a:lnTo>
                        <a:lnTo>
                          <a:pt x="1524" y="1212"/>
                        </a:lnTo>
                        <a:lnTo>
                          <a:pt x="1518" y="1200"/>
                        </a:lnTo>
                        <a:lnTo>
                          <a:pt x="1518" y="1188"/>
                        </a:lnTo>
                        <a:lnTo>
                          <a:pt x="1650" y="1194"/>
                        </a:lnTo>
                        <a:lnTo>
                          <a:pt x="1656" y="1182"/>
                        </a:lnTo>
                        <a:lnTo>
                          <a:pt x="1656" y="1176"/>
                        </a:lnTo>
                        <a:lnTo>
                          <a:pt x="1662" y="1176"/>
                        </a:lnTo>
                        <a:lnTo>
                          <a:pt x="1668" y="1182"/>
                        </a:lnTo>
                        <a:lnTo>
                          <a:pt x="1668" y="1188"/>
                        </a:lnTo>
                        <a:lnTo>
                          <a:pt x="1674" y="1188"/>
                        </a:lnTo>
                        <a:lnTo>
                          <a:pt x="1680" y="1182"/>
                        </a:lnTo>
                        <a:lnTo>
                          <a:pt x="1692" y="1176"/>
                        </a:lnTo>
                        <a:lnTo>
                          <a:pt x="1698" y="1164"/>
                        </a:lnTo>
                        <a:lnTo>
                          <a:pt x="1698" y="1152"/>
                        </a:lnTo>
                        <a:lnTo>
                          <a:pt x="1704" y="1146"/>
                        </a:lnTo>
                        <a:lnTo>
                          <a:pt x="1704" y="1140"/>
                        </a:lnTo>
                        <a:lnTo>
                          <a:pt x="1710" y="1152"/>
                        </a:lnTo>
                        <a:lnTo>
                          <a:pt x="1746" y="1116"/>
                        </a:lnTo>
                        <a:lnTo>
                          <a:pt x="1746" y="1122"/>
                        </a:lnTo>
                        <a:lnTo>
                          <a:pt x="1740" y="1128"/>
                        </a:lnTo>
                        <a:lnTo>
                          <a:pt x="1740" y="1146"/>
                        </a:lnTo>
                        <a:lnTo>
                          <a:pt x="1746" y="1152"/>
                        </a:lnTo>
                        <a:lnTo>
                          <a:pt x="1758" y="1152"/>
                        </a:lnTo>
                        <a:lnTo>
                          <a:pt x="1782" y="1086"/>
                        </a:lnTo>
                        <a:lnTo>
                          <a:pt x="1770" y="1074"/>
                        </a:lnTo>
                        <a:lnTo>
                          <a:pt x="1794" y="1068"/>
                        </a:lnTo>
                        <a:lnTo>
                          <a:pt x="1794" y="1056"/>
                        </a:lnTo>
                        <a:lnTo>
                          <a:pt x="1776" y="1050"/>
                        </a:lnTo>
                        <a:lnTo>
                          <a:pt x="1794" y="1032"/>
                        </a:lnTo>
                        <a:lnTo>
                          <a:pt x="1800" y="1008"/>
                        </a:lnTo>
                        <a:lnTo>
                          <a:pt x="1806" y="996"/>
                        </a:lnTo>
                        <a:lnTo>
                          <a:pt x="1818" y="990"/>
                        </a:lnTo>
                        <a:lnTo>
                          <a:pt x="1824" y="978"/>
                        </a:lnTo>
                        <a:lnTo>
                          <a:pt x="1836" y="966"/>
                        </a:lnTo>
                        <a:lnTo>
                          <a:pt x="1842" y="954"/>
                        </a:lnTo>
                        <a:lnTo>
                          <a:pt x="1848" y="948"/>
                        </a:lnTo>
                        <a:lnTo>
                          <a:pt x="1854" y="936"/>
                        </a:lnTo>
                        <a:lnTo>
                          <a:pt x="1854" y="930"/>
                        </a:lnTo>
                        <a:lnTo>
                          <a:pt x="1860" y="918"/>
                        </a:lnTo>
                        <a:lnTo>
                          <a:pt x="1860" y="900"/>
                        </a:lnTo>
                        <a:lnTo>
                          <a:pt x="1854" y="894"/>
                        </a:lnTo>
                        <a:lnTo>
                          <a:pt x="1818" y="894"/>
                        </a:lnTo>
                        <a:lnTo>
                          <a:pt x="1812" y="900"/>
                        </a:lnTo>
                        <a:lnTo>
                          <a:pt x="1800" y="900"/>
                        </a:lnTo>
                        <a:lnTo>
                          <a:pt x="1794" y="894"/>
                        </a:lnTo>
                        <a:lnTo>
                          <a:pt x="1782" y="894"/>
                        </a:lnTo>
                        <a:lnTo>
                          <a:pt x="1770" y="888"/>
                        </a:lnTo>
                        <a:lnTo>
                          <a:pt x="1746" y="888"/>
                        </a:lnTo>
                        <a:lnTo>
                          <a:pt x="1734" y="894"/>
                        </a:lnTo>
                        <a:lnTo>
                          <a:pt x="1716" y="900"/>
                        </a:lnTo>
                        <a:lnTo>
                          <a:pt x="1698" y="900"/>
                        </a:lnTo>
                        <a:lnTo>
                          <a:pt x="1686" y="906"/>
                        </a:lnTo>
                        <a:lnTo>
                          <a:pt x="1668" y="906"/>
                        </a:lnTo>
                        <a:lnTo>
                          <a:pt x="1656" y="912"/>
                        </a:lnTo>
                        <a:lnTo>
                          <a:pt x="1626" y="912"/>
                        </a:lnTo>
                        <a:lnTo>
                          <a:pt x="1614" y="918"/>
                        </a:lnTo>
                        <a:lnTo>
                          <a:pt x="1608" y="924"/>
                        </a:lnTo>
                        <a:lnTo>
                          <a:pt x="1596" y="948"/>
                        </a:lnTo>
                        <a:lnTo>
                          <a:pt x="1590" y="966"/>
                        </a:lnTo>
                        <a:lnTo>
                          <a:pt x="1590" y="1026"/>
                        </a:lnTo>
                        <a:lnTo>
                          <a:pt x="1572" y="1032"/>
                        </a:lnTo>
                        <a:lnTo>
                          <a:pt x="1572" y="1062"/>
                        </a:lnTo>
                        <a:lnTo>
                          <a:pt x="1566" y="1074"/>
                        </a:lnTo>
                        <a:lnTo>
                          <a:pt x="1542" y="1086"/>
                        </a:lnTo>
                        <a:lnTo>
                          <a:pt x="1524" y="1098"/>
                        </a:lnTo>
                        <a:lnTo>
                          <a:pt x="1512" y="1110"/>
                        </a:lnTo>
                        <a:lnTo>
                          <a:pt x="1512" y="1122"/>
                        </a:lnTo>
                        <a:lnTo>
                          <a:pt x="1506" y="1128"/>
                        </a:lnTo>
                        <a:lnTo>
                          <a:pt x="1506" y="1140"/>
                        </a:lnTo>
                        <a:lnTo>
                          <a:pt x="1500" y="1146"/>
                        </a:lnTo>
                        <a:lnTo>
                          <a:pt x="1488" y="1146"/>
                        </a:lnTo>
                        <a:lnTo>
                          <a:pt x="1476" y="1134"/>
                        </a:lnTo>
                        <a:lnTo>
                          <a:pt x="1476" y="1128"/>
                        </a:lnTo>
                        <a:lnTo>
                          <a:pt x="1470" y="1122"/>
                        </a:lnTo>
                        <a:lnTo>
                          <a:pt x="1440" y="1122"/>
                        </a:lnTo>
                        <a:lnTo>
                          <a:pt x="1416" y="1128"/>
                        </a:lnTo>
                        <a:lnTo>
                          <a:pt x="1392" y="1140"/>
                        </a:lnTo>
                        <a:lnTo>
                          <a:pt x="1356" y="1140"/>
                        </a:lnTo>
                        <a:lnTo>
                          <a:pt x="1338" y="1146"/>
                        </a:lnTo>
                        <a:lnTo>
                          <a:pt x="1290" y="1170"/>
                        </a:lnTo>
                        <a:lnTo>
                          <a:pt x="1284" y="1170"/>
                        </a:lnTo>
                        <a:lnTo>
                          <a:pt x="1272" y="1158"/>
                        </a:lnTo>
                        <a:lnTo>
                          <a:pt x="1266" y="1146"/>
                        </a:lnTo>
                        <a:lnTo>
                          <a:pt x="1266" y="1140"/>
                        </a:lnTo>
                        <a:lnTo>
                          <a:pt x="1260" y="1128"/>
                        </a:lnTo>
                        <a:lnTo>
                          <a:pt x="1242" y="1128"/>
                        </a:lnTo>
                        <a:lnTo>
                          <a:pt x="1224" y="1122"/>
                        </a:lnTo>
                        <a:lnTo>
                          <a:pt x="1194" y="1122"/>
                        </a:lnTo>
                        <a:lnTo>
                          <a:pt x="1194" y="1104"/>
                        </a:lnTo>
                        <a:lnTo>
                          <a:pt x="1188" y="1092"/>
                        </a:lnTo>
                        <a:lnTo>
                          <a:pt x="1176" y="1080"/>
                        </a:lnTo>
                        <a:lnTo>
                          <a:pt x="1170" y="1068"/>
                        </a:lnTo>
                        <a:lnTo>
                          <a:pt x="1164" y="1062"/>
                        </a:lnTo>
                        <a:lnTo>
                          <a:pt x="1164" y="1026"/>
                        </a:lnTo>
                        <a:lnTo>
                          <a:pt x="1128" y="966"/>
                        </a:lnTo>
                        <a:lnTo>
                          <a:pt x="1122" y="924"/>
                        </a:lnTo>
                        <a:lnTo>
                          <a:pt x="1110" y="894"/>
                        </a:lnTo>
                        <a:lnTo>
                          <a:pt x="1104" y="804"/>
                        </a:lnTo>
                        <a:lnTo>
                          <a:pt x="1110" y="798"/>
                        </a:lnTo>
                        <a:lnTo>
                          <a:pt x="1122" y="774"/>
                        </a:lnTo>
                        <a:lnTo>
                          <a:pt x="1128" y="768"/>
                        </a:lnTo>
                        <a:lnTo>
                          <a:pt x="1128" y="654"/>
                        </a:lnTo>
                        <a:lnTo>
                          <a:pt x="1152" y="648"/>
                        </a:lnTo>
                        <a:lnTo>
                          <a:pt x="1152" y="612"/>
                        </a:lnTo>
                        <a:lnTo>
                          <a:pt x="1158" y="600"/>
                        </a:lnTo>
                        <a:lnTo>
                          <a:pt x="1158" y="594"/>
                        </a:lnTo>
                        <a:lnTo>
                          <a:pt x="1164" y="588"/>
                        </a:lnTo>
                        <a:lnTo>
                          <a:pt x="1176" y="588"/>
                        </a:lnTo>
                        <a:lnTo>
                          <a:pt x="1182" y="594"/>
                        </a:lnTo>
                        <a:lnTo>
                          <a:pt x="1188" y="594"/>
                        </a:lnTo>
                        <a:lnTo>
                          <a:pt x="1188" y="588"/>
                        </a:lnTo>
                        <a:lnTo>
                          <a:pt x="1194" y="576"/>
                        </a:lnTo>
                        <a:lnTo>
                          <a:pt x="1194" y="564"/>
                        </a:lnTo>
                        <a:lnTo>
                          <a:pt x="1200" y="558"/>
                        </a:lnTo>
                        <a:lnTo>
                          <a:pt x="1206" y="546"/>
                        </a:lnTo>
                        <a:lnTo>
                          <a:pt x="1206" y="540"/>
                        </a:lnTo>
                        <a:lnTo>
                          <a:pt x="1206" y="546"/>
                        </a:lnTo>
                        <a:lnTo>
                          <a:pt x="1182" y="546"/>
                        </a:lnTo>
                        <a:lnTo>
                          <a:pt x="1176" y="534"/>
                        </a:lnTo>
                        <a:lnTo>
                          <a:pt x="1176" y="528"/>
                        </a:lnTo>
                        <a:lnTo>
                          <a:pt x="1134" y="528"/>
                        </a:lnTo>
                        <a:lnTo>
                          <a:pt x="1122" y="516"/>
                        </a:lnTo>
                        <a:lnTo>
                          <a:pt x="1110" y="516"/>
                        </a:lnTo>
                        <a:lnTo>
                          <a:pt x="1092" y="510"/>
                        </a:lnTo>
                        <a:lnTo>
                          <a:pt x="1080" y="498"/>
                        </a:lnTo>
                        <a:lnTo>
                          <a:pt x="1080" y="468"/>
                        </a:lnTo>
                        <a:lnTo>
                          <a:pt x="1068" y="456"/>
                        </a:lnTo>
                        <a:lnTo>
                          <a:pt x="1068" y="420"/>
                        </a:lnTo>
                        <a:lnTo>
                          <a:pt x="1074" y="420"/>
                        </a:lnTo>
                        <a:lnTo>
                          <a:pt x="1080" y="414"/>
                        </a:lnTo>
                        <a:lnTo>
                          <a:pt x="1080" y="408"/>
                        </a:lnTo>
                        <a:lnTo>
                          <a:pt x="1068" y="396"/>
                        </a:lnTo>
                        <a:lnTo>
                          <a:pt x="1056" y="390"/>
                        </a:lnTo>
                        <a:lnTo>
                          <a:pt x="1050" y="384"/>
                        </a:lnTo>
                        <a:lnTo>
                          <a:pt x="1050" y="360"/>
                        </a:lnTo>
                        <a:lnTo>
                          <a:pt x="1038" y="354"/>
                        </a:lnTo>
                        <a:lnTo>
                          <a:pt x="1032" y="342"/>
                        </a:lnTo>
                        <a:lnTo>
                          <a:pt x="1032" y="330"/>
                        </a:lnTo>
                        <a:lnTo>
                          <a:pt x="1038" y="318"/>
                        </a:lnTo>
                        <a:lnTo>
                          <a:pt x="1038" y="294"/>
                        </a:lnTo>
                        <a:lnTo>
                          <a:pt x="1026" y="282"/>
                        </a:lnTo>
                        <a:lnTo>
                          <a:pt x="1020" y="270"/>
                        </a:lnTo>
                        <a:lnTo>
                          <a:pt x="1008" y="258"/>
                        </a:lnTo>
                        <a:lnTo>
                          <a:pt x="1002" y="246"/>
                        </a:lnTo>
                        <a:lnTo>
                          <a:pt x="996" y="240"/>
                        </a:lnTo>
                        <a:lnTo>
                          <a:pt x="990" y="228"/>
                        </a:lnTo>
                        <a:lnTo>
                          <a:pt x="948" y="228"/>
                        </a:lnTo>
                        <a:lnTo>
                          <a:pt x="930" y="222"/>
                        </a:lnTo>
                        <a:lnTo>
                          <a:pt x="930" y="228"/>
                        </a:lnTo>
                        <a:lnTo>
                          <a:pt x="912" y="228"/>
                        </a:lnTo>
                        <a:lnTo>
                          <a:pt x="900" y="240"/>
                        </a:lnTo>
                        <a:lnTo>
                          <a:pt x="888" y="264"/>
                        </a:lnTo>
                        <a:lnTo>
                          <a:pt x="876" y="276"/>
                        </a:lnTo>
                        <a:lnTo>
                          <a:pt x="852" y="288"/>
                        </a:lnTo>
                        <a:lnTo>
                          <a:pt x="840" y="288"/>
                        </a:lnTo>
                        <a:lnTo>
                          <a:pt x="822" y="276"/>
                        </a:lnTo>
                        <a:lnTo>
                          <a:pt x="810" y="270"/>
                        </a:lnTo>
                        <a:lnTo>
                          <a:pt x="780" y="240"/>
                        </a:lnTo>
                        <a:lnTo>
                          <a:pt x="780" y="228"/>
                        </a:lnTo>
                        <a:lnTo>
                          <a:pt x="786" y="216"/>
                        </a:lnTo>
                        <a:lnTo>
                          <a:pt x="786" y="174"/>
                        </a:lnTo>
                        <a:lnTo>
                          <a:pt x="780" y="162"/>
                        </a:lnTo>
                        <a:lnTo>
                          <a:pt x="768" y="150"/>
                        </a:lnTo>
                        <a:lnTo>
                          <a:pt x="756" y="144"/>
                        </a:lnTo>
                        <a:lnTo>
                          <a:pt x="744" y="144"/>
                        </a:lnTo>
                        <a:lnTo>
                          <a:pt x="738" y="114"/>
                        </a:lnTo>
                        <a:lnTo>
                          <a:pt x="708" y="102"/>
                        </a:lnTo>
                        <a:lnTo>
                          <a:pt x="708" y="78"/>
                        </a:lnTo>
                        <a:lnTo>
                          <a:pt x="696" y="66"/>
                        </a:lnTo>
                        <a:lnTo>
                          <a:pt x="582" y="66"/>
                        </a:lnTo>
                        <a:lnTo>
                          <a:pt x="576" y="72"/>
                        </a:lnTo>
                        <a:lnTo>
                          <a:pt x="576" y="90"/>
                        </a:lnTo>
                        <a:lnTo>
                          <a:pt x="570" y="102"/>
                        </a:lnTo>
                        <a:lnTo>
                          <a:pt x="570" y="108"/>
                        </a:lnTo>
                        <a:lnTo>
                          <a:pt x="366" y="108"/>
                        </a:lnTo>
                        <a:lnTo>
                          <a:pt x="156" y="12"/>
                        </a:lnTo>
                        <a:lnTo>
                          <a:pt x="150" y="12"/>
                        </a:lnTo>
                        <a:lnTo>
                          <a:pt x="150" y="6"/>
                        </a:lnTo>
                        <a:lnTo>
                          <a:pt x="156" y="0"/>
                        </a:lnTo>
                        <a:lnTo>
                          <a:pt x="12" y="6"/>
                        </a:lnTo>
                        <a:lnTo>
                          <a:pt x="6" y="0"/>
                        </a:lnTo>
                        <a:lnTo>
                          <a:pt x="0" y="18"/>
                        </a:lnTo>
                        <a:lnTo>
                          <a:pt x="0" y="48"/>
                        </a:lnTo>
                        <a:lnTo>
                          <a:pt x="6" y="60"/>
                        </a:lnTo>
                        <a:lnTo>
                          <a:pt x="12" y="66"/>
                        </a:lnTo>
                        <a:lnTo>
                          <a:pt x="18" y="78"/>
                        </a:lnTo>
                        <a:lnTo>
                          <a:pt x="0" y="90"/>
                        </a:lnTo>
                        <a:lnTo>
                          <a:pt x="12" y="114"/>
                        </a:lnTo>
                        <a:lnTo>
                          <a:pt x="6" y="126"/>
                        </a:lnTo>
                        <a:lnTo>
                          <a:pt x="24" y="144"/>
                        </a:lnTo>
                        <a:lnTo>
                          <a:pt x="6" y="174"/>
                        </a:lnTo>
                        <a:lnTo>
                          <a:pt x="18" y="180"/>
                        </a:lnTo>
                        <a:lnTo>
                          <a:pt x="18" y="210"/>
                        </a:lnTo>
                        <a:lnTo>
                          <a:pt x="24" y="228"/>
                        </a:lnTo>
                        <a:lnTo>
                          <a:pt x="24" y="240"/>
                        </a:lnTo>
                        <a:lnTo>
                          <a:pt x="30" y="252"/>
                        </a:lnTo>
                        <a:lnTo>
                          <a:pt x="42" y="264"/>
                        </a:lnTo>
                        <a:lnTo>
                          <a:pt x="60" y="264"/>
                        </a:lnTo>
                        <a:lnTo>
                          <a:pt x="60" y="270"/>
                        </a:lnTo>
                        <a:lnTo>
                          <a:pt x="66" y="276"/>
                        </a:lnTo>
                        <a:lnTo>
                          <a:pt x="72" y="288"/>
                        </a:lnTo>
                        <a:lnTo>
                          <a:pt x="84" y="300"/>
                        </a:lnTo>
                        <a:lnTo>
                          <a:pt x="90" y="318"/>
                        </a:lnTo>
                        <a:lnTo>
                          <a:pt x="96" y="330"/>
                        </a:lnTo>
                        <a:lnTo>
                          <a:pt x="96" y="342"/>
                        </a:lnTo>
                        <a:lnTo>
                          <a:pt x="78" y="378"/>
                        </a:lnTo>
                        <a:lnTo>
                          <a:pt x="72" y="384"/>
                        </a:lnTo>
                        <a:lnTo>
                          <a:pt x="72" y="390"/>
                        </a:lnTo>
                        <a:lnTo>
                          <a:pt x="84" y="396"/>
                        </a:lnTo>
                        <a:lnTo>
                          <a:pt x="72" y="414"/>
                        </a:lnTo>
                        <a:lnTo>
                          <a:pt x="60" y="396"/>
                        </a:lnTo>
                        <a:lnTo>
                          <a:pt x="12" y="390"/>
                        </a:lnTo>
                        <a:lnTo>
                          <a:pt x="36" y="414"/>
                        </a:lnTo>
                        <a:lnTo>
                          <a:pt x="42" y="438"/>
                        </a:lnTo>
                        <a:lnTo>
                          <a:pt x="66" y="444"/>
                        </a:lnTo>
                        <a:lnTo>
                          <a:pt x="78" y="456"/>
                        </a:lnTo>
                        <a:lnTo>
                          <a:pt x="84" y="468"/>
                        </a:lnTo>
                        <a:lnTo>
                          <a:pt x="90" y="474"/>
                        </a:lnTo>
                        <a:lnTo>
                          <a:pt x="96" y="474"/>
                        </a:lnTo>
                        <a:lnTo>
                          <a:pt x="102" y="468"/>
                        </a:lnTo>
                        <a:lnTo>
                          <a:pt x="108" y="468"/>
                        </a:lnTo>
                        <a:lnTo>
                          <a:pt x="120" y="462"/>
                        </a:lnTo>
                        <a:lnTo>
                          <a:pt x="126" y="456"/>
                        </a:lnTo>
                        <a:lnTo>
                          <a:pt x="126" y="480"/>
                        </a:lnTo>
                        <a:lnTo>
                          <a:pt x="144" y="516"/>
                        </a:lnTo>
                        <a:lnTo>
                          <a:pt x="156" y="528"/>
                        </a:lnTo>
                        <a:lnTo>
                          <a:pt x="168" y="552"/>
                        </a:lnTo>
                        <a:lnTo>
                          <a:pt x="168" y="564"/>
                        </a:lnTo>
                        <a:lnTo>
                          <a:pt x="156" y="588"/>
                        </a:lnTo>
                        <a:lnTo>
                          <a:pt x="150" y="606"/>
                        </a:lnTo>
                        <a:lnTo>
                          <a:pt x="150" y="618"/>
                        </a:lnTo>
                        <a:lnTo>
                          <a:pt x="180" y="648"/>
                        </a:lnTo>
                        <a:lnTo>
                          <a:pt x="192" y="666"/>
                        </a:lnTo>
                        <a:lnTo>
                          <a:pt x="222" y="696"/>
                        </a:lnTo>
                        <a:lnTo>
                          <a:pt x="234" y="714"/>
                        </a:lnTo>
                        <a:lnTo>
                          <a:pt x="264" y="744"/>
                        </a:lnTo>
                        <a:lnTo>
                          <a:pt x="258" y="750"/>
                        </a:lnTo>
                        <a:lnTo>
                          <a:pt x="258" y="762"/>
                        </a:lnTo>
                        <a:lnTo>
                          <a:pt x="252" y="768"/>
                        </a:lnTo>
                        <a:lnTo>
                          <a:pt x="252" y="780"/>
                        </a:lnTo>
                        <a:lnTo>
                          <a:pt x="258" y="786"/>
                        </a:lnTo>
                        <a:lnTo>
                          <a:pt x="276" y="786"/>
                        </a:lnTo>
                        <a:lnTo>
                          <a:pt x="288" y="780"/>
                        </a:lnTo>
                        <a:lnTo>
                          <a:pt x="294" y="768"/>
                        </a:lnTo>
                        <a:lnTo>
                          <a:pt x="306" y="762"/>
                        </a:lnTo>
                        <a:lnTo>
                          <a:pt x="312" y="756"/>
                        </a:lnTo>
                        <a:lnTo>
                          <a:pt x="306" y="738"/>
                        </a:lnTo>
                        <a:lnTo>
                          <a:pt x="306" y="732"/>
                        </a:lnTo>
                        <a:lnTo>
                          <a:pt x="300" y="726"/>
                        </a:lnTo>
                        <a:lnTo>
                          <a:pt x="300" y="708"/>
                        </a:lnTo>
                        <a:lnTo>
                          <a:pt x="288" y="684"/>
                        </a:lnTo>
                        <a:lnTo>
                          <a:pt x="282" y="678"/>
                        </a:lnTo>
                        <a:lnTo>
                          <a:pt x="258" y="678"/>
                        </a:lnTo>
                        <a:lnTo>
                          <a:pt x="240" y="648"/>
                        </a:lnTo>
                        <a:lnTo>
                          <a:pt x="240" y="576"/>
                        </a:lnTo>
                        <a:lnTo>
                          <a:pt x="222" y="546"/>
                        </a:lnTo>
                        <a:lnTo>
                          <a:pt x="228" y="534"/>
                        </a:lnTo>
                        <a:lnTo>
                          <a:pt x="228" y="528"/>
                        </a:lnTo>
                        <a:lnTo>
                          <a:pt x="234" y="516"/>
                        </a:lnTo>
                        <a:lnTo>
                          <a:pt x="234" y="492"/>
                        </a:lnTo>
                        <a:lnTo>
                          <a:pt x="228" y="486"/>
                        </a:lnTo>
                        <a:lnTo>
                          <a:pt x="216" y="480"/>
                        </a:lnTo>
                        <a:lnTo>
                          <a:pt x="210" y="474"/>
                        </a:lnTo>
                        <a:lnTo>
                          <a:pt x="198" y="474"/>
                        </a:lnTo>
                        <a:lnTo>
                          <a:pt x="198" y="432"/>
                        </a:lnTo>
                        <a:lnTo>
                          <a:pt x="168" y="396"/>
                        </a:lnTo>
                        <a:lnTo>
                          <a:pt x="174" y="336"/>
                        </a:lnTo>
                        <a:lnTo>
                          <a:pt x="168" y="330"/>
                        </a:lnTo>
                        <a:lnTo>
                          <a:pt x="162" y="318"/>
                        </a:lnTo>
                        <a:lnTo>
                          <a:pt x="144" y="300"/>
                        </a:lnTo>
                        <a:lnTo>
                          <a:pt x="138" y="288"/>
                        </a:lnTo>
                        <a:lnTo>
                          <a:pt x="138" y="276"/>
                        </a:lnTo>
                        <a:lnTo>
                          <a:pt x="132" y="264"/>
                        </a:lnTo>
                        <a:lnTo>
                          <a:pt x="132" y="246"/>
                        </a:lnTo>
                        <a:lnTo>
                          <a:pt x="126" y="240"/>
                        </a:lnTo>
                        <a:lnTo>
                          <a:pt x="120" y="228"/>
                        </a:lnTo>
                        <a:lnTo>
                          <a:pt x="108" y="216"/>
                        </a:lnTo>
                        <a:lnTo>
                          <a:pt x="102" y="204"/>
                        </a:lnTo>
                        <a:lnTo>
                          <a:pt x="96" y="198"/>
                        </a:lnTo>
                        <a:lnTo>
                          <a:pt x="96" y="192"/>
                        </a:lnTo>
                        <a:lnTo>
                          <a:pt x="102" y="186"/>
                        </a:lnTo>
                        <a:lnTo>
                          <a:pt x="114" y="162"/>
                        </a:lnTo>
                        <a:lnTo>
                          <a:pt x="114" y="114"/>
                        </a:lnTo>
                        <a:lnTo>
                          <a:pt x="120" y="108"/>
                        </a:lnTo>
                        <a:lnTo>
                          <a:pt x="126" y="96"/>
                        </a:lnTo>
                        <a:lnTo>
                          <a:pt x="126" y="60"/>
                        </a:lnTo>
                        <a:lnTo>
                          <a:pt x="132" y="66"/>
                        </a:lnTo>
                        <a:lnTo>
                          <a:pt x="144" y="72"/>
                        </a:lnTo>
                        <a:lnTo>
                          <a:pt x="150" y="84"/>
                        </a:lnTo>
                        <a:lnTo>
                          <a:pt x="162" y="90"/>
                        </a:lnTo>
                        <a:lnTo>
                          <a:pt x="180" y="90"/>
                        </a:lnTo>
                        <a:lnTo>
                          <a:pt x="186" y="84"/>
                        </a:lnTo>
                        <a:lnTo>
                          <a:pt x="198" y="84"/>
                        </a:lnTo>
                        <a:lnTo>
                          <a:pt x="198" y="102"/>
                        </a:lnTo>
                        <a:lnTo>
                          <a:pt x="204" y="108"/>
                        </a:lnTo>
                        <a:lnTo>
                          <a:pt x="216" y="114"/>
                        </a:lnTo>
                        <a:lnTo>
                          <a:pt x="234" y="114"/>
                        </a:lnTo>
                        <a:lnTo>
                          <a:pt x="234" y="120"/>
                        </a:lnTo>
                        <a:lnTo>
                          <a:pt x="228" y="126"/>
                        </a:lnTo>
                        <a:lnTo>
                          <a:pt x="228" y="186"/>
                        </a:lnTo>
                        <a:lnTo>
                          <a:pt x="240" y="258"/>
                        </a:lnTo>
                        <a:lnTo>
                          <a:pt x="240" y="270"/>
                        </a:lnTo>
                        <a:lnTo>
                          <a:pt x="246" y="282"/>
                        </a:lnTo>
                        <a:lnTo>
                          <a:pt x="252" y="306"/>
                        </a:lnTo>
                        <a:lnTo>
                          <a:pt x="264" y="342"/>
                        </a:lnTo>
                        <a:lnTo>
                          <a:pt x="276" y="372"/>
                        </a:lnTo>
                        <a:lnTo>
                          <a:pt x="282" y="384"/>
                        </a:lnTo>
                        <a:lnTo>
                          <a:pt x="324" y="384"/>
                        </a:lnTo>
                        <a:lnTo>
                          <a:pt x="318" y="390"/>
                        </a:lnTo>
                        <a:lnTo>
                          <a:pt x="306" y="414"/>
                        </a:lnTo>
                        <a:lnTo>
                          <a:pt x="318" y="438"/>
                        </a:lnTo>
                        <a:lnTo>
                          <a:pt x="330" y="444"/>
                        </a:lnTo>
                        <a:lnTo>
                          <a:pt x="336" y="450"/>
                        </a:lnTo>
                        <a:lnTo>
                          <a:pt x="348" y="450"/>
                        </a:lnTo>
                        <a:lnTo>
                          <a:pt x="354" y="474"/>
                        </a:lnTo>
                        <a:lnTo>
                          <a:pt x="384" y="474"/>
                        </a:lnTo>
                        <a:lnTo>
                          <a:pt x="390" y="516"/>
                        </a:lnTo>
                        <a:lnTo>
                          <a:pt x="384" y="516"/>
                        </a:lnTo>
                        <a:lnTo>
                          <a:pt x="378" y="522"/>
                        </a:lnTo>
                        <a:lnTo>
                          <a:pt x="366" y="528"/>
                        </a:lnTo>
                        <a:lnTo>
                          <a:pt x="360" y="534"/>
                        </a:lnTo>
                        <a:lnTo>
                          <a:pt x="354" y="546"/>
                        </a:lnTo>
                        <a:lnTo>
                          <a:pt x="354" y="558"/>
                        </a:lnTo>
                        <a:lnTo>
                          <a:pt x="360" y="564"/>
                        </a:lnTo>
                        <a:lnTo>
                          <a:pt x="372" y="570"/>
                        </a:lnTo>
                        <a:lnTo>
                          <a:pt x="384" y="558"/>
                        </a:lnTo>
                        <a:lnTo>
                          <a:pt x="384" y="564"/>
                        </a:lnTo>
                        <a:lnTo>
                          <a:pt x="396" y="576"/>
                        </a:lnTo>
                        <a:lnTo>
                          <a:pt x="396" y="588"/>
                        </a:lnTo>
                        <a:lnTo>
                          <a:pt x="402" y="594"/>
                        </a:lnTo>
                        <a:lnTo>
                          <a:pt x="414" y="594"/>
                        </a:lnTo>
                        <a:lnTo>
                          <a:pt x="426" y="600"/>
                        </a:lnTo>
                        <a:lnTo>
                          <a:pt x="432" y="600"/>
                        </a:lnTo>
                        <a:lnTo>
                          <a:pt x="438" y="606"/>
                        </a:lnTo>
                        <a:lnTo>
                          <a:pt x="438" y="624"/>
                        </a:lnTo>
                        <a:lnTo>
                          <a:pt x="432" y="630"/>
                        </a:lnTo>
                        <a:lnTo>
                          <a:pt x="432" y="636"/>
                        </a:lnTo>
                        <a:lnTo>
                          <a:pt x="426" y="648"/>
                        </a:lnTo>
                        <a:lnTo>
                          <a:pt x="426" y="654"/>
                        </a:lnTo>
                        <a:lnTo>
                          <a:pt x="468" y="654"/>
                        </a:lnTo>
                        <a:lnTo>
                          <a:pt x="468" y="684"/>
                        </a:lnTo>
                        <a:lnTo>
                          <a:pt x="504" y="720"/>
                        </a:lnTo>
                        <a:lnTo>
                          <a:pt x="510" y="732"/>
                        </a:lnTo>
                        <a:lnTo>
                          <a:pt x="528" y="750"/>
                        </a:lnTo>
                        <a:lnTo>
                          <a:pt x="534" y="768"/>
                        </a:lnTo>
                        <a:lnTo>
                          <a:pt x="546" y="780"/>
                        </a:lnTo>
                        <a:lnTo>
                          <a:pt x="552" y="798"/>
                        </a:lnTo>
                        <a:lnTo>
                          <a:pt x="558" y="810"/>
                        </a:lnTo>
                        <a:lnTo>
                          <a:pt x="558" y="870"/>
                        </a:lnTo>
                        <a:lnTo>
                          <a:pt x="564" y="882"/>
                        </a:lnTo>
                        <a:lnTo>
                          <a:pt x="576" y="894"/>
                        </a:lnTo>
                        <a:lnTo>
                          <a:pt x="576" y="906"/>
                        </a:lnTo>
                        <a:lnTo>
                          <a:pt x="570" y="918"/>
                        </a:lnTo>
                        <a:lnTo>
                          <a:pt x="552" y="936"/>
                        </a:lnTo>
                        <a:lnTo>
                          <a:pt x="546" y="948"/>
                        </a:lnTo>
                        <a:lnTo>
                          <a:pt x="546" y="954"/>
                        </a:lnTo>
                        <a:lnTo>
                          <a:pt x="552" y="960"/>
                        </a:lnTo>
                        <a:lnTo>
                          <a:pt x="564" y="966"/>
                        </a:lnTo>
                        <a:lnTo>
                          <a:pt x="540" y="966"/>
                        </a:lnTo>
                        <a:lnTo>
                          <a:pt x="528" y="972"/>
                        </a:lnTo>
                        <a:lnTo>
                          <a:pt x="528" y="1038"/>
                        </a:lnTo>
                        <a:lnTo>
                          <a:pt x="534" y="1056"/>
                        </a:lnTo>
                        <a:lnTo>
                          <a:pt x="540" y="1062"/>
                        </a:lnTo>
                        <a:lnTo>
                          <a:pt x="546" y="1074"/>
                        </a:lnTo>
                        <a:lnTo>
                          <a:pt x="558" y="1074"/>
                        </a:lnTo>
                        <a:lnTo>
                          <a:pt x="576" y="1080"/>
                        </a:lnTo>
                        <a:lnTo>
                          <a:pt x="600" y="1080"/>
                        </a:lnTo>
                        <a:lnTo>
                          <a:pt x="612" y="1086"/>
                        </a:lnTo>
                        <a:lnTo>
                          <a:pt x="636" y="1110"/>
                        </a:lnTo>
                        <a:lnTo>
                          <a:pt x="642" y="1122"/>
                        </a:lnTo>
                        <a:lnTo>
                          <a:pt x="648" y="1140"/>
                        </a:lnTo>
                        <a:lnTo>
                          <a:pt x="654" y="1152"/>
                        </a:lnTo>
                        <a:lnTo>
                          <a:pt x="666" y="1164"/>
                        </a:lnTo>
                        <a:lnTo>
                          <a:pt x="678" y="1170"/>
                        </a:lnTo>
                        <a:lnTo>
                          <a:pt x="732" y="1170"/>
                        </a:lnTo>
                        <a:lnTo>
                          <a:pt x="750" y="1176"/>
                        </a:lnTo>
                        <a:lnTo>
                          <a:pt x="762" y="1182"/>
                        </a:lnTo>
                        <a:lnTo>
                          <a:pt x="768" y="1188"/>
                        </a:lnTo>
                        <a:lnTo>
                          <a:pt x="774" y="1200"/>
                        </a:lnTo>
                        <a:lnTo>
                          <a:pt x="786" y="1218"/>
                        </a:lnTo>
                        <a:lnTo>
                          <a:pt x="810" y="1242"/>
                        </a:lnTo>
                        <a:lnTo>
                          <a:pt x="834" y="1254"/>
                        </a:lnTo>
                        <a:lnTo>
                          <a:pt x="870" y="1266"/>
                        </a:lnTo>
                        <a:lnTo>
                          <a:pt x="912" y="1272"/>
                        </a:lnTo>
                        <a:lnTo>
                          <a:pt x="942" y="1278"/>
                        </a:lnTo>
                        <a:lnTo>
                          <a:pt x="960" y="1290"/>
                        </a:lnTo>
                        <a:lnTo>
                          <a:pt x="966" y="1302"/>
                        </a:lnTo>
                        <a:lnTo>
                          <a:pt x="978" y="1314"/>
                        </a:lnTo>
                        <a:lnTo>
                          <a:pt x="990" y="1320"/>
                        </a:lnTo>
                        <a:lnTo>
                          <a:pt x="996" y="1320"/>
                        </a:lnTo>
                        <a:lnTo>
                          <a:pt x="1002" y="1326"/>
                        </a:lnTo>
                        <a:lnTo>
                          <a:pt x="1008" y="1338"/>
                        </a:lnTo>
                        <a:lnTo>
                          <a:pt x="1014" y="1344"/>
                        </a:lnTo>
                        <a:lnTo>
                          <a:pt x="1080" y="1344"/>
                        </a:lnTo>
                        <a:lnTo>
                          <a:pt x="1092" y="1356"/>
                        </a:lnTo>
                        <a:lnTo>
                          <a:pt x="1098" y="1368"/>
                        </a:lnTo>
                        <a:lnTo>
                          <a:pt x="1104" y="1374"/>
                        </a:lnTo>
                        <a:lnTo>
                          <a:pt x="1116" y="1374"/>
                        </a:lnTo>
                        <a:lnTo>
                          <a:pt x="1140" y="1362"/>
                        </a:lnTo>
                        <a:lnTo>
                          <a:pt x="1170" y="1350"/>
                        </a:lnTo>
                        <a:lnTo>
                          <a:pt x="1206" y="1332"/>
                        </a:lnTo>
                        <a:lnTo>
                          <a:pt x="1260" y="1314"/>
                        </a:lnTo>
                        <a:lnTo>
                          <a:pt x="1278" y="1326"/>
                        </a:lnTo>
                        <a:lnTo>
                          <a:pt x="1308" y="1350"/>
                        </a:lnTo>
                        <a:lnTo>
                          <a:pt x="1344" y="1374"/>
                        </a:lnTo>
                        <a:lnTo>
                          <a:pt x="1386" y="1416"/>
                        </a:lnTo>
                        <a:lnTo>
                          <a:pt x="1386" y="1428"/>
                        </a:lnTo>
                        <a:lnTo>
                          <a:pt x="1392" y="1446"/>
                        </a:lnTo>
                        <a:lnTo>
                          <a:pt x="1398" y="1458"/>
                        </a:lnTo>
                        <a:lnTo>
                          <a:pt x="1416" y="1458"/>
                        </a:lnTo>
                        <a:lnTo>
                          <a:pt x="1422" y="1452"/>
                        </a:lnTo>
                        <a:lnTo>
                          <a:pt x="1422" y="1440"/>
                        </a:lnTo>
                        <a:close/>
                      </a:path>
                    </a:pathLst>
                  </a:custGeom>
                  <a:solidFill>
                    <a:schemeClr val="accent1"/>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90" name="Malta"/>
                  <p:cNvSpPr>
                    <a:spLocks/>
                  </p:cNvSpPr>
                  <p:nvPr/>
                </p:nvSpPr>
                <p:spPr bwMode="gray">
                  <a:xfrm>
                    <a:off x="2905" y="1564"/>
                    <a:ext cx="8" cy="7"/>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91" name="Mauritania"/>
                  <p:cNvSpPr>
                    <a:spLocks/>
                  </p:cNvSpPr>
                  <p:nvPr/>
                </p:nvSpPr>
                <p:spPr bwMode="gray">
                  <a:xfrm>
                    <a:off x="2353" y="1749"/>
                    <a:ext cx="219" cy="257"/>
                  </a:xfrm>
                  <a:custGeom>
                    <a:avLst/>
                    <a:gdLst>
                      <a:gd name="T0" fmla="*/ 2147483647 w 858"/>
                      <a:gd name="T1" fmla="*/ 2147483647 h 1002"/>
                      <a:gd name="T2" fmla="*/ 2147483647 w 858"/>
                      <a:gd name="T3" fmla="*/ 2147483647 h 1002"/>
                      <a:gd name="T4" fmla="*/ 2147483647 w 858"/>
                      <a:gd name="T5" fmla="*/ 2147483647 h 1002"/>
                      <a:gd name="T6" fmla="*/ 2147483647 w 858"/>
                      <a:gd name="T7" fmla="*/ 2147483647 h 1002"/>
                      <a:gd name="T8" fmla="*/ 2147483647 w 858"/>
                      <a:gd name="T9" fmla="*/ 2147483647 h 1002"/>
                      <a:gd name="T10" fmla="*/ 2147483647 w 858"/>
                      <a:gd name="T11" fmla="*/ 2147483647 h 1002"/>
                      <a:gd name="T12" fmla="*/ 2147483647 w 858"/>
                      <a:gd name="T13" fmla="*/ 2147483647 h 1002"/>
                      <a:gd name="T14" fmla="*/ 2147483647 w 858"/>
                      <a:gd name="T15" fmla="*/ 2147483647 h 1002"/>
                      <a:gd name="T16" fmla="*/ 2147483647 w 858"/>
                      <a:gd name="T17" fmla="*/ 2147483647 h 1002"/>
                      <a:gd name="T18" fmla="*/ 2147483647 w 858"/>
                      <a:gd name="T19" fmla="*/ 2147483647 h 1002"/>
                      <a:gd name="T20" fmla="*/ 2147483647 w 858"/>
                      <a:gd name="T21" fmla="*/ 2147483647 h 1002"/>
                      <a:gd name="T22" fmla="*/ 2147483647 w 858"/>
                      <a:gd name="T23" fmla="*/ 2147483647 h 1002"/>
                      <a:gd name="T24" fmla="*/ 2147483647 w 858"/>
                      <a:gd name="T25" fmla="*/ 2147483647 h 1002"/>
                      <a:gd name="T26" fmla="*/ 2147483647 w 858"/>
                      <a:gd name="T27" fmla="*/ 2147483647 h 1002"/>
                      <a:gd name="T28" fmla="*/ 2147483647 w 858"/>
                      <a:gd name="T29" fmla="*/ 2147483647 h 1002"/>
                      <a:gd name="T30" fmla="*/ 2147483647 w 858"/>
                      <a:gd name="T31" fmla="*/ 2147483647 h 1002"/>
                      <a:gd name="T32" fmla="*/ 2147483647 w 858"/>
                      <a:gd name="T33" fmla="*/ 2147483647 h 1002"/>
                      <a:gd name="T34" fmla="*/ 2147483647 w 858"/>
                      <a:gd name="T35" fmla="*/ 2147483647 h 1002"/>
                      <a:gd name="T36" fmla="*/ 2147483647 w 858"/>
                      <a:gd name="T37" fmla="*/ 2147483647 h 1002"/>
                      <a:gd name="T38" fmla="*/ 2147483647 w 858"/>
                      <a:gd name="T39" fmla="*/ 2147483647 h 1002"/>
                      <a:gd name="T40" fmla="*/ 2147483647 w 858"/>
                      <a:gd name="T41" fmla="*/ 2147483647 h 1002"/>
                      <a:gd name="T42" fmla="*/ 2147483647 w 858"/>
                      <a:gd name="T43" fmla="*/ 2147483647 h 1002"/>
                      <a:gd name="T44" fmla="*/ 2147483647 w 858"/>
                      <a:gd name="T45" fmla="*/ 2147483647 h 1002"/>
                      <a:gd name="T46" fmla="*/ 2147483647 w 858"/>
                      <a:gd name="T47" fmla="*/ 2147483647 h 1002"/>
                      <a:gd name="T48" fmla="*/ 2147483647 w 858"/>
                      <a:gd name="T49" fmla="*/ 2147483647 h 1002"/>
                      <a:gd name="T50" fmla="*/ 2147483647 w 858"/>
                      <a:gd name="T51" fmla="*/ 2147483647 h 1002"/>
                      <a:gd name="T52" fmla="*/ 2147483647 w 858"/>
                      <a:gd name="T53" fmla="*/ 2147483647 h 1002"/>
                      <a:gd name="T54" fmla="*/ 2147483647 w 858"/>
                      <a:gd name="T55" fmla="*/ 2147483647 h 1002"/>
                      <a:gd name="T56" fmla="*/ 2147483647 w 858"/>
                      <a:gd name="T57" fmla="*/ 2147483647 h 1002"/>
                      <a:gd name="T58" fmla="*/ 2147483647 w 858"/>
                      <a:gd name="T59" fmla="*/ 2147483647 h 1002"/>
                      <a:gd name="T60" fmla="*/ 2147483647 w 858"/>
                      <a:gd name="T61" fmla="*/ 2147483647 h 1002"/>
                      <a:gd name="T62" fmla="*/ 2147483647 w 858"/>
                      <a:gd name="T63" fmla="*/ 2147483647 h 1002"/>
                      <a:gd name="T64" fmla="*/ 2147483647 w 858"/>
                      <a:gd name="T65" fmla="*/ 2147483647 h 1002"/>
                      <a:gd name="T66" fmla="*/ 2147483647 w 858"/>
                      <a:gd name="T67" fmla="*/ 2147483647 h 1002"/>
                      <a:gd name="T68" fmla="*/ 2147483647 w 858"/>
                      <a:gd name="T69" fmla="*/ 2147483647 h 1002"/>
                      <a:gd name="T70" fmla="*/ 2147483647 w 858"/>
                      <a:gd name="T71" fmla="*/ 2147483647 h 1002"/>
                      <a:gd name="T72" fmla="*/ 2147483647 w 858"/>
                      <a:gd name="T73" fmla="*/ 2147483647 h 1002"/>
                      <a:gd name="T74" fmla="*/ 2147483647 w 858"/>
                      <a:gd name="T75" fmla="*/ 2147483647 h 1002"/>
                      <a:gd name="T76" fmla="*/ 2147483647 w 858"/>
                      <a:gd name="T77" fmla="*/ 2147483647 h 1002"/>
                      <a:gd name="T78" fmla="*/ 2147483647 w 858"/>
                      <a:gd name="T79" fmla="*/ 2147483647 h 1002"/>
                      <a:gd name="T80" fmla="*/ 2147483647 w 858"/>
                      <a:gd name="T81" fmla="*/ 2147483647 h 1002"/>
                      <a:gd name="T82" fmla="*/ 2147483647 w 858"/>
                      <a:gd name="T83" fmla="*/ 2147483647 h 1002"/>
                      <a:gd name="T84" fmla="*/ 2147483647 w 858"/>
                      <a:gd name="T85" fmla="*/ 2147483647 h 1002"/>
                      <a:gd name="T86" fmla="*/ 2147483647 w 858"/>
                      <a:gd name="T87" fmla="*/ 2147483647 h 1002"/>
                      <a:gd name="T88" fmla="*/ 2147483647 w 858"/>
                      <a:gd name="T89" fmla="*/ 2147483647 h 1002"/>
                      <a:gd name="T90" fmla="*/ 2147483647 w 858"/>
                      <a:gd name="T91" fmla="*/ 2147483647 h 1002"/>
                      <a:gd name="T92" fmla="*/ 2147483647 w 858"/>
                      <a:gd name="T93" fmla="*/ 2147483647 h 1002"/>
                      <a:gd name="T94" fmla="*/ 2147483647 w 858"/>
                      <a:gd name="T95" fmla="*/ 2147483647 h 1002"/>
                      <a:gd name="T96" fmla="*/ 2147483647 w 858"/>
                      <a:gd name="T97" fmla="*/ 2147483647 h 1002"/>
                      <a:gd name="T98" fmla="*/ 0 w 858"/>
                      <a:gd name="T99" fmla="*/ 2147483647 h 100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858"/>
                      <a:gd name="T151" fmla="*/ 0 h 1002"/>
                      <a:gd name="T152" fmla="*/ 858 w 858"/>
                      <a:gd name="T153" fmla="*/ 1002 h 100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858" h="1002">
                        <a:moveTo>
                          <a:pt x="0" y="498"/>
                        </a:moveTo>
                        <a:lnTo>
                          <a:pt x="18" y="498"/>
                        </a:lnTo>
                        <a:lnTo>
                          <a:pt x="18" y="528"/>
                        </a:lnTo>
                        <a:lnTo>
                          <a:pt x="24" y="534"/>
                        </a:lnTo>
                        <a:lnTo>
                          <a:pt x="30" y="534"/>
                        </a:lnTo>
                        <a:lnTo>
                          <a:pt x="30" y="528"/>
                        </a:lnTo>
                        <a:lnTo>
                          <a:pt x="36" y="522"/>
                        </a:lnTo>
                        <a:lnTo>
                          <a:pt x="48" y="558"/>
                        </a:lnTo>
                        <a:lnTo>
                          <a:pt x="42" y="600"/>
                        </a:lnTo>
                        <a:lnTo>
                          <a:pt x="30" y="600"/>
                        </a:lnTo>
                        <a:lnTo>
                          <a:pt x="36" y="624"/>
                        </a:lnTo>
                        <a:lnTo>
                          <a:pt x="24" y="630"/>
                        </a:lnTo>
                        <a:lnTo>
                          <a:pt x="30" y="642"/>
                        </a:lnTo>
                        <a:lnTo>
                          <a:pt x="36" y="648"/>
                        </a:lnTo>
                        <a:lnTo>
                          <a:pt x="48" y="666"/>
                        </a:lnTo>
                        <a:lnTo>
                          <a:pt x="60" y="690"/>
                        </a:lnTo>
                        <a:lnTo>
                          <a:pt x="60" y="720"/>
                        </a:lnTo>
                        <a:lnTo>
                          <a:pt x="54" y="738"/>
                        </a:lnTo>
                        <a:lnTo>
                          <a:pt x="54" y="750"/>
                        </a:lnTo>
                        <a:lnTo>
                          <a:pt x="48" y="756"/>
                        </a:lnTo>
                        <a:lnTo>
                          <a:pt x="48" y="804"/>
                        </a:lnTo>
                        <a:lnTo>
                          <a:pt x="42" y="816"/>
                        </a:lnTo>
                        <a:lnTo>
                          <a:pt x="30" y="822"/>
                        </a:lnTo>
                        <a:lnTo>
                          <a:pt x="24" y="840"/>
                        </a:lnTo>
                        <a:lnTo>
                          <a:pt x="18" y="852"/>
                        </a:lnTo>
                        <a:lnTo>
                          <a:pt x="18" y="864"/>
                        </a:lnTo>
                        <a:lnTo>
                          <a:pt x="12" y="876"/>
                        </a:lnTo>
                        <a:lnTo>
                          <a:pt x="12" y="906"/>
                        </a:lnTo>
                        <a:lnTo>
                          <a:pt x="18" y="900"/>
                        </a:lnTo>
                        <a:lnTo>
                          <a:pt x="36" y="864"/>
                        </a:lnTo>
                        <a:lnTo>
                          <a:pt x="42" y="858"/>
                        </a:lnTo>
                        <a:lnTo>
                          <a:pt x="54" y="852"/>
                        </a:lnTo>
                        <a:lnTo>
                          <a:pt x="60" y="852"/>
                        </a:lnTo>
                        <a:lnTo>
                          <a:pt x="66" y="858"/>
                        </a:lnTo>
                        <a:lnTo>
                          <a:pt x="72" y="858"/>
                        </a:lnTo>
                        <a:lnTo>
                          <a:pt x="84" y="852"/>
                        </a:lnTo>
                        <a:lnTo>
                          <a:pt x="114" y="858"/>
                        </a:lnTo>
                        <a:lnTo>
                          <a:pt x="114" y="840"/>
                        </a:lnTo>
                        <a:lnTo>
                          <a:pt x="138" y="852"/>
                        </a:lnTo>
                        <a:lnTo>
                          <a:pt x="162" y="852"/>
                        </a:lnTo>
                        <a:lnTo>
                          <a:pt x="174" y="858"/>
                        </a:lnTo>
                        <a:lnTo>
                          <a:pt x="180" y="858"/>
                        </a:lnTo>
                        <a:lnTo>
                          <a:pt x="186" y="870"/>
                        </a:lnTo>
                        <a:lnTo>
                          <a:pt x="198" y="882"/>
                        </a:lnTo>
                        <a:lnTo>
                          <a:pt x="204" y="894"/>
                        </a:lnTo>
                        <a:lnTo>
                          <a:pt x="216" y="888"/>
                        </a:lnTo>
                        <a:lnTo>
                          <a:pt x="234" y="888"/>
                        </a:lnTo>
                        <a:lnTo>
                          <a:pt x="240" y="894"/>
                        </a:lnTo>
                        <a:lnTo>
                          <a:pt x="240" y="900"/>
                        </a:lnTo>
                        <a:lnTo>
                          <a:pt x="246" y="912"/>
                        </a:lnTo>
                        <a:lnTo>
                          <a:pt x="246" y="942"/>
                        </a:lnTo>
                        <a:lnTo>
                          <a:pt x="264" y="942"/>
                        </a:lnTo>
                        <a:lnTo>
                          <a:pt x="270" y="948"/>
                        </a:lnTo>
                        <a:lnTo>
                          <a:pt x="270" y="972"/>
                        </a:lnTo>
                        <a:lnTo>
                          <a:pt x="300" y="978"/>
                        </a:lnTo>
                        <a:lnTo>
                          <a:pt x="312" y="1002"/>
                        </a:lnTo>
                        <a:lnTo>
                          <a:pt x="330" y="1002"/>
                        </a:lnTo>
                        <a:lnTo>
                          <a:pt x="342" y="996"/>
                        </a:lnTo>
                        <a:lnTo>
                          <a:pt x="348" y="996"/>
                        </a:lnTo>
                        <a:lnTo>
                          <a:pt x="348" y="948"/>
                        </a:lnTo>
                        <a:lnTo>
                          <a:pt x="360" y="936"/>
                        </a:lnTo>
                        <a:lnTo>
                          <a:pt x="378" y="936"/>
                        </a:lnTo>
                        <a:lnTo>
                          <a:pt x="402" y="960"/>
                        </a:lnTo>
                        <a:lnTo>
                          <a:pt x="408" y="972"/>
                        </a:lnTo>
                        <a:lnTo>
                          <a:pt x="420" y="948"/>
                        </a:lnTo>
                        <a:lnTo>
                          <a:pt x="456" y="948"/>
                        </a:lnTo>
                        <a:lnTo>
                          <a:pt x="462" y="954"/>
                        </a:lnTo>
                        <a:lnTo>
                          <a:pt x="492" y="954"/>
                        </a:lnTo>
                        <a:lnTo>
                          <a:pt x="504" y="948"/>
                        </a:lnTo>
                        <a:lnTo>
                          <a:pt x="510" y="948"/>
                        </a:lnTo>
                        <a:lnTo>
                          <a:pt x="510" y="936"/>
                        </a:lnTo>
                        <a:lnTo>
                          <a:pt x="516" y="930"/>
                        </a:lnTo>
                        <a:lnTo>
                          <a:pt x="522" y="930"/>
                        </a:lnTo>
                        <a:lnTo>
                          <a:pt x="522" y="942"/>
                        </a:lnTo>
                        <a:lnTo>
                          <a:pt x="786" y="942"/>
                        </a:lnTo>
                        <a:lnTo>
                          <a:pt x="798" y="900"/>
                        </a:lnTo>
                        <a:lnTo>
                          <a:pt x="804" y="894"/>
                        </a:lnTo>
                        <a:lnTo>
                          <a:pt x="804" y="882"/>
                        </a:lnTo>
                        <a:lnTo>
                          <a:pt x="786" y="864"/>
                        </a:lnTo>
                        <a:lnTo>
                          <a:pt x="780" y="864"/>
                        </a:lnTo>
                        <a:lnTo>
                          <a:pt x="738" y="174"/>
                        </a:lnTo>
                        <a:lnTo>
                          <a:pt x="858" y="180"/>
                        </a:lnTo>
                        <a:lnTo>
                          <a:pt x="600" y="0"/>
                        </a:lnTo>
                        <a:lnTo>
                          <a:pt x="594" y="48"/>
                        </a:lnTo>
                        <a:lnTo>
                          <a:pt x="588" y="54"/>
                        </a:lnTo>
                        <a:lnTo>
                          <a:pt x="588" y="90"/>
                        </a:lnTo>
                        <a:lnTo>
                          <a:pt x="366" y="96"/>
                        </a:lnTo>
                        <a:lnTo>
                          <a:pt x="366" y="108"/>
                        </a:lnTo>
                        <a:lnTo>
                          <a:pt x="354" y="114"/>
                        </a:lnTo>
                        <a:lnTo>
                          <a:pt x="354" y="306"/>
                        </a:lnTo>
                        <a:lnTo>
                          <a:pt x="348" y="312"/>
                        </a:lnTo>
                        <a:lnTo>
                          <a:pt x="336" y="318"/>
                        </a:lnTo>
                        <a:lnTo>
                          <a:pt x="306" y="318"/>
                        </a:lnTo>
                        <a:lnTo>
                          <a:pt x="282" y="330"/>
                        </a:lnTo>
                        <a:lnTo>
                          <a:pt x="276" y="342"/>
                        </a:lnTo>
                        <a:lnTo>
                          <a:pt x="276" y="360"/>
                        </a:lnTo>
                        <a:lnTo>
                          <a:pt x="282" y="372"/>
                        </a:lnTo>
                        <a:lnTo>
                          <a:pt x="276" y="474"/>
                        </a:lnTo>
                        <a:lnTo>
                          <a:pt x="0" y="474"/>
                        </a:lnTo>
                        <a:lnTo>
                          <a:pt x="0" y="49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92" name="Mali"/>
                  <p:cNvSpPr>
                    <a:spLocks/>
                  </p:cNvSpPr>
                  <p:nvPr/>
                </p:nvSpPr>
                <p:spPr bwMode="gray">
                  <a:xfrm>
                    <a:off x="2433" y="1794"/>
                    <a:ext cx="297" cy="307"/>
                  </a:xfrm>
                  <a:custGeom>
                    <a:avLst/>
                    <a:gdLst>
                      <a:gd name="T0" fmla="*/ 2147483647 w 1164"/>
                      <a:gd name="T1" fmla="*/ 2147483647 h 1200"/>
                      <a:gd name="T2" fmla="*/ 2147483647 w 1164"/>
                      <a:gd name="T3" fmla="*/ 2147483647 h 1200"/>
                      <a:gd name="T4" fmla="*/ 2147483647 w 1164"/>
                      <a:gd name="T5" fmla="*/ 2147483647 h 1200"/>
                      <a:gd name="T6" fmla="*/ 2147483647 w 1164"/>
                      <a:gd name="T7" fmla="*/ 2147483647 h 1200"/>
                      <a:gd name="T8" fmla="*/ 2147483647 w 1164"/>
                      <a:gd name="T9" fmla="*/ 2147483647 h 1200"/>
                      <a:gd name="T10" fmla="*/ 2147483647 w 1164"/>
                      <a:gd name="T11" fmla="*/ 2147483647 h 1200"/>
                      <a:gd name="T12" fmla="*/ 2147483647 w 1164"/>
                      <a:gd name="T13" fmla="*/ 2147483647 h 1200"/>
                      <a:gd name="T14" fmla="*/ 2147483647 w 1164"/>
                      <a:gd name="T15" fmla="*/ 2147483647 h 1200"/>
                      <a:gd name="T16" fmla="*/ 2147483647 w 1164"/>
                      <a:gd name="T17" fmla="*/ 2147483647 h 1200"/>
                      <a:gd name="T18" fmla="*/ 2147483647 w 1164"/>
                      <a:gd name="T19" fmla="*/ 2147483647 h 1200"/>
                      <a:gd name="T20" fmla="*/ 2147483647 w 1164"/>
                      <a:gd name="T21" fmla="*/ 2147483647 h 1200"/>
                      <a:gd name="T22" fmla="*/ 2147483647 w 1164"/>
                      <a:gd name="T23" fmla="*/ 2147483647 h 1200"/>
                      <a:gd name="T24" fmla="*/ 2147483647 w 1164"/>
                      <a:gd name="T25" fmla="*/ 2147483647 h 1200"/>
                      <a:gd name="T26" fmla="*/ 2147483647 w 1164"/>
                      <a:gd name="T27" fmla="*/ 2147483647 h 1200"/>
                      <a:gd name="T28" fmla="*/ 2147483647 w 1164"/>
                      <a:gd name="T29" fmla="*/ 2147483647 h 1200"/>
                      <a:gd name="T30" fmla="*/ 2147483647 w 1164"/>
                      <a:gd name="T31" fmla="*/ 2147483647 h 1200"/>
                      <a:gd name="T32" fmla="*/ 2147483647 w 1164"/>
                      <a:gd name="T33" fmla="*/ 2147483647 h 1200"/>
                      <a:gd name="T34" fmla="*/ 2147483647 w 1164"/>
                      <a:gd name="T35" fmla="*/ 2147483647 h 1200"/>
                      <a:gd name="T36" fmla="*/ 2147483647 w 1164"/>
                      <a:gd name="T37" fmla="*/ 2147483647 h 1200"/>
                      <a:gd name="T38" fmla="*/ 2147483647 w 1164"/>
                      <a:gd name="T39" fmla="*/ 2147483647 h 1200"/>
                      <a:gd name="T40" fmla="*/ 2147483647 w 1164"/>
                      <a:gd name="T41" fmla="*/ 2147483647 h 1200"/>
                      <a:gd name="T42" fmla="*/ 2147483647 w 1164"/>
                      <a:gd name="T43" fmla="*/ 2147483647 h 1200"/>
                      <a:gd name="T44" fmla="*/ 2147483647 w 1164"/>
                      <a:gd name="T45" fmla="*/ 2147483647 h 1200"/>
                      <a:gd name="T46" fmla="*/ 2147483647 w 1164"/>
                      <a:gd name="T47" fmla="*/ 2147483647 h 1200"/>
                      <a:gd name="T48" fmla="*/ 2147483647 w 1164"/>
                      <a:gd name="T49" fmla="*/ 2147483647 h 1200"/>
                      <a:gd name="T50" fmla="*/ 2147483647 w 1164"/>
                      <a:gd name="T51" fmla="*/ 2147483647 h 1200"/>
                      <a:gd name="T52" fmla="*/ 2147483647 w 1164"/>
                      <a:gd name="T53" fmla="*/ 2147483647 h 1200"/>
                      <a:gd name="T54" fmla="*/ 0 w 1164"/>
                      <a:gd name="T55" fmla="*/ 2147483647 h 1200"/>
                      <a:gd name="T56" fmla="*/ 2147483647 w 1164"/>
                      <a:gd name="T57" fmla="*/ 2147483647 h 1200"/>
                      <a:gd name="T58" fmla="*/ 2147483647 w 1164"/>
                      <a:gd name="T59" fmla="*/ 2147483647 h 1200"/>
                      <a:gd name="T60" fmla="*/ 2147483647 w 1164"/>
                      <a:gd name="T61" fmla="*/ 2147483647 h 1200"/>
                      <a:gd name="T62" fmla="*/ 2147483647 w 1164"/>
                      <a:gd name="T63" fmla="*/ 2147483647 h 1200"/>
                      <a:gd name="T64" fmla="*/ 2147483647 w 1164"/>
                      <a:gd name="T65" fmla="*/ 2147483647 h 1200"/>
                      <a:gd name="T66" fmla="*/ 2147483647 w 1164"/>
                      <a:gd name="T67" fmla="*/ 2147483647 h 1200"/>
                      <a:gd name="T68" fmla="*/ 2147483647 w 1164"/>
                      <a:gd name="T69" fmla="*/ 2147483647 h 1200"/>
                      <a:gd name="T70" fmla="*/ 2147483647 w 1164"/>
                      <a:gd name="T71" fmla="*/ 2147483647 h 1200"/>
                      <a:gd name="T72" fmla="*/ 2147483647 w 1164"/>
                      <a:gd name="T73" fmla="*/ 2147483647 h 1200"/>
                      <a:gd name="T74" fmla="*/ 2147483647 w 1164"/>
                      <a:gd name="T75" fmla="*/ 2147483647 h 1200"/>
                      <a:gd name="T76" fmla="*/ 2147483647 w 1164"/>
                      <a:gd name="T77" fmla="*/ 2147483647 h 1200"/>
                      <a:gd name="T78" fmla="*/ 2147483647 w 1164"/>
                      <a:gd name="T79" fmla="*/ 2147483647 h 1200"/>
                      <a:gd name="T80" fmla="*/ 2147483647 w 1164"/>
                      <a:gd name="T81" fmla="*/ 2147483647 h 1200"/>
                      <a:gd name="T82" fmla="*/ 2147483647 w 1164"/>
                      <a:gd name="T83" fmla="*/ 2147483647 h 1200"/>
                      <a:gd name="T84" fmla="*/ 2147483647 w 1164"/>
                      <a:gd name="T85" fmla="*/ 2147483647 h 1200"/>
                      <a:gd name="T86" fmla="*/ 2147483647 w 1164"/>
                      <a:gd name="T87" fmla="*/ 2147483647 h 1200"/>
                      <a:gd name="T88" fmla="*/ 2147483647 w 1164"/>
                      <a:gd name="T89" fmla="*/ 2147483647 h 1200"/>
                      <a:gd name="T90" fmla="*/ 2147483647 w 1164"/>
                      <a:gd name="T91" fmla="*/ 2147483647 h 1200"/>
                      <a:gd name="T92" fmla="*/ 2147483647 w 1164"/>
                      <a:gd name="T93" fmla="*/ 2147483647 h 1200"/>
                      <a:gd name="T94" fmla="*/ 2147483647 w 1164"/>
                      <a:gd name="T95" fmla="*/ 2147483647 h 1200"/>
                      <a:gd name="T96" fmla="*/ 2147483647 w 1164"/>
                      <a:gd name="T97" fmla="*/ 2147483647 h 1200"/>
                      <a:gd name="T98" fmla="*/ 2147483647 w 1164"/>
                      <a:gd name="T99" fmla="*/ 2147483647 h 1200"/>
                      <a:gd name="T100" fmla="*/ 2147483647 w 1164"/>
                      <a:gd name="T101" fmla="*/ 2147483647 h 1200"/>
                      <a:gd name="T102" fmla="*/ 2147483647 w 1164"/>
                      <a:gd name="T103" fmla="*/ 2147483647 h 1200"/>
                      <a:gd name="T104" fmla="*/ 2147483647 w 1164"/>
                      <a:gd name="T105" fmla="*/ 2147483647 h 1200"/>
                      <a:gd name="T106" fmla="*/ 2147483647 w 1164"/>
                      <a:gd name="T107" fmla="*/ 2147483647 h 120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1164"/>
                      <a:gd name="T163" fmla="*/ 0 h 1200"/>
                      <a:gd name="T164" fmla="*/ 1164 w 1164"/>
                      <a:gd name="T165" fmla="*/ 1200 h 120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1164" h="1200">
                        <a:moveTo>
                          <a:pt x="612" y="954"/>
                        </a:moveTo>
                        <a:lnTo>
                          <a:pt x="636" y="948"/>
                        </a:lnTo>
                        <a:lnTo>
                          <a:pt x="636" y="912"/>
                        </a:lnTo>
                        <a:lnTo>
                          <a:pt x="654" y="912"/>
                        </a:lnTo>
                        <a:lnTo>
                          <a:pt x="654" y="906"/>
                        </a:lnTo>
                        <a:lnTo>
                          <a:pt x="660" y="900"/>
                        </a:lnTo>
                        <a:lnTo>
                          <a:pt x="666" y="888"/>
                        </a:lnTo>
                        <a:lnTo>
                          <a:pt x="678" y="882"/>
                        </a:lnTo>
                        <a:lnTo>
                          <a:pt x="684" y="870"/>
                        </a:lnTo>
                        <a:lnTo>
                          <a:pt x="690" y="864"/>
                        </a:lnTo>
                        <a:lnTo>
                          <a:pt x="696" y="864"/>
                        </a:lnTo>
                        <a:lnTo>
                          <a:pt x="708" y="876"/>
                        </a:lnTo>
                        <a:lnTo>
                          <a:pt x="720" y="876"/>
                        </a:lnTo>
                        <a:lnTo>
                          <a:pt x="720" y="870"/>
                        </a:lnTo>
                        <a:lnTo>
                          <a:pt x="726" y="864"/>
                        </a:lnTo>
                        <a:lnTo>
                          <a:pt x="726" y="846"/>
                        </a:lnTo>
                        <a:lnTo>
                          <a:pt x="750" y="846"/>
                        </a:lnTo>
                        <a:lnTo>
                          <a:pt x="768" y="822"/>
                        </a:lnTo>
                        <a:lnTo>
                          <a:pt x="792" y="822"/>
                        </a:lnTo>
                        <a:lnTo>
                          <a:pt x="810" y="804"/>
                        </a:lnTo>
                        <a:lnTo>
                          <a:pt x="858" y="804"/>
                        </a:lnTo>
                        <a:lnTo>
                          <a:pt x="882" y="816"/>
                        </a:lnTo>
                        <a:lnTo>
                          <a:pt x="930" y="804"/>
                        </a:lnTo>
                        <a:lnTo>
                          <a:pt x="954" y="786"/>
                        </a:lnTo>
                        <a:lnTo>
                          <a:pt x="1020" y="792"/>
                        </a:lnTo>
                        <a:lnTo>
                          <a:pt x="1020" y="774"/>
                        </a:lnTo>
                        <a:lnTo>
                          <a:pt x="1068" y="780"/>
                        </a:lnTo>
                        <a:lnTo>
                          <a:pt x="1080" y="774"/>
                        </a:lnTo>
                        <a:lnTo>
                          <a:pt x="1104" y="774"/>
                        </a:lnTo>
                        <a:lnTo>
                          <a:pt x="1122" y="768"/>
                        </a:lnTo>
                        <a:lnTo>
                          <a:pt x="1134" y="762"/>
                        </a:lnTo>
                        <a:lnTo>
                          <a:pt x="1140" y="750"/>
                        </a:lnTo>
                        <a:lnTo>
                          <a:pt x="1140" y="732"/>
                        </a:lnTo>
                        <a:lnTo>
                          <a:pt x="1146" y="720"/>
                        </a:lnTo>
                        <a:lnTo>
                          <a:pt x="1146" y="708"/>
                        </a:lnTo>
                        <a:lnTo>
                          <a:pt x="1164" y="684"/>
                        </a:lnTo>
                        <a:lnTo>
                          <a:pt x="1164" y="480"/>
                        </a:lnTo>
                        <a:lnTo>
                          <a:pt x="1140" y="480"/>
                        </a:lnTo>
                        <a:lnTo>
                          <a:pt x="1134" y="486"/>
                        </a:lnTo>
                        <a:lnTo>
                          <a:pt x="1104" y="486"/>
                        </a:lnTo>
                        <a:lnTo>
                          <a:pt x="1092" y="480"/>
                        </a:lnTo>
                        <a:lnTo>
                          <a:pt x="1086" y="474"/>
                        </a:lnTo>
                        <a:lnTo>
                          <a:pt x="1086" y="468"/>
                        </a:lnTo>
                        <a:lnTo>
                          <a:pt x="1104" y="450"/>
                        </a:lnTo>
                        <a:lnTo>
                          <a:pt x="1104" y="432"/>
                        </a:lnTo>
                        <a:lnTo>
                          <a:pt x="1092" y="408"/>
                        </a:lnTo>
                        <a:lnTo>
                          <a:pt x="1080" y="402"/>
                        </a:lnTo>
                        <a:lnTo>
                          <a:pt x="1050" y="402"/>
                        </a:lnTo>
                        <a:lnTo>
                          <a:pt x="1044" y="408"/>
                        </a:lnTo>
                        <a:lnTo>
                          <a:pt x="1038" y="408"/>
                        </a:lnTo>
                        <a:lnTo>
                          <a:pt x="1032" y="378"/>
                        </a:lnTo>
                        <a:lnTo>
                          <a:pt x="996" y="378"/>
                        </a:lnTo>
                        <a:lnTo>
                          <a:pt x="984" y="366"/>
                        </a:lnTo>
                        <a:lnTo>
                          <a:pt x="984" y="348"/>
                        </a:lnTo>
                        <a:lnTo>
                          <a:pt x="978" y="342"/>
                        </a:lnTo>
                        <a:lnTo>
                          <a:pt x="954" y="342"/>
                        </a:lnTo>
                        <a:lnTo>
                          <a:pt x="954" y="318"/>
                        </a:lnTo>
                        <a:lnTo>
                          <a:pt x="546" y="6"/>
                        </a:lnTo>
                        <a:lnTo>
                          <a:pt x="426" y="0"/>
                        </a:lnTo>
                        <a:lnTo>
                          <a:pt x="468" y="690"/>
                        </a:lnTo>
                        <a:lnTo>
                          <a:pt x="474" y="690"/>
                        </a:lnTo>
                        <a:lnTo>
                          <a:pt x="492" y="708"/>
                        </a:lnTo>
                        <a:lnTo>
                          <a:pt x="492" y="720"/>
                        </a:lnTo>
                        <a:lnTo>
                          <a:pt x="486" y="726"/>
                        </a:lnTo>
                        <a:lnTo>
                          <a:pt x="474" y="768"/>
                        </a:lnTo>
                        <a:lnTo>
                          <a:pt x="210" y="768"/>
                        </a:lnTo>
                        <a:lnTo>
                          <a:pt x="210" y="756"/>
                        </a:lnTo>
                        <a:lnTo>
                          <a:pt x="204" y="756"/>
                        </a:lnTo>
                        <a:lnTo>
                          <a:pt x="198" y="762"/>
                        </a:lnTo>
                        <a:lnTo>
                          <a:pt x="198" y="774"/>
                        </a:lnTo>
                        <a:lnTo>
                          <a:pt x="192" y="774"/>
                        </a:lnTo>
                        <a:lnTo>
                          <a:pt x="180" y="780"/>
                        </a:lnTo>
                        <a:lnTo>
                          <a:pt x="150" y="780"/>
                        </a:lnTo>
                        <a:lnTo>
                          <a:pt x="144" y="774"/>
                        </a:lnTo>
                        <a:lnTo>
                          <a:pt x="108" y="774"/>
                        </a:lnTo>
                        <a:lnTo>
                          <a:pt x="96" y="798"/>
                        </a:lnTo>
                        <a:lnTo>
                          <a:pt x="90" y="786"/>
                        </a:lnTo>
                        <a:lnTo>
                          <a:pt x="66" y="762"/>
                        </a:lnTo>
                        <a:lnTo>
                          <a:pt x="48" y="762"/>
                        </a:lnTo>
                        <a:lnTo>
                          <a:pt x="36" y="774"/>
                        </a:lnTo>
                        <a:lnTo>
                          <a:pt x="36" y="822"/>
                        </a:lnTo>
                        <a:lnTo>
                          <a:pt x="30" y="822"/>
                        </a:lnTo>
                        <a:lnTo>
                          <a:pt x="18" y="828"/>
                        </a:lnTo>
                        <a:lnTo>
                          <a:pt x="0" y="828"/>
                        </a:lnTo>
                        <a:lnTo>
                          <a:pt x="0" y="852"/>
                        </a:lnTo>
                        <a:lnTo>
                          <a:pt x="12" y="870"/>
                        </a:lnTo>
                        <a:lnTo>
                          <a:pt x="12" y="876"/>
                        </a:lnTo>
                        <a:lnTo>
                          <a:pt x="24" y="888"/>
                        </a:lnTo>
                        <a:lnTo>
                          <a:pt x="24" y="906"/>
                        </a:lnTo>
                        <a:lnTo>
                          <a:pt x="18" y="912"/>
                        </a:lnTo>
                        <a:lnTo>
                          <a:pt x="18" y="936"/>
                        </a:lnTo>
                        <a:lnTo>
                          <a:pt x="24" y="942"/>
                        </a:lnTo>
                        <a:lnTo>
                          <a:pt x="36" y="942"/>
                        </a:lnTo>
                        <a:lnTo>
                          <a:pt x="36" y="936"/>
                        </a:lnTo>
                        <a:lnTo>
                          <a:pt x="42" y="936"/>
                        </a:lnTo>
                        <a:lnTo>
                          <a:pt x="48" y="942"/>
                        </a:lnTo>
                        <a:lnTo>
                          <a:pt x="54" y="954"/>
                        </a:lnTo>
                        <a:lnTo>
                          <a:pt x="54" y="1032"/>
                        </a:lnTo>
                        <a:lnTo>
                          <a:pt x="60" y="1044"/>
                        </a:lnTo>
                        <a:lnTo>
                          <a:pt x="60" y="1050"/>
                        </a:lnTo>
                        <a:lnTo>
                          <a:pt x="66" y="1056"/>
                        </a:lnTo>
                        <a:lnTo>
                          <a:pt x="72" y="1050"/>
                        </a:lnTo>
                        <a:lnTo>
                          <a:pt x="78" y="1038"/>
                        </a:lnTo>
                        <a:lnTo>
                          <a:pt x="90" y="1026"/>
                        </a:lnTo>
                        <a:lnTo>
                          <a:pt x="102" y="1038"/>
                        </a:lnTo>
                        <a:lnTo>
                          <a:pt x="108" y="1050"/>
                        </a:lnTo>
                        <a:lnTo>
                          <a:pt x="108" y="1062"/>
                        </a:lnTo>
                        <a:lnTo>
                          <a:pt x="114" y="1050"/>
                        </a:lnTo>
                        <a:lnTo>
                          <a:pt x="126" y="1038"/>
                        </a:lnTo>
                        <a:lnTo>
                          <a:pt x="132" y="1026"/>
                        </a:lnTo>
                        <a:lnTo>
                          <a:pt x="138" y="1026"/>
                        </a:lnTo>
                        <a:lnTo>
                          <a:pt x="144" y="1032"/>
                        </a:lnTo>
                        <a:lnTo>
                          <a:pt x="150" y="1032"/>
                        </a:lnTo>
                        <a:lnTo>
                          <a:pt x="162" y="1038"/>
                        </a:lnTo>
                        <a:lnTo>
                          <a:pt x="168" y="1044"/>
                        </a:lnTo>
                        <a:lnTo>
                          <a:pt x="180" y="1050"/>
                        </a:lnTo>
                        <a:lnTo>
                          <a:pt x="198" y="1032"/>
                        </a:lnTo>
                        <a:lnTo>
                          <a:pt x="198" y="1014"/>
                        </a:lnTo>
                        <a:lnTo>
                          <a:pt x="204" y="1008"/>
                        </a:lnTo>
                        <a:lnTo>
                          <a:pt x="216" y="1008"/>
                        </a:lnTo>
                        <a:lnTo>
                          <a:pt x="228" y="1014"/>
                        </a:lnTo>
                        <a:lnTo>
                          <a:pt x="228" y="1032"/>
                        </a:lnTo>
                        <a:lnTo>
                          <a:pt x="246" y="1044"/>
                        </a:lnTo>
                        <a:lnTo>
                          <a:pt x="234" y="1074"/>
                        </a:lnTo>
                        <a:lnTo>
                          <a:pt x="270" y="1092"/>
                        </a:lnTo>
                        <a:lnTo>
                          <a:pt x="246" y="1128"/>
                        </a:lnTo>
                        <a:lnTo>
                          <a:pt x="270" y="1128"/>
                        </a:lnTo>
                        <a:lnTo>
                          <a:pt x="270" y="1164"/>
                        </a:lnTo>
                        <a:lnTo>
                          <a:pt x="300" y="1194"/>
                        </a:lnTo>
                        <a:lnTo>
                          <a:pt x="312" y="1200"/>
                        </a:lnTo>
                        <a:lnTo>
                          <a:pt x="312" y="1182"/>
                        </a:lnTo>
                        <a:lnTo>
                          <a:pt x="318" y="1176"/>
                        </a:lnTo>
                        <a:lnTo>
                          <a:pt x="330" y="1176"/>
                        </a:lnTo>
                        <a:lnTo>
                          <a:pt x="348" y="1182"/>
                        </a:lnTo>
                        <a:lnTo>
                          <a:pt x="366" y="1200"/>
                        </a:lnTo>
                        <a:lnTo>
                          <a:pt x="372" y="1182"/>
                        </a:lnTo>
                        <a:lnTo>
                          <a:pt x="390" y="1182"/>
                        </a:lnTo>
                        <a:lnTo>
                          <a:pt x="396" y="1158"/>
                        </a:lnTo>
                        <a:lnTo>
                          <a:pt x="408" y="1176"/>
                        </a:lnTo>
                        <a:lnTo>
                          <a:pt x="420" y="1152"/>
                        </a:lnTo>
                        <a:lnTo>
                          <a:pt x="420" y="1188"/>
                        </a:lnTo>
                        <a:lnTo>
                          <a:pt x="444" y="1194"/>
                        </a:lnTo>
                        <a:lnTo>
                          <a:pt x="450" y="1188"/>
                        </a:lnTo>
                        <a:lnTo>
                          <a:pt x="456" y="1176"/>
                        </a:lnTo>
                        <a:lnTo>
                          <a:pt x="462" y="1170"/>
                        </a:lnTo>
                        <a:lnTo>
                          <a:pt x="474" y="1170"/>
                        </a:lnTo>
                        <a:lnTo>
                          <a:pt x="468" y="1116"/>
                        </a:lnTo>
                        <a:lnTo>
                          <a:pt x="492" y="1116"/>
                        </a:lnTo>
                        <a:lnTo>
                          <a:pt x="504" y="1092"/>
                        </a:lnTo>
                        <a:lnTo>
                          <a:pt x="480" y="1062"/>
                        </a:lnTo>
                        <a:lnTo>
                          <a:pt x="498" y="1050"/>
                        </a:lnTo>
                        <a:lnTo>
                          <a:pt x="504" y="1050"/>
                        </a:lnTo>
                        <a:lnTo>
                          <a:pt x="510" y="1044"/>
                        </a:lnTo>
                        <a:lnTo>
                          <a:pt x="546" y="1044"/>
                        </a:lnTo>
                        <a:lnTo>
                          <a:pt x="546" y="1032"/>
                        </a:lnTo>
                        <a:lnTo>
                          <a:pt x="540" y="1026"/>
                        </a:lnTo>
                        <a:lnTo>
                          <a:pt x="546" y="1026"/>
                        </a:lnTo>
                        <a:lnTo>
                          <a:pt x="552" y="1020"/>
                        </a:lnTo>
                        <a:lnTo>
                          <a:pt x="552" y="990"/>
                        </a:lnTo>
                        <a:lnTo>
                          <a:pt x="570" y="990"/>
                        </a:lnTo>
                        <a:lnTo>
                          <a:pt x="570" y="960"/>
                        </a:lnTo>
                        <a:lnTo>
                          <a:pt x="564" y="954"/>
                        </a:lnTo>
                        <a:lnTo>
                          <a:pt x="582" y="924"/>
                        </a:lnTo>
                        <a:lnTo>
                          <a:pt x="612" y="9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93" name="Malaysia"/>
                  <p:cNvSpPr>
                    <a:spLocks/>
                  </p:cNvSpPr>
                  <p:nvPr/>
                </p:nvSpPr>
                <p:spPr bwMode="gray">
                  <a:xfrm>
                    <a:off x="4470" y="2171"/>
                    <a:ext cx="78" cy="112"/>
                  </a:xfrm>
                  <a:custGeom>
                    <a:avLst/>
                    <a:gdLst>
                      <a:gd name="T0" fmla="*/ 2147483647 w 306"/>
                      <a:gd name="T1" fmla="*/ 2147483647 h 438"/>
                      <a:gd name="T2" fmla="*/ 2147483647 w 306"/>
                      <a:gd name="T3" fmla="*/ 2147483647 h 438"/>
                      <a:gd name="T4" fmla="*/ 2147483647 w 306"/>
                      <a:gd name="T5" fmla="*/ 2147483647 h 438"/>
                      <a:gd name="T6" fmla="*/ 2147483647 w 306"/>
                      <a:gd name="T7" fmla="*/ 2147483647 h 438"/>
                      <a:gd name="T8" fmla="*/ 2147483647 w 306"/>
                      <a:gd name="T9" fmla="*/ 2147483647 h 438"/>
                      <a:gd name="T10" fmla="*/ 2147483647 w 306"/>
                      <a:gd name="T11" fmla="*/ 2147483647 h 438"/>
                      <a:gd name="T12" fmla="*/ 2147483647 w 306"/>
                      <a:gd name="T13" fmla="*/ 2147483647 h 438"/>
                      <a:gd name="T14" fmla="*/ 2147483647 w 306"/>
                      <a:gd name="T15" fmla="*/ 2147483647 h 438"/>
                      <a:gd name="T16" fmla="*/ 2147483647 w 306"/>
                      <a:gd name="T17" fmla="*/ 2147483647 h 438"/>
                      <a:gd name="T18" fmla="*/ 2147483647 w 306"/>
                      <a:gd name="T19" fmla="*/ 2147483647 h 438"/>
                      <a:gd name="T20" fmla="*/ 2147483647 w 306"/>
                      <a:gd name="T21" fmla="*/ 2147483647 h 438"/>
                      <a:gd name="T22" fmla="*/ 2147483647 w 306"/>
                      <a:gd name="T23" fmla="*/ 2147483647 h 438"/>
                      <a:gd name="T24" fmla="*/ 2147483647 w 306"/>
                      <a:gd name="T25" fmla="*/ 2147483647 h 438"/>
                      <a:gd name="T26" fmla="*/ 2147483647 w 306"/>
                      <a:gd name="T27" fmla="*/ 2147483647 h 438"/>
                      <a:gd name="T28" fmla="*/ 2147483647 w 306"/>
                      <a:gd name="T29" fmla="*/ 2147483647 h 438"/>
                      <a:gd name="T30" fmla="*/ 2147483647 w 306"/>
                      <a:gd name="T31" fmla="*/ 2147483647 h 438"/>
                      <a:gd name="T32" fmla="*/ 2147483647 w 306"/>
                      <a:gd name="T33" fmla="*/ 2147483647 h 438"/>
                      <a:gd name="T34" fmla="*/ 2147483647 w 306"/>
                      <a:gd name="T35" fmla="*/ 2147483647 h 438"/>
                      <a:gd name="T36" fmla="*/ 2147483647 w 306"/>
                      <a:gd name="T37" fmla="*/ 2147483647 h 438"/>
                      <a:gd name="T38" fmla="*/ 2147483647 w 306"/>
                      <a:gd name="T39" fmla="*/ 2147483647 h 438"/>
                      <a:gd name="T40" fmla="*/ 2147483647 w 306"/>
                      <a:gd name="T41" fmla="*/ 2147483647 h 438"/>
                      <a:gd name="T42" fmla="*/ 2147483647 w 306"/>
                      <a:gd name="T43" fmla="*/ 2147483647 h 438"/>
                      <a:gd name="T44" fmla="*/ 2147483647 w 306"/>
                      <a:gd name="T45" fmla="*/ 2147483647 h 438"/>
                      <a:gd name="T46" fmla="*/ 2147483647 w 306"/>
                      <a:gd name="T47" fmla="*/ 2147483647 h 438"/>
                      <a:gd name="T48" fmla="*/ 2147483647 w 306"/>
                      <a:gd name="T49" fmla="*/ 2147483647 h 438"/>
                      <a:gd name="T50" fmla="*/ 2147483647 w 306"/>
                      <a:gd name="T51" fmla="*/ 2147483647 h 438"/>
                      <a:gd name="T52" fmla="*/ 2147483647 w 306"/>
                      <a:gd name="T53" fmla="*/ 2147483647 h 438"/>
                      <a:gd name="T54" fmla="*/ 2147483647 w 306"/>
                      <a:gd name="T55" fmla="*/ 2147483647 h 438"/>
                      <a:gd name="T56" fmla="*/ 2147483647 w 306"/>
                      <a:gd name="T57" fmla="*/ 2147483647 h 438"/>
                      <a:gd name="T58" fmla="*/ 2147483647 w 306"/>
                      <a:gd name="T59" fmla="*/ 2147483647 h 438"/>
                      <a:gd name="T60" fmla="*/ 2147483647 w 306"/>
                      <a:gd name="T61" fmla="*/ 2147483647 h 438"/>
                      <a:gd name="T62" fmla="*/ 2147483647 w 306"/>
                      <a:gd name="T63" fmla="*/ 2147483647 h 438"/>
                      <a:gd name="T64" fmla="*/ 2147483647 w 306"/>
                      <a:gd name="T65" fmla="*/ 2147483647 h 438"/>
                      <a:gd name="T66" fmla="*/ 2147483647 w 306"/>
                      <a:gd name="T67" fmla="*/ 2147483647 h 438"/>
                      <a:gd name="T68" fmla="*/ 2147483647 w 306"/>
                      <a:gd name="T69" fmla="*/ 2147483647 h 438"/>
                      <a:gd name="T70" fmla="*/ 2147483647 w 306"/>
                      <a:gd name="T71" fmla="*/ 2147483647 h 438"/>
                      <a:gd name="T72" fmla="*/ 2147483647 w 306"/>
                      <a:gd name="T73" fmla="*/ 2147483647 h 438"/>
                      <a:gd name="T74" fmla="*/ 2147483647 w 306"/>
                      <a:gd name="T75" fmla="*/ 2147483647 h 438"/>
                      <a:gd name="T76" fmla="*/ 2147483647 w 306"/>
                      <a:gd name="T77" fmla="*/ 0 h 438"/>
                      <a:gd name="T78" fmla="*/ 2147483647 w 306"/>
                      <a:gd name="T79" fmla="*/ 2147483647 h 438"/>
                      <a:gd name="T80" fmla="*/ 2147483647 w 306"/>
                      <a:gd name="T81" fmla="*/ 2147483647 h 43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06"/>
                      <a:gd name="T124" fmla="*/ 0 h 438"/>
                      <a:gd name="T125" fmla="*/ 306 w 306"/>
                      <a:gd name="T126" fmla="*/ 438 h 438"/>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06" h="438">
                        <a:moveTo>
                          <a:pt x="0" y="42"/>
                        </a:moveTo>
                        <a:lnTo>
                          <a:pt x="6" y="138"/>
                        </a:lnTo>
                        <a:lnTo>
                          <a:pt x="18" y="138"/>
                        </a:lnTo>
                        <a:lnTo>
                          <a:pt x="24" y="132"/>
                        </a:lnTo>
                        <a:lnTo>
                          <a:pt x="42" y="132"/>
                        </a:lnTo>
                        <a:lnTo>
                          <a:pt x="54" y="138"/>
                        </a:lnTo>
                        <a:lnTo>
                          <a:pt x="54" y="168"/>
                        </a:lnTo>
                        <a:lnTo>
                          <a:pt x="48" y="180"/>
                        </a:lnTo>
                        <a:lnTo>
                          <a:pt x="48" y="198"/>
                        </a:lnTo>
                        <a:lnTo>
                          <a:pt x="54" y="216"/>
                        </a:lnTo>
                        <a:lnTo>
                          <a:pt x="60" y="228"/>
                        </a:lnTo>
                        <a:lnTo>
                          <a:pt x="66" y="234"/>
                        </a:lnTo>
                        <a:lnTo>
                          <a:pt x="84" y="234"/>
                        </a:lnTo>
                        <a:lnTo>
                          <a:pt x="90" y="228"/>
                        </a:lnTo>
                        <a:lnTo>
                          <a:pt x="90" y="240"/>
                        </a:lnTo>
                        <a:lnTo>
                          <a:pt x="84" y="252"/>
                        </a:lnTo>
                        <a:lnTo>
                          <a:pt x="84" y="282"/>
                        </a:lnTo>
                        <a:lnTo>
                          <a:pt x="96" y="306"/>
                        </a:lnTo>
                        <a:lnTo>
                          <a:pt x="102" y="312"/>
                        </a:lnTo>
                        <a:lnTo>
                          <a:pt x="114" y="318"/>
                        </a:lnTo>
                        <a:lnTo>
                          <a:pt x="132" y="330"/>
                        </a:lnTo>
                        <a:lnTo>
                          <a:pt x="144" y="336"/>
                        </a:lnTo>
                        <a:lnTo>
                          <a:pt x="162" y="354"/>
                        </a:lnTo>
                        <a:lnTo>
                          <a:pt x="168" y="354"/>
                        </a:lnTo>
                        <a:lnTo>
                          <a:pt x="168" y="366"/>
                        </a:lnTo>
                        <a:lnTo>
                          <a:pt x="174" y="372"/>
                        </a:lnTo>
                        <a:lnTo>
                          <a:pt x="174" y="378"/>
                        </a:lnTo>
                        <a:lnTo>
                          <a:pt x="180" y="384"/>
                        </a:lnTo>
                        <a:lnTo>
                          <a:pt x="186" y="384"/>
                        </a:lnTo>
                        <a:lnTo>
                          <a:pt x="198" y="390"/>
                        </a:lnTo>
                        <a:lnTo>
                          <a:pt x="204" y="396"/>
                        </a:lnTo>
                        <a:lnTo>
                          <a:pt x="216" y="396"/>
                        </a:lnTo>
                        <a:lnTo>
                          <a:pt x="222" y="402"/>
                        </a:lnTo>
                        <a:lnTo>
                          <a:pt x="228" y="402"/>
                        </a:lnTo>
                        <a:lnTo>
                          <a:pt x="252" y="438"/>
                        </a:lnTo>
                        <a:lnTo>
                          <a:pt x="300" y="432"/>
                        </a:lnTo>
                        <a:lnTo>
                          <a:pt x="300" y="420"/>
                        </a:lnTo>
                        <a:lnTo>
                          <a:pt x="306" y="408"/>
                        </a:lnTo>
                        <a:lnTo>
                          <a:pt x="306" y="378"/>
                        </a:lnTo>
                        <a:lnTo>
                          <a:pt x="294" y="354"/>
                        </a:lnTo>
                        <a:lnTo>
                          <a:pt x="270" y="330"/>
                        </a:lnTo>
                        <a:lnTo>
                          <a:pt x="264" y="318"/>
                        </a:lnTo>
                        <a:lnTo>
                          <a:pt x="258" y="312"/>
                        </a:lnTo>
                        <a:lnTo>
                          <a:pt x="258" y="288"/>
                        </a:lnTo>
                        <a:lnTo>
                          <a:pt x="252" y="276"/>
                        </a:lnTo>
                        <a:lnTo>
                          <a:pt x="246" y="270"/>
                        </a:lnTo>
                        <a:lnTo>
                          <a:pt x="246" y="258"/>
                        </a:lnTo>
                        <a:lnTo>
                          <a:pt x="252" y="252"/>
                        </a:lnTo>
                        <a:lnTo>
                          <a:pt x="252" y="126"/>
                        </a:lnTo>
                        <a:lnTo>
                          <a:pt x="246" y="114"/>
                        </a:lnTo>
                        <a:lnTo>
                          <a:pt x="222" y="90"/>
                        </a:lnTo>
                        <a:lnTo>
                          <a:pt x="204" y="84"/>
                        </a:lnTo>
                        <a:lnTo>
                          <a:pt x="192" y="72"/>
                        </a:lnTo>
                        <a:lnTo>
                          <a:pt x="180" y="66"/>
                        </a:lnTo>
                        <a:lnTo>
                          <a:pt x="156" y="42"/>
                        </a:lnTo>
                        <a:lnTo>
                          <a:pt x="150" y="54"/>
                        </a:lnTo>
                        <a:lnTo>
                          <a:pt x="144" y="60"/>
                        </a:lnTo>
                        <a:lnTo>
                          <a:pt x="138" y="72"/>
                        </a:lnTo>
                        <a:lnTo>
                          <a:pt x="138" y="78"/>
                        </a:lnTo>
                        <a:lnTo>
                          <a:pt x="132" y="84"/>
                        </a:lnTo>
                        <a:lnTo>
                          <a:pt x="114" y="66"/>
                        </a:lnTo>
                        <a:lnTo>
                          <a:pt x="108" y="66"/>
                        </a:lnTo>
                        <a:lnTo>
                          <a:pt x="102" y="72"/>
                        </a:lnTo>
                        <a:lnTo>
                          <a:pt x="90" y="72"/>
                        </a:lnTo>
                        <a:lnTo>
                          <a:pt x="90" y="78"/>
                        </a:lnTo>
                        <a:lnTo>
                          <a:pt x="72" y="78"/>
                        </a:lnTo>
                        <a:lnTo>
                          <a:pt x="66" y="72"/>
                        </a:lnTo>
                        <a:lnTo>
                          <a:pt x="66" y="66"/>
                        </a:lnTo>
                        <a:lnTo>
                          <a:pt x="78" y="54"/>
                        </a:lnTo>
                        <a:lnTo>
                          <a:pt x="78" y="42"/>
                        </a:lnTo>
                        <a:lnTo>
                          <a:pt x="66" y="42"/>
                        </a:lnTo>
                        <a:lnTo>
                          <a:pt x="66" y="30"/>
                        </a:lnTo>
                        <a:lnTo>
                          <a:pt x="60" y="24"/>
                        </a:lnTo>
                        <a:lnTo>
                          <a:pt x="48" y="18"/>
                        </a:lnTo>
                        <a:lnTo>
                          <a:pt x="30" y="18"/>
                        </a:lnTo>
                        <a:lnTo>
                          <a:pt x="30" y="12"/>
                        </a:lnTo>
                        <a:lnTo>
                          <a:pt x="24" y="0"/>
                        </a:lnTo>
                        <a:lnTo>
                          <a:pt x="12" y="0"/>
                        </a:lnTo>
                        <a:lnTo>
                          <a:pt x="6" y="6"/>
                        </a:lnTo>
                        <a:lnTo>
                          <a:pt x="6" y="18"/>
                        </a:lnTo>
                        <a:lnTo>
                          <a:pt x="12" y="24"/>
                        </a:lnTo>
                        <a:lnTo>
                          <a:pt x="6" y="36"/>
                        </a:lnTo>
                        <a:lnTo>
                          <a:pt x="0" y="4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94" name="AutoShape 77"/>
                  <p:cNvSpPr>
                    <a:spLocks/>
                  </p:cNvSpPr>
                  <p:nvPr/>
                </p:nvSpPr>
                <p:spPr bwMode="gray">
                  <a:xfrm>
                    <a:off x="4653" y="2158"/>
                    <a:ext cx="176" cy="135"/>
                  </a:xfrm>
                  <a:custGeom>
                    <a:avLst/>
                    <a:gdLst>
                      <a:gd name="T0" fmla="*/ 2147483647 w 690"/>
                      <a:gd name="T1" fmla="*/ 2147483647 h 528"/>
                      <a:gd name="T2" fmla="*/ 2147483647 w 690"/>
                      <a:gd name="T3" fmla="*/ 2147483647 h 528"/>
                      <a:gd name="T4" fmla="*/ 2147483647 w 690"/>
                      <a:gd name="T5" fmla="*/ 2147483647 h 528"/>
                      <a:gd name="T6" fmla="*/ 2147483647 w 690"/>
                      <a:gd name="T7" fmla="*/ 2147483647 h 528"/>
                      <a:gd name="T8" fmla="*/ 2147483647 w 690"/>
                      <a:gd name="T9" fmla="*/ 2147483647 h 528"/>
                      <a:gd name="T10" fmla="*/ 2147483647 w 690"/>
                      <a:gd name="T11" fmla="*/ 2147483647 h 528"/>
                      <a:gd name="T12" fmla="*/ 2147483647 w 690"/>
                      <a:gd name="T13" fmla="*/ 2147483647 h 528"/>
                      <a:gd name="T14" fmla="*/ 2147483647 w 690"/>
                      <a:gd name="T15" fmla="*/ 2147483647 h 528"/>
                      <a:gd name="T16" fmla="*/ 2147483647 w 690"/>
                      <a:gd name="T17" fmla="*/ 2147483647 h 528"/>
                      <a:gd name="T18" fmla="*/ 2147483647 w 690"/>
                      <a:gd name="T19" fmla="*/ 2147483647 h 528"/>
                      <a:gd name="T20" fmla="*/ 2147483647 w 690"/>
                      <a:gd name="T21" fmla="*/ 2147483647 h 528"/>
                      <a:gd name="T22" fmla="*/ 2147483647 w 690"/>
                      <a:gd name="T23" fmla="*/ 2147483647 h 528"/>
                      <a:gd name="T24" fmla="*/ 2147483647 w 690"/>
                      <a:gd name="T25" fmla="*/ 2147483647 h 528"/>
                      <a:gd name="T26" fmla="*/ 2147483647 w 690"/>
                      <a:gd name="T27" fmla="*/ 2147483647 h 528"/>
                      <a:gd name="T28" fmla="*/ 2147483647 w 690"/>
                      <a:gd name="T29" fmla="*/ 2147483647 h 528"/>
                      <a:gd name="T30" fmla="*/ 2147483647 w 690"/>
                      <a:gd name="T31" fmla="*/ 2147483647 h 528"/>
                      <a:gd name="T32" fmla="*/ 2147483647 w 690"/>
                      <a:gd name="T33" fmla="*/ 2147483647 h 528"/>
                      <a:gd name="T34" fmla="*/ 2147483647 w 690"/>
                      <a:gd name="T35" fmla="*/ 2147483647 h 528"/>
                      <a:gd name="T36" fmla="*/ 2147483647 w 690"/>
                      <a:gd name="T37" fmla="*/ 2147483647 h 528"/>
                      <a:gd name="T38" fmla="*/ 2147483647 w 690"/>
                      <a:gd name="T39" fmla="*/ 2147483647 h 528"/>
                      <a:gd name="T40" fmla="*/ 2147483647 w 690"/>
                      <a:gd name="T41" fmla="*/ 2147483647 h 528"/>
                      <a:gd name="T42" fmla="*/ 2147483647 w 690"/>
                      <a:gd name="T43" fmla="*/ 2147483647 h 528"/>
                      <a:gd name="T44" fmla="*/ 2147483647 w 690"/>
                      <a:gd name="T45" fmla="*/ 2147483647 h 528"/>
                      <a:gd name="T46" fmla="*/ 2147483647 w 690"/>
                      <a:gd name="T47" fmla="*/ 2147483647 h 528"/>
                      <a:gd name="T48" fmla="*/ 2147483647 w 690"/>
                      <a:gd name="T49" fmla="*/ 2147483647 h 528"/>
                      <a:gd name="T50" fmla="*/ 2147483647 w 690"/>
                      <a:gd name="T51" fmla="*/ 2147483647 h 528"/>
                      <a:gd name="T52" fmla="*/ 2147483647 w 690"/>
                      <a:gd name="T53" fmla="*/ 2147483647 h 528"/>
                      <a:gd name="T54" fmla="*/ 2147483647 w 690"/>
                      <a:gd name="T55" fmla="*/ 2147483647 h 528"/>
                      <a:gd name="T56" fmla="*/ 2147483647 w 690"/>
                      <a:gd name="T57" fmla="*/ 2147483647 h 528"/>
                      <a:gd name="T58" fmla="*/ 2147483647 w 690"/>
                      <a:gd name="T59" fmla="*/ 2147483647 h 528"/>
                      <a:gd name="T60" fmla="*/ 2147483647 w 690"/>
                      <a:gd name="T61" fmla="*/ 2147483647 h 528"/>
                      <a:gd name="T62" fmla="*/ 2147483647 w 690"/>
                      <a:gd name="T63" fmla="*/ 2147483647 h 528"/>
                      <a:gd name="T64" fmla="*/ 2147483647 w 690"/>
                      <a:gd name="T65" fmla="*/ 2147483647 h 528"/>
                      <a:gd name="T66" fmla="*/ 2147483647 w 690"/>
                      <a:gd name="T67" fmla="*/ 2147483647 h 528"/>
                      <a:gd name="T68" fmla="*/ 2147483647 w 690"/>
                      <a:gd name="T69" fmla="*/ 2147483647 h 528"/>
                      <a:gd name="T70" fmla="*/ 2147483647 w 690"/>
                      <a:gd name="T71" fmla="*/ 0 h 528"/>
                      <a:gd name="T72" fmla="*/ 2147483647 w 690"/>
                      <a:gd name="T73" fmla="*/ 0 h 528"/>
                      <a:gd name="T74" fmla="*/ 2147483647 w 690"/>
                      <a:gd name="T75" fmla="*/ 2147483647 h 528"/>
                      <a:gd name="T76" fmla="*/ 2147483647 w 690"/>
                      <a:gd name="T77" fmla="*/ 2147483647 h 528"/>
                      <a:gd name="T78" fmla="*/ 2147483647 w 690"/>
                      <a:gd name="T79" fmla="*/ 2147483647 h 528"/>
                      <a:gd name="T80" fmla="*/ 2147483647 w 690"/>
                      <a:gd name="T81" fmla="*/ 2147483647 h 528"/>
                      <a:gd name="T82" fmla="*/ 2147483647 w 690"/>
                      <a:gd name="T83" fmla="*/ 2147483647 h 528"/>
                      <a:gd name="T84" fmla="*/ 2147483647 w 690"/>
                      <a:gd name="T85" fmla="*/ 2147483647 h 528"/>
                      <a:gd name="T86" fmla="*/ 2147483647 w 690"/>
                      <a:gd name="T87" fmla="*/ 2147483647 h 528"/>
                      <a:gd name="T88" fmla="*/ 2147483647 w 690"/>
                      <a:gd name="T89" fmla="*/ 2147483647 h 528"/>
                      <a:gd name="T90" fmla="*/ 2147483647 w 690"/>
                      <a:gd name="T91" fmla="*/ 2147483647 h 528"/>
                      <a:gd name="T92" fmla="*/ 2147483647 w 690"/>
                      <a:gd name="T93" fmla="*/ 2147483647 h 528"/>
                      <a:gd name="T94" fmla="*/ 2147483647 w 690"/>
                      <a:gd name="T95" fmla="*/ 2147483647 h 528"/>
                      <a:gd name="T96" fmla="*/ 2147483647 w 690"/>
                      <a:gd name="T97" fmla="*/ 2147483647 h 528"/>
                      <a:gd name="T98" fmla="*/ 2147483647 w 690"/>
                      <a:gd name="T99" fmla="*/ 2147483647 h 528"/>
                      <a:gd name="T100" fmla="*/ 2147483647 w 690"/>
                      <a:gd name="T101" fmla="*/ 2147483647 h 528"/>
                      <a:gd name="T102" fmla="*/ 2147483647 w 690"/>
                      <a:gd name="T103" fmla="*/ 2147483647 h 528"/>
                      <a:gd name="T104" fmla="*/ 2147483647 w 690"/>
                      <a:gd name="T105" fmla="*/ 2147483647 h 528"/>
                      <a:gd name="T106" fmla="*/ 2147483647 w 690"/>
                      <a:gd name="T107" fmla="*/ 2147483647 h 528"/>
                      <a:gd name="T108" fmla="*/ 2147483647 w 690"/>
                      <a:gd name="T109" fmla="*/ 2147483647 h 528"/>
                      <a:gd name="T110" fmla="*/ 2147483647 w 690"/>
                      <a:gd name="T111" fmla="*/ 2147483647 h 528"/>
                      <a:gd name="T112" fmla="*/ 2147483647 w 690"/>
                      <a:gd name="T113" fmla="*/ 2147483647 h 528"/>
                      <a:gd name="T114" fmla="*/ 0 w 690"/>
                      <a:gd name="T115" fmla="*/ 2147483647 h 52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90"/>
                      <a:gd name="T175" fmla="*/ 0 h 528"/>
                      <a:gd name="T176" fmla="*/ 690 w 690"/>
                      <a:gd name="T177" fmla="*/ 528 h 528"/>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90" h="528">
                        <a:moveTo>
                          <a:pt x="12" y="504"/>
                        </a:moveTo>
                        <a:lnTo>
                          <a:pt x="24" y="510"/>
                        </a:lnTo>
                        <a:lnTo>
                          <a:pt x="30" y="516"/>
                        </a:lnTo>
                        <a:lnTo>
                          <a:pt x="54" y="528"/>
                        </a:lnTo>
                        <a:lnTo>
                          <a:pt x="60" y="528"/>
                        </a:lnTo>
                        <a:lnTo>
                          <a:pt x="78" y="510"/>
                        </a:lnTo>
                        <a:lnTo>
                          <a:pt x="102" y="510"/>
                        </a:lnTo>
                        <a:lnTo>
                          <a:pt x="120" y="516"/>
                        </a:lnTo>
                        <a:lnTo>
                          <a:pt x="144" y="516"/>
                        </a:lnTo>
                        <a:lnTo>
                          <a:pt x="174" y="486"/>
                        </a:lnTo>
                        <a:lnTo>
                          <a:pt x="180" y="474"/>
                        </a:lnTo>
                        <a:lnTo>
                          <a:pt x="222" y="474"/>
                        </a:lnTo>
                        <a:lnTo>
                          <a:pt x="234" y="486"/>
                        </a:lnTo>
                        <a:lnTo>
                          <a:pt x="258" y="498"/>
                        </a:lnTo>
                        <a:lnTo>
                          <a:pt x="264" y="504"/>
                        </a:lnTo>
                        <a:lnTo>
                          <a:pt x="270" y="504"/>
                        </a:lnTo>
                        <a:lnTo>
                          <a:pt x="282" y="492"/>
                        </a:lnTo>
                        <a:lnTo>
                          <a:pt x="294" y="486"/>
                        </a:lnTo>
                        <a:lnTo>
                          <a:pt x="300" y="480"/>
                        </a:lnTo>
                        <a:lnTo>
                          <a:pt x="324" y="480"/>
                        </a:lnTo>
                        <a:lnTo>
                          <a:pt x="354" y="444"/>
                        </a:lnTo>
                        <a:lnTo>
                          <a:pt x="348" y="432"/>
                        </a:lnTo>
                        <a:lnTo>
                          <a:pt x="384" y="402"/>
                        </a:lnTo>
                        <a:lnTo>
                          <a:pt x="378" y="390"/>
                        </a:lnTo>
                        <a:lnTo>
                          <a:pt x="372" y="384"/>
                        </a:lnTo>
                        <a:lnTo>
                          <a:pt x="372" y="360"/>
                        </a:lnTo>
                        <a:lnTo>
                          <a:pt x="378" y="354"/>
                        </a:lnTo>
                        <a:lnTo>
                          <a:pt x="396" y="354"/>
                        </a:lnTo>
                        <a:lnTo>
                          <a:pt x="402" y="342"/>
                        </a:lnTo>
                        <a:lnTo>
                          <a:pt x="402" y="336"/>
                        </a:lnTo>
                        <a:lnTo>
                          <a:pt x="408" y="318"/>
                        </a:lnTo>
                        <a:lnTo>
                          <a:pt x="408" y="264"/>
                        </a:lnTo>
                        <a:lnTo>
                          <a:pt x="414" y="252"/>
                        </a:lnTo>
                        <a:lnTo>
                          <a:pt x="420" y="246"/>
                        </a:lnTo>
                        <a:lnTo>
                          <a:pt x="516" y="246"/>
                        </a:lnTo>
                        <a:lnTo>
                          <a:pt x="540" y="270"/>
                        </a:lnTo>
                        <a:lnTo>
                          <a:pt x="552" y="276"/>
                        </a:lnTo>
                        <a:lnTo>
                          <a:pt x="558" y="282"/>
                        </a:lnTo>
                        <a:lnTo>
                          <a:pt x="576" y="276"/>
                        </a:lnTo>
                        <a:lnTo>
                          <a:pt x="564" y="216"/>
                        </a:lnTo>
                        <a:lnTo>
                          <a:pt x="576" y="222"/>
                        </a:lnTo>
                        <a:lnTo>
                          <a:pt x="582" y="234"/>
                        </a:lnTo>
                        <a:lnTo>
                          <a:pt x="594" y="240"/>
                        </a:lnTo>
                        <a:lnTo>
                          <a:pt x="636" y="240"/>
                        </a:lnTo>
                        <a:lnTo>
                          <a:pt x="630" y="234"/>
                        </a:lnTo>
                        <a:lnTo>
                          <a:pt x="624" y="222"/>
                        </a:lnTo>
                        <a:lnTo>
                          <a:pt x="618" y="216"/>
                        </a:lnTo>
                        <a:lnTo>
                          <a:pt x="606" y="192"/>
                        </a:lnTo>
                        <a:lnTo>
                          <a:pt x="606" y="186"/>
                        </a:lnTo>
                        <a:lnTo>
                          <a:pt x="612" y="180"/>
                        </a:lnTo>
                        <a:lnTo>
                          <a:pt x="624" y="180"/>
                        </a:lnTo>
                        <a:lnTo>
                          <a:pt x="642" y="186"/>
                        </a:lnTo>
                        <a:lnTo>
                          <a:pt x="654" y="186"/>
                        </a:lnTo>
                        <a:lnTo>
                          <a:pt x="660" y="192"/>
                        </a:lnTo>
                        <a:lnTo>
                          <a:pt x="666" y="192"/>
                        </a:lnTo>
                        <a:lnTo>
                          <a:pt x="690" y="162"/>
                        </a:lnTo>
                        <a:lnTo>
                          <a:pt x="666" y="156"/>
                        </a:lnTo>
                        <a:lnTo>
                          <a:pt x="660" y="144"/>
                        </a:lnTo>
                        <a:lnTo>
                          <a:pt x="642" y="126"/>
                        </a:lnTo>
                        <a:lnTo>
                          <a:pt x="630" y="120"/>
                        </a:lnTo>
                        <a:lnTo>
                          <a:pt x="612" y="120"/>
                        </a:lnTo>
                        <a:lnTo>
                          <a:pt x="600" y="114"/>
                        </a:lnTo>
                        <a:lnTo>
                          <a:pt x="588" y="114"/>
                        </a:lnTo>
                        <a:lnTo>
                          <a:pt x="588" y="108"/>
                        </a:lnTo>
                        <a:lnTo>
                          <a:pt x="582" y="102"/>
                        </a:lnTo>
                        <a:lnTo>
                          <a:pt x="582" y="90"/>
                        </a:lnTo>
                        <a:lnTo>
                          <a:pt x="576" y="78"/>
                        </a:lnTo>
                        <a:lnTo>
                          <a:pt x="564" y="66"/>
                        </a:lnTo>
                        <a:lnTo>
                          <a:pt x="540" y="54"/>
                        </a:lnTo>
                        <a:lnTo>
                          <a:pt x="534" y="60"/>
                        </a:lnTo>
                        <a:lnTo>
                          <a:pt x="528" y="60"/>
                        </a:lnTo>
                        <a:lnTo>
                          <a:pt x="510" y="0"/>
                        </a:lnTo>
                        <a:lnTo>
                          <a:pt x="504" y="18"/>
                        </a:lnTo>
                        <a:lnTo>
                          <a:pt x="492" y="0"/>
                        </a:lnTo>
                        <a:lnTo>
                          <a:pt x="480" y="60"/>
                        </a:lnTo>
                        <a:lnTo>
                          <a:pt x="468" y="66"/>
                        </a:lnTo>
                        <a:lnTo>
                          <a:pt x="462" y="66"/>
                        </a:lnTo>
                        <a:lnTo>
                          <a:pt x="450" y="72"/>
                        </a:lnTo>
                        <a:lnTo>
                          <a:pt x="438" y="96"/>
                        </a:lnTo>
                        <a:lnTo>
                          <a:pt x="438" y="114"/>
                        </a:lnTo>
                        <a:lnTo>
                          <a:pt x="408" y="126"/>
                        </a:lnTo>
                        <a:lnTo>
                          <a:pt x="420" y="162"/>
                        </a:lnTo>
                        <a:lnTo>
                          <a:pt x="408" y="162"/>
                        </a:lnTo>
                        <a:lnTo>
                          <a:pt x="390" y="156"/>
                        </a:lnTo>
                        <a:lnTo>
                          <a:pt x="378" y="156"/>
                        </a:lnTo>
                        <a:lnTo>
                          <a:pt x="360" y="150"/>
                        </a:lnTo>
                        <a:lnTo>
                          <a:pt x="354" y="150"/>
                        </a:lnTo>
                        <a:lnTo>
                          <a:pt x="342" y="156"/>
                        </a:lnTo>
                        <a:lnTo>
                          <a:pt x="342" y="168"/>
                        </a:lnTo>
                        <a:lnTo>
                          <a:pt x="336" y="180"/>
                        </a:lnTo>
                        <a:lnTo>
                          <a:pt x="336" y="204"/>
                        </a:lnTo>
                        <a:lnTo>
                          <a:pt x="294" y="246"/>
                        </a:lnTo>
                        <a:lnTo>
                          <a:pt x="294" y="258"/>
                        </a:lnTo>
                        <a:lnTo>
                          <a:pt x="282" y="294"/>
                        </a:lnTo>
                        <a:lnTo>
                          <a:pt x="276" y="306"/>
                        </a:lnTo>
                        <a:lnTo>
                          <a:pt x="264" y="318"/>
                        </a:lnTo>
                        <a:lnTo>
                          <a:pt x="228" y="336"/>
                        </a:lnTo>
                        <a:lnTo>
                          <a:pt x="186" y="342"/>
                        </a:lnTo>
                        <a:lnTo>
                          <a:pt x="162" y="348"/>
                        </a:lnTo>
                        <a:lnTo>
                          <a:pt x="156" y="354"/>
                        </a:lnTo>
                        <a:lnTo>
                          <a:pt x="132" y="366"/>
                        </a:lnTo>
                        <a:lnTo>
                          <a:pt x="114" y="384"/>
                        </a:lnTo>
                        <a:lnTo>
                          <a:pt x="102" y="390"/>
                        </a:lnTo>
                        <a:lnTo>
                          <a:pt x="84" y="426"/>
                        </a:lnTo>
                        <a:lnTo>
                          <a:pt x="102" y="444"/>
                        </a:lnTo>
                        <a:lnTo>
                          <a:pt x="102" y="462"/>
                        </a:lnTo>
                        <a:lnTo>
                          <a:pt x="96" y="474"/>
                        </a:lnTo>
                        <a:lnTo>
                          <a:pt x="84" y="480"/>
                        </a:lnTo>
                        <a:lnTo>
                          <a:pt x="72" y="480"/>
                        </a:lnTo>
                        <a:lnTo>
                          <a:pt x="48" y="468"/>
                        </a:lnTo>
                        <a:lnTo>
                          <a:pt x="42" y="462"/>
                        </a:lnTo>
                        <a:lnTo>
                          <a:pt x="30" y="456"/>
                        </a:lnTo>
                        <a:lnTo>
                          <a:pt x="24" y="456"/>
                        </a:lnTo>
                        <a:lnTo>
                          <a:pt x="12" y="462"/>
                        </a:lnTo>
                        <a:lnTo>
                          <a:pt x="0" y="474"/>
                        </a:lnTo>
                        <a:lnTo>
                          <a:pt x="0" y="492"/>
                        </a:lnTo>
                        <a:lnTo>
                          <a:pt x="12" y="50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95" name="Malawi"/>
                  <p:cNvSpPr>
                    <a:spLocks/>
                  </p:cNvSpPr>
                  <p:nvPr/>
                </p:nvSpPr>
                <p:spPr bwMode="gray">
                  <a:xfrm>
                    <a:off x="3244" y="2504"/>
                    <a:ext cx="60" cy="160"/>
                  </a:xfrm>
                  <a:custGeom>
                    <a:avLst/>
                    <a:gdLst>
                      <a:gd name="T0" fmla="*/ 2147483647 w 234"/>
                      <a:gd name="T1" fmla="*/ 2147483647 h 624"/>
                      <a:gd name="T2" fmla="*/ 2147483647 w 234"/>
                      <a:gd name="T3" fmla="*/ 2147483647 h 624"/>
                      <a:gd name="T4" fmla="*/ 2147483647 w 234"/>
                      <a:gd name="T5" fmla="*/ 2147483647 h 624"/>
                      <a:gd name="T6" fmla="*/ 2147483647 w 234"/>
                      <a:gd name="T7" fmla="*/ 2147483647 h 624"/>
                      <a:gd name="T8" fmla="*/ 2147483647 w 234"/>
                      <a:gd name="T9" fmla="*/ 2147483647 h 624"/>
                      <a:gd name="T10" fmla="*/ 2147483647 w 234"/>
                      <a:gd name="T11" fmla="*/ 2147483647 h 624"/>
                      <a:gd name="T12" fmla="*/ 2147483647 w 234"/>
                      <a:gd name="T13" fmla="*/ 2147483647 h 624"/>
                      <a:gd name="T14" fmla="*/ 2147483647 w 234"/>
                      <a:gd name="T15" fmla="*/ 2147483647 h 624"/>
                      <a:gd name="T16" fmla="*/ 2147483647 w 234"/>
                      <a:gd name="T17" fmla="*/ 2147483647 h 624"/>
                      <a:gd name="T18" fmla="*/ 2147483647 w 234"/>
                      <a:gd name="T19" fmla="*/ 2147483647 h 624"/>
                      <a:gd name="T20" fmla="*/ 2147483647 w 234"/>
                      <a:gd name="T21" fmla="*/ 2147483647 h 624"/>
                      <a:gd name="T22" fmla="*/ 2147483647 w 234"/>
                      <a:gd name="T23" fmla="*/ 2147483647 h 624"/>
                      <a:gd name="T24" fmla="*/ 2147483647 w 234"/>
                      <a:gd name="T25" fmla="*/ 2147483647 h 624"/>
                      <a:gd name="T26" fmla="*/ 2147483647 w 234"/>
                      <a:gd name="T27" fmla="*/ 2147483647 h 624"/>
                      <a:gd name="T28" fmla="*/ 2147483647 w 234"/>
                      <a:gd name="T29" fmla="*/ 2147483647 h 624"/>
                      <a:gd name="T30" fmla="*/ 2147483647 w 234"/>
                      <a:gd name="T31" fmla="*/ 2147483647 h 624"/>
                      <a:gd name="T32" fmla="*/ 2147483647 w 234"/>
                      <a:gd name="T33" fmla="*/ 2147483647 h 624"/>
                      <a:gd name="T34" fmla="*/ 2147483647 w 234"/>
                      <a:gd name="T35" fmla="*/ 2147483647 h 624"/>
                      <a:gd name="T36" fmla="*/ 2147483647 w 234"/>
                      <a:gd name="T37" fmla="*/ 2147483647 h 624"/>
                      <a:gd name="T38" fmla="*/ 2147483647 w 234"/>
                      <a:gd name="T39" fmla="*/ 2147483647 h 624"/>
                      <a:gd name="T40" fmla="*/ 2147483647 w 234"/>
                      <a:gd name="T41" fmla="*/ 2147483647 h 624"/>
                      <a:gd name="T42" fmla="*/ 2147483647 w 234"/>
                      <a:gd name="T43" fmla="*/ 2147483647 h 624"/>
                      <a:gd name="T44" fmla="*/ 2147483647 w 234"/>
                      <a:gd name="T45" fmla="*/ 2147483647 h 624"/>
                      <a:gd name="T46" fmla="*/ 2147483647 w 234"/>
                      <a:gd name="T47" fmla="*/ 0 h 624"/>
                      <a:gd name="T48" fmla="*/ 2147483647 w 234"/>
                      <a:gd name="T49" fmla="*/ 2147483647 h 624"/>
                      <a:gd name="T50" fmla="*/ 2147483647 w 234"/>
                      <a:gd name="T51" fmla="*/ 2147483647 h 624"/>
                      <a:gd name="T52" fmla="*/ 2147483647 w 234"/>
                      <a:gd name="T53" fmla="*/ 2147483647 h 624"/>
                      <a:gd name="T54" fmla="*/ 2147483647 w 234"/>
                      <a:gd name="T55" fmla="*/ 2147483647 h 624"/>
                      <a:gd name="T56" fmla="*/ 2147483647 w 234"/>
                      <a:gd name="T57" fmla="*/ 2147483647 h 624"/>
                      <a:gd name="T58" fmla="*/ 2147483647 w 234"/>
                      <a:gd name="T59" fmla="*/ 2147483647 h 624"/>
                      <a:gd name="T60" fmla="*/ 2147483647 w 234"/>
                      <a:gd name="T61" fmla="*/ 2147483647 h 624"/>
                      <a:gd name="T62" fmla="*/ 2147483647 w 234"/>
                      <a:gd name="T63" fmla="*/ 2147483647 h 624"/>
                      <a:gd name="T64" fmla="*/ 2147483647 w 234"/>
                      <a:gd name="T65" fmla="*/ 2147483647 h 624"/>
                      <a:gd name="T66" fmla="*/ 2147483647 w 234"/>
                      <a:gd name="T67" fmla="*/ 2147483647 h 624"/>
                      <a:gd name="T68" fmla="*/ 2147483647 w 234"/>
                      <a:gd name="T69" fmla="*/ 2147483647 h 624"/>
                      <a:gd name="T70" fmla="*/ 2147483647 w 234"/>
                      <a:gd name="T71" fmla="*/ 2147483647 h 624"/>
                      <a:gd name="T72" fmla="*/ 2147483647 w 234"/>
                      <a:gd name="T73" fmla="*/ 2147483647 h 624"/>
                      <a:gd name="T74" fmla="*/ 0 w 234"/>
                      <a:gd name="T75" fmla="*/ 2147483647 h 624"/>
                      <a:gd name="T76" fmla="*/ 2147483647 w 234"/>
                      <a:gd name="T77" fmla="*/ 2147483647 h 624"/>
                      <a:gd name="T78" fmla="*/ 2147483647 w 234"/>
                      <a:gd name="T79" fmla="*/ 2147483647 h 624"/>
                      <a:gd name="T80" fmla="*/ 2147483647 w 234"/>
                      <a:gd name="T81" fmla="*/ 2147483647 h 624"/>
                      <a:gd name="T82" fmla="*/ 2147483647 w 234"/>
                      <a:gd name="T83" fmla="*/ 2147483647 h 624"/>
                      <a:gd name="T84" fmla="*/ 2147483647 w 234"/>
                      <a:gd name="T85" fmla="*/ 2147483647 h 624"/>
                      <a:gd name="T86" fmla="*/ 2147483647 w 234"/>
                      <a:gd name="T87" fmla="*/ 2147483647 h 624"/>
                      <a:gd name="T88" fmla="*/ 2147483647 w 234"/>
                      <a:gd name="T89" fmla="*/ 2147483647 h 624"/>
                      <a:gd name="T90" fmla="*/ 2147483647 w 234"/>
                      <a:gd name="T91" fmla="*/ 2147483647 h 624"/>
                      <a:gd name="T92" fmla="*/ 2147483647 w 234"/>
                      <a:gd name="T93" fmla="*/ 2147483647 h 624"/>
                      <a:gd name="T94" fmla="*/ 2147483647 w 234"/>
                      <a:gd name="T95" fmla="*/ 2147483647 h 624"/>
                      <a:gd name="T96" fmla="*/ 2147483647 w 234"/>
                      <a:gd name="T97" fmla="*/ 2147483647 h 624"/>
                      <a:gd name="T98" fmla="*/ 2147483647 w 234"/>
                      <a:gd name="T99" fmla="*/ 2147483647 h 624"/>
                      <a:gd name="T100" fmla="*/ 2147483647 w 234"/>
                      <a:gd name="T101" fmla="*/ 2147483647 h 624"/>
                      <a:gd name="T102" fmla="*/ 2147483647 w 234"/>
                      <a:gd name="T103" fmla="*/ 2147483647 h 624"/>
                      <a:gd name="T104" fmla="*/ 2147483647 w 234"/>
                      <a:gd name="T105" fmla="*/ 2147483647 h 624"/>
                      <a:gd name="T106" fmla="*/ 2147483647 w 234"/>
                      <a:gd name="T107" fmla="*/ 2147483647 h 624"/>
                      <a:gd name="T108" fmla="*/ 2147483647 w 234"/>
                      <a:gd name="T109" fmla="*/ 2147483647 h 624"/>
                      <a:gd name="T110" fmla="*/ 2147483647 w 234"/>
                      <a:gd name="T111" fmla="*/ 2147483647 h 624"/>
                      <a:gd name="T112" fmla="*/ 2147483647 w 234"/>
                      <a:gd name="T113" fmla="*/ 2147483647 h 624"/>
                      <a:gd name="T114" fmla="*/ 2147483647 w 234"/>
                      <a:gd name="T115" fmla="*/ 2147483647 h 624"/>
                      <a:gd name="T116" fmla="*/ 2147483647 w 234"/>
                      <a:gd name="T117" fmla="*/ 2147483647 h 6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34"/>
                      <a:gd name="T178" fmla="*/ 0 h 624"/>
                      <a:gd name="T179" fmla="*/ 234 w 234"/>
                      <a:gd name="T180" fmla="*/ 624 h 6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34" h="624">
                        <a:moveTo>
                          <a:pt x="234" y="432"/>
                        </a:moveTo>
                        <a:lnTo>
                          <a:pt x="222" y="420"/>
                        </a:lnTo>
                        <a:lnTo>
                          <a:pt x="210" y="402"/>
                        </a:lnTo>
                        <a:lnTo>
                          <a:pt x="204" y="390"/>
                        </a:lnTo>
                        <a:lnTo>
                          <a:pt x="198" y="384"/>
                        </a:lnTo>
                        <a:lnTo>
                          <a:pt x="186" y="360"/>
                        </a:lnTo>
                        <a:lnTo>
                          <a:pt x="162" y="336"/>
                        </a:lnTo>
                        <a:lnTo>
                          <a:pt x="156" y="336"/>
                        </a:lnTo>
                        <a:lnTo>
                          <a:pt x="156" y="330"/>
                        </a:lnTo>
                        <a:lnTo>
                          <a:pt x="150" y="330"/>
                        </a:lnTo>
                        <a:lnTo>
                          <a:pt x="150" y="342"/>
                        </a:lnTo>
                        <a:lnTo>
                          <a:pt x="156" y="342"/>
                        </a:lnTo>
                        <a:lnTo>
                          <a:pt x="168" y="354"/>
                        </a:lnTo>
                        <a:lnTo>
                          <a:pt x="168" y="366"/>
                        </a:lnTo>
                        <a:lnTo>
                          <a:pt x="174" y="378"/>
                        </a:lnTo>
                        <a:lnTo>
                          <a:pt x="174" y="390"/>
                        </a:lnTo>
                        <a:lnTo>
                          <a:pt x="168" y="396"/>
                        </a:lnTo>
                        <a:lnTo>
                          <a:pt x="162" y="396"/>
                        </a:lnTo>
                        <a:lnTo>
                          <a:pt x="162" y="390"/>
                        </a:lnTo>
                        <a:lnTo>
                          <a:pt x="156" y="384"/>
                        </a:lnTo>
                        <a:lnTo>
                          <a:pt x="156" y="378"/>
                        </a:lnTo>
                        <a:lnTo>
                          <a:pt x="144" y="384"/>
                        </a:lnTo>
                        <a:lnTo>
                          <a:pt x="132" y="384"/>
                        </a:lnTo>
                        <a:lnTo>
                          <a:pt x="132" y="360"/>
                        </a:lnTo>
                        <a:lnTo>
                          <a:pt x="126" y="354"/>
                        </a:lnTo>
                        <a:lnTo>
                          <a:pt x="126" y="342"/>
                        </a:lnTo>
                        <a:lnTo>
                          <a:pt x="120" y="330"/>
                        </a:lnTo>
                        <a:lnTo>
                          <a:pt x="120" y="282"/>
                        </a:lnTo>
                        <a:lnTo>
                          <a:pt x="84" y="246"/>
                        </a:lnTo>
                        <a:lnTo>
                          <a:pt x="90" y="240"/>
                        </a:lnTo>
                        <a:lnTo>
                          <a:pt x="90" y="222"/>
                        </a:lnTo>
                        <a:lnTo>
                          <a:pt x="96" y="210"/>
                        </a:lnTo>
                        <a:lnTo>
                          <a:pt x="114" y="192"/>
                        </a:lnTo>
                        <a:lnTo>
                          <a:pt x="120" y="180"/>
                        </a:lnTo>
                        <a:lnTo>
                          <a:pt x="126" y="174"/>
                        </a:lnTo>
                        <a:lnTo>
                          <a:pt x="126" y="156"/>
                        </a:lnTo>
                        <a:lnTo>
                          <a:pt x="120" y="150"/>
                        </a:lnTo>
                        <a:lnTo>
                          <a:pt x="120" y="102"/>
                        </a:lnTo>
                        <a:lnTo>
                          <a:pt x="114" y="78"/>
                        </a:lnTo>
                        <a:lnTo>
                          <a:pt x="114" y="60"/>
                        </a:lnTo>
                        <a:lnTo>
                          <a:pt x="102" y="60"/>
                        </a:lnTo>
                        <a:lnTo>
                          <a:pt x="84" y="42"/>
                        </a:lnTo>
                        <a:lnTo>
                          <a:pt x="84" y="36"/>
                        </a:lnTo>
                        <a:lnTo>
                          <a:pt x="90" y="24"/>
                        </a:lnTo>
                        <a:lnTo>
                          <a:pt x="90" y="18"/>
                        </a:lnTo>
                        <a:lnTo>
                          <a:pt x="60" y="18"/>
                        </a:lnTo>
                        <a:lnTo>
                          <a:pt x="54" y="0"/>
                        </a:lnTo>
                        <a:lnTo>
                          <a:pt x="30" y="0"/>
                        </a:lnTo>
                        <a:lnTo>
                          <a:pt x="30" y="12"/>
                        </a:lnTo>
                        <a:lnTo>
                          <a:pt x="42" y="12"/>
                        </a:lnTo>
                        <a:lnTo>
                          <a:pt x="54" y="24"/>
                        </a:lnTo>
                        <a:lnTo>
                          <a:pt x="54" y="66"/>
                        </a:lnTo>
                        <a:lnTo>
                          <a:pt x="60" y="66"/>
                        </a:lnTo>
                        <a:lnTo>
                          <a:pt x="66" y="60"/>
                        </a:lnTo>
                        <a:lnTo>
                          <a:pt x="66" y="84"/>
                        </a:lnTo>
                        <a:lnTo>
                          <a:pt x="78" y="84"/>
                        </a:lnTo>
                        <a:lnTo>
                          <a:pt x="78" y="96"/>
                        </a:lnTo>
                        <a:lnTo>
                          <a:pt x="54" y="108"/>
                        </a:lnTo>
                        <a:lnTo>
                          <a:pt x="48" y="114"/>
                        </a:lnTo>
                        <a:lnTo>
                          <a:pt x="42" y="114"/>
                        </a:lnTo>
                        <a:lnTo>
                          <a:pt x="42" y="132"/>
                        </a:lnTo>
                        <a:lnTo>
                          <a:pt x="54" y="138"/>
                        </a:lnTo>
                        <a:lnTo>
                          <a:pt x="48" y="156"/>
                        </a:lnTo>
                        <a:lnTo>
                          <a:pt x="48" y="228"/>
                        </a:lnTo>
                        <a:lnTo>
                          <a:pt x="60" y="228"/>
                        </a:lnTo>
                        <a:lnTo>
                          <a:pt x="60" y="234"/>
                        </a:lnTo>
                        <a:lnTo>
                          <a:pt x="42" y="252"/>
                        </a:lnTo>
                        <a:lnTo>
                          <a:pt x="30" y="258"/>
                        </a:lnTo>
                        <a:lnTo>
                          <a:pt x="24" y="264"/>
                        </a:lnTo>
                        <a:lnTo>
                          <a:pt x="18" y="264"/>
                        </a:lnTo>
                        <a:lnTo>
                          <a:pt x="24" y="300"/>
                        </a:lnTo>
                        <a:lnTo>
                          <a:pt x="18" y="312"/>
                        </a:lnTo>
                        <a:lnTo>
                          <a:pt x="12" y="318"/>
                        </a:lnTo>
                        <a:lnTo>
                          <a:pt x="6" y="330"/>
                        </a:lnTo>
                        <a:lnTo>
                          <a:pt x="0" y="336"/>
                        </a:lnTo>
                        <a:lnTo>
                          <a:pt x="0" y="342"/>
                        </a:lnTo>
                        <a:lnTo>
                          <a:pt x="12" y="348"/>
                        </a:lnTo>
                        <a:lnTo>
                          <a:pt x="24" y="360"/>
                        </a:lnTo>
                        <a:lnTo>
                          <a:pt x="36" y="366"/>
                        </a:lnTo>
                        <a:lnTo>
                          <a:pt x="66" y="414"/>
                        </a:lnTo>
                        <a:lnTo>
                          <a:pt x="96" y="414"/>
                        </a:lnTo>
                        <a:lnTo>
                          <a:pt x="102" y="408"/>
                        </a:lnTo>
                        <a:lnTo>
                          <a:pt x="120" y="408"/>
                        </a:lnTo>
                        <a:lnTo>
                          <a:pt x="126" y="414"/>
                        </a:lnTo>
                        <a:lnTo>
                          <a:pt x="126" y="450"/>
                        </a:lnTo>
                        <a:lnTo>
                          <a:pt x="132" y="450"/>
                        </a:lnTo>
                        <a:lnTo>
                          <a:pt x="126" y="480"/>
                        </a:lnTo>
                        <a:lnTo>
                          <a:pt x="114" y="486"/>
                        </a:lnTo>
                        <a:lnTo>
                          <a:pt x="126" y="504"/>
                        </a:lnTo>
                        <a:lnTo>
                          <a:pt x="120" y="510"/>
                        </a:lnTo>
                        <a:lnTo>
                          <a:pt x="108" y="516"/>
                        </a:lnTo>
                        <a:lnTo>
                          <a:pt x="102" y="522"/>
                        </a:lnTo>
                        <a:lnTo>
                          <a:pt x="102" y="528"/>
                        </a:lnTo>
                        <a:lnTo>
                          <a:pt x="114" y="528"/>
                        </a:lnTo>
                        <a:lnTo>
                          <a:pt x="114" y="558"/>
                        </a:lnTo>
                        <a:lnTo>
                          <a:pt x="126" y="564"/>
                        </a:lnTo>
                        <a:lnTo>
                          <a:pt x="132" y="570"/>
                        </a:lnTo>
                        <a:lnTo>
                          <a:pt x="144" y="576"/>
                        </a:lnTo>
                        <a:lnTo>
                          <a:pt x="150" y="582"/>
                        </a:lnTo>
                        <a:lnTo>
                          <a:pt x="162" y="588"/>
                        </a:lnTo>
                        <a:lnTo>
                          <a:pt x="162" y="600"/>
                        </a:lnTo>
                        <a:lnTo>
                          <a:pt x="156" y="606"/>
                        </a:lnTo>
                        <a:lnTo>
                          <a:pt x="156" y="618"/>
                        </a:lnTo>
                        <a:lnTo>
                          <a:pt x="162" y="624"/>
                        </a:lnTo>
                        <a:lnTo>
                          <a:pt x="168" y="618"/>
                        </a:lnTo>
                        <a:lnTo>
                          <a:pt x="180" y="612"/>
                        </a:lnTo>
                        <a:lnTo>
                          <a:pt x="180" y="582"/>
                        </a:lnTo>
                        <a:lnTo>
                          <a:pt x="174" y="576"/>
                        </a:lnTo>
                        <a:lnTo>
                          <a:pt x="168" y="576"/>
                        </a:lnTo>
                        <a:lnTo>
                          <a:pt x="168" y="558"/>
                        </a:lnTo>
                        <a:lnTo>
                          <a:pt x="174" y="546"/>
                        </a:lnTo>
                        <a:lnTo>
                          <a:pt x="186" y="540"/>
                        </a:lnTo>
                        <a:lnTo>
                          <a:pt x="210" y="540"/>
                        </a:lnTo>
                        <a:lnTo>
                          <a:pt x="216" y="534"/>
                        </a:lnTo>
                        <a:lnTo>
                          <a:pt x="216" y="474"/>
                        </a:lnTo>
                        <a:lnTo>
                          <a:pt x="222" y="468"/>
                        </a:lnTo>
                        <a:lnTo>
                          <a:pt x="228" y="456"/>
                        </a:lnTo>
                        <a:lnTo>
                          <a:pt x="234" y="450"/>
                        </a:lnTo>
                        <a:lnTo>
                          <a:pt x="234" y="4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96" name="Madagascar"/>
                  <p:cNvSpPr>
                    <a:spLocks/>
                  </p:cNvSpPr>
                  <p:nvPr/>
                </p:nvSpPr>
                <p:spPr bwMode="gray">
                  <a:xfrm>
                    <a:off x="3419" y="2563"/>
                    <a:ext cx="152" cy="279"/>
                  </a:xfrm>
                  <a:custGeom>
                    <a:avLst/>
                    <a:gdLst>
                      <a:gd name="T0" fmla="*/ 2147483647 w 594"/>
                      <a:gd name="T1" fmla="*/ 2147483647 h 1092"/>
                      <a:gd name="T2" fmla="*/ 2147483647 w 594"/>
                      <a:gd name="T3" fmla="*/ 2147483647 h 1092"/>
                      <a:gd name="T4" fmla="*/ 2147483647 w 594"/>
                      <a:gd name="T5" fmla="*/ 2147483647 h 1092"/>
                      <a:gd name="T6" fmla="*/ 2147483647 w 594"/>
                      <a:gd name="T7" fmla="*/ 2147483647 h 1092"/>
                      <a:gd name="T8" fmla="*/ 2147483647 w 594"/>
                      <a:gd name="T9" fmla="*/ 2147483647 h 1092"/>
                      <a:gd name="T10" fmla="*/ 2147483647 w 594"/>
                      <a:gd name="T11" fmla="*/ 2147483647 h 1092"/>
                      <a:gd name="T12" fmla="*/ 2147483647 w 594"/>
                      <a:gd name="T13" fmla="*/ 2147483647 h 1092"/>
                      <a:gd name="T14" fmla="*/ 2147483647 w 594"/>
                      <a:gd name="T15" fmla="*/ 2147483647 h 1092"/>
                      <a:gd name="T16" fmla="*/ 2147483647 w 594"/>
                      <a:gd name="T17" fmla="*/ 2147483647 h 1092"/>
                      <a:gd name="T18" fmla="*/ 2147483647 w 594"/>
                      <a:gd name="T19" fmla="*/ 2147483647 h 1092"/>
                      <a:gd name="T20" fmla="*/ 2147483647 w 594"/>
                      <a:gd name="T21" fmla="*/ 2147483647 h 1092"/>
                      <a:gd name="T22" fmla="*/ 2147483647 w 594"/>
                      <a:gd name="T23" fmla="*/ 2147483647 h 1092"/>
                      <a:gd name="T24" fmla="*/ 2147483647 w 594"/>
                      <a:gd name="T25" fmla="*/ 2147483647 h 1092"/>
                      <a:gd name="T26" fmla="*/ 2147483647 w 594"/>
                      <a:gd name="T27" fmla="*/ 2147483647 h 1092"/>
                      <a:gd name="T28" fmla="*/ 2147483647 w 594"/>
                      <a:gd name="T29" fmla="*/ 2147483647 h 1092"/>
                      <a:gd name="T30" fmla="*/ 2147483647 w 594"/>
                      <a:gd name="T31" fmla="*/ 2147483647 h 1092"/>
                      <a:gd name="T32" fmla="*/ 2147483647 w 594"/>
                      <a:gd name="T33" fmla="*/ 0 h 1092"/>
                      <a:gd name="T34" fmla="*/ 2147483647 w 594"/>
                      <a:gd name="T35" fmla="*/ 2147483647 h 1092"/>
                      <a:gd name="T36" fmla="*/ 2147483647 w 594"/>
                      <a:gd name="T37" fmla="*/ 2147483647 h 1092"/>
                      <a:gd name="T38" fmla="*/ 2147483647 w 594"/>
                      <a:gd name="T39" fmla="*/ 2147483647 h 1092"/>
                      <a:gd name="T40" fmla="*/ 2147483647 w 594"/>
                      <a:gd name="T41" fmla="*/ 2147483647 h 1092"/>
                      <a:gd name="T42" fmla="*/ 2147483647 w 594"/>
                      <a:gd name="T43" fmla="*/ 2147483647 h 1092"/>
                      <a:gd name="T44" fmla="*/ 2147483647 w 594"/>
                      <a:gd name="T45" fmla="*/ 2147483647 h 1092"/>
                      <a:gd name="T46" fmla="*/ 2147483647 w 594"/>
                      <a:gd name="T47" fmla="*/ 2147483647 h 1092"/>
                      <a:gd name="T48" fmla="*/ 2147483647 w 594"/>
                      <a:gd name="T49" fmla="*/ 2147483647 h 1092"/>
                      <a:gd name="T50" fmla="*/ 2147483647 w 594"/>
                      <a:gd name="T51" fmla="*/ 2147483647 h 1092"/>
                      <a:gd name="T52" fmla="*/ 2147483647 w 594"/>
                      <a:gd name="T53" fmla="*/ 2147483647 h 1092"/>
                      <a:gd name="T54" fmla="*/ 2147483647 w 594"/>
                      <a:gd name="T55" fmla="*/ 2147483647 h 1092"/>
                      <a:gd name="T56" fmla="*/ 2147483647 w 594"/>
                      <a:gd name="T57" fmla="*/ 2147483647 h 1092"/>
                      <a:gd name="T58" fmla="*/ 2147483647 w 594"/>
                      <a:gd name="T59" fmla="*/ 2147483647 h 1092"/>
                      <a:gd name="T60" fmla="*/ 2147483647 w 594"/>
                      <a:gd name="T61" fmla="*/ 2147483647 h 1092"/>
                      <a:gd name="T62" fmla="*/ 2147483647 w 594"/>
                      <a:gd name="T63" fmla="*/ 2147483647 h 1092"/>
                      <a:gd name="T64" fmla="*/ 2147483647 w 594"/>
                      <a:gd name="T65" fmla="*/ 2147483647 h 1092"/>
                      <a:gd name="T66" fmla="*/ 2147483647 w 594"/>
                      <a:gd name="T67" fmla="*/ 2147483647 h 1092"/>
                      <a:gd name="T68" fmla="*/ 2147483647 w 594"/>
                      <a:gd name="T69" fmla="*/ 2147483647 h 1092"/>
                      <a:gd name="T70" fmla="*/ 2147483647 w 594"/>
                      <a:gd name="T71" fmla="*/ 2147483647 h 1092"/>
                      <a:gd name="T72" fmla="*/ 2147483647 w 594"/>
                      <a:gd name="T73" fmla="*/ 2147483647 h 1092"/>
                      <a:gd name="T74" fmla="*/ 2147483647 w 594"/>
                      <a:gd name="T75" fmla="*/ 2147483647 h 1092"/>
                      <a:gd name="T76" fmla="*/ 2147483647 w 594"/>
                      <a:gd name="T77" fmla="*/ 2147483647 h 1092"/>
                      <a:gd name="T78" fmla="*/ 2147483647 w 594"/>
                      <a:gd name="T79" fmla="*/ 2147483647 h 1092"/>
                      <a:gd name="T80" fmla="*/ 2147483647 w 594"/>
                      <a:gd name="T81" fmla="*/ 2147483647 h 1092"/>
                      <a:gd name="T82" fmla="*/ 2147483647 w 594"/>
                      <a:gd name="T83" fmla="*/ 2147483647 h 1092"/>
                      <a:gd name="T84" fmla="*/ 2147483647 w 594"/>
                      <a:gd name="T85" fmla="*/ 2147483647 h 1092"/>
                      <a:gd name="T86" fmla="*/ 0 w 594"/>
                      <a:gd name="T87" fmla="*/ 2147483647 h 1092"/>
                      <a:gd name="T88" fmla="*/ 2147483647 w 594"/>
                      <a:gd name="T89" fmla="*/ 2147483647 h 1092"/>
                      <a:gd name="T90" fmla="*/ 2147483647 w 594"/>
                      <a:gd name="T91" fmla="*/ 2147483647 h 1092"/>
                      <a:gd name="T92" fmla="*/ 2147483647 w 594"/>
                      <a:gd name="T93" fmla="*/ 2147483647 h 1092"/>
                      <a:gd name="T94" fmla="*/ 2147483647 w 594"/>
                      <a:gd name="T95" fmla="*/ 2147483647 h 1092"/>
                      <a:gd name="T96" fmla="*/ 2147483647 w 594"/>
                      <a:gd name="T97" fmla="*/ 2147483647 h 1092"/>
                      <a:gd name="T98" fmla="*/ 2147483647 w 594"/>
                      <a:gd name="T99" fmla="*/ 2147483647 h 1092"/>
                      <a:gd name="T100" fmla="*/ 2147483647 w 594"/>
                      <a:gd name="T101" fmla="*/ 2147483647 h 1092"/>
                      <a:gd name="T102" fmla="*/ 2147483647 w 594"/>
                      <a:gd name="T103" fmla="*/ 2147483647 h 109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94"/>
                      <a:gd name="T157" fmla="*/ 0 h 1092"/>
                      <a:gd name="T158" fmla="*/ 594 w 594"/>
                      <a:gd name="T159" fmla="*/ 1092 h 109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94" h="1092">
                        <a:moveTo>
                          <a:pt x="120" y="330"/>
                        </a:moveTo>
                        <a:lnTo>
                          <a:pt x="144" y="324"/>
                        </a:lnTo>
                        <a:lnTo>
                          <a:pt x="192" y="324"/>
                        </a:lnTo>
                        <a:lnTo>
                          <a:pt x="192" y="300"/>
                        </a:lnTo>
                        <a:lnTo>
                          <a:pt x="252" y="312"/>
                        </a:lnTo>
                        <a:lnTo>
                          <a:pt x="270" y="282"/>
                        </a:lnTo>
                        <a:lnTo>
                          <a:pt x="312" y="288"/>
                        </a:lnTo>
                        <a:lnTo>
                          <a:pt x="312" y="258"/>
                        </a:lnTo>
                        <a:lnTo>
                          <a:pt x="324" y="228"/>
                        </a:lnTo>
                        <a:lnTo>
                          <a:pt x="324" y="258"/>
                        </a:lnTo>
                        <a:lnTo>
                          <a:pt x="336" y="276"/>
                        </a:lnTo>
                        <a:lnTo>
                          <a:pt x="348" y="240"/>
                        </a:lnTo>
                        <a:lnTo>
                          <a:pt x="348" y="210"/>
                        </a:lnTo>
                        <a:lnTo>
                          <a:pt x="354" y="192"/>
                        </a:lnTo>
                        <a:lnTo>
                          <a:pt x="354" y="186"/>
                        </a:lnTo>
                        <a:lnTo>
                          <a:pt x="360" y="186"/>
                        </a:lnTo>
                        <a:lnTo>
                          <a:pt x="372" y="198"/>
                        </a:lnTo>
                        <a:lnTo>
                          <a:pt x="372" y="204"/>
                        </a:lnTo>
                        <a:lnTo>
                          <a:pt x="378" y="204"/>
                        </a:lnTo>
                        <a:lnTo>
                          <a:pt x="402" y="180"/>
                        </a:lnTo>
                        <a:lnTo>
                          <a:pt x="396" y="168"/>
                        </a:lnTo>
                        <a:lnTo>
                          <a:pt x="396" y="150"/>
                        </a:lnTo>
                        <a:lnTo>
                          <a:pt x="390" y="138"/>
                        </a:lnTo>
                        <a:lnTo>
                          <a:pt x="402" y="126"/>
                        </a:lnTo>
                        <a:lnTo>
                          <a:pt x="414" y="126"/>
                        </a:lnTo>
                        <a:lnTo>
                          <a:pt x="420" y="132"/>
                        </a:lnTo>
                        <a:lnTo>
                          <a:pt x="426" y="132"/>
                        </a:lnTo>
                        <a:lnTo>
                          <a:pt x="432" y="126"/>
                        </a:lnTo>
                        <a:lnTo>
                          <a:pt x="438" y="114"/>
                        </a:lnTo>
                        <a:lnTo>
                          <a:pt x="450" y="102"/>
                        </a:lnTo>
                        <a:lnTo>
                          <a:pt x="456" y="90"/>
                        </a:lnTo>
                        <a:lnTo>
                          <a:pt x="462" y="72"/>
                        </a:lnTo>
                        <a:lnTo>
                          <a:pt x="462" y="42"/>
                        </a:lnTo>
                        <a:lnTo>
                          <a:pt x="492" y="0"/>
                        </a:lnTo>
                        <a:lnTo>
                          <a:pt x="546" y="60"/>
                        </a:lnTo>
                        <a:lnTo>
                          <a:pt x="546" y="90"/>
                        </a:lnTo>
                        <a:lnTo>
                          <a:pt x="552" y="96"/>
                        </a:lnTo>
                        <a:lnTo>
                          <a:pt x="558" y="114"/>
                        </a:lnTo>
                        <a:lnTo>
                          <a:pt x="576" y="150"/>
                        </a:lnTo>
                        <a:lnTo>
                          <a:pt x="582" y="156"/>
                        </a:lnTo>
                        <a:lnTo>
                          <a:pt x="582" y="162"/>
                        </a:lnTo>
                        <a:lnTo>
                          <a:pt x="564" y="216"/>
                        </a:lnTo>
                        <a:lnTo>
                          <a:pt x="594" y="276"/>
                        </a:lnTo>
                        <a:lnTo>
                          <a:pt x="594" y="288"/>
                        </a:lnTo>
                        <a:lnTo>
                          <a:pt x="588" y="294"/>
                        </a:lnTo>
                        <a:lnTo>
                          <a:pt x="576" y="294"/>
                        </a:lnTo>
                        <a:lnTo>
                          <a:pt x="564" y="288"/>
                        </a:lnTo>
                        <a:lnTo>
                          <a:pt x="558" y="282"/>
                        </a:lnTo>
                        <a:lnTo>
                          <a:pt x="552" y="282"/>
                        </a:lnTo>
                        <a:lnTo>
                          <a:pt x="522" y="288"/>
                        </a:lnTo>
                        <a:lnTo>
                          <a:pt x="528" y="330"/>
                        </a:lnTo>
                        <a:lnTo>
                          <a:pt x="522" y="336"/>
                        </a:lnTo>
                        <a:lnTo>
                          <a:pt x="516" y="348"/>
                        </a:lnTo>
                        <a:lnTo>
                          <a:pt x="504" y="354"/>
                        </a:lnTo>
                        <a:lnTo>
                          <a:pt x="486" y="390"/>
                        </a:lnTo>
                        <a:lnTo>
                          <a:pt x="486" y="402"/>
                        </a:lnTo>
                        <a:lnTo>
                          <a:pt x="492" y="414"/>
                        </a:lnTo>
                        <a:lnTo>
                          <a:pt x="504" y="450"/>
                        </a:lnTo>
                        <a:lnTo>
                          <a:pt x="498" y="468"/>
                        </a:lnTo>
                        <a:lnTo>
                          <a:pt x="486" y="510"/>
                        </a:lnTo>
                        <a:lnTo>
                          <a:pt x="462" y="570"/>
                        </a:lnTo>
                        <a:lnTo>
                          <a:pt x="432" y="642"/>
                        </a:lnTo>
                        <a:lnTo>
                          <a:pt x="390" y="720"/>
                        </a:lnTo>
                        <a:lnTo>
                          <a:pt x="324" y="852"/>
                        </a:lnTo>
                        <a:lnTo>
                          <a:pt x="312" y="894"/>
                        </a:lnTo>
                        <a:lnTo>
                          <a:pt x="306" y="912"/>
                        </a:lnTo>
                        <a:lnTo>
                          <a:pt x="306" y="948"/>
                        </a:lnTo>
                        <a:lnTo>
                          <a:pt x="294" y="984"/>
                        </a:lnTo>
                        <a:lnTo>
                          <a:pt x="276" y="1014"/>
                        </a:lnTo>
                        <a:lnTo>
                          <a:pt x="258" y="1032"/>
                        </a:lnTo>
                        <a:lnTo>
                          <a:pt x="240" y="1044"/>
                        </a:lnTo>
                        <a:lnTo>
                          <a:pt x="222" y="1062"/>
                        </a:lnTo>
                        <a:lnTo>
                          <a:pt x="216" y="1062"/>
                        </a:lnTo>
                        <a:lnTo>
                          <a:pt x="210" y="1068"/>
                        </a:lnTo>
                        <a:lnTo>
                          <a:pt x="186" y="1068"/>
                        </a:lnTo>
                        <a:lnTo>
                          <a:pt x="150" y="1086"/>
                        </a:lnTo>
                        <a:lnTo>
                          <a:pt x="114" y="1092"/>
                        </a:lnTo>
                        <a:lnTo>
                          <a:pt x="78" y="1074"/>
                        </a:lnTo>
                        <a:lnTo>
                          <a:pt x="60" y="1056"/>
                        </a:lnTo>
                        <a:lnTo>
                          <a:pt x="48" y="1038"/>
                        </a:lnTo>
                        <a:lnTo>
                          <a:pt x="36" y="1026"/>
                        </a:lnTo>
                        <a:lnTo>
                          <a:pt x="36" y="1020"/>
                        </a:lnTo>
                        <a:lnTo>
                          <a:pt x="30" y="1014"/>
                        </a:lnTo>
                        <a:lnTo>
                          <a:pt x="48" y="990"/>
                        </a:lnTo>
                        <a:lnTo>
                          <a:pt x="42" y="978"/>
                        </a:lnTo>
                        <a:lnTo>
                          <a:pt x="24" y="948"/>
                        </a:lnTo>
                        <a:lnTo>
                          <a:pt x="12" y="900"/>
                        </a:lnTo>
                        <a:lnTo>
                          <a:pt x="0" y="834"/>
                        </a:lnTo>
                        <a:lnTo>
                          <a:pt x="0" y="786"/>
                        </a:lnTo>
                        <a:lnTo>
                          <a:pt x="6" y="756"/>
                        </a:lnTo>
                        <a:lnTo>
                          <a:pt x="18" y="738"/>
                        </a:lnTo>
                        <a:lnTo>
                          <a:pt x="60" y="696"/>
                        </a:lnTo>
                        <a:lnTo>
                          <a:pt x="72" y="678"/>
                        </a:lnTo>
                        <a:lnTo>
                          <a:pt x="90" y="672"/>
                        </a:lnTo>
                        <a:lnTo>
                          <a:pt x="96" y="660"/>
                        </a:lnTo>
                        <a:lnTo>
                          <a:pt x="108" y="654"/>
                        </a:lnTo>
                        <a:lnTo>
                          <a:pt x="108" y="636"/>
                        </a:lnTo>
                        <a:lnTo>
                          <a:pt x="102" y="600"/>
                        </a:lnTo>
                        <a:lnTo>
                          <a:pt x="96" y="558"/>
                        </a:lnTo>
                        <a:lnTo>
                          <a:pt x="96" y="522"/>
                        </a:lnTo>
                        <a:lnTo>
                          <a:pt x="78" y="432"/>
                        </a:lnTo>
                        <a:lnTo>
                          <a:pt x="90" y="408"/>
                        </a:lnTo>
                        <a:lnTo>
                          <a:pt x="132" y="366"/>
                        </a:lnTo>
                        <a:lnTo>
                          <a:pt x="132" y="360"/>
                        </a:lnTo>
                        <a:lnTo>
                          <a:pt x="120" y="3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97" name="Macedonia"/>
                  <p:cNvSpPr>
                    <a:spLocks/>
                  </p:cNvSpPr>
                  <p:nvPr/>
                </p:nvSpPr>
                <p:spPr bwMode="gray">
                  <a:xfrm>
                    <a:off x="3007" y="1435"/>
                    <a:ext cx="42" cy="33"/>
                  </a:xfrm>
                  <a:custGeom>
                    <a:avLst/>
                    <a:gdLst>
                      <a:gd name="T0" fmla="*/ 2147483647 w 162"/>
                      <a:gd name="T1" fmla="*/ 2147483647 h 126"/>
                      <a:gd name="T2" fmla="*/ 2147483647 w 162"/>
                      <a:gd name="T3" fmla="*/ 2147483647 h 126"/>
                      <a:gd name="T4" fmla="*/ 2147483647 w 162"/>
                      <a:gd name="T5" fmla="*/ 2147483647 h 126"/>
                      <a:gd name="T6" fmla="*/ 2147483647 w 162"/>
                      <a:gd name="T7" fmla="*/ 2147483647 h 126"/>
                      <a:gd name="T8" fmla="*/ 2147483647 w 162"/>
                      <a:gd name="T9" fmla="*/ 0 h 126"/>
                      <a:gd name="T10" fmla="*/ 2147483647 w 162"/>
                      <a:gd name="T11" fmla="*/ 2147483647 h 126"/>
                      <a:gd name="T12" fmla="*/ 2147483647 w 162"/>
                      <a:gd name="T13" fmla="*/ 2147483647 h 126"/>
                      <a:gd name="T14" fmla="*/ 2147483647 w 162"/>
                      <a:gd name="T15" fmla="*/ 2147483647 h 126"/>
                      <a:gd name="T16" fmla="*/ 2147483647 w 162"/>
                      <a:gd name="T17" fmla="*/ 2147483647 h 126"/>
                      <a:gd name="T18" fmla="*/ 2147483647 w 162"/>
                      <a:gd name="T19" fmla="*/ 2147483647 h 126"/>
                      <a:gd name="T20" fmla="*/ 2147483647 w 162"/>
                      <a:gd name="T21" fmla="*/ 2147483647 h 126"/>
                      <a:gd name="T22" fmla="*/ 0 w 162"/>
                      <a:gd name="T23" fmla="*/ 2147483647 h 126"/>
                      <a:gd name="T24" fmla="*/ 0 w 162"/>
                      <a:gd name="T25" fmla="*/ 2147483647 h 126"/>
                      <a:gd name="T26" fmla="*/ 2147483647 w 162"/>
                      <a:gd name="T27" fmla="*/ 2147483647 h 126"/>
                      <a:gd name="T28" fmla="*/ 2147483647 w 162"/>
                      <a:gd name="T29" fmla="*/ 2147483647 h 126"/>
                      <a:gd name="T30" fmla="*/ 2147483647 w 162"/>
                      <a:gd name="T31" fmla="*/ 2147483647 h 126"/>
                      <a:gd name="T32" fmla="*/ 2147483647 w 162"/>
                      <a:gd name="T33" fmla="*/ 2147483647 h 126"/>
                      <a:gd name="T34" fmla="*/ 2147483647 w 162"/>
                      <a:gd name="T35" fmla="*/ 2147483647 h 126"/>
                      <a:gd name="T36" fmla="*/ 2147483647 w 162"/>
                      <a:gd name="T37" fmla="*/ 2147483647 h 126"/>
                      <a:gd name="T38" fmla="*/ 2147483647 w 162"/>
                      <a:gd name="T39" fmla="*/ 2147483647 h 126"/>
                      <a:gd name="T40" fmla="*/ 2147483647 w 162"/>
                      <a:gd name="T41" fmla="*/ 2147483647 h 126"/>
                      <a:gd name="T42" fmla="*/ 2147483647 w 162"/>
                      <a:gd name="T43" fmla="*/ 2147483647 h 126"/>
                      <a:gd name="T44" fmla="*/ 2147483647 w 162"/>
                      <a:gd name="T45" fmla="*/ 2147483647 h 126"/>
                      <a:gd name="T46" fmla="*/ 2147483647 w 162"/>
                      <a:gd name="T47" fmla="*/ 2147483647 h 126"/>
                      <a:gd name="T48" fmla="*/ 2147483647 w 162"/>
                      <a:gd name="T49" fmla="*/ 2147483647 h 126"/>
                      <a:gd name="T50" fmla="*/ 2147483647 w 162"/>
                      <a:gd name="T51" fmla="*/ 2147483647 h 126"/>
                      <a:gd name="T52" fmla="*/ 2147483647 w 162"/>
                      <a:gd name="T53" fmla="*/ 2147483647 h 126"/>
                      <a:gd name="T54" fmla="*/ 2147483647 w 162"/>
                      <a:gd name="T55" fmla="*/ 2147483647 h 126"/>
                      <a:gd name="T56" fmla="*/ 2147483647 w 162"/>
                      <a:gd name="T57" fmla="*/ 2147483647 h 126"/>
                      <a:gd name="T58" fmla="*/ 2147483647 w 162"/>
                      <a:gd name="T59" fmla="*/ 2147483647 h 126"/>
                      <a:gd name="T60" fmla="*/ 2147483647 w 162"/>
                      <a:gd name="T61" fmla="*/ 2147483647 h 126"/>
                      <a:gd name="T62" fmla="*/ 2147483647 w 162"/>
                      <a:gd name="T63" fmla="*/ 2147483647 h 126"/>
                      <a:gd name="T64" fmla="*/ 2147483647 w 162"/>
                      <a:gd name="T65" fmla="*/ 2147483647 h 12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62"/>
                      <a:gd name="T100" fmla="*/ 0 h 126"/>
                      <a:gd name="T101" fmla="*/ 162 w 162"/>
                      <a:gd name="T102" fmla="*/ 126 h 12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62" h="126">
                        <a:moveTo>
                          <a:pt x="150" y="42"/>
                        </a:moveTo>
                        <a:lnTo>
                          <a:pt x="132" y="30"/>
                        </a:lnTo>
                        <a:lnTo>
                          <a:pt x="132" y="18"/>
                        </a:lnTo>
                        <a:lnTo>
                          <a:pt x="126" y="18"/>
                        </a:lnTo>
                        <a:lnTo>
                          <a:pt x="114" y="0"/>
                        </a:lnTo>
                        <a:lnTo>
                          <a:pt x="72" y="6"/>
                        </a:lnTo>
                        <a:lnTo>
                          <a:pt x="66" y="12"/>
                        </a:lnTo>
                        <a:lnTo>
                          <a:pt x="48" y="12"/>
                        </a:lnTo>
                        <a:lnTo>
                          <a:pt x="48" y="24"/>
                        </a:lnTo>
                        <a:lnTo>
                          <a:pt x="24" y="24"/>
                        </a:lnTo>
                        <a:lnTo>
                          <a:pt x="18" y="36"/>
                        </a:lnTo>
                        <a:lnTo>
                          <a:pt x="0" y="42"/>
                        </a:lnTo>
                        <a:lnTo>
                          <a:pt x="0" y="66"/>
                        </a:lnTo>
                        <a:lnTo>
                          <a:pt x="6" y="78"/>
                        </a:lnTo>
                        <a:lnTo>
                          <a:pt x="6" y="102"/>
                        </a:lnTo>
                        <a:lnTo>
                          <a:pt x="12" y="108"/>
                        </a:lnTo>
                        <a:lnTo>
                          <a:pt x="18" y="108"/>
                        </a:lnTo>
                        <a:lnTo>
                          <a:pt x="18" y="126"/>
                        </a:lnTo>
                        <a:lnTo>
                          <a:pt x="42" y="120"/>
                        </a:lnTo>
                        <a:lnTo>
                          <a:pt x="42" y="126"/>
                        </a:lnTo>
                        <a:lnTo>
                          <a:pt x="54" y="120"/>
                        </a:lnTo>
                        <a:lnTo>
                          <a:pt x="60" y="120"/>
                        </a:lnTo>
                        <a:lnTo>
                          <a:pt x="66" y="126"/>
                        </a:lnTo>
                        <a:lnTo>
                          <a:pt x="90" y="126"/>
                        </a:lnTo>
                        <a:lnTo>
                          <a:pt x="96" y="114"/>
                        </a:lnTo>
                        <a:lnTo>
                          <a:pt x="96" y="108"/>
                        </a:lnTo>
                        <a:lnTo>
                          <a:pt x="120" y="108"/>
                        </a:lnTo>
                        <a:lnTo>
                          <a:pt x="132" y="102"/>
                        </a:lnTo>
                        <a:lnTo>
                          <a:pt x="156" y="78"/>
                        </a:lnTo>
                        <a:lnTo>
                          <a:pt x="162" y="66"/>
                        </a:lnTo>
                        <a:lnTo>
                          <a:pt x="162" y="60"/>
                        </a:lnTo>
                        <a:lnTo>
                          <a:pt x="156" y="48"/>
                        </a:lnTo>
                        <a:lnTo>
                          <a:pt x="150"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98" name="Luxembourg"/>
                  <p:cNvSpPr>
                    <a:spLocks/>
                  </p:cNvSpPr>
                  <p:nvPr/>
                </p:nvSpPr>
                <p:spPr bwMode="gray">
                  <a:xfrm>
                    <a:off x="2766" y="1281"/>
                    <a:ext cx="13" cy="11"/>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599" name="Lithuania"/>
                  <p:cNvSpPr>
                    <a:spLocks/>
                  </p:cNvSpPr>
                  <p:nvPr/>
                </p:nvSpPr>
                <p:spPr bwMode="gray">
                  <a:xfrm>
                    <a:off x="3002" y="1156"/>
                    <a:ext cx="87" cy="50"/>
                  </a:xfrm>
                  <a:custGeom>
                    <a:avLst/>
                    <a:gdLst>
                      <a:gd name="T0" fmla="*/ 2147483647 w 342"/>
                      <a:gd name="T1" fmla="*/ 2147483647 h 198"/>
                      <a:gd name="T2" fmla="*/ 2147483647 w 342"/>
                      <a:gd name="T3" fmla="*/ 2147483647 h 198"/>
                      <a:gd name="T4" fmla="*/ 2147483647 w 342"/>
                      <a:gd name="T5" fmla="*/ 2147483647 h 198"/>
                      <a:gd name="T6" fmla="*/ 2147483647 w 342"/>
                      <a:gd name="T7" fmla="*/ 2147483647 h 198"/>
                      <a:gd name="T8" fmla="*/ 2147483647 w 342"/>
                      <a:gd name="T9" fmla="*/ 2147483647 h 198"/>
                      <a:gd name="T10" fmla="*/ 2147483647 w 342"/>
                      <a:gd name="T11" fmla="*/ 2147483647 h 198"/>
                      <a:gd name="T12" fmla="*/ 2147483647 w 342"/>
                      <a:gd name="T13" fmla="*/ 2147483647 h 198"/>
                      <a:gd name="T14" fmla="*/ 2147483647 w 342"/>
                      <a:gd name="T15" fmla="*/ 2147483647 h 198"/>
                      <a:gd name="T16" fmla="*/ 2147483647 w 342"/>
                      <a:gd name="T17" fmla="*/ 2147483647 h 198"/>
                      <a:gd name="T18" fmla="*/ 2147483647 w 342"/>
                      <a:gd name="T19" fmla="*/ 2147483647 h 198"/>
                      <a:gd name="T20" fmla="*/ 2147483647 w 342"/>
                      <a:gd name="T21" fmla="*/ 2147483647 h 198"/>
                      <a:gd name="T22" fmla="*/ 2147483647 w 342"/>
                      <a:gd name="T23" fmla="*/ 2147483647 h 198"/>
                      <a:gd name="T24" fmla="*/ 2147483647 w 342"/>
                      <a:gd name="T25" fmla="*/ 0 h 198"/>
                      <a:gd name="T26" fmla="*/ 2147483647 w 342"/>
                      <a:gd name="T27" fmla="*/ 2147483647 h 198"/>
                      <a:gd name="T28" fmla="*/ 0 w 342"/>
                      <a:gd name="T29" fmla="*/ 2147483647 h 198"/>
                      <a:gd name="T30" fmla="*/ 2147483647 w 342"/>
                      <a:gd name="T31" fmla="*/ 2147483647 h 198"/>
                      <a:gd name="T32" fmla="*/ 2147483647 w 342"/>
                      <a:gd name="T33" fmla="*/ 2147483647 h 198"/>
                      <a:gd name="T34" fmla="*/ 2147483647 w 342"/>
                      <a:gd name="T35" fmla="*/ 2147483647 h 198"/>
                      <a:gd name="T36" fmla="*/ 2147483647 w 342"/>
                      <a:gd name="T37" fmla="*/ 2147483647 h 198"/>
                      <a:gd name="T38" fmla="*/ 2147483647 w 342"/>
                      <a:gd name="T39" fmla="*/ 2147483647 h 198"/>
                      <a:gd name="T40" fmla="*/ 2147483647 w 342"/>
                      <a:gd name="T41" fmla="*/ 2147483647 h 198"/>
                      <a:gd name="T42" fmla="*/ 2147483647 w 342"/>
                      <a:gd name="T43" fmla="*/ 2147483647 h 198"/>
                      <a:gd name="T44" fmla="*/ 2147483647 w 342"/>
                      <a:gd name="T45" fmla="*/ 2147483647 h 198"/>
                      <a:gd name="T46" fmla="*/ 2147483647 w 342"/>
                      <a:gd name="T47" fmla="*/ 2147483647 h 198"/>
                      <a:gd name="T48" fmla="*/ 2147483647 w 342"/>
                      <a:gd name="T49" fmla="*/ 2147483647 h 198"/>
                      <a:gd name="T50" fmla="*/ 2147483647 w 342"/>
                      <a:gd name="T51" fmla="*/ 2147483647 h 198"/>
                      <a:gd name="T52" fmla="*/ 2147483647 w 342"/>
                      <a:gd name="T53" fmla="*/ 2147483647 h 198"/>
                      <a:gd name="T54" fmla="*/ 2147483647 w 342"/>
                      <a:gd name="T55" fmla="*/ 2147483647 h 198"/>
                      <a:gd name="T56" fmla="*/ 2147483647 w 342"/>
                      <a:gd name="T57" fmla="*/ 2147483647 h 198"/>
                      <a:gd name="T58" fmla="*/ 2147483647 w 342"/>
                      <a:gd name="T59" fmla="*/ 2147483647 h 198"/>
                      <a:gd name="T60" fmla="*/ 2147483647 w 342"/>
                      <a:gd name="T61" fmla="*/ 2147483647 h 198"/>
                      <a:gd name="T62" fmla="*/ 2147483647 w 342"/>
                      <a:gd name="T63" fmla="*/ 2147483647 h 198"/>
                      <a:gd name="T64" fmla="*/ 2147483647 w 342"/>
                      <a:gd name="T65" fmla="*/ 2147483647 h 198"/>
                      <a:gd name="T66" fmla="*/ 2147483647 w 342"/>
                      <a:gd name="T67" fmla="*/ 2147483647 h 198"/>
                      <a:gd name="T68" fmla="*/ 2147483647 w 342"/>
                      <a:gd name="T69" fmla="*/ 2147483647 h 198"/>
                      <a:gd name="T70" fmla="*/ 2147483647 w 342"/>
                      <a:gd name="T71" fmla="*/ 2147483647 h 198"/>
                      <a:gd name="T72" fmla="*/ 2147483647 w 342"/>
                      <a:gd name="T73" fmla="*/ 2147483647 h 198"/>
                      <a:gd name="T74" fmla="*/ 2147483647 w 342"/>
                      <a:gd name="T75" fmla="*/ 2147483647 h 198"/>
                      <a:gd name="T76" fmla="*/ 2147483647 w 342"/>
                      <a:gd name="T77" fmla="*/ 2147483647 h 198"/>
                      <a:gd name="T78" fmla="*/ 2147483647 w 342"/>
                      <a:gd name="T79" fmla="*/ 2147483647 h 198"/>
                      <a:gd name="T80" fmla="*/ 2147483647 w 342"/>
                      <a:gd name="T81" fmla="*/ 2147483647 h 198"/>
                      <a:gd name="T82" fmla="*/ 2147483647 w 342"/>
                      <a:gd name="T83" fmla="*/ 2147483647 h 198"/>
                      <a:gd name="T84" fmla="*/ 2147483647 w 342"/>
                      <a:gd name="T85" fmla="*/ 2147483647 h 19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342"/>
                      <a:gd name="T130" fmla="*/ 0 h 198"/>
                      <a:gd name="T131" fmla="*/ 342 w 342"/>
                      <a:gd name="T132" fmla="*/ 198 h 19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342" h="198">
                        <a:moveTo>
                          <a:pt x="330" y="60"/>
                        </a:moveTo>
                        <a:lnTo>
                          <a:pt x="312" y="54"/>
                        </a:lnTo>
                        <a:lnTo>
                          <a:pt x="294" y="42"/>
                        </a:lnTo>
                        <a:lnTo>
                          <a:pt x="282" y="30"/>
                        </a:lnTo>
                        <a:lnTo>
                          <a:pt x="276" y="30"/>
                        </a:lnTo>
                        <a:lnTo>
                          <a:pt x="264" y="24"/>
                        </a:lnTo>
                        <a:lnTo>
                          <a:pt x="234" y="24"/>
                        </a:lnTo>
                        <a:lnTo>
                          <a:pt x="228" y="12"/>
                        </a:lnTo>
                        <a:lnTo>
                          <a:pt x="222" y="6"/>
                        </a:lnTo>
                        <a:lnTo>
                          <a:pt x="210" y="6"/>
                        </a:lnTo>
                        <a:lnTo>
                          <a:pt x="198" y="18"/>
                        </a:lnTo>
                        <a:lnTo>
                          <a:pt x="180" y="18"/>
                        </a:lnTo>
                        <a:lnTo>
                          <a:pt x="174" y="12"/>
                        </a:lnTo>
                        <a:lnTo>
                          <a:pt x="162" y="12"/>
                        </a:lnTo>
                        <a:lnTo>
                          <a:pt x="156" y="18"/>
                        </a:lnTo>
                        <a:lnTo>
                          <a:pt x="150" y="18"/>
                        </a:lnTo>
                        <a:lnTo>
                          <a:pt x="144" y="12"/>
                        </a:lnTo>
                        <a:lnTo>
                          <a:pt x="138" y="12"/>
                        </a:lnTo>
                        <a:lnTo>
                          <a:pt x="126" y="6"/>
                        </a:lnTo>
                        <a:lnTo>
                          <a:pt x="120" y="6"/>
                        </a:lnTo>
                        <a:lnTo>
                          <a:pt x="114" y="12"/>
                        </a:lnTo>
                        <a:lnTo>
                          <a:pt x="108" y="12"/>
                        </a:lnTo>
                        <a:lnTo>
                          <a:pt x="102" y="6"/>
                        </a:lnTo>
                        <a:lnTo>
                          <a:pt x="96" y="6"/>
                        </a:lnTo>
                        <a:lnTo>
                          <a:pt x="90" y="0"/>
                        </a:lnTo>
                        <a:lnTo>
                          <a:pt x="72" y="0"/>
                        </a:lnTo>
                        <a:lnTo>
                          <a:pt x="60" y="12"/>
                        </a:lnTo>
                        <a:lnTo>
                          <a:pt x="18" y="12"/>
                        </a:lnTo>
                        <a:lnTo>
                          <a:pt x="6" y="18"/>
                        </a:lnTo>
                        <a:lnTo>
                          <a:pt x="0" y="18"/>
                        </a:lnTo>
                        <a:lnTo>
                          <a:pt x="0" y="60"/>
                        </a:lnTo>
                        <a:lnTo>
                          <a:pt x="12" y="84"/>
                        </a:lnTo>
                        <a:lnTo>
                          <a:pt x="18" y="90"/>
                        </a:lnTo>
                        <a:lnTo>
                          <a:pt x="18" y="96"/>
                        </a:lnTo>
                        <a:lnTo>
                          <a:pt x="30" y="96"/>
                        </a:lnTo>
                        <a:lnTo>
                          <a:pt x="30" y="102"/>
                        </a:lnTo>
                        <a:lnTo>
                          <a:pt x="42" y="102"/>
                        </a:lnTo>
                        <a:lnTo>
                          <a:pt x="48" y="108"/>
                        </a:lnTo>
                        <a:lnTo>
                          <a:pt x="72" y="108"/>
                        </a:lnTo>
                        <a:lnTo>
                          <a:pt x="84" y="102"/>
                        </a:lnTo>
                        <a:lnTo>
                          <a:pt x="102" y="102"/>
                        </a:lnTo>
                        <a:lnTo>
                          <a:pt x="108" y="114"/>
                        </a:lnTo>
                        <a:lnTo>
                          <a:pt x="108" y="132"/>
                        </a:lnTo>
                        <a:lnTo>
                          <a:pt x="96" y="144"/>
                        </a:lnTo>
                        <a:lnTo>
                          <a:pt x="102" y="162"/>
                        </a:lnTo>
                        <a:lnTo>
                          <a:pt x="120" y="162"/>
                        </a:lnTo>
                        <a:lnTo>
                          <a:pt x="138" y="168"/>
                        </a:lnTo>
                        <a:lnTo>
                          <a:pt x="144" y="168"/>
                        </a:lnTo>
                        <a:lnTo>
                          <a:pt x="156" y="174"/>
                        </a:lnTo>
                        <a:lnTo>
                          <a:pt x="156" y="198"/>
                        </a:lnTo>
                        <a:lnTo>
                          <a:pt x="162" y="198"/>
                        </a:lnTo>
                        <a:lnTo>
                          <a:pt x="168" y="192"/>
                        </a:lnTo>
                        <a:lnTo>
                          <a:pt x="180" y="192"/>
                        </a:lnTo>
                        <a:lnTo>
                          <a:pt x="192" y="186"/>
                        </a:lnTo>
                        <a:lnTo>
                          <a:pt x="198" y="186"/>
                        </a:lnTo>
                        <a:lnTo>
                          <a:pt x="204" y="192"/>
                        </a:lnTo>
                        <a:lnTo>
                          <a:pt x="204" y="198"/>
                        </a:lnTo>
                        <a:lnTo>
                          <a:pt x="234" y="198"/>
                        </a:lnTo>
                        <a:lnTo>
                          <a:pt x="234" y="180"/>
                        </a:lnTo>
                        <a:lnTo>
                          <a:pt x="246" y="192"/>
                        </a:lnTo>
                        <a:lnTo>
                          <a:pt x="252" y="180"/>
                        </a:lnTo>
                        <a:lnTo>
                          <a:pt x="258" y="174"/>
                        </a:lnTo>
                        <a:lnTo>
                          <a:pt x="270" y="168"/>
                        </a:lnTo>
                        <a:lnTo>
                          <a:pt x="288" y="168"/>
                        </a:lnTo>
                        <a:lnTo>
                          <a:pt x="288" y="174"/>
                        </a:lnTo>
                        <a:lnTo>
                          <a:pt x="282" y="180"/>
                        </a:lnTo>
                        <a:lnTo>
                          <a:pt x="294" y="180"/>
                        </a:lnTo>
                        <a:lnTo>
                          <a:pt x="294" y="174"/>
                        </a:lnTo>
                        <a:lnTo>
                          <a:pt x="288" y="168"/>
                        </a:lnTo>
                        <a:lnTo>
                          <a:pt x="288" y="156"/>
                        </a:lnTo>
                        <a:lnTo>
                          <a:pt x="282" y="150"/>
                        </a:lnTo>
                        <a:lnTo>
                          <a:pt x="282" y="144"/>
                        </a:lnTo>
                        <a:lnTo>
                          <a:pt x="294" y="144"/>
                        </a:lnTo>
                        <a:lnTo>
                          <a:pt x="294" y="138"/>
                        </a:lnTo>
                        <a:lnTo>
                          <a:pt x="288" y="126"/>
                        </a:lnTo>
                        <a:lnTo>
                          <a:pt x="288" y="120"/>
                        </a:lnTo>
                        <a:lnTo>
                          <a:pt x="294" y="114"/>
                        </a:lnTo>
                        <a:lnTo>
                          <a:pt x="312" y="114"/>
                        </a:lnTo>
                        <a:lnTo>
                          <a:pt x="306" y="96"/>
                        </a:lnTo>
                        <a:lnTo>
                          <a:pt x="312" y="96"/>
                        </a:lnTo>
                        <a:lnTo>
                          <a:pt x="318" y="102"/>
                        </a:lnTo>
                        <a:lnTo>
                          <a:pt x="336" y="102"/>
                        </a:lnTo>
                        <a:lnTo>
                          <a:pt x="342" y="96"/>
                        </a:lnTo>
                        <a:lnTo>
                          <a:pt x="324" y="78"/>
                        </a:lnTo>
                        <a:lnTo>
                          <a:pt x="324" y="72"/>
                        </a:lnTo>
                        <a:lnTo>
                          <a:pt x="330" y="66"/>
                        </a:lnTo>
                        <a:lnTo>
                          <a:pt x="330"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00" name="Liechtenstein"/>
                  <p:cNvSpPr>
                    <a:spLocks/>
                  </p:cNvSpPr>
                  <p:nvPr/>
                </p:nvSpPr>
                <p:spPr bwMode="gray">
                  <a:xfrm>
                    <a:off x="2824" y="1337"/>
                    <a:ext cx="4" cy="6"/>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01" name="Libya"/>
                  <p:cNvSpPr>
                    <a:spLocks/>
                  </p:cNvSpPr>
                  <p:nvPr/>
                </p:nvSpPr>
                <p:spPr bwMode="gray">
                  <a:xfrm>
                    <a:off x="2822" y="1625"/>
                    <a:ext cx="281" cy="284"/>
                  </a:xfrm>
                  <a:custGeom>
                    <a:avLst/>
                    <a:gdLst>
                      <a:gd name="T0" fmla="*/ 2147483647 w 1098"/>
                      <a:gd name="T1" fmla="*/ 2147483647 h 1110"/>
                      <a:gd name="T2" fmla="*/ 2147483647 w 1098"/>
                      <a:gd name="T3" fmla="*/ 2147483647 h 1110"/>
                      <a:gd name="T4" fmla="*/ 2147483647 w 1098"/>
                      <a:gd name="T5" fmla="*/ 2147483647 h 1110"/>
                      <a:gd name="T6" fmla="*/ 2147483647 w 1098"/>
                      <a:gd name="T7" fmla="*/ 2147483647 h 1110"/>
                      <a:gd name="T8" fmla="*/ 2147483647 w 1098"/>
                      <a:gd name="T9" fmla="*/ 2147483647 h 1110"/>
                      <a:gd name="T10" fmla="*/ 2147483647 w 1098"/>
                      <a:gd name="T11" fmla="*/ 2147483647 h 1110"/>
                      <a:gd name="T12" fmla="*/ 2147483647 w 1098"/>
                      <a:gd name="T13" fmla="*/ 2147483647 h 1110"/>
                      <a:gd name="T14" fmla="*/ 2147483647 w 1098"/>
                      <a:gd name="T15" fmla="*/ 2147483647 h 1110"/>
                      <a:gd name="T16" fmla="*/ 2147483647 w 1098"/>
                      <a:gd name="T17" fmla="*/ 2147483647 h 1110"/>
                      <a:gd name="T18" fmla="*/ 2147483647 w 1098"/>
                      <a:gd name="T19" fmla="*/ 2147483647 h 1110"/>
                      <a:gd name="T20" fmla="*/ 2147483647 w 1098"/>
                      <a:gd name="T21" fmla="*/ 2147483647 h 1110"/>
                      <a:gd name="T22" fmla="*/ 2147483647 w 1098"/>
                      <a:gd name="T23" fmla="*/ 2147483647 h 1110"/>
                      <a:gd name="T24" fmla="*/ 0 w 1098"/>
                      <a:gd name="T25" fmla="*/ 2147483647 h 1110"/>
                      <a:gd name="T26" fmla="*/ 2147483647 w 1098"/>
                      <a:gd name="T27" fmla="*/ 2147483647 h 1110"/>
                      <a:gd name="T28" fmla="*/ 2147483647 w 1098"/>
                      <a:gd name="T29" fmla="*/ 2147483647 h 1110"/>
                      <a:gd name="T30" fmla="*/ 2147483647 w 1098"/>
                      <a:gd name="T31" fmla="*/ 2147483647 h 1110"/>
                      <a:gd name="T32" fmla="*/ 2147483647 w 1098"/>
                      <a:gd name="T33" fmla="*/ 2147483647 h 1110"/>
                      <a:gd name="T34" fmla="*/ 2147483647 w 1098"/>
                      <a:gd name="T35" fmla="*/ 2147483647 h 1110"/>
                      <a:gd name="T36" fmla="*/ 2147483647 w 1098"/>
                      <a:gd name="T37" fmla="*/ 2147483647 h 1110"/>
                      <a:gd name="T38" fmla="*/ 2147483647 w 1098"/>
                      <a:gd name="T39" fmla="*/ 2147483647 h 1110"/>
                      <a:gd name="T40" fmla="*/ 2147483647 w 1098"/>
                      <a:gd name="T41" fmla="*/ 2147483647 h 1110"/>
                      <a:gd name="T42" fmla="*/ 2147483647 w 1098"/>
                      <a:gd name="T43" fmla="*/ 2147483647 h 1110"/>
                      <a:gd name="T44" fmla="*/ 2147483647 w 1098"/>
                      <a:gd name="T45" fmla="*/ 2147483647 h 1110"/>
                      <a:gd name="T46" fmla="*/ 2147483647 w 1098"/>
                      <a:gd name="T47" fmla="*/ 2147483647 h 1110"/>
                      <a:gd name="T48" fmla="*/ 2147483647 w 1098"/>
                      <a:gd name="T49" fmla="*/ 2147483647 h 1110"/>
                      <a:gd name="T50" fmla="*/ 2147483647 w 1098"/>
                      <a:gd name="T51" fmla="*/ 2147483647 h 1110"/>
                      <a:gd name="T52" fmla="*/ 2147483647 w 1098"/>
                      <a:gd name="T53" fmla="*/ 2147483647 h 1110"/>
                      <a:gd name="T54" fmla="*/ 2147483647 w 1098"/>
                      <a:gd name="T55" fmla="*/ 2147483647 h 1110"/>
                      <a:gd name="T56" fmla="*/ 2147483647 w 1098"/>
                      <a:gd name="T57" fmla="*/ 2147483647 h 1110"/>
                      <a:gd name="T58" fmla="*/ 2147483647 w 1098"/>
                      <a:gd name="T59" fmla="*/ 2147483647 h 1110"/>
                      <a:gd name="T60" fmla="*/ 2147483647 w 1098"/>
                      <a:gd name="T61" fmla="*/ 2147483647 h 1110"/>
                      <a:gd name="T62" fmla="*/ 2147483647 w 1098"/>
                      <a:gd name="T63" fmla="*/ 2147483647 h 1110"/>
                      <a:gd name="T64" fmla="*/ 2147483647 w 1098"/>
                      <a:gd name="T65" fmla="*/ 2147483647 h 1110"/>
                      <a:gd name="T66" fmla="*/ 2147483647 w 1098"/>
                      <a:gd name="T67" fmla="*/ 2147483647 h 1110"/>
                      <a:gd name="T68" fmla="*/ 2147483647 w 1098"/>
                      <a:gd name="T69" fmla="*/ 2147483647 h 1110"/>
                      <a:gd name="T70" fmla="*/ 2147483647 w 1098"/>
                      <a:gd name="T71" fmla="*/ 2147483647 h 1110"/>
                      <a:gd name="T72" fmla="*/ 2147483647 w 1098"/>
                      <a:gd name="T73" fmla="*/ 2147483647 h 1110"/>
                      <a:gd name="T74" fmla="*/ 2147483647 w 1098"/>
                      <a:gd name="T75" fmla="*/ 2147483647 h 1110"/>
                      <a:gd name="T76" fmla="*/ 2147483647 w 1098"/>
                      <a:gd name="T77" fmla="*/ 2147483647 h 1110"/>
                      <a:gd name="T78" fmla="*/ 2147483647 w 1098"/>
                      <a:gd name="T79" fmla="*/ 2147483647 h 1110"/>
                      <a:gd name="T80" fmla="*/ 2147483647 w 1098"/>
                      <a:gd name="T81" fmla="*/ 2147483647 h 1110"/>
                      <a:gd name="T82" fmla="*/ 2147483647 w 1098"/>
                      <a:gd name="T83" fmla="*/ 2147483647 h 1110"/>
                      <a:gd name="T84" fmla="*/ 2147483647 w 1098"/>
                      <a:gd name="T85" fmla="*/ 2147483647 h 1110"/>
                      <a:gd name="T86" fmla="*/ 2147483647 w 1098"/>
                      <a:gd name="T87" fmla="*/ 2147483647 h 1110"/>
                      <a:gd name="T88" fmla="*/ 2147483647 w 1098"/>
                      <a:gd name="T89" fmla="*/ 2147483647 h 1110"/>
                      <a:gd name="T90" fmla="*/ 2147483647 w 1098"/>
                      <a:gd name="T91" fmla="*/ 2147483647 h 1110"/>
                      <a:gd name="T92" fmla="*/ 2147483647 w 1098"/>
                      <a:gd name="T93" fmla="*/ 2147483647 h 1110"/>
                      <a:gd name="T94" fmla="*/ 2147483647 w 1098"/>
                      <a:gd name="T95" fmla="*/ 2147483647 h 1110"/>
                      <a:gd name="T96" fmla="*/ 2147483647 w 1098"/>
                      <a:gd name="T97" fmla="*/ 2147483647 h 1110"/>
                      <a:gd name="T98" fmla="*/ 2147483647 w 1098"/>
                      <a:gd name="T99" fmla="*/ 2147483647 h 1110"/>
                      <a:gd name="T100" fmla="*/ 2147483647 w 1098"/>
                      <a:gd name="T101" fmla="*/ 2147483647 h 1110"/>
                      <a:gd name="T102" fmla="*/ 2147483647 w 1098"/>
                      <a:gd name="T103" fmla="*/ 2147483647 h 1110"/>
                      <a:gd name="T104" fmla="*/ 2147483647 w 1098"/>
                      <a:gd name="T105" fmla="*/ 2147483647 h 1110"/>
                      <a:gd name="T106" fmla="*/ 2147483647 w 1098"/>
                      <a:gd name="T107" fmla="*/ 2147483647 h 1110"/>
                      <a:gd name="T108" fmla="*/ 2147483647 w 1098"/>
                      <a:gd name="T109" fmla="*/ 2147483647 h 1110"/>
                      <a:gd name="T110" fmla="*/ 2147483647 w 1098"/>
                      <a:gd name="T111" fmla="*/ 2147483647 h 1110"/>
                      <a:gd name="T112" fmla="*/ 2147483647 w 1098"/>
                      <a:gd name="T113" fmla="*/ 2147483647 h 111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8"/>
                      <a:gd name="T172" fmla="*/ 0 h 1110"/>
                      <a:gd name="T173" fmla="*/ 1098 w 1098"/>
                      <a:gd name="T174" fmla="*/ 1110 h 1110"/>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8" h="1110">
                        <a:moveTo>
                          <a:pt x="156" y="60"/>
                        </a:moveTo>
                        <a:lnTo>
                          <a:pt x="150" y="66"/>
                        </a:lnTo>
                        <a:lnTo>
                          <a:pt x="126" y="78"/>
                        </a:lnTo>
                        <a:lnTo>
                          <a:pt x="114" y="78"/>
                        </a:lnTo>
                        <a:lnTo>
                          <a:pt x="102" y="84"/>
                        </a:lnTo>
                        <a:lnTo>
                          <a:pt x="96" y="90"/>
                        </a:lnTo>
                        <a:lnTo>
                          <a:pt x="90" y="102"/>
                        </a:lnTo>
                        <a:lnTo>
                          <a:pt x="84" y="108"/>
                        </a:lnTo>
                        <a:lnTo>
                          <a:pt x="78" y="120"/>
                        </a:lnTo>
                        <a:lnTo>
                          <a:pt x="72" y="120"/>
                        </a:lnTo>
                        <a:lnTo>
                          <a:pt x="54" y="138"/>
                        </a:lnTo>
                        <a:lnTo>
                          <a:pt x="54" y="156"/>
                        </a:lnTo>
                        <a:lnTo>
                          <a:pt x="66" y="180"/>
                        </a:lnTo>
                        <a:lnTo>
                          <a:pt x="66" y="204"/>
                        </a:lnTo>
                        <a:lnTo>
                          <a:pt x="36" y="234"/>
                        </a:lnTo>
                        <a:lnTo>
                          <a:pt x="30" y="234"/>
                        </a:lnTo>
                        <a:lnTo>
                          <a:pt x="24" y="240"/>
                        </a:lnTo>
                        <a:lnTo>
                          <a:pt x="12" y="246"/>
                        </a:lnTo>
                        <a:lnTo>
                          <a:pt x="6" y="246"/>
                        </a:lnTo>
                        <a:lnTo>
                          <a:pt x="0" y="252"/>
                        </a:lnTo>
                        <a:lnTo>
                          <a:pt x="12" y="270"/>
                        </a:lnTo>
                        <a:lnTo>
                          <a:pt x="36" y="330"/>
                        </a:lnTo>
                        <a:lnTo>
                          <a:pt x="48" y="354"/>
                        </a:lnTo>
                        <a:lnTo>
                          <a:pt x="48" y="360"/>
                        </a:lnTo>
                        <a:lnTo>
                          <a:pt x="42" y="372"/>
                        </a:lnTo>
                        <a:lnTo>
                          <a:pt x="42" y="402"/>
                        </a:lnTo>
                        <a:lnTo>
                          <a:pt x="36" y="408"/>
                        </a:lnTo>
                        <a:lnTo>
                          <a:pt x="36" y="414"/>
                        </a:lnTo>
                        <a:lnTo>
                          <a:pt x="42" y="432"/>
                        </a:lnTo>
                        <a:lnTo>
                          <a:pt x="30" y="456"/>
                        </a:lnTo>
                        <a:lnTo>
                          <a:pt x="36" y="510"/>
                        </a:lnTo>
                        <a:lnTo>
                          <a:pt x="36" y="516"/>
                        </a:lnTo>
                        <a:lnTo>
                          <a:pt x="42" y="522"/>
                        </a:lnTo>
                        <a:lnTo>
                          <a:pt x="42" y="534"/>
                        </a:lnTo>
                        <a:lnTo>
                          <a:pt x="36" y="546"/>
                        </a:lnTo>
                        <a:lnTo>
                          <a:pt x="30" y="552"/>
                        </a:lnTo>
                        <a:lnTo>
                          <a:pt x="18" y="558"/>
                        </a:lnTo>
                        <a:lnTo>
                          <a:pt x="6" y="558"/>
                        </a:lnTo>
                        <a:lnTo>
                          <a:pt x="0" y="564"/>
                        </a:lnTo>
                        <a:lnTo>
                          <a:pt x="0" y="570"/>
                        </a:lnTo>
                        <a:lnTo>
                          <a:pt x="6" y="582"/>
                        </a:lnTo>
                        <a:lnTo>
                          <a:pt x="18" y="594"/>
                        </a:lnTo>
                        <a:lnTo>
                          <a:pt x="24" y="612"/>
                        </a:lnTo>
                        <a:lnTo>
                          <a:pt x="36" y="624"/>
                        </a:lnTo>
                        <a:lnTo>
                          <a:pt x="42" y="636"/>
                        </a:lnTo>
                        <a:lnTo>
                          <a:pt x="48" y="642"/>
                        </a:lnTo>
                        <a:lnTo>
                          <a:pt x="48" y="684"/>
                        </a:lnTo>
                        <a:lnTo>
                          <a:pt x="72" y="708"/>
                        </a:lnTo>
                        <a:lnTo>
                          <a:pt x="96" y="696"/>
                        </a:lnTo>
                        <a:lnTo>
                          <a:pt x="102" y="696"/>
                        </a:lnTo>
                        <a:lnTo>
                          <a:pt x="138" y="714"/>
                        </a:lnTo>
                        <a:lnTo>
                          <a:pt x="150" y="714"/>
                        </a:lnTo>
                        <a:lnTo>
                          <a:pt x="162" y="726"/>
                        </a:lnTo>
                        <a:lnTo>
                          <a:pt x="162" y="732"/>
                        </a:lnTo>
                        <a:lnTo>
                          <a:pt x="168" y="744"/>
                        </a:lnTo>
                        <a:lnTo>
                          <a:pt x="174" y="762"/>
                        </a:lnTo>
                        <a:lnTo>
                          <a:pt x="180" y="774"/>
                        </a:lnTo>
                        <a:lnTo>
                          <a:pt x="186" y="780"/>
                        </a:lnTo>
                        <a:lnTo>
                          <a:pt x="186" y="786"/>
                        </a:lnTo>
                        <a:lnTo>
                          <a:pt x="222" y="792"/>
                        </a:lnTo>
                        <a:lnTo>
                          <a:pt x="234" y="792"/>
                        </a:lnTo>
                        <a:lnTo>
                          <a:pt x="246" y="798"/>
                        </a:lnTo>
                        <a:lnTo>
                          <a:pt x="258" y="798"/>
                        </a:lnTo>
                        <a:lnTo>
                          <a:pt x="276" y="804"/>
                        </a:lnTo>
                        <a:lnTo>
                          <a:pt x="288" y="810"/>
                        </a:lnTo>
                        <a:lnTo>
                          <a:pt x="294" y="810"/>
                        </a:lnTo>
                        <a:lnTo>
                          <a:pt x="300" y="816"/>
                        </a:lnTo>
                        <a:lnTo>
                          <a:pt x="312" y="822"/>
                        </a:lnTo>
                        <a:lnTo>
                          <a:pt x="318" y="828"/>
                        </a:lnTo>
                        <a:lnTo>
                          <a:pt x="324" y="840"/>
                        </a:lnTo>
                        <a:lnTo>
                          <a:pt x="336" y="846"/>
                        </a:lnTo>
                        <a:lnTo>
                          <a:pt x="342" y="852"/>
                        </a:lnTo>
                        <a:lnTo>
                          <a:pt x="360" y="846"/>
                        </a:lnTo>
                        <a:lnTo>
                          <a:pt x="396" y="828"/>
                        </a:lnTo>
                        <a:lnTo>
                          <a:pt x="456" y="792"/>
                        </a:lnTo>
                        <a:lnTo>
                          <a:pt x="468" y="786"/>
                        </a:lnTo>
                        <a:lnTo>
                          <a:pt x="1026" y="1110"/>
                        </a:lnTo>
                        <a:lnTo>
                          <a:pt x="1026" y="1062"/>
                        </a:lnTo>
                        <a:lnTo>
                          <a:pt x="1098" y="1062"/>
                        </a:lnTo>
                        <a:lnTo>
                          <a:pt x="1098" y="828"/>
                        </a:lnTo>
                        <a:lnTo>
                          <a:pt x="1092" y="750"/>
                        </a:lnTo>
                        <a:lnTo>
                          <a:pt x="1092" y="660"/>
                        </a:lnTo>
                        <a:lnTo>
                          <a:pt x="1086" y="564"/>
                        </a:lnTo>
                        <a:lnTo>
                          <a:pt x="1086" y="468"/>
                        </a:lnTo>
                        <a:lnTo>
                          <a:pt x="1080" y="390"/>
                        </a:lnTo>
                        <a:lnTo>
                          <a:pt x="1080" y="306"/>
                        </a:lnTo>
                        <a:lnTo>
                          <a:pt x="1068" y="270"/>
                        </a:lnTo>
                        <a:lnTo>
                          <a:pt x="1056" y="258"/>
                        </a:lnTo>
                        <a:lnTo>
                          <a:pt x="1050" y="246"/>
                        </a:lnTo>
                        <a:lnTo>
                          <a:pt x="1050" y="240"/>
                        </a:lnTo>
                        <a:lnTo>
                          <a:pt x="1056" y="228"/>
                        </a:lnTo>
                        <a:lnTo>
                          <a:pt x="1062" y="222"/>
                        </a:lnTo>
                        <a:lnTo>
                          <a:pt x="1068" y="210"/>
                        </a:lnTo>
                        <a:lnTo>
                          <a:pt x="1074" y="204"/>
                        </a:lnTo>
                        <a:lnTo>
                          <a:pt x="1074" y="198"/>
                        </a:lnTo>
                        <a:lnTo>
                          <a:pt x="1068" y="186"/>
                        </a:lnTo>
                        <a:lnTo>
                          <a:pt x="1056" y="180"/>
                        </a:lnTo>
                        <a:lnTo>
                          <a:pt x="1056" y="150"/>
                        </a:lnTo>
                        <a:lnTo>
                          <a:pt x="1080" y="126"/>
                        </a:lnTo>
                        <a:lnTo>
                          <a:pt x="1074" y="114"/>
                        </a:lnTo>
                        <a:lnTo>
                          <a:pt x="1074" y="96"/>
                        </a:lnTo>
                        <a:lnTo>
                          <a:pt x="1056" y="102"/>
                        </a:lnTo>
                        <a:lnTo>
                          <a:pt x="1044" y="90"/>
                        </a:lnTo>
                        <a:lnTo>
                          <a:pt x="1032" y="102"/>
                        </a:lnTo>
                        <a:lnTo>
                          <a:pt x="1026" y="102"/>
                        </a:lnTo>
                        <a:lnTo>
                          <a:pt x="1020" y="96"/>
                        </a:lnTo>
                        <a:lnTo>
                          <a:pt x="1008" y="90"/>
                        </a:lnTo>
                        <a:lnTo>
                          <a:pt x="1002" y="84"/>
                        </a:lnTo>
                        <a:lnTo>
                          <a:pt x="990" y="78"/>
                        </a:lnTo>
                        <a:lnTo>
                          <a:pt x="978" y="78"/>
                        </a:lnTo>
                        <a:lnTo>
                          <a:pt x="966" y="84"/>
                        </a:lnTo>
                        <a:lnTo>
                          <a:pt x="954" y="84"/>
                        </a:lnTo>
                        <a:lnTo>
                          <a:pt x="942" y="78"/>
                        </a:lnTo>
                        <a:lnTo>
                          <a:pt x="936" y="72"/>
                        </a:lnTo>
                        <a:lnTo>
                          <a:pt x="936" y="48"/>
                        </a:lnTo>
                        <a:lnTo>
                          <a:pt x="930" y="42"/>
                        </a:lnTo>
                        <a:lnTo>
                          <a:pt x="918" y="36"/>
                        </a:lnTo>
                        <a:lnTo>
                          <a:pt x="882" y="36"/>
                        </a:lnTo>
                        <a:lnTo>
                          <a:pt x="876" y="30"/>
                        </a:lnTo>
                        <a:lnTo>
                          <a:pt x="864" y="30"/>
                        </a:lnTo>
                        <a:lnTo>
                          <a:pt x="852" y="24"/>
                        </a:lnTo>
                        <a:lnTo>
                          <a:pt x="840" y="24"/>
                        </a:lnTo>
                        <a:lnTo>
                          <a:pt x="834" y="30"/>
                        </a:lnTo>
                        <a:lnTo>
                          <a:pt x="834" y="36"/>
                        </a:lnTo>
                        <a:lnTo>
                          <a:pt x="798" y="36"/>
                        </a:lnTo>
                        <a:lnTo>
                          <a:pt x="780" y="42"/>
                        </a:lnTo>
                        <a:lnTo>
                          <a:pt x="768" y="48"/>
                        </a:lnTo>
                        <a:lnTo>
                          <a:pt x="732" y="84"/>
                        </a:lnTo>
                        <a:lnTo>
                          <a:pt x="720" y="108"/>
                        </a:lnTo>
                        <a:lnTo>
                          <a:pt x="720" y="120"/>
                        </a:lnTo>
                        <a:lnTo>
                          <a:pt x="726" y="138"/>
                        </a:lnTo>
                        <a:lnTo>
                          <a:pt x="738" y="150"/>
                        </a:lnTo>
                        <a:lnTo>
                          <a:pt x="744" y="162"/>
                        </a:lnTo>
                        <a:lnTo>
                          <a:pt x="744" y="180"/>
                        </a:lnTo>
                        <a:lnTo>
                          <a:pt x="738" y="192"/>
                        </a:lnTo>
                        <a:lnTo>
                          <a:pt x="714" y="216"/>
                        </a:lnTo>
                        <a:lnTo>
                          <a:pt x="708" y="228"/>
                        </a:lnTo>
                        <a:lnTo>
                          <a:pt x="696" y="234"/>
                        </a:lnTo>
                        <a:lnTo>
                          <a:pt x="666" y="234"/>
                        </a:lnTo>
                        <a:lnTo>
                          <a:pt x="648" y="228"/>
                        </a:lnTo>
                        <a:lnTo>
                          <a:pt x="630" y="216"/>
                        </a:lnTo>
                        <a:lnTo>
                          <a:pt x="612" y="198"/>
                        </a:lnTo>
                        <a:lnTo>
                          <a:pt x="582" y="180"/>
                        </a:lnTo>
                        <a:lnTo>
                          <a:pt x="552" y="168"/>
                        </a:lnTo>
                        <a:lnTo>
                          <a:pt x="528" y="162"/>
                        </a:lnTo>
                        <a:lnTo>
                          <a:pt x="462" y="162"/>
                        </a:lnTo>
                        <a:lnTo>
                          <a:pt x="438" y="150"/>
                        </a:lnTo>
                        <a:lnTo>
                          <a:pt x="426" y="138"/>
                        </a:lnTo>
                        <a:lnTo>
                          <a:pt x="420" y="126"/>
                        </a:lnTo>
                        <a:lnTo>
                          <a:pt x="414" y="108"/>
                        </a:lnTo>
                        <a:lnTo>
                          <a:pt x="414" y="96"/>
                        </a:lnTo>
                        <a:lnTo>
                          <a:pt x="402" y="72"/>
                        </a:lnTo>
                        <a:lnTo>
                          <a:pt x="378" y="60"/>
                        </a:lnTo>
                        <a:lnTo>
                          <a:pt x="366" y="60"/>
                        </a:lnTo>
                        <a:lnTo>
                          <a:pt x="354" y="54"/>
                        </a:lnTo>
                        <a:lnTo>
                          <a:pt x="348" y="48"/>
                        </a:lnTo>
                        <a:lnTo>
                          <a:pt x="324" y="36"/>
                        </a:lnTo>
                        <a:lnTo>
                          <a:pt x="318" y="36"/>
                        </a:lnTo>
                        <a:lnTo>
                          <a:pt x="306" y="30"/>
                        </a:lnTo>
                        <a:lnTo>
                          <a:pt x="264" y="30"/>
                        </a:lnTo>
                        <a:lnTo>
                          <a:pt x="252" y="36"/>
                        </a:lnTo>
                        <a:lnTo>
                          <a:pt x="216" y="36"/>
                        </a:lnTo>
                        <a:lnTo>
                          <a:pt x="192" y="24"/>
                        </a:lnTo>
                        <a:lnTo>
                          <a:pt x="180" y="12"/>
                        </a:lnTo>
                        <a:lnTo>
                          <a:pt x="168" y="6"/>
                        </a:lnTo>
                        <a:lnTo>
                          <a:pt x="150" y="6"/>
                        </a:lnTo>
                        <a:lnTo>
                          <a:pt x="144" y="0"/>
                        </a:lnTo>
                        <a:lnTo>
                          <a:pt x="138" y="42"/>
                        </a:lnTo>
                        <a:lnTo>
                          <a:pt x="144" y="42"/>
                        </a:lnTo>
                        <a:lnTo>
                          <a:pt x="156" y="54"/>
                        </a:lnTo>
                        <a:lnTo>
                          <a:pt x="156"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02" name="Liberia"/>
                  <p:cNvSpPr>
                    <a:spLocks/>
                  </p:cNvSpPr>
                  <p:nvPr/>
                </p:nvSpPr>
                <p:spPr bwMode="gray">
                  <a:xfrm>
                    <a:off x="2439" y="2133"/>
                    <a:ext cx="79" cy="88"/>
                  </a:xfrm>
                  <a:custGeom>
                    <a:avLst/>
                    <a:gdLst>
                      <a:gd name="T0" fmla="*/ 2147483647 w 312"/>
                      <a:gd name="T1" fmla="*/ 2147483647 h 342"/>
                      <a:gd name="T2" fmla="*/ 2147483647 w 312"/>
                      <a:gd name="T3" fmla="*/ 2147483647 h 342"/>
                      <a:gd name="T4" fmla="*/ 2147483647 w 312"/>
                      <a:gd name="T5" fmla="*/ 2147483647 h 342"/>
                      <a:gd name="T6" fmla="*/ 2147483647 w 312"/>
                      <a:gd name="T7" fmla="*/ 2147483647 h 342"/>
                      <a:gd name="T8" fmla="*/ 2147483647 w 312"/>
                      <a:gd name="T9" fmla="*/ 2147483647 h 342"/>
                      <a:gd name="T10" fmla="*/ 2147483647 w 312"/>
                      <a:gd name="T11" fmla="*/ 2147483647 h 342"/>
                      <a:gd name="T12" fmla="*/ 2147483647 w 312"/>
                      <a:gd name="T13" fmla="*/ 2147483647 h 342"/>
                      <a:gd name="T14" fmla="*/ 2147483647 w 312"/>
                      <a:gd name="T15" fmla="*/ 2147483647 h 342"/>
                      <a:gd name="T16" fmla="*/ 2147483647 w 312"/>
                      <a:gd name="T17" fmla="*/ 2147483647 h 342"/>
                      <a:gd name="T18" fmla="*/ 2147483647 w 312"/>
                      <a:gd name="T19" fmla="*/ 2147483647 h 342"/>
                      <a:gd name="T20" fmla="*/ 2147483647 w 312"/>
                      <a:gd name="T21" fmla="*/ 2147483647 h 342"/>
                      <a:gd name="T22" fmla="*/ 2147483647 w 312"/>
                      <a:gd name="T23" fmla="*/ 2147483647 h 342"/>
                      <a:gd name="T24" fmla="*/ 2147483647 w 312"/>
                      <a:gd name="T25" fmla="*/ 2147483647 h 342"/>
                      <a:gd name="T26" fmla="*/ 2147483647 w 312"/>
                      <a:gd name="T27" fmla="*/ 2147483647 h 342"/>
                      <a:gd name="T28" fmla="*/ 2147483647 w 312"/>
                      <a:gd name="T29" fmla="*/ 2147483647 h 342"/>
                      <a:gd name="T30" fmla="*/ 2147483647 w 312"/>
                      <a:gd name="T31" fmla="*/ 2147483647 h 342"/>
                      <a:gd name="T32" fmla="*/ 2147483647 w 312"/>
                      <a:gd name="T33" fmla="*/ 2147483647 h 342"/>
                      <a:gd name="T34" fmla="*/ 2147483647 w 312"/>
                      <a:gd name="T35" fmla="*/ 2147483647 h 342"/>
                      <a:gd name="T36" fmla="*/ 2147483647 w 312"/>
                      <a:gd name="T37" fmla="*/ 2147483647 h 342"/>
                      <a:gd name="T38" fmla="*/ 2147483647 w 312"/>
                      <a:gd name="T39" fmla="*/ 2147483647 h 342"/>
                      <a:gd name="T40" fmla="*/ 2147483647 w 312"/>
                      <a:gd name="T41" fmla="*/ 2147483647 h 342"/>
                      <a:gd name="T42" fmla="*/ 2147483647 w 312"/>
                      <a:gd name="T43" fmla="*/ 2147483647 h 342"/>
                      <a:gd name="T44" fmla="*/ 2147483647 w 312"/>
                      <a:gd name="T45" fmla="*/ 2147483647 h 342"/>
                      <a:gd name="T46" fmla="*/ 2147483647 w 312"/>
                      <a:gd name="T47" fmla="*/ 2147483647 h 342"/>
                      <a:gd name="T48" fmla="*/ 2147483647 w 312"/>
                      <a:gd name="T49" fmla="*/ 2147483647 h 342"/>
                      <a:gd name="T50" fmla="*/ 2147483647 w 312"/>
                      <a:gd name="T51" fmla="*/ 0 h 342"/>
                      <a:gd name="T52" fmla="*/ 2147483647 w 312"/>
                      <a:gd name="T53" fmla="*/ 0 h 342"/>
                      <a:gd name="T54" fmla="*/ 2147483647 w 312"/>
                      <a:gd name="T55" fmla="*/ 2147483647 h 342"/>
                      <a:gd name="T56" fmla="*/ 2147483647 w 312"/>
                      <a:gd name="T57" fmla="*/ 2147483647 h 342"/>
                      <a:gd name="T58" fmla="*/ 2147483647 w 312"/>
                      <a:gd name="T59" fmla="*/ 2147483647 h 342"/>
                      <a:gd name="T60" fmla="*/ 2147483647 w 312"/>
                      <a:gd name="T61" fmla="*/ 2147483647 h 342"/>
                      <a:gd name="T62" fmla="*/ 2147483647 w 312"/>
                      <a:gd name="T63" fmla="*/ 2147483647 h 342"/>
                      <a:gd name="T64" fmla="*/ 2147483647 w 312"/>
                      <a:gd name="T65" fmla="*/ 2147483647 h 342"/>
                      <a:gd name="T66" fmla="*/ 2147483647 w 312"/>
                      <a:gd name="T67" fmla="*/ 2147483647 h 342"/>
                      <a:gd name="T68" fmla="*/ 2147483647 w 312"/>
                      <a:gd name="T69" fmla="*/ 2147483647 h 342"/>
                      <a:gd name="T70" fmla="*/ 2147483647 w 312"/>
                      <a:gd name="T71" fmla="*/ 2147483647 h 342"/>
                      <a:gd name="T72" fmla="*/ 2147483647 w 312"/>
                      <a:gd name="T73" fmla="*/ 2147483647 h 342"/>
                      <a:gd name="T74" fmla="*/ 2147483647 w 312"/>
                      <a:gd name="T75" fmla="*/ 2147483647 h 342"/>
                      <a:gd name="T76" fmla="*/ 2147483647 w 312"/>
                      <a:gd name="T77" fmla="*/ 2147483647 h 342"/>
                      <a:gd name="T78" fmla="*/ 0 w 312"/>
                      <a:gd name="T79" fmla="*/ 2147483647 h 342"/>
                      <a:gd name="T80" fmla="*/ 2147483647 w 312"/>
                      <a:gd name="T81" fmla="*/ 2147483647 h 342"/>
                      <a:gd name="T82" fmla="*/ 2147483647 w 312"/>
                      <a:gd name="T83" fmla="*/ 2147483647 h 342"/>
                      <a:gd name="T84" fmla="*/ 2147483647 w 312"/>
                      <a:gd name="T85" fmla="*/ 2147483647 h 342"/>
                      <a:gd name="T86" fmla="*/ 2147483647 w 312"/>
                      <a:gd name="T87" fmla="*/ 2147483647 h 342"/>
                      <a:gd name="T88" fmla="*/ 2147483647 w 312"/>
                      <a:gd name="T89" fmla="*/ 2147483647 h 342"/>
                      <a:gd name="T90" fmla="*/ 2147483647 w 312"/>
                      <a:gd name="T91" fmla="*/ 2147483647 h 342"/>
                      <a:gd name="T92" fmla="*/ 2147483647 w 312"/>
                      <a:gd name="T93" fmla="*/ 2147483647 h 342"/>
                      <a:gd name="T94" fmla="*/ 2147483647 w 312"/>
                      <a:gd name="T95" fmla="*/ 2147483647 h 342"/>
                      <a:gd name="T96" fmla="*/ 2147483647 w 312"/>
                      <a:gd name="T97" fmla="*/ 2147483647 h 342"/>
                      <a:gd name="T98" fmla="*/ 2147483647 w 312"/>
                      <a:gd name="T99" fmla="*/ 2147483647 h 342"/>
                      <a:gd name="T100" fmla="*/ 2147483647 w 312"/>
                      <a:gd name="T101" fmla="*/ 2147483647 h 342"/>
                      <a:gd name="T102" fmla="*/ 2147483647 w 312"/>
                      <a:gd name="T103" fmla="*/ 2147483647 h 342"/>
                      <a:gd name="T104" fmla="*/ 2147483647 w 312"/>
                      <a:gd name="T105" fmla="*/ 2147483647 h 342"/>
                      <a:gd name="T106" fmla="*/ 2147483647 w 312"/>
                      <a:gd name="T107" fmla="*/ 2147483647 h 342"/>
                      <a:gd name="T108" fmla="*/ 2147483647 w 312"/>
                      <a:gd name="T109" fmla="*/ 2147483647 h 342"/>
                      <a:gd name="T110" fmla="*/ 2147483647 w 312"/>
                      <a:gd name="T111" fmla="*/ 2147483647 h 342"/>
                      <a:gd name="T112" fmla="*/ 2147483647 w 312"/>
                      <a:gd name="T113" fmla="*/ 2147483647 h 342"/>
                      <a:gd name="T114" fmla="*/ 2147483647 w 312"/>
                      <a:gd name="T115" fmla="*/ 2147483647 h 342"/>
                      <a:gd name="T116" fmla="*/ 2147483647 w 312"/>
                      <a:gd name="T117" fmla="*/ 2147483647 h 342"/>
                      <a:gd name="T118" fmla="*/ 2147483647 w 312"/>
                      <a:gd name="T119" fmla="*/ 2147483647 h 342"/>
                      <a:gd name="T120" fmla="*/ 2147483647 w 312"/>
                      <a:gd name="T121" fmla="*/ 2147483647 h 34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12"/>
                      <a:gd name="T184" fmla="*/ 0 h 342"/>
                      <a:gd name="T185" fmla="*/ 312 w 312"/>
                      <a:gd name="T186" fmla="*/ 342 h 34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12" h="342">
                        <a:moveTo>
                          <a:pt x="312" y="252"/>
                        </a:moveTo>
                        <a:lnTo>
                          <a:pt x="312" y="240"/>
                        </a:lnTo>
                        <a:lnTo>
                          <a:pt x="282" y="210"/>
                        </a:lnTo>
                        <a:lnTo>
                          <a:pt x="282" y="180"/>
                        </a:lnTo>
                        <a:lnTo>
                          <a:pt x="246" y="186"/>
                        </a:lnTo>
                        <a:lnTo>
                          <a:pt x="246" y="174"/>
                        </a:lnTo>
                        <a:lnTo>
                          <a:pt x="228" y="174"/>
                        </a:lnTo>
                        <a:lnTo>
                          <a:pt x="222" y="168"/>
                        </a:lnTo>
                        <a:lnTo>
                          <a:pt x="228" y="156"/>
                        </a:lnTo>
                        <a:lnTo>
                          <a:pt x="240" y="150"/>
                        </a:lnTo>
                        <a:lnTo>
                          <a:pt x="246" y="132"/>
                        </a:lnTo>
                        <a:lnTo>
                          <a:pt x="246" y="108"/>
                        </a:lnTo>
                        <a:lnTo>
                          <a:pt x="228" y="72"/>
                        </a:lnTo>
                        <a:lnTo>
                          <a:pt x="222" y="72"/>
                        </a:lnTo>
                        <a:lnTo>
                          <a:pt x="216" y="78"/>
                        </a:lnTo>
                        <a:lnTo>
                          <a:pt x="210" y="90"/>
                        </a:lnTo>
                        <a:lnTo>
                          <a:pt x="210" y="102"/>
                        </a:lnTo>
                        <a:lnTo>
                          <a:pt x="198" y="114"/>
                        </a:lnTo>
                        <a:lnTo>
                          <a:pt x="192" y="114"/>
                        </a:lnTo>
                        <a:lnTo>
                          <a:pt x="180" y="102"/>
                        </a:lnTo>
                        <a:lnTo>
                          <a:pt x="180" y="96"/>
                        </a:lnTo>
                        <a:lnTo>
                          <a:pt x="168" y="96"/>
                        </a:lnTo>
                        <a:lnTo>
                          <a:pt x="168" y="36"/>
                        </a:lnTo>
                        <a:lnTo>
                          <a:pt x="162" y="18"/>
                        </a:lnTo>
                        <a:lnTo>
                          <a:pt x="150" y="6"/>
                        </a:lnTo>
                        <a:lnTo>
                          <a:pt x="138" y="0"/>
                        </a:lnTo>
                        <a:lnTo>
                          <a:pt x="132" y="0"/>
                        </a:lnTo>
                        <a:lnTo>
                          <a:pt x="126" y="6"/>
                        </a:lnTo>
                        <a:lnTo>
                          <a:pt x="126" y="18"/>
                        </a:lnTo>
                        <a:lnTo>
                          <a:pt x="102" y="12"/>
                        </a:lnTo>
                        <a:lnTo>
                          <a:pt x="108" y="36"/>
                        </a:lnTo>
                        <a:lnTo>
                          <a:pt x="84" y="42"/>
                        </a:lnTo>
                        <a:lnTo>
                          <a:pt x="84" y="60"/>
                        </a:lnTo>
                        <a:lnTo>
                          <a:pt x="78" y="72"/>
                        </a:lnTo>
                        <a:lnTo>
                          <a:pt x="66" y="78"/>
                        </a:lnTo>
                        <a:lnTo>
                          <a:pt x="54" y="90"/>
                        </a:lnTo>
                        <a:lnTo>
                          <a:pt x="42" y="96"/>
                        </a:lnTo>
                        <a:lnTo>
                          <a:pt x="24" y="114"/>
                        </a:lnTo>
                        <a:lnTo>
                          <a:pt x="24" y="150"/>
                        </a:lnTo>
                        <a:lnTo>
                          <a:pt x="0" y="126"/>
                        </a:lnTo>
                        <a:lnTo>
                          <a:pt x="36" y="162"/>
                        </a:lnTo>
                        <a:lnTo>
                          <a:pt x="60" y="162"/>
                        </a:lnTo>
                        <a:lnTo>
                          <a:pt x="72" y="192"/>
                        </a:lnTo>
                        <a:lnTo>
                          <a:pt x="102" y="192"/>
                        </a:lnTo>
                        <a:lnTo>
                          <a:pt x="108" y="198"/>
                        </a:lnTo>
                        <a:lnTo>
                          <a:pt x="120" y="222"/>
                        </a:lnTo>
                        <a:lnTo>
                          <a:pt x="132" y="240"/>
                        </a:lnTo>
                        <a:lnTo>
                          <a:pt x="150" y="252"/>
                        </a:lnTo>
                        <a:lnTo>
                          <a:pt x="162" y="270"/>
                        </a:lnTo>
                        <a:lnTo>
                          <a:pt x="180" y="282"/>
                        </a:lnTo>
                        <a:lnTo>
                          <a:pt x="198" y="288"/>
                        </a:lnTo>
                        <a:lnTo>
                          <a:pt x="210" y="294"/>
                        </a:lnTo>
                        <a:lnTo>
                          <a:pt x="228" y="300"/>
                        </a:lnTo>
                        <a:lnTo>
                          <a:pt x="258" y="330"/>
                        </a:lnTo>
                        <a:lnTo>
                          <a:pt x="294" y="342"/>
                        </a:lnTo>
                        <a:lnTo>
                          <a:pt x="300" y="342"/>
                        </a:lnTo>
                        <a:lnTo>
                          <a:pt x="300" y="294"/>
                        </a:lnTo>
                        <a:lnTo>
                          <a:pt x="306" y="288"/>
                        </a:lnTo>
                        <a:lnTo>
                          <a:pt x="306" y="276"/>
                        </a:lnTo>
                        <a:lnTo>
                          <a:pt x="312" y="264"/>
                        </a:lnTo>
                        <a:lnTo>
                          <a:pt x="312" y="25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03" name="Lesotho"/>
                  <p:cNvSpPr>
                    <a:spLocks/>
                  </p:cNvSpPr>
                  <p:nvPr/>
                </p:nvSpPr>
                <p:spPr bwMode="gray">
                  <a:xfrm>
                    <a:off x="3132" y="2900"/>
                    <a:ext cx="43" cy="42"/>
                  </a:xfrm>
                  <a:custGeom>
                    <a:avLst/>
                    <a:gdLst>
                      <a:gd name="T0" fmla="*/ 0 w 168"/>
                      <a:gd name="T1" fmla="*/ 2147483647 h 162"/>
                      <a:gd name="T2" fmla="*/ 2147483647 w 168"/>
                      <a:gd name="T3" fmla="*/ 2147483647 h 162"/>
                      <a:gd name="T4" fmla="*/ 2147483647 w 168"/>
                      <a:gd name="T5" fmla="*/ 2147483647 h 162"/>
                      <a:gd name="T6" fmla="*/ 2147483647 w 168"/>
                      <a:gd name="T7" fmla="*/ 2147483647 h 162"/>
                      <a:gd name="T8" fmla="*/ 2147483647 w 168"/>
                      <a:gd name="T9" fmla="*/ 2147483647 h 162"/>
                      <a:gd name="T10" fmla="*/ 2147483647 w 168"/>
                      <a:gd name="T11" fmla="*/ 2147483647 h 162"/>
                      <a:gd name="T12" fmla="*/ 2147483647 w 168"/>
                      <a:gd name="T13" fmla="*/ 2147483647 h 162"/>
                      <a:gd name="T14" fmla="*/ 2147483647 w 168"/>
                      <a:gd name="T15" fmla="*/ 2147483647 h 162"/>
                      <a:gd name="T16" fmla="*/ 2147483647 w 168"/>
                      <a:gd name="T17" fmla="*/ 2147483647 h 162"/>
                      <a:gd name="T18" fmla="*/ 2147483647 w 168"/>
                      <a:gd name="T19" fmla="*/ 2147483647 h 162"/>
                      <a:gd name="T20" fmla="*/ 2147483647 w 168"/>
                      <a:gd name="T21" fmla="*/ 2147483647 h 162"/>
                      <a:gd name="T22" fmla="*/ 2147483647 w 168"/>
                      <a:gd name="T23" fmla="*/ 2147483647 h 162"/>
                      <a:gd name="T24" fmla="*/ 2147483647 w 168"/>
                      <a:gd name="T25" fmla="*/ 2147483647 h 162"/>
                      <a:gd name="T26" fmla="*/ 2147483647 w 168"/>
                      <a:gd name="T27" fmla="*/ 2147483647 h 162"/>
                      <a:gd name="T28" fmla="*/ 2147483647 w 168"/>
                      <a:gd name="T29" fmla="*/ 2147483647 h 162"/>
                      <a:gd name="T30" fmla="*/ 2147483647 w 168"/>
                      <a:gd name="T31" fmla="*/ 2147483647 h 162"/>
                      <a:gd name="T32" fmla="*/ 2147483647 w 168"/>
                      <a:gd name="T33" fmla="*/ 2147483647 h 162"/>
                      <a:gd name="T34" fmla="*/ 2147483647 w 168"/>
                      <a:gd name="T35" fmla="*/ 2147483647 h 162"/>
                      <a:gd name="T36" fmla="*/ 2147483647 w 168"/>
                      <a:gd name="T37" fmla="*/ 2147483647 h 162"/>
                      <a:gd name="T38" fmla="*/ 2147483647 w 168"/>
                      <a:gd name="T39" fmla="*/ 2147483647 h 162"/>
                      <a:gd name="T40" fmla="*/ 2147483647 w 168"/>
                      <a:gd name="T41" fmla="*/ 2147483647 h 162"/>
                      <a:gd name="T42" fmla="*/ 2147483647 w 168"/>
                      <a:gd name="T43" fmla="*/ 0 h 162"/>
                      <a:gd name="T44" fmla="*/ 2147483647 w 168"/>
                      <a:gd name="T45" fmla="*/ 0 h 162"/>
                      <a:gd name="T46" fmla="*/ 2147483647 w 168"/>
                      <a:gd name="T47" fmla="*/ 2147483647 h 162"/>
                      <a:gd name="T48" fmla="*/ 2147483647 w 168"/>
                      <a:gd name="T49" fmla="*/ 2147483647 h 162"/>
                      <a:gd name="T50" fmla="*/ 2147483647 w 168"/>
                      <a:gd name="T51" fmla="*/ 2147483647 h 162"/>
                      <a:gd name="T52" fmla="*/ 2147483647 w 168"/>
                      <a:gd name="T53" fmla="*/ 2147483647 h 162"/>
                      <a:gd name="T54" fmla="*/ 2147483647 w 168"/>
                      <a:gd name="T55" fmla="*/ 2147483647 h 162"/>
                      <a:gd name="T56" fmla="*/ 2147483647 w 168"/>
                      <a:gd name="T57" fmla="*/ 2147483647 h 162"/>
                      <a:gd name="T58" fmla="*/ 2147483647 w 168"/>
                      <a:gd name="T59" fmla="*/ 2147483647 h 162"/>
                      <a:gd name="T60" fmla="*/ 0 w 168"/>
                      <a:gd name="T61" fmla="*/ 2147483647 h 1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68"/>
                      <a:gd name="T94" fmla="*/ 0 h 162"/>
                      <a:gd name="T95" fmla="*/ 168 w 168"/>
                      <a:gd name="T96" fmla="*/ 162 h 1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68" h="162">
                        <a:moveTo>
                          <a:pt x="0" y="78"/>
                        </a:moveTo>
                        <a:lnTo>
                          <a:pt x="24" y="114"/>
                        </a:lnTo>
                        <a:lnTo>
                          <a:pt x="24" y="132"/>
                        </a:lnTo>
                        <a:lnTo>
                          <a:pt x="54" y="162"/>
                        </a:lnTo>
                        <a:lnTo>
                          <a:pt x="72" y="162"/>
                        </a:lnTo>
                        <a:lnTo>
                          <a:pt x="72" y="150"/>
                        </a:lnTo>
                        <a:lnTo>
                          <a:pt x="78" y="144"/>
                        </a:lnTo>
                        <a:lnTo>
                          <a:pt x="84" y="132"/>
                        </a:lnTo>
                        <a:lnTo>
                          <a:pt x="90" y="126"/>
                        </a:lnTo>
                        <a:lnTo>
                          <a:pt x="102" y="120"/>
                        </a:lnTo>
                        <a:lnTo>
                          <a:pt x="120" y="120"/>
                        </a:lnTo>
                        <a:lnTo>
                          <a:pt x="132" y="114"/>
                        </a:lnTo>
                        <a:lnTo>
                          <a:pt x="138" y="108"/>
                        </a:lnTo>
                        <a:lnTo>
                          <a:pt x="150" y="102"/>
                        </a:lnTo>
                        <a:lnTo>
                          <a:pt x="144" y="84"/>
                        </a:lnTo>
                        <a:lnTo>
                          <a:pt x="168" y="66"/>
                        </a:lnTo>
                        <a:lnTo>
                          <a:pt x="162" y="42"/>
                        </a:lnTo>
                        <a:lnTo>
                          <a:pt x="150" y="36"/>
                        </a:lnTo>
                        <a:lnTo>
                          <a:pt x="144" y="24"/>
                        </a:lnTo>
                        <a:lnTo>
                          <a:pt x="138" y="18"/>
                        </a:lnTo>
                        <a:lnTo>
                          <a:pt x="132" y="6"/>
                        </a:lnTo>
                        <a:lnTo>
                          <a:pt x="126" y="0"/>
                        </a:lnTo>
                        <a:lnTo>
                          <a:pt x="90" y="0"/>
                        </a:lnTo>
                        <a:lnTo>
                          <a:pt x="78" y="6"/>
                        </a:lnTo>
                        <a:lnTo>
                          <a:pt x="78" y="18"/>
                        </a:lnTo>
                        <a:lnTo>
                          <a:pt x="54" y="18"/>
                        </a:lnTo>
                        <a:lnTo>
                          <a:pt x="48" y="24"/>
                        </a:lnTo>
                        <a:lnTo>
                          <a:pt x="48" y="42"/>
                        </a:lnTo>
                        <a:lnTo>
                          <a:pt x="30" y="60"/>
                        </a:lnTo>
                        <a:lnTo>
                          <a:pt x="24" y="78"/>
                        </a:lnTo>
                        <a:lnTo>
                          <a:pt x="0" y="7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04" name="Lebanon"/>
                  <p:cNvSpPr>
                    <a:spLocks/>
                  </p:cNvSpPr>
                  <p:nvPr/>
                </p:nvSpPr>
                <p:spPr bwMode="gray">
                  <a:xfrm>
                    <a:off x="3264" y="1596"/>
                    <a:ext cx="28" cy="40"/>
                  </a:xfrm>
                  <a:custGeom>
                    <a:avLst/>
                    <a:gdLst>
                      <a:gd name="T0" fmla="*/ 2147483647 w 108"/>
                      <a:gd name="T1" fmla="*/ 2147483647 h 156"/>
                      <a:gd name="T2" fmla="*/ 2147483647 w 108"/>
                      <a:gd name="T3" fmla="*/ 2147483647 h 156"/>
                      <a:gd name="T4" fmla="*/ 2147483647 w 108"/>
                      <a:gd name="T5" fmla="*/ 2147483647 h 156"/>
                      <a:gd name="T6" fmla="*/ 2147483647 w 108"/>
                      <a:gd name="T7" fmla="*/ 2147483647 h 156"/>
                      <a:gd name="T8" fmla="*/ 2147483647 w 108"/>
                      <a:gd name="T9" fmla="*/ 2147483647 h 156"/>
                      <a:gd name="T10" fmla="*/ 2147483647 w 108"/>
                      <a:gd name="T11" fmla="*/ 2147483647 h 156"/>
                      <a:gd name="T12" fmla="*/ 2147483647 w 108"/>
                      <a:gd name="T13" fmla="*/ 2147483647 h 156"/>
                      <a:gd name="T14" fmla="*/ 2147483647 w 108"/>
                      <a:gd name="T15" fmla="*/ 2147483647 h 156"/>
                      <a:gd name="T16" fmla="*/ 2147483647 w 108"/>
                      <a:gd name="T17" fmla="*/ 2147483647 h 156"/>
                      <a:gd name="T18" fmla="*/ 2147483647 w 108"/>
                      <a:gd name="T19" fmla="*/ 2147483647 h 156"/>
                      <a:gd name="T20" fmla="*/ 2147483647 w 108"/>
                      <a:gd name="T21" fmla="*/ 0 h 156"/>
                      <a:gd name="T22" fmla="*/ 2147483647 w 108"/>
                      <a:gd name="T23" fmla="*/ 0 h 156"/>
                      <a:gd name="T24" fmla="*/ 2147483647 w 108"/>
                      <a:gd name="T25" fmla="*/ 0 h 156"/>
                      <a:gd name="T26" fmla="*/ 2147483647 w 108"/>
                      <a:gd name="T27" fmla="*/ 2147483647 h 156"/>
                      <a:gd name="T28" fmla="*/ 2147483647 w 108"/>
                      <a:gd name="T29" fmla="*/ 2147483647 h 156"/>
                      <a:gd name="T30" fmla="*/ 2147483647 w 108"/>
                      <a:gd name="T31" fmla="*/ 2147483647 h 156"/>
                      <a:gd name="T32" fmla="*/ 2147483647 w 108"/>
                      <a:gd name="T33" fmla="*/ 2147483647 h 156"/>
                      <a:gd name="T34" fmla="*/ 2147483647 w 108"/>
                      <a:gd name="T35" fmla="*/ 2147483647 h 156"/>
                      <a:gd name="T36" fmla="*/ 2147483647 w 108"/>
                      <a:gd name="T37" fmla="*/ 2147483647 h 156"/>
                      <a:gd name="T38" fmla="*/ 2147483647 w 108"/>
                      <a:gd name="T39" fmla="*/ 2147483647 h 156"/>
                      <a:gd name="T40" fmla="*/ 2147483647 w 108"/>
                      <a:gd name="T41" fmla="*/ 2147483647 h 156"/>
                      <a:gd name="T42" fmla="*/ 0 w 108"/>
                      <a:gd name="T43" fmla="*/ 2147483647 h 156"/>
                      <a:gd name="T44" fmla="*/ 0 w 108"/>
                      <a:gd name="T45" fmla="*/ 2147483647 h 156"/>
                      <a:gd name="T46" fmla="*/ 2147483647 w 108"/>
                      <a:gd name="T47" fmla="*/ 2147483647 h 156"/>
                      <a:gd name="T48" fmla="*/ 2147483647 w 108"/>
                      <a:gd name="T49" fmla="*/ 2147483647 h 156"/>
                      <a:gd name="T50" fmla="*/ 2147483647 w 108"/>
                      <a:gd name="T51" fmla="*/ 2147483647 h 156"/>
                      <a:gd name="T52" fmla="*/ 2147483647 w 108"/>
                      <a:gd name="T53" fmla="*/ 2147483647 h 156"/>
                      <a:gd name="T54" fmla="*/ 2147483647 w 108"/>
                      <a:gd name="T55" fmla="*/ 2147483647 h 156"/>
                      <a:gd name="T56" fmla="*/ 2147483647 w 108"/>
                      <a:gd name="T57" fmla="*/ 2147483647 h 156"/>
                      <a:gd name="T58" fmla="*/ 2147483647 w 108"/>
                      <a:gd name="T59" fmla="*/ 2147483647 h 156"/>
                      <a:gd name="T60" fmla="*/ 2147483647 w 108"/>
                      <a:gd name="T61" fmla="*/ 2147483647 h 15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08"/>
                      <a:gd name="T94" fmla="*/ 0 h 156"/>
                      <a:gd name="T95" fmla="*/ 108 w 108"/>
                      <a:gd name="T96" fmla="*/ 156 h 15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08" h="156">
                        <a:moveTo>
                          <a:pt x="72" y="96"/>
                        </a:moveTo>
                        <a:lnTo>
                          <a:pt x="72" y="72"/>
                        </a:lnTo>
                        <a:lnTo>
                          <a:pt x="78" y="66"/>
                        </a:lnTo>
                        <a:lnTo>
                          <a:pt x="84" y="66"/>
                        </a:lnTo>
                        <a:lnTo>
                          <a:pt x="96" y="60"/>
                        </a:lnTo>
                        <a:lnTo>
                          <a:pt x="102" y="60"/>
                        </a:lnTo>
                        <a:lnTo>
                          <a:pt x="108" y="48"/>
                        </a:lnTo>
                        <a:lnTo>
                          <a:pt x="108" y="30"/>
                        </a:lnTo>
                        <a:lnTo>
                          <a:pt x="102" y="18"/>
                        </a:lnTo>
                        <a:lnTo>
                          <a:pt x="96" y="12"/>
                        </a:lnTo>
                        <a:lnTo>
                          <a:pt x="102" y="0"/>
                        </a:lnTo>
                        <a:lnTo>
                          <a:pt x="54" y="0"/>
                        </a:lnTo>
                        <a:lnTo>
                          <a:pt x="60" y="0"/>
                        </a:lnTo>
                        <a:lnTo>
                          <a:pt x="60" y="6"/>
                        </a:lnTo>
                        <a:lnTo>
                          <a:pt x="54" y="6"/>
                        </a:lnTo>
                        <a:lnTo>
                          <a:pt x="48" y="18"/>
                        </a:lnTo>
                        <a:lnTo>
                          <a:pt x="36" y="24"/>
                        </a:lnTo>
                        <a:lnTo>
                          <a:pt x="30" y="30"/>
                        </a:lnTo>
                        <a:lnTo>
                          <a:pt x="18" y="66"/>
                        </a:lnTo>
                        <a:lnTo>
                          <a:pt x="12" y="78"/>
                        </a:lnTo>
                        <a:lnTo>
                          <a:pt x="12" y="90"/>
                        </a:lnTo>
                        <a:lnTo>
                          <a:pt x="0" y="114"/>
                        </a:lnTo>
                        <a:lnTo>
                          <a:pt x="0" y="156"/>
                        </a:lnTo>
                        <a:lnTo>
                          <a:pt x="12" y="150"/>
                        </a:lnTo>
                        <a:lnTo>
                          <a:pt x="24" y="126"/>
                        </a:lnTo>
                        <a:lnTo>
                          <a:pt x="30" y="132"/>
                        </a:lnTo>
                        <a:lnTo>
                          <a:pt x="36" y="132"/>
                        </a:lnTo>
                        <a:lnTo>
                          <a:pt x="42" y="126"/>
                        </a:lnTo>
                        <a:lnTo>
                          <a:pt x="48" y="114"/>
                        </a:lnTo>
                        <a:lnTo>
                          <a:pt x="48" y="102"/>
                        </a:lnTo>
                        <a:lnTo>
                          <a:pt x="72" y="9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05" name="Latvia"/>
                  <p:cNvSpPr>
                    <a:spLocks/>
                  </p:cNvSpPr>
                  <p:nvPr/>
                </p:nvSpPr>
                <p:spPr bwMode="gray">
                  <a:xfrm>
                    <a:off x="3000" y="1125"/>
                    <a:ext cx="109" cy="46"/>
                  </a:xfrm>
                  <a:custGeom>
                    <a:avLst/>
                    <a:gdLst>
                      <a:gd name="T0" fmla="*/ 2147483647 w 426"/>
                      <a:gd name="T1" fmla="*/ 2147483647 h 180"/>
                      <a:gd name="T2" fmla="*/ 2147483647 w 426"/>
                      <a:gd name="T3" fmla="*/ 2147483647 h 180"/>
                      <a:gd name="T4" fmla="*/ 2147483647 w 426"/>
                      <a:gd name="T5" fmla="*/ 2147483647 h 180"/>
                      <a:gd name="T6" fmla="*/ 2147483647 w 426"/>
                      <a:gd name="T7" fmla="*/ 2147483647 h 180"/>
                      <a:gd name="T8" fmla="*/ 2147483647 w 426"/>
                      <a:gd name="T9" fmla="*/ 2147483647 h 180"/>
                      <a:gd name="T10" fmla="*/ 2147483647 w 426"/>
                      <a:gd name="T11" fmla="*/ 2147483647 h 180"/>
                      <a:gd name="T12" fmla="*/ 2147483647 w 426"/>
                      <a:gd name="T13" fmla="*/ 2147483647 h 180"/>
                      <a:gd name="T14" fmla="*/ 2147483647 w 426"/>
                      <a:gd name="T15" fmla="*/ 2147483647 h 180"/>
                      <a:gd name="T16" fmla="*/ 2147483647 w 426"/>
                      <a:gd name="T17" fmla="*/ 2147483647 h 180"/>
                      <a:gd name="T18" fmla="*/ 2147483647 w 426"/>
                      <a:gd name="T19" fmla="*/ 2147483647 h 180"/>
                      <a:gd name="T20" fmla="*/ 2147483647 w 426"/>
                      <a:gd name="T21" fmla="*/ 2147483647 h 180"/>
                      <a:gd name="T22" fmla="*/ 2147483647 w 426"/>
                      <a:gd name="T23" fmla="*/ 2147483647 h 180"/>
                      <a:gd name="T24" fmla="*/ 2147483647 w 426"/>
                      <a:gd name="T25" fmla="*/ 2147483647 h 180"/>
                      <a:gd name="T26" fmla="*/ 2147483647 w 426"/>
                      <a:gd name="T27" fmla="*/ 2147483647 h 180"/>
                      <a:gd name="T28" fmla="*/ 2147483647 w 426"/>
                      <a:gd name="T29" fmla="*/ 2147483647 h 180"/>
                      <a:gd name="T30" fmla="*/ 2147483647 w 426"/>
                      <a:gd name="T31" fmla="*/ 2147483647 h 180"/>
                      <a:gd name="T32" fmla="*/ 2147483647 w 426"/>
                      <a:gd name="T33" fmla="*/ 2147483647 h 180"/>
                      <a:gd name="T34" fmla="*/ 2147483647 w 426"/>
                      <a:gd name="T35" fmla="*/ 2147483647 h 180"/>
                      <a:gd name="T36" fmla="*/ 2147483647 w 426"/>
                      <a:gd name="T37" fmla="*/ 2147483647 h 180"/>
                      <a:gd name="T38" fmla="*/ 2147483647 w 426"/>
                      <a:gd name="T39" fmla="*/ 2147483647 h 180"/>
                      <a:gd name="T40" fmla="*/ 2147483647 w 426"/>
                      <a:gd name="T41" fmla="*/ 2147483647 h 180"/>
                      <a:gd name="T42" fmla="*/ 2147483647 w 426"/>
                      <a:gd name="T43" fmla="*/ 2147483647 h 180"/>
                      <a:gd name="T44" fmla="*/ 2147483647 w 426"/>
                      <a:gd name="T45" fmla="*/ 2147483647 h 180"/>
                      <a:gd name="T46" fmla="*/ 2147483647 w 426"/>
                      <a:gd name="T47" fmla="*/ 2147483647 h 180"/>
                      <a:gd name="T48" fmla="*/ 2147483647 w 426"/>
                      <a:gd name="T49" fmla="*/ 2147483647 h 180"/>
                      <a:gd name="T50" fmla="*/ 2147483647 w 426"/>
                      <a:gd name="T51" fmla="*/ 2147483647 h 180"/>
                      <a:gd name="T52" fmla="*/ 2147483647 w 426"/>
                      <a:gd name="T53" fmla="*/ 2147483647 h 180"/>
                      <a:gd name="T54" fmla="*/ 2147483647 w 426"/>
                      <a:gd name="T55" fmla="*/ 2147483647 h 180"/>
                      <a:gd name="T56" fmla="*/ 2147483647 w 426"/>
                      <a:gd name="T57" fmla="*/ 2147483647 h 180"/>
                      <a:gd name="T58" fmla="*/ 2147483647 w 426"/>
                      <a:gd name="T59" fmla="*/ 2147483647 h 180"/>
                      <a:gd name="T60" fmla="*/ 2147483647 w 426"/>
                      <a:gd name="T61" fmla="*/ 0 h 180"/>
                      <a:gd name="T62" fmla="*/ 2147483647 w 426"/>
                      <a:gd name="T63" fmla="*/ 2147483647 h 180"/>
                      <a:gd name="T64" fmla="*/ 2147483647 w 426"/>
                      <a:gd name="T65" fmla="*/ 2147483647 h 180"/>
                      <a:gd name="T66" fmla="*/ 2147483647 w 426"/>
                      <a:gd name="T67" fmla="*/ 2147483647 h 180"/>
                      <a:gd name="T68" fmla="*/ 2147483647 w 426"/>
                      <a:gd name="T69" fmla="*/ 2147483647 h 180"/>
                      <a:gd name="T70" fmla="*/ 2147483647 w 426"/>
                      <a:gd name="T71" fmla="*/ 2147483647 h 180"/>
                      <a:gd name="T72" fmla="*/ 2147483647 w 426"/>
                      <a:gd name="T73" fmla="*/ 2147483647 h 180"/>
                      <a:gd name="T74" fmla="*/ 2147483647 w 426"/>
                      <a:gd name="T75" fmla="*/ 2147483647 h 180"/>
                      <a:gd name="T76" fmla="*/ 2147483647 w 426"/>
                      <a:gd name="T77" fmla="*/ 2147483647 h 180"/>
                      <a:gd name="T78" fmla="*/ 2147483647 w 426"/>
                      <a:gd name="T79" fmla="*/ 2147483647 h 180"/>
                      <a:gd name="T80" fmla="*/ 2147483647 w 426"/>
                      <a:gd name="T81" fmla="*/ 2147483647 h 180"/>
                      <a:gd name="T82" fmla="*/ 2147483647 w 426"/>
                      <a:gd name="T83" fmla="*/ 2147483647 h 180"/>
                      <a:gd name="T84" fmla="*/ 0 w 426"/>
                      <a:gd name="T85" fmla="*/ 2147483647 h 180"/>
                      <a:gd name="T86" fmla="*/ 2147483647 w 426"/>
                      <a:gd name="T87" fmla="*/ 2147483647 h 18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26"/>
                      <a:gd name="T133" fmla="*/ 0 h 180"/>
                      <a:gd name="T134" fmla="*/ 426 w 426"/>
                      <a:gd name="T135" fmla="*/ 180 h 18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26" h="180">
                        <a:moveTo>
                          <a:pt x="6" y="144"/>
                        </a:moveTo>
                        <a:lnTo>
                          <a:pt x="6" y="138"/>
                        </a:lnTo>
                        <a:lnTo>
                          <a:pt x="12" y="138"/>
                        </a:lnTo>
                        <a:lnTo>
                          <a:pt x="24" y="132"/>
                        </a:lnTo>
                        <a:lnTo>
                          <a:pt x="66" y="132"/>
                        </a:lnTo>
                        <a:lnTo>
                          <a:pt x="78" y="120"/>
                        </a:lnTo>
                        <a:lnTo>
                          <a:pt x="96" y="120"/>
                        </a:lnTo>
                        <a:lnTo>
                          <a:pt x="102" y="126"/>
                        </a:lnTo>
                        <a:lnTo>
                          <a:pt x="108" y="126"/>
                        </a:lnTo>
                        <a:lnTo>
                          <a:pt x="114" y="132"/>
                        </a:lnTo>
                        <a:lnTo>
                          <a:pt x="120" y="132"/>
                        </a:lnTo>
                        <a:lnTo>
                          <a:pt x="126" y="126"/>
                        </a:lnTo>
                        <a:lnTo>
                          <a:pt x="132" y="126"/>
                        </a:lnTo>
                        <a:lnTo>
                          <a:pt x="144" y="132"/>
                        </a:lnTo>
                        <a:lnTo>
                          <a:pt x="150" y="132"/>
                        </a:lnTo>
                        <a:lnTo>
                          <a:pt x="156" y="138"/>
                        </a:lnTo>
                        <a:lnTo>
                          <a:pt x="162" y="138"/>
                        </a:lnTo>
                        <a:lnTo>
                          <a:pt x="168" y="132"/>
                        </a:lnTo>
                        <a:lnTo>
                          <a:pt x="180" y="132"/>
                        </a:lnTo>
                        <a:lnTo>
                          <a:pt x="186" y="138"/>
                        </a:lnTo>
                        <a:lnTo>
                          <a:pt x="204" y="138"/>
                        </a:lnTo>
                        <a:lnTo>
                          <a:pt x="216" y="126"/>
                        </a:lnTo>
                        <a:lnTo>
                          <a:pt x="228" y="126"/>
                        </a:lnTo>
                        <a:lnTo>
                          <a:pt x="234" y="132"/>
                        </a:lnTo>
                        <a:lnTo>
                          <a:pt x="240" y="144"/>
                        </a:lnTo>
                        <a:lnTo>
                          <a:pt x="270" y="144"/>
                        </a:lnTo>
                        <a:lnTo>
                          <a:pt x="282" y="150"/>
                        </a:lnTo>
                        <a:lnTo>
                          <a:pt x="288" y="150"/>
                        </a:lnTo>
                        <a:lnTo>
                          <a:pt x="300" y="162"/>
                        </a:lnTo>
                        <a:lnTo>
                          <a:pt x="318" y="174"/>
                        </a:lnTo>
                        <a:lnTo>
                          <a:pt x="336" y="180"/>
                        </a:lnTo>
                        <a:lnTo>
                          <a:pt x="360" y="168"/>
                        </a:lnTo>
                        <a:lnTo>
                          <a:pt x="378" y="168"/>
                        </a:lnTo>
                        <a:lnTo>
                          <a:pt x="384" y="174"/>
                        </a:lnTo>
                        <a:lnTo>
                          <a:pt x="390" y="168"/>
                        </a:lnTo>
                        <a:lnTo>
                          <a:pt x="396" y="168"/>
                        </a:lnTo>
                        <a:lnTo>
                          <a:pt x="402" y="162"/>
                        </a:lnTo>
                        <a:lnTo>
                          <a:pt x="408" y="150"/>
                        </a:lnTo>
                        <a:lnTo>
                          <a:pt x="414" y="144"/>
                        </a:lnTo>
                        <a:lnTo>
                          <a:pt x="420" y="150"/>
                        </a:lnTo>
                        <a:lnTo>
                          <a:pt x="426" y="150"/>
                        </a:lnTo>
                        <a:lnTo>
                          <a:pt x="426" y="126"/>
                        </a:lnTo>
                        <a:lnTo>
                          <a:pt x="414" y="114"/>
                        </a:lnTo>
                        <a:lnTo>
                          <a:pt x="408" y="102"/>
                        </a:lnTo>
                        <a:lnTo>
                          <a:pt x="402" y="96"/>
                        </a:lnTo>
                        <a:lnTo>
                          <a:pt x="378" y="90"/>
                        </a:lnTo>
                        <a:lnTo>
                          <a:pt x="384" y="72"/>
                        </a:lnTo>
                        <a:lnTo>
                          <a:pt x="402" y="72"/>
                        </a:lnTo>
                        <a:lnTo>
                          <a:pt x="402" y="66"/>
                        </a:lnTo>
                        <a:lnTo>
                          <a:pt x="396" y="60"/>
                        </a:lnTo>
                        <a:lnTo>
                          <a:pt x="384" y="54"/>
                        </a:lnTo>
                        <a:lnTo>
                          <a:pt x="372" y="42"/>
                        </a:lnTo>
                        <a:lnTo>
                          <a:pt x="354" y="42"/>
                        </a:lnTo>
                        <a:lnTo>
                          <a:pt x="348" y="36"/>
                        </a:lnTo>
                        <a:lnTo>
                          <a:pt x="330" y="36"/>
                        </a:lnTo>
                        <a:lnTo>
                          <a:pt x="324" y="42"/>
                        </a:lnTo>
                        <a:lnTo>
                          <a:pt x="306" y="42"/>
                        </a:lnTo>
                        <a:lnTo>
                          <a:pt x="288" y="24"/>
                        </a:lnTo>
                        <a:lnTo>
                          <a:pt x="276" y="18"/>
                        </a:lnTo>
                        <a:lnTo>
                          <a:pt x="270" y="12"/>
                        </a:lnTo>
                        <a:lnTo>
                          <a:pt x="246" y="0"/>
                        </a:lnTo>
                        <a:lnTo>
                          <a:pt x="216" y="0"/>
                        </a:lnTo>
                        <a:lnTo>
                          <a:pt x="186" y="12"/>
                        </a:lnTo>
                        <a:lnTo>
                          <a:pt x="174" y="12"/>
                        </a:lnTo>
                        <a:lnTo>
                          <a:pt x="180" y="24"/>
                        </a:lnTo>
                        <a:lnTo>
                          <a:pt x="180" y="30"/>
                        </a:lnTo>
                        <a:lnTo>
                          <a:pt x="186" y="42"/>
                        </a:lnTo>
                        <a:lnTo>
                          <a:pt x="186" y="60"/>
                        </a:lnTo>
                        <a:lnTo>
                          <a:pt x="192" y="66"/>
                        </a:lnTo>
                        <a:lnTo>
                          <a:pt x="186" y="78"/>
                        </a:lnTo>
                        <a:lnTo>
                          <a:pt x="156" y="78"/>
                        </a:lnTo>
                        <a:lnTo>
                          <a:pt x="138" y="72"/>
                        </a:lnTo>
                        <a:lnTo>
                          <a:pt x="126" y="72"/>
                        </a:lnTo>
                        <a:lnTo>
                          <a:pt x="114" y="54"/>
                        </a:lnTo>
                        <a:lnTo>
                          <a:pt x="84" y="24"/>
                        </a:lnTo>
                        <a:lnTo>
                          <a:pt x="72" y="24"/>
                        </a:lnTo>
                        <a:lnTo>
                          <a:pt x="60" y="30"/>
                        </a:lnTo>
                        <a:lnTo>
                          <a:pt x="48" y="30"/>
                        </a:lnTo>
                        <a:lnTo>
                          <a:pt x="36" y="36"/>
                        </a:lnTo>
                        <a:lnTo>
                          <a:pt x="30" y="42"/>
                        </a:lnTo>
                        <a:lnTo>
                          <a:pt x="24" y="54"/>
                        </a:lnTo>
                        <a:lnTo>
                          <a:pt x="24" y="66"/>
                        </a:lnTo>
                        <a:lnTo>
                          <a:pt x="18" y="78"/>
                        </a:lnTo>
                        <a:lnTo>
                          <a:pt x="6" y="84"/>
                        </a:lnTo>
                        <a:lnTo>
                          <a:pt x="0" y="96"/>
                        </a:lnTo>
                        <a:lnTo>
                          <a:pt x="0" y="120"/>
                        </a:lnTo>
                        <a:lnTo>
                          <a:pt x="6" y="132"/>
                        </a:lnTo>
                        <a:lnTo>
                          <a:pt x="6" y="150"/>
                        </a:lnTo>
                        <a:lnTo>
                          <a:pt x="6" y="14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06" name="Laos"/>
                  <p:cNvSpPr>
                    <a:spLocks/>
                  </p:cNvSpPr>
                  <p:nvPr/>
                </p:nvSpPr>
                <p:spPr bwMode="gray">
                  <a:xfrm>
                    <a:off x="4444" y="1846"/>
                    <a:ext cx="154" cy="178"/>
                  </a:xfrm>
                  <a:custGeom>
                    <a:avLst/>
                    <a:gdLst>
                      <a:gd name="T0" fmla="*/ 2147483647 w 600"/>
                      <a:gd name="T1" fmla="*/ 2147483647 h 696"/>
                      <a:gd name="T2" fmla="*/ 2147483647 w 600"/>
                      <a:gd name="T3" fmla="*/ 2147483647 h 696"/>
                      <a:gd name="T4" fmla="*/ 2147483647 w 600"/>
                      <a:gd name="T5" fmla="*/ 2147483647 h 696"/>
                      <a:gd name="T6" fmla="*/ 2147483647 w 600"/>
                      <a:gd name="T7" fmla="*/ 2147483647 h 696"/>
                      <a:gd name="T8" fmla="*/ 2147483647 w 600"/>
                      <a:gd name="T9" fmla="*/ 2147483647 h 696"/>
                      <a:gd name="T10" fmla="*/ 2147483647 w 600"/>
                      <a:gd name="T11" fmla="*/ 2147483647 h 696"/>
                      <a:gd name="T12" fmla="*/ 2147483647 w 600"/>
                      <a:gd name="T13" fmla="*/ 2147483647 h 696"/>
                      <a:gd name="T14" fmla="*/ 2147483647 w 600"/>
                      <a:gd name="T15" fmla="*/ 2147483647 h 696"/>
                      <a:gd name="T16" fmla="*/ 2147483647 w 600"/>
                      <a:gd name="T17" fmla="*/ 2147483647 h 696"/>
                      <a:gd name="T18" fmla="*/ 2147483647 w 600"/>
                      <a:gd name="T19" fmla="*/ 2147483647 h 696"/>
                      <a:gd name="T20" fmla="*/ 2147483647 w 600"/>
                      <a:gd name="T21" fmla="*/ 2147483647 h 696"/>
                      <a:gd name="T22" fmla="*/ 2147483647 w 600"/>
                      <a:gd name="T23" fmla="*/ 2147483647 h 696"/>
                      <a:gd name="T24" fmla="*/ 2147483647 w 600"/>
                      <a:gd name="T25" fmla="*/ 2147483647 h 696"/>
                      <a:gd name="T26" fmla="*/ 2147483647 w 600"/>
                      <a:gd name="T27" fmla="*/ 2147483647 h 696"/>
                      <a:gd name="T28" fmla="*/ 2147483647 w 600"/>
                      <a:gd name="T29" fmla="*/ 2147483647 h 696"/>
                      <a:gd name="T30" fmla="*/ 2147483647 w 600"/>
                      <a:gd name="T31" fmla="*/ 2147483647 h 696"/>
                      <a:gd name="T32" fmla="*/ 2147483647 w 600"/>
                      <a:gd name="T33" fmla="*/ 2147483647 h 696"/>
                      <a:gd name="T34" fmla="*/ 2147483647 w 600"/>
                      <a:gd name="T35" fmla="*/ 2147483647 h 696"/>
                      <a:gd name="T36" fmla="*/ 2147483647 w 600"/>
                      <a:gd name="T37" fmla="*/ 2147483647 h 696"/>
                      <a:gd name="T38" fmla="*/ 2147483647 w 600"/>
                      <a:gd name="T39" fmla="*/ 2147483647 h 696"/>
                      <a:gd name="T40" fmla="*/ 2147483647 w 600"/>
                      <a:gd name="T41" fmla="*/ 2147483647 h 696"/>
                      <a:gd name="T42" fmla="*/ 2147483647 w 600"/>
                      <a:gd name="T43" fmla="*/ 2147483647 h 696"/>
                      <a:gd name="T44" fmla="*/ 2147483647 w 600"/>
                      <a:gd name="T45" fmla="*/ 2147483647 h 696"/>
                      <a:gd name="T46" fmla="*/ 2147483647 w 600"/>
                      <a:gd name="T47" fmla="*/ 2147483647 h 696"/>
                      <a:gd name="T48" fmla="*/ 2147483647 w 600"/>
                      <a:gd name="T49" fmla="*/ 2147483647 h 696"/>
                      <a:gd name="T50" fmla="*/ 2147483647 w 600"/>
                      <a:gd name="T51" fmla="*/ 2147483647 h 696"/>
                      <a:gd name="T52" fmla="*/ 2147483647 w 600"/>
                      <a:gd name="T53" fmla="*/ 2147483647 h 696"/>
                      <a:gd name="T54" fmla="*/ 2147483647 w 600"/>
                      <a:gd name="T55" fmla="*/ 2147483647 h 696"/>
                      <a:gd name="T56" fmla="*/ 2147483647 w 600"/>
                      <a:gd name="T57" fmla="*/ 2147483647 h 696"/>
                      <a:gd name="T58" fmla="*/ 2147483647 w 600"/>
                      <a:gd name="T59" fmla="*/ 2147483647 h 696"/>
                      <a:gd name="T60" fmla="*/ 2147483647 w 600"/>
                      <a:gd name="T61" fmla="*/ 2147483647 h 696"/>
                      <a:gd name="T62" fmla="*/ 2147483647 w 600"/>
                      <a:gd name="T63" fmla="*/ 2147483647 h 696"/>
                      <a:gd name="T64" fmla="*/ 2147483647 w 600"/>
                      <a:gd name="T65" fmla="*/ 2147483647 h 696"/>
                      <a:gd name="T66" fmla="*/ 2147483647 w 600"/>
                      <a:gd name="T67" fmla="*/ 2147483647 h 696"/>
                      <a:gd name="T68" fmla="*/ 2147483647 w 600"/>
                      <a:gd name="T69" fmla="*/ 2147483647 h 696"/>
                      <a:gd name="T70" fmla="*/ 2147483647 w 600"/>
                      <a:gd name="T71" fmla="*/ 2147483647 h 696"/>
                      <a:gd name="T72" fmla="*/ 2147483647 w 600"/>
                      <a:gd name="T73" fmla="*/ 2147483647 h 696"/>
                      <a:gd name="T74" fmla="*/ 2147483647 w 600"/>
                      <a:gd name="T75" fmla="*/ 2147483647 h 696"/>
                      <a:gd name="T76" fmla="*/ 2147483647 w 600"/>
                      <a:gd name="T77" fmla="*/ 2147483647 h 696"/>
                      <a:gd name="T78" fmla="*/ 2147483647 w 600"/>
                      <a:gd name="T79" fmla="*/ 2147483647 h 696"/>
                      <a:gd name="T80" fmla="*/ 2147483647 w 600"/>
                      <a:gd name="T81" fmla="*/ 2147483647 h 696"/>
                      <a:gd name="T82" fmla="*/ 2147483647 w 600"/>
                      <a:gd name="T83" fmla="*/ 2147483647 h 696"/>
                      <a:gd name="T84" fmla="*/ 2147483647 w 600"/>
                      <a:gd name="T85" fmla="*/ 2147483647 h 696"/>
                      <a:gd name="T86" fmla="*/ 2147483647 w 600"/>
                      <a:gd name="T87" fmla="*/ 2147483647 h 696"/>
                      <a:gd name="T88" fmla="*/ 2147483647 w 600"/>
                      <a:gd name="T89" fmla="*/ 2147483647 h 696"/>
                      <a:gd name="T90" fmla="*/ 2147483647 w 600"/>
                      <a:gd name="T91" fmla="*/ 2147483647 h 696"/>
                      <a:gd name="T92" fmla="*/ 2147483647 w 600"/>
                      <a:gd name="T93" fmla="*/ 2147483647 h 696"/>
                      <a:gd name="T94" fmla="*/ 2147483647 w 600"/>
                      <a:gd name="T95" fmla="*/ 2147483647 h 696"/>
                      <a:gd name="T96" fmla="*/ 2147483647 w 600"/>
                      <a:gd name="T97" fmla="*/ 2147483647 h 696"/>
                      <a:gd name="T98" fmla="*/ 2147483647 w 600"/>
                      <a:gd name="T99" fmla="*/ 2147483647 h 696"/>
                      <a:gd name="T100" fmla="*/ 2147483647 w 600"/>
                      <a:gd name="T101" fmla="*/ 2147483647 h 696"/>
                      <a:gd name="T102" fmla="*/ 2147483647 w 600"/>
                      <a:gd name="T103" fmla="*/ 2147483647 h 696"/>
                      <a:gd name="T104" fmla="*/ 2147483647 w 600"/>
                      <a:gd name="T105" fmla="*/ 2147483647 h 696"/>
                      <a:gd name="T106" fmla="*/ 2147483647 w 600"/>
                      <a:gd name="T107" fmla="*/ 2147483647 h 696"/>
                      <a:gd name="T108" fmla="*/ 2147483647 w 600"/>
                      <a:gd name="T109" fmla="*/ 2147483647 h 696"/>
                      <a:gd name="T110" fmla="*/ 2147483647 w 600"/>
                      <a:gd name="T111" fmla="*/ 2147483647 h 696"/>
                      <a:gd name="T112" fmla="*/ 2147483647 w 600"/>
                      <a:gd name="T113" fmla="*/ 2147483647 h 696"/>
                      <a:gd name="T114" fmla="*/ 2147483647 w 600"/>
                      <a:gd name="T115" fmla="*/ 2147483647 h 696"/>
                      <a:gd name="T116" fmla="*/ 2147483647 w 600"/>
                      <a:gd name="T117" fmla="*/ 2147483647 h 696"/>
                      <a:gd name="T118" fmla="*/ 0 w 600"/>
                      <a:gd name="T119" fmla="*/ 2147483647 h 696"/>
                      <a:gd name="T120" fmla="*/ 2147483647 w 600"/>
                      <a:gd name="T121" fmla="*/ 2147483647 h 69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00"/>
                      <a:gd name="T184" fmla="*/ 0 h 696"/>
                      <a:gd name="T185" fmla="*/ 600 w 600"/>
                      <a:gd name="T186" fmla="*/ 696 h 69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00" h="696">
                        <a:moveTo>
                          <a:pt x="24" y="180"/>
                        </a:moveTo>
                        <a:lnTo>
                          <a:pt x="36" y="180"/>
                        </a:lnTo>
                        <a:lnTo>
                          <a:pt x="42" y="186"/>
                        </a:lnTo>
                        <a:lnTo>
                          <a:pt x="42" y="198"/>
                        </a:lnTo>
                        <a:lnTo>
                          <a:pt x="36" y="204"/>
                        </a:lnTo>
                        <a:lnTo>
                          <a:pt x="36" y="228"/>
                        </a:lnTo>
                        <a:lnTo>
                          <a:pt x="42" y="240"/>
                        </a:lnTo>
                        <a:lnTo>
                          <a:pt x="48" y="246"/>
                        </a:lnTo>
                        <a:lnTo>
                          <a:pt x="66" y="246"/>
                        </a:lnTo>
                        <a:lnTo>
                          <a:pt x="66" y="234"/>
                        </a:lnTo>
                        <a:lnTo>
                          <a:pt x="78" y="234"/>
                        </a:lnTo>
                        <a:lnTo>
                          <a:pt x="84" y="228"/>
                        </a:lnTo>
                        <a:lnTo>
                          <a:pt x="90" y="228"/>
                        </a:lnTo>
                        <a:lnTo>
                          <a:pt x="102" y="234"/>
                        </a:lnTo>
                        <a:lnTo>
                          <a:pt x="102" y="264"/>
                        </a:lnTo>
                        <a:lnTo>
                          <a:pt x="96" y="270"/>
                        </a:lnTo>
                        <a:lnTo>
                          <a:pt x="102" y="276"/>
                        </a:lnTo>
                        <a:lnTo>
                          <a:pt x="108" y="288"/>
                        </a:lnTo>
                        <a:lnTo>
                          <a:pt x="108" y="300"/>
                        </a:lnTo>
                        <a:lnTo>
                          <a:pt x="102" y="312"/>
                        </a:lnTo>
                        <a:lnTo>
                          <a:pt x="90" y="324"/>
                        </a:lnTo>
                        <a:lnTo>
                          <a:pt x="102" y="324"/>
                        </a:lnTo>
                        <a:lnTo>
                          <a:pt x="108" y="330"/>
                        </a:lnTo>
                        <a:lnTo>
                          <a:pt x="108" y="342"/>
                        </a:lnTo>
                        <a:lnTo>
                          <a:pt x="84" y="390"/>
                        </a:lnTo>
                        <a:lnTo>
                          <a:pt x="84" y="402"/>
                        </a:lnTo>
                        <a:lnTo>
                          <a:pt x="102" y="402"/>
                        </a:lnTo>
                        <a:lnTo>
                          <a:pt x="126" y="390"/>
                        </a:lnTo>
                        <a:lnTo>
                          <a:pt x="132" y="384"/>
                        </a:lnTo>
                        <a:lnTo>
                          <a:pt x="132" y="378"/>
                        </a:lnTo>
                        <a:lnTo>
                          <a:pt x="144" y="366"/>
                        </a:lnTo>
                        <a:lnTo>
                          <a:pt x="150" y="354"/>
                        </a:lnTo>
                        <a:lnTo>
                          <a:pt x="156" y="348"/>
                        </a:lnTo>
                        <a:lnTo>
                          <a:pt x="168" y="348"/>
                        </a:lnTo>
                        <a:lnTo>
                          <a:pt x="174" y="354"/>
                        </a:lnTo>
                        <a:lnTo>
                          <a:pt x="198" y="366"/>
                        </a:lnTo>
                        <a:lnTo>
                          <a:pt x="216" y="366"/>
                        </a:lnTo>
                        <a:lnTo>
                          <a:pt x="234" y="348"/>
                        </a:lnTo>
                        <a:lnTo>
                          <a:pt x="234" y="336"/>
                        </a:lnTo>
                        <a:lnTo>
                          <a:pt x="240" y="330"/>
                        </a:lnTo>
                        <a:lnTo>
                          <a:pt x="258" y="330"/>
                        </a:lnTo>
                        <a:lnTo>
                          <a:pt x="264" y="336"/>
                        </a:lnTo>
                        <a:lnTo>
                          <a:pt x="276" y="342"/>
                        </a:lnTo>
                        <a:lnTo>
                          <a:pt x="300" y="342"/>
                        </a:lnTo>
                        <a:lnTo>
                          <a:pt x="306" y="348"/>
                        </a:lnTo>
                        <a:lnTo>
                          <a:pt x="306" y="360"/>
                        </a:lnTo>
                        <a:lnTo>
                          <a:pt x="318" y="372"/>
                        </a:lnTo>
                        <a:lnTo>
                          <a:pt x="336" y="384"/>
                        </a:lnTo>
                        <a:lnTo>
                          <a:pt x="348" y="390"/>
                        </a:lnTo>
                        <a:lnTo>
                          <a:pt x="366" y="408"/>
                        </a:lnTo>
                        <a:lnTo>
                          <a:pt x="372" y="450"/>
                        </a:lnTo>
                        <a:lnTo>
                          <a:pt x="372" y="462"/>
                        </a:lnTo>
                        <a:lnTo>
                          <a:pt x="384" y="486"/>
                        </a:lnTo>
                        <a:lnTo>
                          <a:pt x="420" y="522"/>
                        </a:lnTo>
                        <a:lnTo>
                          <a:pt x="420" y="528"/>
                        </a:lnTo>
                        <a:lnTo>
                          <a:pt x="426" y="534"/>
                        </a:lnTo>
                        <a:lnTo>
                          <a:pt x="426" y="546"/>
                        </a:lnTo>
                        <a:lnTo>
                          <a:pt x="432" y="540"/>
                        </a:lnTo>
                        <a:lnTo>
                          <a:pt x="432" y="546"/>
                        </a:lnTo>
                        <a:lnTo>
                          <a:pt x="444" y="558"/>
                        </a:lnTo>
                        <a:lnTo>
                          <a:pt x="432" y="582"/>
                        </a:lnTo>
                        <a:lnTo>
                          <a:pt x="426" y="588"/>
                        </a:lnTo>
                        <a:lnTo>
                          <a:pt x="426" y="594"/>
                        </a:lnTo>
                        <a:lnTo>
                          <a:pt x="438" y="606"/>
                        </a:lnTo>
                        <a:lnTo>
                          <a:pt x="450" y="612"/>
                        </a:lnTo>
                        <a:lnTo>
                          <a:pt x="456" y="618"/>
                        </a:lnTo>
                        <a:lnTo>
                          <a:pt x="456" y="630"/>
                        </a:lnTo>
                        <a:lnTo>
                          <a:pt x="450" y="636"/>
                        </a:lnTo>
                        <a:lnTo>
                          <a:pt x="444" y="648"/>
                        </a:lnTo>
                        <a:lnTo>
                          <a:pt x="432" y="654"/>
                        </a:lnTo>
                        <a:lnTo>
                          <a:pt x="426" y="660"/>
                        </a:lnTo>
                        <a:lnTo>
                          <a:pt x="426" y="672"/>
                        </a:lnTo>
                        <a:lnTo>
                          <a:pt x="450" y="672"/>
                        </a:lnTo>
                        <a:lnTo>
                          <a:pt x="456" y="678"/>
                        </a:lnTo>
                        <a:lnTo>
                          <a:pt x="462" y="678"/>
                        </a:lnTo>
                        <a:lnTo>
                          <a:pt x="462" y="684"/>
                        </a:lnTo>
                        <a:lnTo>
                          <a:pt x="474" y="696"/>
                        </a:lnTo>
                        <a:lnTo>
                          <a:pt x="486" y="696"/>
                        </a:lnTo>
                        <a:lnTo>
                          <a:pt x="492" y="690"/>
                        </a:lnTo>
                        <a:lnTo>
                          <a:pt x="492" y="678"/>
                        </a:lnTo>
                        <a:lnTo>
                          <a:pt x="480" y="666"/>
                        </a:lnTo>
                        <a:lnTo>
                          <a:pt x="498" y="654"/>
                        </a:lnTo>
                        <a:lnTo>
                          <a:pt x="510" y="642"/>
                        </a:lnTo>
                        <a:lnTo>
                          <a:pt x="546" y="654"/>
                        </a:lnTo>
                        <a:lnTo>
                          <a:pt x="558" y="642"/>
                        </a:lnTo>
                        <a:lnTo>
                          <a:pt x="582" y="648"/>
                        </a:lnTo>
                        <a:lnTo>
                          <a:pt x="588" y="648"/>
                        </a:lnTo>
                        <a:lnTo>
                          <a:pt x="600" y="636"/>
                        </a:lnTo>
                        <a:lnTo>
                          <a:pt x="600" y="630"/>
                        </a:lnTo>
                        <a:lnTo>
                          <a:pt x="588" y="618"/>
                        </a:lnTo>
                        <a:lnTo>
                          <a:pt x="582" y="618"/>
                        </a:lnTo>
                        <a:lnTo>
                          <a:pt x="600" y="582"/>
                        </a:lnTo>
                        <a:lnTo>
                          <a:pt x="594" y="582"/>
                        </a:lnTo>
                        <a:lnTo>
                          <a:pt x="588" y="576"/>
                        </a:lnTo>
                        <a:lnTo>
                          <a:pt x="564" y="564"/>
                        </a:lnTo>
                        <a:lnTo>
                          <a:pt x="540" y="540"/>
                        </a:lnTo>
                        <a:lnTo>
                          <a:pt x="546" y="540"/>
                        </a:lnTo>
                        <a:lnTo>
                          <a:pt x="552" y="534"/>
                        </a:lnTo>
                        <a:lnTo>
                          <a:pt x="558" y="534"/>
                        </a:lnTo>
                        <a:lnTo>
                          <a:pt x="564" y="528"/>
                        </a:lnTo>
                        <a:lnTo>
                          <a:pt x="564" y="516"/>
                        </a:lnTo>
                        <a:lnTo>
                          <a:pt x="558" y="510"/>
                        </a:lnTo>
                        <a:lnTo>
                          <a:pt x="546" y="504"/>
                        </a:lnTo>
                        <a:lnTo>
                          <a:pt x="540" y="498"/>
                        </a:lnTo>
                        <a:lnTo>
                          <a:pt x="528" y="498"/>
                        </a:lnTo>
                        <a:lnTo>
                          <a:pt x="516" y="486"/>
                        </a:lnTo>
                        <a:lnTo>
                          <a:pt x="504" y="462"/>
                        </a:lnTo>
                        <a:lnTo>
                          <a:pt x="498" y="456"/>
                        </a:lnTo>
                        <a:lnTo>
                          <a:pt x="498" y="450"/>
                        </a:lnTo>
                        <a:lnTo>
                          <a:pt x="480" y="450"/>
                        </a:lnTo>
                        <a:lnTo>
                          <a:pt x="474" y="432"/>
                        </a:lnTo>
                        <a:lnTo>
                          <a:pt x="456" y="414"/>
                        </a:lnTo>
                        <a:lnTo>
                          <a:pt x="438" y="402"/>
                        </a:lnTo>
                        <a:lnTo>
                          <a:pt x="426" y="378"/>
                        </a:lnTo>
                        <a:lnTo>
                          <a:pt x="426" y="354"/>
                        </a:lnTo>
                        <a:lnTo>
                          <a:pt x="420" y="354"/>
                        </a:lnTo>
                        <a:lnTo>
                          <a:pt x="414" y="348"/>
                        </a:lnTo>
                        <a:lnTo>
                          <a:pt x="402" y="342"/>
                        </a:lnTo>
                        <a:lnTo>
                          <a:pt x="390" y="342"/>
                        </a:lnTo>
                        <a:lnTo>
                          <a:pt x="384" y="336"/>
                        </a:lnTo>
                        <a:lnTo>
                          <a:pt x="384" y="306"/>
                        </a:lnTo>
                        <a:lnTo>
                          <a:pt x="372" y="306"/>
                        </a:lnTo>
                        <a:lnTo>
                          <a:pt x="366" y="300"/>
                        </a:lnTo>
                        <a:lnTo>
                          <a:pt x="354" y="294"/>
                        </a:lnTo>
                        <a:lnTo>
                          <a:pt x="342" y="282"/>
                        </a:lnTo>
                        <a:lnTo>
                          <a:pt x="306" y="264"/>
                        </a:lnTo>
                        <a:lnTo>
                          <a:pt x="300" y="258"/>
                        </a:lnTo>
                        <a:lnTo>
                          <a:pt x="288" y="252"/>
                        </a:lnTo>
                        <a:lnTo>
                          <a:pt x="288" y="234"/>
                        </a:lnTo>
                        <a:lnTo>
                          <a:pt x="282" y="228"/>
                        </a:lnTo>
                        <a:lnTo>
                          <a:pt x="306" y="228"/>
                        </a:lnTo>
                        <a:lnTo>
                          <a:pt x="312" y="234"/>
                        </a:lnTo>
                        <a:lnTo>
                          <a:pt x="330" y="234"/>
                        </a:lnTo>
                        <a:lnTo>
                          <a:pt x="336" y="228"/>
                        </a:lnTo>
                        <a:lnTo>
                          <a:pt x="342" y="216"/>
                        </a:lnTo>
                        <a:lnTo>
                          <a:pt x="354" y="210"/>
                        </a:lnTo>
                        <a:lnTo>
                          <a:pt x="360" y="198"/>
                        </a:lnTo>
                        <a:lnTo>
                          <a:pt x="360" y="186"/>
                        </a:lnTo>
                        <a:lnTo>
                          <a:pt x="348" y="180"/>
                        </a:lnTo>
                        <a:lnTo>
                          <a:pt x="330" y="174"/>
                        </a:lnTo>
                        <a:lnTo>
                          <a:pt x="306" y="162"/>
                        </a:lnTo>
                        <a:lnTo>
                          <a:pt x="306" y="156"/>
                        </a:lnTo>
                        <a:lnTo>
                          <a:pt x="312" y="150"/>
                        </a:lnTo>
                        <a:lnTo>
                          <a:pt x="318" y="150"/>
                        </a:lnTo>
                        <a:lnTo>
                          <a:pt x="294" y="126"/>
                        </a:lnTo>
                        <a:lnTo>
                          <a:pt x="282" y="120"/>
                        </a:lnTo>
                        <a:lnTo>
                          <a:pt x="270" y="120"/>
                        </a:lnTo>
                        <a:lnTo>
                          <a:pt x="264" y="132"/>
                        </a:lnTo>
                        <a:lnTo>
                          <a:pt x="264" y="138"/>
                        </a:lnTo>
                        <a:lnTo>
                          <a:pt x="258" y="150"/>
                        </a:lnTo>
                        <a:lnTo>
                          <a:pt x="252" y="156"/>
                        </a:lnTo>
                        <a:lnTo>
                          <a:pt x="240" y="144"/>
                        </a:lnTo>
                        <a:lnTo>
                          <a:pt x="240" y="138"/>
                        </a:lnTo>
                        <a:lnTo>
                          <a:pt x="222" y="138"/>
                        </a:lnTo>
                        <a:lnTo>
                          <a:pt x="216" y="126"/>
                        </a:lnTo>
                        <a:lnTo>
                          <a:pt x="198" y="108"/>
                        </a:lnTo>
                        <a:lnTo>
                          <a:pt x="186" y="84"/>
                        </a:lnTo>
                        <a:lnTo>
                          <a:pt x="186" y="54"/>
                        </a:lnTo>
                        <a:lnTo>
                          <a:pt x="180" y="54"/>
                        </a:lnTo>
                        <a:lnTo>
                          <a:pt x="174" y="60"/>
                        </a:lnTo>
                        <a:lnTo>
                          <a:pt x="168" y="48"/>
                        </a:lnTo>
                        <a:lnTo>
                          <a:pt x="156" y="42"/>
                        </a:lnTo>
                        <a:lnTo>
                          <a:pt x="150" y="30"/>
                        </a:lnTo>
                        <a:lnTo>
                          <a:pt x="144" y="24"/>
                        </a:lnTo>
                        <a:lnTo>
                          <a:pt x="138" y="12"/>
                        </a:lnTo>
                        <a:lnTo>
                          <a:pt x="132" y="6"/>
                        </a:lnTo>
                        <a:lnTo>
                          <a:pt x="96" y="0"/>
                        </a:lnTo>
                        <a:lnTo>
                          <a:pt x="90" y="6"/>
                        </a:lnTo>
                        <a:lnTo>
                          <a:pt x="90" y="48"/>
                        </a:lnTo>
                        <a:lnTo>
                          <a:pt x="114" y="72"/>
                        </a:lnTo>
                        <a:lnTo>
                          <a:pt x="114" y="108"/>
                        </a:lnTo>
                        <a:lnTo>
                          <a:pt x="72" y="108"/>
                        </a:lnTo>
                        <a:lnTo>
                          <a:pt x="72" y="84"/>
                        </a:lnTo>
                        <a:lnTo>
                          <a:pt x="36" y="102"/>
                        </a:lnTo>
                        <a:lnTo>
                          <a:pt x="36" y="114"/>
                        </a:lnTo>
                        <a:lnTo>
                          <a:pt x="30" y="126"/>
                        </a:lnTo>
                        <a:lnTo>
                          <a:pt x="36" y="132"/>
                        </a:lnTo>
                        <a:lnTo>
                          <a:pt x="30" y="138"/>
                        </a:lnTo>
                        <a:lnTo>
                          <a:pt x="18" y="138"/>
                        </a:lnTo>
                        <a:lnTo>
                          <a:pt x="0" y="156"/>
                        </a:lnTo>
                        <a:lnTo>
                          <a:pt x="0" y="168"/>
                        </a:lnTo>
                        <a:lnTo>
                          <a:pt x="6" y="168"/>
                        </a:lnTo>
                        <a:lnTo>
                          <a:pt x="12" y="174"/>
                        </a:lnTo>
                        <a:lnTo>
                          <a:pt x="24" y="18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07" name="Kyrgyzstan"/>
                  <p:cNvSpPr>
                    <a:spLocks/>
                  </p:cNvSpPr>
                  <p:nvPr/>
                </p:nvSpPr>
                <p:spPr bwMode="gray">
                  <a:xfrm>
                    <a:off x="3830" y="1421"/>
                    <a:ext cx="172" cy="80"/>
                  </a:xfrm>
                  <a:custGeom>
                    <a:avLst/>
                    <a:gdLst>
                      <a:gd name="T0" fmla="*/ 2147483647 w 672"/>
                      <a:gd name="T1" fmla="*/ 2147483647 h 312"/>
                      <a:gd name="T2" fmla="*/ 2147483647 w 672"/>
                      <a:gd name="T3" fmla="*/ 2147483647 h 312"/>
                      <a:gd name="T4" fmla="*/ 2147483647 w 672"/>
                      <a:gd name="T5" fmla="*/ 2147483647 h 312"/>
                      <a:gd name="T6" fmla="*/ 2147483647 w 672"/>
                      <a:gd name="T7" fmla="*/ 2147483647 h 312"/>
                      <a:gd name="T8" fmla="*/ 2147483647 w 672"/>
                      <a:gd name="T9" fmla="*/ 2147483647 h 312"/>
                      <a:gd name="T10" fmla="*/ 2147483647 w 672"/>
                      <a:gd name="T11" fmla="*/ 2147483647 h 312"/>
                      <a:gd name="T12" fmla="*/ 2147483647 w 672"/>
                      <a:gd name="T13" fmla="*/ 2147483647 h 312"/>
                      <a:gd name="T14" fmla="*/ 2147483647 w 672"/>
                      <a:gd name="T15" fmla="*/ 2147483647 h 312"/>
                      <a:gd name="T16" fmla="*/ 2147483647 w 672"/>
                      <a:gd name="T17" fmla="*/ 2147483647 h 312"/>
                      <a:gd name="T18" fmla="*/ 2147483647 w 672"/>
                      <a:gd name="T19" fmla="*/ 2147483647 h 312"/>
                      <a:gd name="T20" fmla="*/ 2147483647 w 672"/>
                      <a:gd name="T21" fmla="*/ 2147483647 h 312"/>
                      <a:gd name="T22" fmla="*/ 2147483647 w 672"/>
                      <a:gd name="T23" fmla="*/ 2147483647 h 312"/>
                      <a:gd name="T24" fmla="*/ 0 w 672"/>
                      <a:gd name="T25" fmla="*/ 2147483647 h 312"/>
                      <a:gd name="T26" fmla="*/ 2147483647 w 672"/>
                      <a:gd name="T27" fmla="*/ 2147483647 h 312"/>
                      <a:gd name="T28" fmla="*/ 2147483647 w 672"/>
                      <a:gd name="T29" fmla="*/ 2147483647 h 312"/>
                      <a:gd name="T30" fmla="*/ 2147483647 w 672"/>
                      <a:gd name="T31" fmla="*/ 2147483647 h 312"/>
                      <a:gd name="T32" fmla="*/ 2147483647 w 672"/>
                      <a:gd name="T33" fmla="*/ 2147483647 h 312"/>
                      <a:gd name="T34" fmla="*/ 2147483647 w 672"/>
                      <a:gd name="T35" fmla="*/ 2147483647 h 312"/>
                      <a:gd name="T36" fmla="*/ 2147483647 w 672"/>
                      <a:gd name="T37" fmla="*/ 2147483647 h 312"/>
                      <a:gd name="T38" fmla="*/ 2147483647 w 672"/>
                      <a:gd name="T39" fmla="*/ 2147483647 h 312"/>
                      <a:gd name="T40" fmla="*/ 2147483647 w 672"/>
                      <a:gd name="T41" fmla="*/ 2147483647 h 312"/>
                      <a:gd name="T42" fmla="*/ 2147483647 w 672"/>
                      <a:gd name="T43" fmla="*/ 2147483647 h 312"/>
                      <a:gd name="T44" fmla="*/ 2147483647 w 672"/>
                      <a:gd name="T45" fmla="*/ 2147483647 h 312"/>
                      <a:gd name="T46" fmla="*/ 2147483647 w 672"/>
                      <a:gd name="T47" fmla="*/ 2147483647 h 312"/>
                      <a:gd name="T48" fmla="*/ 2147483647 w 672"/>
                      <a:gd name="T49" fmla="*/ 2147483647 h 312"/>
                      <a:gd name="T50" fmla="*/ 2147483647 w 672"/>
                      <a:gd name="T51" fmla="*/ 2147483647 h 312"/>
                      <a:gd name="T52" fmla="*/ 2147483647 w 672"/>
                      <a:gd name="T53" fmla="*/ 2147483647 h 312"/>
                      <a:gd name="T54" fmla="*/ 2147483647 w 672"/>
                      <a:gd name="T55" fmla="*/ 2147483647 h 312"/>
                      <a:gd name="T56" fmla="*/ 2147483647 w 672"/>
                      <a:gd name="T57" fmla="*/ 2147483647 h 312"/>
                      <a:gd name="T58" fmla="*/ 2147483647 w 672"/>
                      <a:gd name="T59" fmla="*/ 2147483647 h 312"/>
                      <a:gd name="T60" fmla="*/ 2147483647 w 672"/>
                      <a:gd name="T61" fmla="*/ 2147483647 h 312"/>
                      <a:gd name="T62" fmla="*/ 2147483647 w 672"/>
                      <a:gd name="T63" fmla="*/ 2147483647 h 312"/>
                      <a:gd name="T64" fmla="*/ 2147483647 w 672"/>
                      <a:gd name="T65" fmla="*/ 2147483647 h 312"/>
                      <a:gd name="T66" fmla="*/ 2147483647 w 672"/>
                      <a:gd name="T67" fmla="*/ 2147483647 h 312"/>
                      <a:gd name="T68" fmla="*/ 2147483647 w 672"/>
                      <a:gd name="T69" fmla="*/ 2147483647 h 312"/>
                      <a:gd name="T70" fmla="*/ 2147483647 w 672"/>
                      <a:gd name="T71" fmla="*/ 2147483647 h 312"/>
                      <a:gd name="T72" fmla="*/ 2147483647 w 672"/>
                      <a:gd name="T73" fmla="*/ 2147483647 h 312"/>
                      <a:gd name="T74" fmla="*/ 2147483647 w 672"/>
                      <a:gd name="T75" fmla="*/ 2147483647 h 312"/>
                      <a:gd name="T76" fmla="*/ 2147483647 w 672"/>
                      <a:gd name="T77" fmla="*/ 0 h 312"/>
                      <a:gd name="T78" fmla="*/ 2147483647 w 672"/>
                      <a:gd name="T79" fmla="*/ 2147483647 h 312"/>
                      <a:gd name="T80" fmla="*/ 2147483647 w 672"/>
                      <a:gd name="T81" fmla="*/ 2147483647 h 312"/>
                      <a:gd name="T82" fmla="*/ 2147483647 w 672"/>
                      <a:gd name="T83" fmla="*/ 2147483647 h 312"/>
                      <a:gd name="T84" fmla="*/ 2147483647 w 672"/>
                      <a:gd name="T85" fmla="*/ 2147483647 h 312"/>
                      <a:gd name="T86" fmla="*/ 2147483647 w 672"/>
                      <a:gd name="T87" fmla="*/ 2147483647 h 312"/>
                      <a:gd name="T88" fmla="*/ 2147483647 w 672"/>
                      <a:gd name="T89" fmla="*/ 2147483647 h 31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672"/>
                      <a:gd name="T136" fmla="*/ 0 h 312"/>
                      <a:gd name="T137" fmla="*/ 672 w 672"/>
                      <a:gd name="T138" fmla="*/ 312 h 312"/>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672" h="312">
                        <a:moveTo>
                          <a:pt x="36" y="132"/>
                        </a:moveTo>
                        <a:lnTo>
                          <a:pt x="66" y="144"/>
                        </a:lnTo>
                        <a:lnTo>
                          <a:pt x="78" y="156"/>
                        </a:lnTo>
                        <a:lnTo>
                          <a:pt x="114" y="156"/>
                        </a:lnTo>
                        <a:lnTo>
                          <a:pt x="114" y="144"/>
                        </a:lnTo>
                        <a:lnTo>
                          <a:pt x="126" y="144"/>
                        </a:lnTo>
                        <a:lnTo>
                          <a:pt x="126" y="132"/>
                        </a:lnTo>
                        <a:lnTo>
                          <a:pt x="144" y="156"/>
                        </a:lnTo>
                        <a:lnTo>
                          <a:pt x="162" y="156"/>
                        </a:lnTo>
                        <a:lnTo>
                          <a:pt x="168" y="174"/>
                        </a:lnTo>
                        <a:lnTo>
                          <a:pt x="192" y="174"/>
                        </a:lnTo>
                        <a:lnTo>
                          <a:pt x="198" y="186"/>
                        </a:lnTo>
                        <a:lnTo>
                          <a:pt x="204" y="186"/>
                        </a:lnTo>
                        <a:lnTo>
                          <a:pt x="216" y="180"/>
                        </a:lnTo>
                        <a:lnTo>
                          <a:pt x="228" y="180"/>
                        </a:lnTo>
                        <a:lnTo>
                          <a:pt x="228" y="192"/>
                        </a:lnTo>
                        <a:lnTo>
                          <a:pt x="216" y="204"/>
                        </a:lnTo>
                        <a:lnTo>
                          <a:pt x="204" y="210"/>
                        </a:lnTo>
                        <a:lnTo>
                          <a:pt x="192" y="210"/>
                        </a:lnTo>
                        <a:lnTo>
                          <a:pt x="192" y="216"/>
                        </a:lnTo>
                        <a:lnTo>
                          <a:pt x="174" y="222"/>
                        </a:lnTo>
                        <a:lnTo>
                          <a:pt x="156" y="240"/>
                        </a:lnTo>
                        <a:lnTo>
                          <a:pt x="150" y="240"/>
                        </a:lnTo>
                        <a:lnTo>
                          <a:pt x="144" y="234"/>
                        </a:lnTo>
                        <a:lnTo>
                          <a:pt x="138" y="234"/>
                        </a:lnTo>
                        <a:lnTo>
                          <a:pt x="132" y="228"/>
                        </a:lnTo>
                        <a:lnTo>
                          <a:pt x="114" y="228"/>
                        </a:lnTo>
                        <a:lnTo>
                          <a:pt x="102" y="234"/>
                        </a:lnTo>
                        <a:lnTo>
                          <a:pt x="96" y="234"/>
                        </a:lnTo>
                        <a:lnTo>
                          <a:pt x="96" y="246"/>
                        </a:lnTo>
                        <a:lnTo>
                          <a:pt x="90" y="252"/>
                        </a:lnTo>
                        <a:lnTo>
                          <a:pt x="84" y="252"/>
                        </a:lnTo>
                        <a:lnTo>
                          <a:pt x="72" y="246"/>
                        </a:lnTo>
                        <a:lnTo>
                          <a:pt x="36" y="234"/>
                        </a:lnTo>
                        <a:lnTo>
                          <a:pt x="24" y="234"/>
                        </a:lnTo>
                        <a:lnTo>
                          <a:pt x="18" y="240"/>
                        </a:lnTo>
                        <a:lnTo>
                          <a:pt x="18" y="252"/>
                        </a:lnTo>
                        <a:lnTo>
                          <a:pt x="12" y="258"/>
                        </a:lnTo>
                        <a:lnTo>
                          <a:pt x="0" y="264"/>
                        </a:lnTo>
                        <a:lnTo>
                          <a:pt x="0" y="276"/>
                        </a:lnTo>
                        <a:lnTo>
                          <a:pt x="6" y="282"/>
                        </a:lnTo>
                        <a:lnTo>
                          <a:pt x="6" y="288"/>
                        </a:lnTo>
                        <a:lnTo>
                          <a:pt x="12" y="294"/>
                        </a:lnTo>
                        <a:lnTo>
                          <a:pt x="24" y="288"/>
                        </a:lnTo>
                        <a:lnTo>
                          <a:pt x="36" y="288"/>
                        </a:lnTo>
                        <a:lnTo>
                          <a:pt x="42" y="282"/>
                        </a:lnTo>
                        <a:lnTo>
                          <a:pt x="60" y="282"/>
                        </a:lnTo>
                        <a:lnTo>
                          <a:pt x="72" y="288"/>
                        </a:lnTo>
                        <a:lnTo>
                          <a:pt x="96" y="288"/>
                        </a:lnTo>
                        <a:lnTo>
                          <a:pt x="108" y="300"/>
                        </a:lnTo>
                        <a:lnTo>
                          <a:pt x="126" y="300"/>
                        </a:lnTo>
                        <a:lnTo>
                          <a:pt x="132" y="294"/>
                        </a:lnTo>
                        <a:lnTo>
                          <a:pt x="144" y="288"/>
                        </a:lnTo>
                        <a:lnTo>
                          <a:pt x="150" y="282"/>
                        </a:lnTo>
                        <a:lnTo>
                          <a:pt x="180" y="312"/>
                        </a:lnTo>
                        <a:lnTo>
                          <a:pt x="192" y="306"/>
                        </a:lnTo>
                        <a:lnTo>
                          <a:pt x="198" y="306"/>
                        </a:lnTo>
                        <a:lnTo>
                          <a:pt x="198" y="312"/>
                        </a:lnTo>
                        <a:lnTo>
                          <a:pt x="210" y="312"/>
                        </a:lnTo>
                        <a:lnTo>
                          <a:pt x="222" y="306"/>
                        </a:lnTo>
                        <a:lnTo>
                          <a:pt x="228" y="300"/>
                        </a:lnTo>
                        <a:lnTo>
                          <a:pt x="270" y="300"/>
                        </a:lnTo>
                        <a:lnTo>
                          <a:pt x="282" y="288"/>
                        </a:lnTo>
                        <a:lnTo>
                          <a:pt x="300" y="294"/>
                        </a:lnTo>
                        <a:lnTo>
                          <a:pt x="318" y="294"/>
                        </a:lnTo>
                        <a:lnTo>
                          <a:pt x="318" y="282"/>
                        </a:lnTo>
                        <a:lnTo>
                          <a:pt x="312" y="270"/>
                        </a:lnTo>
                        <a:lnTo>
                          <a:pt x="300" y="264"/>
                        </a:lnTo>
                        <a:lnTo>
                          <a:pt x="300" y="258"/>
                        </a:lnTo>
                        <a:lnTo>
                          <a:pt x="306" y="252"/>
                        </a:lnTo>
                        <a:lnTo>
                          <a:pt x="318" y="246"/>
                        </a:lnTo>
                        <a:lnTo>
                          <a:pt x="330" y="246"/>
                        </a:lnTo>
                        <a:lnTo>
                          <a:pt x="336" y="240"/>
                        </a:lnTo>
                        <a:lnTo>
                          <a:pt x="348" y="234"/>
                        </a:lnTo>
                        <a:lnTo>
                          <a:pt x="348" y="216"/>
                        </a:lnTo>
                        <a:lnTo>
                          <a:pt x="372" y="216"/>
                        </a:lnTo>
                        <a:lnTo>
                          <a:pt x="384" y="204"/>
                        </a:lnTo>
                        <a:lnTo>
                          <a:pt x="396" y="204"/>
                        </a:lnTo>
                        <a:lnTo>
                          <a:pt x="402" y="210"/>
                        </a:lnTo>
                        <a:lnTo>
                          <a:pt x="408" y="222"/>
                        </a:lnTo>
                        <a:lnTo>
                          <a:pt x="414" y="228"/>
                        </a:lnTo>
                        <a:lnTo>
                          <a:pt x="426" y="222"/>
                        </a:lnTo>
                        <a:lnTo>
                          <a:pt x="456" y="228"/>
                        </a:lnTo>
                        <a:lnTo>
                          <a:pt x="462" y="222"/>
                        </a:lnTo>
                        <a:lnTo>
                          <a:pt x="462" y="198"/>
                        </a:lnTo>
                        <a:lnTo>
                          <a:pt x="468" y="186"/>
                        </a:lnTo>
                        <a:lnTo>
                          <a:pt x="486" y="168"/>
                        </a:lnTo>
                        <a:lnTo>
                          <a:pt x="516" y="168"/>
                        </a:lnTo>
                        <a:lnTo>
                          <a:pt x="534" y="174"/>
                        </a:lnTo>
                        <a:lnTo>
                          <a:pt x="552" y="174"/>
                        </a:lnTo>
                        <a:lnTo>
                          <a:pt x="558" y="168"/>
                        </a:lnTo>
                        <a:lnTo>
                          <a:pt x="564" y="156"/>
                        </a:lnTo>
                        <a:lnTo>
                          <a:pt x="564" y="138"/>
                        </a:lnTo>
                        <a:lnTo>
                          <a:pt x="570" y="132"/>
                        </a:lnTo>
                        <a:lnTo>
                          <a:pt x="582" y="126"/>
                        </a:lnTo>
                        <a:lnTo>
                          <a:pt x="594" y="114"/>
                        </a:lnTo>
                        <a:lnTo>
                          <a:pt x="642" y="96"/>
                        </a:lnTo>
                        <a:lnTo>
                          <a:pt x="666" y="96"/>
                        </a:lnTo>
                        <a:lnTo>
                          <a:pt x="672" y="90"/>
                        </a:lnTo>
                        <a:lnTo>
                          <a:pt x="672" y="78"/>
                        </a:lnTo>
                        <a:lnTo>
                          <a:pt x="660" y="66"/>
                        </a:lnTo>
                        <a:lnTo>
                          <a:pt x="642" y="60"/>
                        </a:lnTo>
                        <a:lnTo>
                          <a:pt x="600" y="60"/>
                        </a:lnTo>
                        <a:lnTo>
                          <a:pt x="576" y="30"/>
                        </a:lnTo>
                        <a:lnTo>
                          <a:pt x="558" y="30"/>
                        </a:lnTo>
                        <a:lnTo>
                          <a:pt x="546" y="18"/>
                        </a:lnTo>
                        <a:lnTo>
                          <a:pt x="498" y="24"/>
                        </a:lnTo>
                        <a:lnTo>
                          <a:pt x="486" y="24"/>
                        </a:lnTo>
                        <a:lnTo>
                          <a:pt x="474" y="18"/>
                        </a:lnTo>
                        <a:lnTo>
                          <a:pt x="354" y="18"/>
                        </a:lnTo>
                        <a:lnTo>
                          <a:pt x="336" y="24"/>
                        </a:lnTo>
                        <a:lnTo>
                          <a:pt x="318" y="24"/>
                        </a:lnTo>
                        <a:lnTo>
                          <a:pt x="306" y="18"/>
                        </a:lnTo>
                        <a:lnTo>
                          <a:pt x="282" y="18"/>
                        </a:lnTo>
                        <a:lnTo>
                          <a:pt x="276" y="6"/>
                        </a:lnTo>
                        <a:lnTo>
                          <a:pt x="264" y="0"/>
                        </a:lnTo>
                        <a:lnTo>
                          <a:pt x="222" y="0"/>
                        </a:lnTo>
                        <a:lnTo>
                          <a:pt x="216" y="6"/>
                        </a:lnTo>
                        <a:lnTo>
                          <a:pt x="216" y="36"/>
                        </a:lnTo>
                        <a:lnTo>
                          <a:pt x="222" y="48"/>
                        </a:lnTo>
                        <a:lnTo>
                          <a:pt x="222" y="60"/>
                        </a:lnTo>
                        <a:lnTo>
                          <a:pt x="204" y="54"/>
                        </a:lnTo>
                        <a:lnTo>
                          <a:pt x="174" y="54"/>
                        </a:lnTo>
                        <a:lnTo>
                          <a:pt x="138" y="36"/>
                        </a:lnTo>
                        <a:lnTo>
                          <a:pt x="120" y="30"/>
                        </a:lnTo>
                        <a:lnTo>
                          <a:pt x="108" y="24"/>
                        </a:lnTo>
                        <a:lnTo>
                          <a:pt x="78" y="24"/>
                        </a:lnTo>
                        <a:lnTo>
                          <a:pt x="60" y="42"/>
                        </a:lnTo>
                        <a:lnTo>
                          <a:pt x="54" y="54"/>
                        </a:lnTo>
                        <a:lnTo>
                          <a:pt x="54" y="72"/>
                        </a:lnTo>
                        <a:lnTo>
                          <a:pt x="72" y="72"/>
                        </a:lnTo>
                        <a:lnTo>
                          <a:pt x="78" y="78"/>
                        </a:lnTo>
                        <a:lnTo>
                          <a:pt x="84" y="78"/>
                        </a:lnTo>
                        <a:lnTo>
                          <a:pt x="84" y="84"/>
                        </a:lnTo>
                        <a:lnTo>
                          <a:pt x="36" y="1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08" name="Kuwait"/>
                  <p:cNvSpPr>
                    <a:spLocks/>
                  </p:cNvSpPr>
                  <p:nvPr/>
                </p:nvSpPr>
                <p:spPr bwMode="gray">
                  <a:xfrm>
                    <a:off x="3476" y="1691"/>
                    <a:ext cx="35" cy="31"/>
                  </a:xfrm>
                  <a:custGeom>
                    <a:avLst/>
                    <a:gdLst>
                      <a:gd name="T0" fmla="*/ 2147483647 w 138"/>
                      <a:gd name="T1" fmla="*/ 0 h 120"/>
                      <a:gd name="T2" fmla="*/ 2147483647 w 138"/>
                      <a:gd name="T3" fmla="*/ 0 h 120"/>
                      <a:gd name="T4" fmla="*/ 2147483647 w 138"/>
                      <a:gd name="T5" fmla="*/ 2147483647 h 120"/>
                      <a:gd name="T6" fmla="*/ 2147483647 w 138"/>
                      <a:gd name="T7" fmla="*/ 2147483647 h 120"/>
                      <a:gd name="T8" fmla="*/ 2147483647 w 138"/>
                      <a:gd name="T9" fmla="*/ 2147483647 h 120"/>
                      <a:gd name="T10" fmla="*/ 2147483647 w 138"/>
                      <a:gd name="T11" fmla="*/ 2147483647 h 120"/>
                      <a:gd name="T12" fmla="*/ 0 w 138"/>
                      <a:gd name="T13" fmla="*/ 2147483647 h 120"/>
                      <a:gd name="T14" fmla="*/ 2147483647 w 138"/>
                      <a:gd name="T15" fmla="*/ 2147483647 h 120"/>
                      <a:gd name="T16" fmla="*/ 2147483647 w 138"/>
                      <a:gd name="T17" fmla="*/ 2147483647 h 120"/>
                      <a:gd name="T18" fmla="*/ 2147483647 w 138"/>
                      <a:gd name="T19" fmla="*/ 2147483647 h 120"/>
                      <a:gd name="T20" fmla="*/ 2147483647 w 138"/>
                      <a:gd name="T21" fmla="*/ 2147483647 h 120"/>
                      <a:gd name="T22" fmla="*/ 2147483647 w 138"/>
                      <a:gd name="T23" fmla="*/ 2147483647 h 120"/>
                      <a:gd name="T24" fmla="*/ 2147483647 w 138"/>
                      <a:gd name="T25" fmla="*/ 2147483647 h 120"/>
                      <a:gd name="T26" fmla="*/ 2147483647 w 138"/>
                      <a:gd name="T27" fmla="*/ 2147483647 h 120"/>
                      <a:gd name="T28" fmla="*/ 2147483647 w 138"/>
                      <a:gd name="T29" fmla="*/ 2147483647 h 120"/>
                      <a:gd name="T30" fmla="*/ 2147483647 w 138"/>
                      <a:gd name="T31" fmla="*/ 2147483647 h 120"/>
                      <a:gd name="T32" fmla="*/ 2147483647 w 138"/>
                      <a:gd name="T33" fmla="*/ 2147483647 h 120"/>
                      <a:gd name="T34" fmla="*/ 2147483647 w 138"/>
                      <a:gd name="T35" fmla="*/ 2147483647 h 120"/>
                      <a:gd name="T36" fmla="*/ 2147483647 w 138"/>
                      <a:gd name="T37" fmla="*/ 2147483647 h 120"/>
                      <a:gd name="T38" fmla="*/ 2147483647 w 138"/>
                      <a:gd name="T39" fmla="*/ 2147483647 h 120"/>
                      <a:gd name="T40" fmla="*/ 2147483647 w 138"/>
                      <a:gd name="T41" fmla="*/ 2147483647 h 120"/>
                      <a:gd name="T42" fmla="*/ 2147483647 w 138"/>
                      <a:gd name="T43" fmla="*/ 2147483647 h 120"/>
                      <a:gd name="T44" fmla="*/ 2147483647 w 138"/>
                      <a:gd name="T45" fmla="*/ 2147483647 h 120"/>
                      <a:gd name="T46" fmla="*/ 2147483647 w 138"/>
                      <a:gd name="T47" fmla="*/ 2147483647 h 120"/>
                      <a:gd name="T48" fmla="*/ 2147483647 w 138"/>
                      <a:gd name="T49" fmla="*/ 0 h 120"/>
                      <a:gd name="T50" fmla="*/ 2147483647 w 138"/>
                      <a:gd name="T51" fmla="*/ 0 h 1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38"/>
                      <a:gd name="T79" fmla="*/ 0 h 120"/>
                      <a:gd name="T80" fmla="*/ 138 w 138"/>
                      <a:gd name="T81" fmla="*/ 120 h 1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38" h="120">
                        <a:moveTo>
                          <a:pt x="54" y="0"/>
                        </a:moveTo>
                        <a:lnTo>
                          <a:pt x="36" y="0"/>
                        </a:lnTo>
                        <a:lnTo>
                          <a:pt x="30" y="12"/>
                        </a:lnTo>
                        <a:lnTo>
                          <a:pt x="24" y="18"/>
                        </a:lnTo>
                        <a:lnTo>
                          <a:pt x="24" y="30"/>
                        </a:lnTo>
                        <a:lnTo>
                          <a:pt x="6" y="66"/>
                        </a:lnTo>
                        <a:lnTo>
                          <a:pt x="0" y="72"/>
                        </a:lnTo>
                        <a:lnTo>
                          <a:pt x="42" y="72"/>
                        </a:lnTo>
                        <a:lnTo>
                          <a:pt x="60" y="78"/>
                        </a:lnTo>
                        <a:lnTo>
                          <a:pt x="66" y="78"/>
                        </a:lnTo>
                        <a:lnTo>
                          <a:pt x="66" y="114"/>
                        </a:lnTo>
                        <a:lnTo>
                          <a:pt x="72" y="120"/>
                        </a:lnTo>
                        <a:lnTo>
                          <a:pt x="138" y="120"/>
                        </a:lnTo>
                        <a:lnTo>
                          <a:pt x="126" y="114"/>
                        </a:lnTo>
                        <a:lnTo>
                          <a:pt x="114" y="102"/>
                        </a:lnTo>
                        <a:lnTo>
                          <a:pt x="102" y="78"/>
                        </a:lnTo>
                        <a:lnTo>
                          <a:pt x="102" y="66"/>
                        </a:lnTo>
                        <a:lnTo>
                          <a:pt x="90" y="60"/>
                        </a:lnTo>
                        <a:lnTo>
                          <a:pt x="84" y="36"/>
                        </a:lnTo>
                        <a:lnTo>
                          <a:pt x="120" y="36"/>
                        </a:lnTo>
                        <a:lnTo>
                          <a:pt x="120" y="18"/>
                        </a:lnTo>
                        <a:lnTo>
                          <a:pt x="114" y="12"/>
                        </a:lnTo>
                        <a:lnTo>
                          <a:pt x="90" y="12"/>
                        </a:lnTo>
                        <a:lnTo>
                          <a:pt x="90" y="18"/>
                        </a:lnTo>
                        <a:lnTo>
                          <a:pt x="84" y="0"/>
                        </a:lnTo>
                        <a:lnTo>
                          <a:pt x="54"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09" name="Korea, South"/>
                  <p:cNvSpPr>
                    <a:spLocks noEditPoints="1"/>
                  </p:cNvSpPr>
                  <p:nvPr/>
                </p:nvSpPr>
                <p:spPr bwMode="gray">
                  <a:xfrm>
                    <a:off x="4811" y="1516"/>
                    <a:ext cx="70" cy="109"/>
                  </a:xfrm>
                  <a:custGeom>
                    <a:avLst/>
                    <a:gdLst>
                      <a:gd name="T0" fmla="*/ 2147483647 w 276"/>
                      <a:gd name="T1" fmla="*/ 2147483647 h 426"/>
                      <a:gd name="T2" fmla="*/ 2147483647 w 276"/>
                      <a:gd name="T3" fmla="*/ 2147483647 h 426"/>
                      <a:gd name="T4" fmla="*/ 2147483647 w 276"/>
                      <a:gd name="T5" fmla="*/ 2147483647 h 426"/>
                      <a:gd name="T6" fmla="*/ 2147483647 w 276"/>
                      <a:gd name="T7" fmla="*/ 2147483647 h 426"/>
                      <a:gd name="T8" fmla="*/ 2147483647 w 276"/>
                      <a:gd name="T9" fmla="*/ 2147483647 h 426"/>
                      <a:gd name="T10" fmla="*/ 2147483647 w 276"/>
                      <a:gd name="T11" fmla="*/ 2147483647 h 426"/>
                      <a:gd name="T12" fmla="*/ 2147483647 w 276"/>
                      <a:gd name="T13" fmla="*/ 2147483647 h 426"/>
                      <a:gd name="T14" fmla="*/ 2147483647 w 276"/>
                      <a:gd name="T15" fmla="*/ 2147483647 h 426"/>
                      <a:gd name="T16" fmla="*/ 2147483647 w 276"/>
                      <a:gd name="T17" fmla="*/ 2147483647 h 426"/>
                      <a:gd name="T18" fmla="*/ 2147483647 w 276"/>
                      <a:gd name="T19" fmla="*/ 2147483647 h 426"/>
                      <a:gd name="T20" fmla="*/ 2147483647 w 276"/>
                      <a:gd name="T21" fmla="*/ 2147483647 h 426"/>
                      <a:gd name="T22" fmla="*/ 2147483647 w 276"/>
                      <a:gd name="T23" fmla="*/ 2147483647 h 426"/>
                      <a:gd name="T24" fmla="*/ 2147483647 w 276"/>
                      <a:gd name="T25" fmla="*/ 0 h 426"/>
                      <a:gd name="T26" fmla="*/ 2147483647 w 276"/>
                      <a:gd name="T27" fmla="*/ 2147483647 h 426"/>
                      <a:gd name="T28" fmla="*/ 2147483647 w 276"/>
                      <a:gd name="T29" fmla="*/ 2147483647 h 426"/>
                      <a:gd name="T30" fmla="*/ 2147483647 w 276"/>
                      <a:gd name="T31" fmla="*/ 2147483647 h 426"/>
                      <a:gd name="T32" fmla="*/ 2147483647 w 276"/>
                      <a:gd name="T33" fmla="*/ 2147483647 h 426"/>
                      <a:gd name="T34" fmla="*/ 0 w 276"/>
                      <a:gd name="T35" fmla="*/ 2147483647 h 426"/>
                      <a:gd name="T36" fmla="*/ 2147483647 w 276"/>
                      <a:gd name="T37" fmla="*/ 2147483647 h 426"/>
                      <a:gd name="T38" fmla="*/ 2147483647 w 276"/>
                      <a:gd name="T39" fmla="*/ 2147483647 h 426"/>
                      <a:gd name="T40" fmla="*/ 2147483647 w 276"/>
                      <a:gd name="T41" fmla="*/ 2147483647 h 426"/>
                      <a:gd name="T42" fmla="*/ 2147483647 w 276"/>
                      <a:gd name="T43" fmla="*/ 2147483647 h 426"/>
                      <a:gd name="T44" fmla="*/ 2147483647 w 276"/>
                      <a:gd name="T45" fmla="*/ 2147483647 h 426"/>
                      <a:gd name="T46" fmla="*/ 2147483647 w 276"/>
                      <a:gd name="T47" fmla="*/ 2147483647 h 426"/>
                      <a:gd name="T48" fmla="*/ 2147483647 w 276"/>
                      <a:gd name="T49" fmla="*/ 2147483647 h 426"/>
                      <a:gd name="T50" fmla="*/ 2147483647 w 276"/>
                      <a:gd name="T51" fmla="*/ 2147483647 h 426"/>
                      <a:gd name="T52" fmla="*/ 2147483647 w 276"/>
                      <a:gd name="T53" fmla="*/ 2147483647 h 426"/>
                      <a:gd name="T54" fmla="*/ 2147483647 w 276"/>
                      <a:gd name="T55" fmla="*/ 2147483647 h 426"/>
                      <a:gd name="T56" fmla="*/ 2147483647 w 276"/>
                      <a:gd name="T57" fmla="*/ 2147483647 h 426"/>
                      <a:gd name="T58" fmla="*/ 2147483647 w 276"/>
                      <a:gd name="T59" fmla="*/ 2147483647 h 426"/>
                      <a:gd name="T60" fmla="*/ 2147483647 w 276"/>
                      <a:gd name="T61" fmla="*/ 2147483647 h 426"/>
                      <a:gd name="T62" fmla="*/ 2147483647 w 276"/>
                      <a:gd name="T63" fmla="*/ 2147483647 h 426"/>
                      <a:gd name="T64" fmla="*/ 2147483647 w 276"/>
                      <a:gd name="T65" fmla="*/ 2147483647 h 426"/>
                      <a:gd name="T66" fmla="*/ 2147483647 w 276"/>
                      <a:gd name="T67" fmla="*/ 2147483647 h 426"/>
                      <a:gd name="T68" fmla="*/ 2147483647 w 276"/>
                      <a:gd name="T69" fmla="*/ 2147483647 h 426"/>
                      <a:gd name="T70" fmla="*/ 2147483647 w 276"/>
                      <a:gd name="T71" fmla="*/ 2147483647 h 426"/>
                      <a:gd name="T72" fmla="*/ 2147483647 w 276"/>
                      <a:gd name="T73" fmla="*/ 2147483647 h 426"/>
                      <a:gd name="T74" fmla="*/ 2147483647 w 276"/>
                      <a:gd name="T75" fmla="*/ 2147483647 h 4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76"/>
                      <a:gd name="T115" fmla="*/ 0 h 426"/>
                      <a:gd name="T116" fmla="*/ 276 w 276"/>
                      <a:gd name="T117" fmla="*/ 426 h 42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76" h="426">
                        <a:moveTo>
                          <a:pt x="150" y="402"/>
                        </a:moveTo>
                        <a:lnTo>
                          <a:pt x="132" y="408"/>
                        </a:lnTo>
                        <a:lnTo>
                          <a:pt x="126" y="414"/>
                        </a:lnTo>
                        <a:lnTo>
                          <a:pt x="138" y="426"/>
                        </a:lnTo>
                        <a:lnTo>
                          <a:pt x="162" y="426"/>
                        </a:lnTo>
                        <a:lnTo>
                          <a:pt x="174" y="414"/>
                        </a:lnTo>
                        <a:lnTo>
                          <a:pt x="174" y="408"/>
                        </a:lnTo>
                        <a:lnTo>
                          <a:pt x="168" y="402"/>
                        </a:lnTo>
                        <a:lnTo>
                          <a:pt x="150" y="402"/>
                        </a:lnTo>
                        <a:close/>
                        <a:moveTo>
                          <a:pt x="276" y="246"/>
                        </a:moveTo>
                        <a:lnTo>
                          <a:pt x="270" y="228"/>
                        </a:lnTo>
                        <a:lnTo>
                          <a:pt x="264" y="216"/>
                        </a:lnTo>
                        <a:lnTo>
                          <a:pt x="246" y="198"/>
                        </a:lnTo>
                        <a:lnTo>
                          <a:pt x="252" y="186"/>
                        </a:lnTo>
                        <a:lnTo>
                          <a:pt x="252" y="180"/>
                        </a:lnTo>
                        <a:lnTo>
                          <a:pt x="246" y="162"/>
                        </a:lnTo>
                        <a:lnTo>
                          <a:pt x="240" y="150"/>
                        </a:lnTo>
                        <a:lnTo>
                          <a:pt x="210" y="120"/>
                        </a:lnTo>
                        <a:lnTo>
                          <a:pt x="198" y="102"/>
                        </a:lnTo>
                        <a:lnTo>
                          <a:pt x="168" y="72"/>
                        </a:lnTo>
                        <a:lnTo>
                          <a:pt x="144" y="66"/>
                        </a:lnTo>
                        <a:lnTo>
                          <a:pt x="144" y="60"/>
                        </a:lnTo>
                        <a:lnTo>
                          <a:pt x="138" y="54"/>
                        </a:lnTo>
                        <a:lnTo>
                          <a:pt x="132" y="42"/>
                        </a:lnTo>
                        <a:lnTo>
                          <a:pt x="102" y="12"/>
                        </a:lnTo>
                        <a:lnTo>
                          <a:pt x="96" y="0"/>
                        </a:lnTo>
                        <a:lnTo>
                          <a:pt x="78" y="12"/>
                        </a:lnTo>
                        <a:lnTo>
                          <a:pt x="48" y="12"/>
                        </a:lnTo>
                        <a:lnTo>
                          <a:pt x="24" y="24"/>
                        </a:lnTo>
                        <a:lnTo>
                          <a:pt x="18" y="30"/>
                        </a:lnTo>
                        <a:lnTo>
                          <a:pt x="12" y="30"/>
                        </a:lnTo>
                        <a:lnTo>
                          <a:pt x="12" y="36"/>
                        </a:lnTo>
                        <a:lnTo>
                          <a:pt x="18" y="42"/>
                        </a:lnTo>
                        <a:lnTo>
                          <a:pt x="18" y="48"/>
                        </a:lnTo>
                        <a:lnTo>
                          <a:pt x="12" y="54"/>
                        </a:lnTo>
                        <a:lnTo>
                          <a:pt x="0" y="60"/>
                        </a:lnTo>
                        <a:lnTo>
                          <a:pt x="0" y="66"/>
                        </a:lnTo>
                        <a:lnTo>
                          <a:pt x="6" y="72"/>
                        </a:lnTo>
                        <a:lnTo>
                          <a:pt x="12" y="84"/>
                        </a:lnTo>
                        <a:lnTo>
                          <a:pt x="24" y="90"/>
                        </a:lnTo>
                        <a:lnTo>
                          <a:pt x="30" y="90"/>
                        </a:lnTo>
                        <a:lnTo>
                          <a:pt x="42" y="96"/>
                        </a:lnTo>
                        <a:lnTo>
                          <a:pt x="60" y="132"/>
                        </a:lnTo>
                        <a:lnTo>
                          <a:pt x="54" y="132"/>
                        </a:lnTo>
                        <a:lnTo>
                          <a:pt x="48" y="126"/>
                        </a:lnTo>
                        <a:lnTo>
                          <a:pt x="36" y="126"/>
                        </a:lnTo>
                        <a:lnTo>
                          <a:pt x="24" y="120"/>
                        </a:lnTo>
                        <a:lnTo>
                          <a:pt x="6" y="120"/>
                        </a:lnTo>
                        <a:lnTo>
                          <a:pt x="6" y="126"/>
                        </a:lnTo>
                        <a:lnTo>
                          <a:pt x="18" y="132"/>
                        </a:lnTo>
                        <a:lnTo>
                          <a:pt x="30" y="144"/>
                        </a:lnTo>
                        <a:lnTo>
                          <a:pt x="42" y="150"/>
                        </a:lnTo>
                        <a:lnTo>
                          <a:pt x="54" y="192"/>
                        </a:lnTo>
                        <a:lnTo>
                          <a:pt x="90" y="198"/>
                        </a:lnTo>
                        <a:lnTo>
                          <a:pt x="90" y="228"/>
                        </a:lnTo>
                        <a:lnTo>
                          <a:pt x="78" y="240"/>
                        </a:lnTo>
                        <a:lnTo>
                          <a:pt x="78" y="270"/>
                        </a:lnTo>
                        <a:lnTo>
                          <a:pt x="84" y="282"/>
                        </a:lnTo>
                        <a:lnTo>
                          <a:pt x="102" y="300"/>
                        </a:lnTo>
                        <a:lnTo>
                          <a:pt x="108" y="300"/>
                        </a:lnTo>
                        <a:lnTo>
                          <a:pt x="108" y="306"/>
                        </a:lnTo>
                        <a:lnTo>
                          <a:pt x="102" y="312"/>
                        </a:lnTo>
                        <a:lnTo>
                          <a:pt x="102" y="324"/>
                        </a:lnTo>
                        <a:lnTo>
                          <a:pt x="108" y="330"/>
                        </a:lnTo>
                        <a:lnTo>
                          <a:pt x="132" y="330"/>
                        </a:lnTo>
                        <a:lnTo>
                          <a:pt x="144" y="324"/>
                        </a:lnTo>
                        <a:lnTo>
                          <a:pt x="144" y="318"/>
                        </a:lnTo>
                        <a:lnTo>
                          <a:pt x="150" y="312"/>
                        </a:lnTo>
                        <a:lnTo>
                          <a:pt x="150" y="306"/>
                        </a:lnTo>
                        <a:lnTo>
                          <a:pt x="198" y="282"/>
                        </a:lnTo>
                        <a:lnTo>
                          <a:pt x="222" y="288"/>
                        </a:lnTo>
                        <a:lnTo>
                          <a:pt x="234" y="270"/>
                        </a:lnTo>
                        <a:lnTo>
                          <a:pt x="258" y="270"/>
                        </a:lnTo>
                        <a:lnTo>
                          <a:pt x="270" y="264"/>
                        </a:lnTo>
                        <a:lnTo>
                          <a:pt x="276" y="264"/>
                        </a:lnTo>
                        <a:lnTo>
                          <a:pt x="276" y="24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10" name="Korea, North"/>
                  <p:cNvSpPr>
                    <a:spLocks/>
                  </p:cNvSpPr>
                  <p:nvPr/>
                </p:nvSpPr>
                <p:spPr bwMode="gray">
                  <a:xfrm>
                    <a:off x="4753" y="1426"/>
                    <a:ext cx="84" cy="107"/>
                  </a:xfrm>
                  <a:custGeom>
                    <a:avLst/>
                    <a:gdLst>
                      <a:gd name="T0" fmla="*/ 2147483647 w 330"/>
                      <a:gd name="T1" fmla="*/ 0 h 420"/>
                      <a:gd name="T2" fmla="*/ 2147483647 w 330"/>
                      <a:gd name="T3" fmla="*/ 2147483647 h 420"/>
                      <a:gd name="T4" fmla="*/ 2147483647 w 330"/>
                      <a:gd name="T5" fmla="*/ 2147483647 h 420"/>
                      <a:gd name="T6" fmla="*/ 2147483647 w 330"/>
                      <a:gd name="T7" fmla="*/ 2147483647 h 420"/>
                      <a:gd name="T8" fmla="*/ 2147483647 w 330"/>
                      <a:gd name="T9" fmla="*/ 2147483647 h 420"/>
                      <a:gd name="T10" fmla="*/ 2147483647 w 330"/>
                      <a:gd name="T11" fmla="*/ 2147483647 h 420"/>
                      <a:gd name="T12" fmla="*/ 2147483647 w 330"/>
                      <a:gd name="T13" fmla="*/ 2147483647 h 420"/>
                      <a:gd name="T14" fmla="*/ 2147483647 w 330"/>
                      <a:gd name="T15" fmla="*/ 2147483647 h 420"/>
                      <a:gd name="T16" fmla="*/ 2147483647 w 330"/>
                      <a:gd name="T17" fmla="*/ 2147483647 h 420"/>
                      <a:gd name="T18" fmla="*/ 2147483647 w 330"/>
                      <a:gd name="T19" fmla="*/ 2147483647 h 420"/>
                      <a:gd name="T20" fmla="*/ 2147483647 w 330"/>
                      <a:gd name="T21" fmla="*/ 2147483647 h 420"/>
                      <a:gd name="T22" fmla="*/ 2147483647 w 330"/>
                      <a:gd name="T23" fmla="*/ 2147483647 h 420"/>
                      <a:gd name="T24" fmla="*/ 2147483647 w 330"/>
                      <a:gd name="T25" fmla="*/ 2147483647 h 420"/>
                      <a:gd name="T26" fmla="*/ 2147483647 w 330"/>
                      <a:gd name="T27" fmla="*/ 2147483647 h 420"/>
                      <a:gd name="T28" fmla="*/ 2147483647 w 330"/>
                      <a:gd name="T29" fmla="*/ 2147483647 h 420"/>
                      <a:gd name="T30" fmla="*/ 2147483647 w 330"/>
                      <a:gd name="T31" fmla="*/ 2147483647 h 420"/>
                      <a:gd name="T32" fmla="*/ 2147483647 w 330"/>
                      <a:gd name="T33" fmla="*/ 2147483647 h 420"/>
                      <a:gd name="T34" fmla="*/ 2147483647 w 330"/>
                      <a:gd name="T35" fmla="*/ 2147483647 h 420"/>
                      <a:gd name="T36" fmla="*/ 2147483647 w 330"/>
                      <a:gd name="T37" fmla="*/ 2147483647 h 420"/>
                      <a:gd name="T38" fmla="*/ 2147483647 w 330"/>
                      <a:gd name="T39" fmla="*/ 2147483647 h 420"/>
                      <a:gd name="T40" fmla="*/ 2147483647 w 330"/>
                      <a:gd name="T41" fmla="*/ 2147483647 h 420"/>
                      <a:gd name="T42" fmla="*/ 2147483647 w 330"/>
                      <a:gd name="T43" fmla="*/ 2147483647 h 420"/>
                      <a:gd name="T44" fmla="*/ 2147483647 w 330"/>
                      <a:gd name="T45" fmla="*/ 2147483647 h 420"/>
                      <a:gd name="T46" fmla="*/ 2147483647 w 330"/>
                      <a:gd name="T47" fmla="*/ 2147483647 h 420"/>
                      <a:gd name="T48" fmla="*/ 2147483647 w 330"/>
                      <a:gd name="T49" fmla="*/ 2147483647 h 420"/>
                      <a:gd name="T50" fmla="*/ 2147483647 w 330"/>
                      <a:gd name="T51" fmla="*/ 2147483647 h 420"/>
                      <a:gd name="T52" fmla="*/ 2147483647 w 330"/>
                      <a:gd name="T53" fmla="*/ 2147483647 h 420"/>
                      <a:gd name="T54" fmla="*/ 2147483647 w 330"/>
                      <a:gd name="T55" fmla="*/ 2147483647 h 420"/>
                      <a:gd name="T56" fmla="*/ 2147483647 w 330"/>
                      <a:gd name="T57" fmla="*/ 2147483647 h 420"/>
                      <a:gd name="T58" fmla="*/ 2147483647 w 330"/>
                      <a:gd name="T59" fmla="*/ 2147483647 h 420"/>
                      <a:gd name="T60" fmla="*/ 2147483647 w 330"/>
                      <a:gd name="T61" fmla="*/ 2147483647 h 420"/>
                      <a:gd name="T62" fmla="*/ 2147483647 w 330"/>
                      <a:gd name="T63" fmla="*/ 2147483647 h 420"/>
                      <a:gd name="T64" fmla="*/ 2147483647 w 330"/>
                      <a:gd name="T65" fmla="*/ 2147483647 h 420"/>
                      <a:gd name="T66" fmla="*/ 2147483647 w 330"/>
                      <a:gd name="T67" fmla="*/ 2147483647 h 420"/>
                      <a:gd name="T68" fmla="*/ 2147483647 w 330"/>
                      <a:gd name="T69" fmla="*/ 2147483647 h 420"/>
                      <a:gd name="T70" fmla="*/ 2147483647 w 330"/>
                      <a:gd name="T71" fmla="*/ 2147483647 h 420"/>
                      <a:gd name="T72" fmla="*/ 2147483647 w 330"/>
                      <a:gd name="T73" fmla="*/ 2147483647 h 420"/>
                      <a:gd name="T74" fmla="*/ 2147483647 w 330"/>
                      <a:gd name="T75" fmla="*/ 2147483647 h 420"/>
                      <a:gd name="T76" fmla="*/ 2147483647 w 330"/>
                      <a:gd name="T77" fmla="*/ 2147483647 h 420"/>
                      <a:gd name="T78" fmla="*/ 2147483647 w 330"/>
                      <a:gd name="T79" fmla="*/ 2147483647 h 420"/>
                      <a:gd name="T80" fmla="*/ 2147483647 w 330"/>
                      <a:gd name="T81" fmla="*/ 2147483647 h 420"/>
                      <a:gd name="T82" fmla="*/ 2147483647 w 330"/>
                      <a:gd name="T83" fmla="*/ 2147483647 h 420"/>
                      <a:gd name="T84" fmla="*/ 2147483647 w 330"/>
                      <a:gd name="T85" fmla="*/ 2147483647 h 420"/>
                      <a:gd name="T86" fmla="*/ 2147483647 w 330"/>
                      <a:gd name="T87" fmla="*/ 2147483647 h 420"/>
                      <a:gd name="T88" fmla="*/ 2147483647 w 330"/>
                      <a:gd name="T89" fmla="*/ 2147483647 h 420"/>
                      <a:gd name="T90" fmla="*/ 2147483647 w 330"/>
                      <a:gd name="T91" fmla="*/ 2147483647 h 420"/>
                      <a:gd name="T92" fmla="*/ 2147483647 w 330"/>
                      <a:gd name="T93" fmla="*/ 2147483647 h 420"/>
                      <a:gd name="T94" fmla="*/ 2147483647 w 330"/>
                      <a:gd name="T95" fmla="*/ 2147483647 h 420"/>
                      <a:gd name="T96" fmla="*/ 2147483647 w 330"/>
                      <a:gd name="T97" fmla="*/ 2147483647 h 420"/>
                      <a:gd name="T98" fmla="*/ 2147483647 w 330"/>
                      <a:gd name="T99" fmla="*/ 2147483647 h 420"/>
                      <a:gd name="T100" fmla="*/ 2147483647 w 330"/>
                      <a:gd name="T101" fmla="*/ 2147483647 h 420"/>
                      <a:gd name="T102" fmla="*/ 2147483647 w 330"/>
                      <a:gd name="T103" fmla="*/ 0 h 42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330"/>
                      <a:gd name="T157" fmla="*/ 0 h 420"/>
                      <a:gd name="T158" fmla="*/ 330 w 330"/>
                      <a:gd name="T159" fmla="*/ 420 h 42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330" h="420">
                        <a:moveTo>
                          <a:pt x="270" y="0"/>
                        </a:moveTo>
                        <a:lnTo>
                          <a:pt x="240" y="0"/>
                        </a:lnTo>
                        <a:lnTo>
                          <a:pt x="240" y="6"/>
                        </a:lnTo>
                        <a:lnTo>
                          <a:pt x="246" y="12"/>
                        </a:lnTo>
                        <a:lnTo>
                          <a:pt x="252" y="24"/>
                        </a:lnTo>
                        <a:lnTo>
                          <a:pt x="252" y="42"/>
                        </a:lnTo>
                        <a:lnTo>
                          <a:pt x="228" y="42"/>
                        </a:lnTo>
                        <a:lnTo>
                          <a:pt x="234" y="54"/>
                        </a:lnTo>
                        <a:lnTo>
                          <a:pt x="234" y="60"/>
                        </a:lnTo>
                        <a:lnTo>
                          <a:pt x="228" y="72"/>
                        </a:lnTo>
                        <a:lnTo>
                          <a:pt x="216" y="78"/>
                        </a:lnTo>
                        <a:lnTo>
                          <a:pt x="204" y="72"/>
                        </a:lnTo>
                        <a:lnTo>
                          <a:pt x="180" y="72"/>
                        </a:lnTo>
                        <a:lnTo>
                          <a:pt x="174" y="66"/>
                        </a:lnTo>
                        <a:lnTo>
                          <a:pt x="168" y="72"/>
                        </a:lnTo>
                        <a:lnTo>
                          <a:pt x="168" y="84"/>
                        </a:lnTo>
                        <a:lnTo>
                          <a:pt x="192" y="108"/>
                        </a:lnTo>
                        <a:lnTo>
                          <a:pt x="198" y="108"/>
                        </a:lnTo>
                        <a:lnTo>
                          <a:pt x="198" y="120"/>
                        </a:lnTo>
                        <a:lnTo>
                          <a:pt x="150" y="120"/>
                        </a:lnTo>
                        <a:lnTo>
                          <a:pt x="138" y="114"/>
                        </a:lnTo>
                        <a:lnTo>
                          <a:pt x="126" y="114"/>
                        </a:lnTo>
                        <a:lnTo>
                          <a:pt x="114" y="102"/>
                        </a:lnTo>
                        <a:lnTo>
                          <a:pt x="102" y="96"/>
                        </a:lnTo>
                        <a:lnTo>
                          <a:pt x="90" y="96"/>
                        </a:lnTo>
                        <a:lnTo>
                          <a:pt x="90" y="102"/>
                        </a:lnTo>
                        <a:lnTo>
                          <a:pt x="84" y="108"/>
                        </a:lnTo>
                        <a:lnTo>
                          <a:pt x="84" y="138"/>
                        </a:lnTo>
                        <a:lnTo>
                          <a:pt x="66" y="174"/>
                        </a:lnTo>
                        <a:lnTo>
                          <a:pt x="54" y="186"/>
                        </a:lnTo>
                        <a:lnTo>
                          <a:pt x="18" y="204"/>
                        </a:lnTo>
                        <a:lnTo>
                          <a:pt x="12" y="216"/>
                        </a:lnTo>
                        <a:lnTo>
                          <a:pt x="6" y="222"/>
                        </a:lnTo>
                        <a:lnTo>
                          <a:pt x="6" y="234"/>
                        </a:lnTo>
                        <a:lnTo>
                          <a:pt x="0" y="246"/>
                        </a:lnTo>
                        <a:lnTo>
                          <a:pt x="12" y="228"/>
                        </a:lnTo>
                        <a:lnTo>
                          <a:pt x="18" y="246"/>
                        </a:lnTo>
                        <a:lnTo>
                          <a:pt x="36" y="270"/>
                        </a:lnTo>
                        <a:lnTo>
                          <a:pt x="48" y="252"/>
                        </a:lnTo>
                        <a:lnTo>
                          <a:pt x="54" y="258"/>
                        </a:lnTo>
                        <a:lnTo>
                          <a:pt x="60" y="270"/>
                        </a:lnTo>
                        <a:lnTo>
                          <a:pt x="96" y="270"/>
                        </a:lnTo>
                        <a:lnTo>
                          <a:pt x="96" y="282"/>
                        </a:lnTo>
                        <a:lnTo>
                          <a:pt x="102" y="294"/>
                        </a:lnTo>
                        <a:lnTo>
                          <a:pt x="102" y="336"/>
                        </a:lnTo>
                        <a:lnTo>
                          <a:pt x="138" y="336"/>
                        </a:lnTo>
                        <a:lnTo>
                          <a:pt x="144" y="348"/>
                        </a:lnTo>
                        <a:lnTo>
                          <a:pt x="132" y="342"/>
                        </a:lnTo>
                        <a:lnTo>
                          <a:pt x="108" y="342"/>
                        </a:lnTo>
                        <a:lnTo>
                          <a:pt x="102" y="348"/>
                        </a:lnTo>
                        <a:lnTo>
                          <a:pt x="102" y="360"/>
                        </a:lnTo>
                        <a:lnTo>
                          <a:pt x="108" y="378"/>
                        </a:lnTo>
                        <a:lnTo>
                          <a:pt x="114" y="384"/>
                        </a:lnTo>
                        <a:lnTo>
                          <a:pt x="126" y="408"/>
                        </a:lnTo>
                        <a:lnTo>
                          <a:pt x="156" y="396"/>
                        </a:lnTo>
                        <a:lnTo>
                          <a:pt x="162" y="402"/>
                        </a:lnTo>
                        <a:lnTo>
                          <a:pt x="174" y="408"/>
                        </a:lnTo>
                        <a:lnTo>
                          <a:pt x="180" y="414"/>
                        </a:lnTo>
                        <a:lnTo>
                          <a:pt x="192" y="420"/>
                        </a:lnTo>
                        <a:lnTo>
                          <a:pt x="198" y="420"/>
                        </a:lnTo>
                        <a:lnTo>
                          <a:pt x="216" y="414"/>
                        </a:lnTo>
                        <a:lnTo>
                          <a:pt x="228" y="414"/>
                        </a:lnTo>
                        <a:lnTo>
                          <a:pt x="240" y="408"/>
                        </a:lnTo>
                        <a:lnTo>
                          <a:pt x="246" y="402"/>
                        </a:lnTo>
                        <a:lnTo>
                          <a:pt x="246" y="396"/>
                        </a:lnTo>
                        <a:lnTo>
                          <a:pt x="240" y="390"/>
                        </a:lnTo>
                        <a:lnTo>
                          <a:pt x="240" y="384"/>
                        </a:lnTo>
                        <a:lnTo>
                          <a:pt x="246" y="384"/>
                        </a:lnTo>
                        <a:lnTo>
                          <a:pt x="252" y="378"/>
                        </a:lnTo>
                        <a:lnTo>
                          <a:pt x="276" y="366"/>
                        </a:lnTo>
                        <a:lnTo>
                          <a:pt x="306" y="366"/>
                        </a:lnTo>
                        <a:lnTo>
                          <a:pt x="324" y="354"/>
                        </a:lnTo>
                        <a:lnTo>
                          <a:pt x="312" y="342"/>
                        </a:lnTo>
                        <a:lnTo>
                          <a:pt x="312" y="336"/>
                        </a:lnTo>
                        <a:lnTo>
                          <a:pt x="264" y="312"/>
                        </a:lnTo>
                        <a:lnTo>
                          <a:pt x="240" y="312"/>
                        </a:lnTo>
                        <a:lnTo>
                          <a:pt x="240" y="300"/>
                        </a:lnTo>
                        <a:lnTo>
                          <a:pt x="246" y="288"/>
                        </a:lnTo>
                        <a:lnTo>
                          <a:pt x="252" y="282"/>
                        </a:lnTo>
                        <a:lnTo>
                          <a:pt x="246" y="276"/>
                        </a:lnTo>
                        <a:lnTo>
                          <a:pt x="234" y="270"/>
                        </a:lnTo>
                        <a:lnTo>
                          <a:pt x="228" y="264"/>
                        </a:lnTo>
                        <a:lnTo>
                          <a:pt x="228" y="252"/>
                        </a:lnTo>
                        <a:lnTo>
                          <a:pt x="240" y="246"/>
                        </a:lnTo>
                        <a:lnTo>
                          <a:pt x="246" y="240"/>
                        </a:lnTo>
                        <a:lnTo>
                          <a:pt x="258" y="234"/>
                        </a:lnTo>
                        <a:lnTo>
                          <a:pt x="270" y="234"/>
                        </a:lnTo>
                        <a:lnTo>
                          <a:pt x="276" y="228"/>
                        </a:lnTo>
                        <a:lnTo>
                          <a:pt x="288" y="204"/>
                        </a:lnTo>
                        <a:lnTo>
                          <a:pt x="288" y="192"/>
                        </a:lnTo>
                        <a:lnTo>
                          <a:pt x="294" y="186"/>
                        </a:lnTo>
                        <a:lnTo>
                          <a:pt x="300" y="174"/>
                        </a:lnTo>
                        <a:lnTo>
                          <a:pt x="324" y="162"/>
                        </a:lnTo>
                        <a:lnTo>
                          <a:pt x="312" y="132"/>
                        </a:lnTo>
                        <a:lnTo>
                          <a:pt x="306" y="126"/>
                        </a:lnTo>
                        <a:lnTo>
                          <a:pt x="294" y="102"/>
                        </a:lnTo>
                        <a:lnTo>
                          <a:pt x="294" y="90"/>
                        </a:lnTo>
                        <a:lnTo>
                          <a:pt x="306" y="66"/>
                        </a:lnTo>
                        <a:lnTo>
                          <a:pt x="318" y="60"/>
                        </a:lnTo>
                        <a:lnTo>
                          <a:pt x="324" y="54"/>
                        </a:lnTo>
                        <a:lnTo>
                          <a:pt x="330" y="54"/>
                        </a:lnTo>
                        <a:lnTo>
                          <a:pt x="312" y="36"/>
                        </a:lnTo>
                        <a:lnTo>
                          <a:pt x="288" y="24"/>
                        </a:lnTo>
                        <a:lnTo>
                          <a:pt x="270"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11" name="Kenya"/>
                  <p:cNvSpPr>
                    <a:spLocks/>
                  </p:cNvSpPr>
                  <p:nvPr/>
                </p:nvSpPr>
                <p:spPr bwMode="gray">
                  <a:xfrm>
                    <a:off x="3272" y="2213"/>
                    <a:ext cx="144" cy="195"/>
                  </a:xfrm>
                  <a:custGeom>
                    <a:avLst/>
                    <a:gdLst>
                      <a:gd name="T0" fmla="*/ 2147483647 w 564"/>
                      <a:gd name="T1" fmla="*/ 2147483647 h 762"/>
                      <a:gd name="T2" fmla="*/ 2147483647 w 564"/>
                      <a:gd name="T3" fmla="*/ 2147483647 h 762"/>
                      <a:gd name="T4" fmla="*/ 2147483647 w 564"/>
                      <a:gd name="T5" fmla="*/ 2147483647 h 762"/>
                      <a:gd name="T6" fmla="*/ 2147483647 w 564"/>
                      <a:gd name="T7" fmla="*/ 2147483647 h 762"/>
                      <a:gd name="T8" fmla="*/ 2147483647 w 564"/>
                      <a:gd name="T9" fmla="*/ 2147483647 h 762"/>
                      <a:gd name="T10" fmla="*/ 2147483647 w 564"/>
                      <a:gd name="T11" fmla="*/ 2147483647 h 762"/>
                      <a:gd name="T12" fmla="*/ 2147483647 w 564"/>
                      <a:gd name="T13" fmla="*/ 2147483647 h 762"/>
                      <a:gd name="T14" fmla="*/ 2147483647 w 564"/>
                      <a:gd name="T15" fmla="*/ 2147483647 h 762"/>
                      <a:gd name="T16" fmla="*/ 2147483647 w 564"/>
                      <a:gd name="T17" fmla="*/ 2147483647 h 762"/>
                      <a:gd name="T18" fmla="*/ 2147483647 w 564"/>
                      <a:gd name="T19" fmla="*/ 2147483647 h 762"/>
                      <a:gd name="T20" fmla="*/ 2147483647 w 564"/>
                      <a:gd name="T21" fmla="*/ 2147483647 h 762"/>
                      <a:gd name="T22" fmla="*/ 2147483647 w 564"/>
                      <a:gd name="T23" fmla="*/ 2147483647 h 762"/>
                      <a:gd name="T24" fmla="*/ 2147483647 w 564"/>
                      <a:gd name="T25" fmla="*/ 0 h 762"/>
                      <a:gd name="T26" fmla="*/ 2147483647 w 564"/>
                      <a:gd name="T27" fmla="*/ 2147483647 h 762"/>
                      <a:gd name="T28" fmla="*/ 2147483647 w 564"/>
                      <a:gd name="T29" fmla="*/ 2147483647 h 762"/>
                      <a:gd name="T30" fmla="*/ 2147483647 w 564"/>
                      <a:gd name="T31" fmla="*/ 2147483647 h 762"/>
                      <a:gd name="T32" fmla="*/ 2147483647 w 564"/>
                      <a:gd name="T33" fmla="*/ 2147483647 h 762"/>
                      <a:gd name="T34" fmla="*/ 2147483647 w 564"/>
                      <a:gd name="T35" fmla="*/ 2147483647 h 762"/>
                      <a:gd name="T36" fmla="*/ 2147483647 w 564"/>
                      <a:gd name="T37" fmla="*/ 2147483647 h 762"/>
                      <a:gd name="T38" fmla="*/ 2147483647 w 564"/>
                      <a:gd name="T39" fmla="*/ 2147483647 h 762"/>
                      <a:gd name="T40" fmla="*/ 2147483647 w 564"/>
                      <a:gd name="T41" fmla="*/ 2147483647 h 762"/>
                      <a:gd name="T42" fmla="*/ 2147483647 w 564"/>
                      <a:gd name="T43" fmla="*/ 2147483647 h 762"/>
                      <a:gd name="T44" fmla="*/ 2147483647 w 564"/>
                      <a:gd name="T45" fmla="*/ 2147483647 h 762"/>
                      <a:gd name="T46" fmla="*/ 2147483647 w 564"/>
                      <a:gd name="T47" fmla="*/ 2147483647 h 762"/>
                      <a:gd name="T48" fmla="*/ 2147483647 w 564"/>
                      <a:gd name="T49" fmla="*/ 2147483647 h 762"/>
                      <a:gd name="T50" fmla="*/ 2147483647 w 564"/>
                      <a:gd name="T51" fmla="*/ 2147483647 h 762"/>
                      <a:gd name="T52" fmla="*/ 2147483647 w 564"/>
                      <a:gd name="T53" fmla="*/ 2147483647 h 762"/>
                      <a:gd name="T54" fmla="*/ 2147483647 w 564"/>
                      <a:gd name="T55" fmla="*/ 2147483647 h 762"/>
                      <a:gd name="T56" fmla="*/ 2147483647 w 564"/>
                      <a:gd name="T57" fmla="*/ 2147483647 h 762"/>
                      <a:gd name="T58" fmla="*/ 0 w 564"/>
                      <a:gd name="T59" fmla="*/ 2147483647 h 762"/>
                      <a:gd name="T60" fmla="*/ 2147483647 w 564"/>
                      <a:gd name="T61" fmla="*/ 2147483647 h 762"/>
                      <a:gd name="T62" fmla="*/ 2147483647 w 564"/>
                      <a:gd name="T63" fmla="*/ 2147483647 h 762"/>
                      <a:gd name="T64" fmla="*/ 2147483647 w 564"/>
                      <a:gd name="T65" fmla="*/ 2147483647 h 762"/>
                      <a:gd name="T66" fmla="*/ 2147483647 w 564"/>
                      <a:gd name="T67" fmla="*/ 2147483647 h 762"/>
                      <a:gd name="T68" fmla="*/ 2147483647 w 564"/>
                      <a:gd name="T69" fmla="*/ 2147483647 h 762"/>
                      <a:gd name="T70" fmla="*/ 0 w 564"/>
                      <a:gd name="T71" fmla="*/ 2147483647 h 762"/>
                      <a:gd name="T72" fmla="*/ 2147483647 w 564"/>
                      <a:gd name="T73" fmla="*/ 2147483647 h 762"/>
                      <a:gd name="T74" fmla="*/ 2147483647 w 564"/>
                      <a:gd name="T75" fmla="*/ 2147483647 h 762"/>
                      <a:gd name="T76" fmla="*/ 2147483647 w 564"/>
                      <a:gd name="T77" fmla="*/ 2147483647 h 762"/>
                      <a:gd name="T78" fmla="*/ 2147483647 w 564"/>
                      <a:gd name="T79" fmla="*/ 2147483647 h 762"/>
                      <a:gd name="T80" fmla="*/ 2147483647 w 564"/>
                      <a:gd name="T81" fmla="*/ 2147483647 h 762"/>
                      <a:gd name="T82" fmla="*/ 2147483647 w 564"/>
                      <a:gd name="T83" fmla="*/ 2147483647 h 762"/>
                      <a:gd name="T84" fmla="*/ 2147483647 w 564"/>
                      <a:gd name="T85" fmla="*/ 2147483647 h 762"/>
                      <a:gd name="T86" fmla="*/ 2147483647 w 564"/>
                      <a:gd name="T87" fmla="*/ 2147483647 h 762"/>
                      <a:gd name="T88" fmla="*/ 2147483647 w 564"/>
                      <a:gd name="T89" fmla="*/ 2147483647 h 762"/>
                      <a:gd name="T90" fmla="*/ 2147483647 w 564"/>
                      <a:gd name="T91" fmla="*/ 2147483647 h 762"/>
                      <a:gd name="T92" fmla="*/ 2147483647 w 564"/>
                      <a:gd name="T93" fmla="*/ 2147483647 h 762"/>
                      <a:gd name="T94" fmla="*/ 2147483647 w 564"/>
                      <a:gd name="T95" fmla="*/ 2147483647 h 762"/>
                      <a:gd name="T96" fmla="*/ 2147483647 w 564"/>
                      <a:gd name="T97" fmla="*/ 2147483647 h 762"/>
                      <a:gd name="T98" fmla="*/ 2147483647 w 564"/>
                      <a:gd name="T99" fmla="*/ 2147483647 h 762"/>
                      <a:gd name="T100" fmla="*/ 2147483647 w 564"/>
                      <a:gd name="T101" fmla="*/ 2147483647 h 76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564"/>
                      <a:gd name="T154" fmla="*/ 0 h 762"/>
                      <a:gd name="T155" fmla="*/ 564 w 564"/>
                      <a:gd name="T156" fmla="*/ 762 h 762"/>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564" h="762">
                        <a:moveTo>
                          <a:pt x="498" y="150"/>
                        </a:moveTo>
                        <a:lnTo>
                          <a:pt x="540" y="108"/>
                        </a:lnTo>
                        <a:lnTo>
                          <a:pt x="558" y="72"/>
                        </a:lnTo>
                        <a:lnTo>
                          <a:pt x="564" y="66"/>
                        </a:lnTo>
                        <a:lnTo>
                          <a:pt x="564" y="60"/>
                        </a:lnTo>
                        <a:lnTo>
                          <a:pt x="540" y="54"/>
                        </a:lnTo>
                        <a:lnTo>
                          <a:pt x="534" y="60"/>
                        </a:lnTo>
                        <a:lnTo>
                          <a:pt x="504" y="60"/>
                        </a:lnTo>
                        <a:lnTo>
                          <a:pt x="480" y="30"/>
                        </a:lnTo>
                        <a:lnTo>
                          <a:pt x="462" y="48"/>
                        </a:lnTo>
                        <a:lnTo>
                          <a:pt x="456" y="48"/>
                        </a:lnTo>
                        <a:lnTo>
                          <a:pt x="450" y="54"/>
                        </a:lnTo>
                        <a:lnTo>
                          <a:pt x="438" y="60"/>
                        </a:lnTo>
                        <a:lnTo>
                          <a:pt x="426" y="60"/>
                        </a:lnTo>
                        <a:lnTo>
                          <a:pt x="414" y="72"/>
                        </a:lnTo>
                        <a:lnTo>
                          <a:pt x="414" y="84"/>
                        </a:lnTo>
                        <a:lnTo>
                          <a:pt x="390" y="102"/>
                        </a:lnTo>
                        <a:lnTo>
                          <a:pt x="378" y="96"/>
                        </a:lnTo>
                        <a:lnTo>
                          <a:pt x="372" y="96"/>
                        </a:lnTo>
                        <a:lnTo>
                          <a:pt x="360" y="90"/>
                        </a:lnTo>
                        <a:lnTo>
                          <a:pt x="330" y="90"/>
                        </a:lnTo>
                        <a:lnTo>
                          <a:pt x="318" y="84"/>
                        </a:lnTo>
                        <a:lnTo>
                          <a:pt x="288" y="84"/>
                        </a:lnTo>
                        <a:lnTo>
                          <a:pt x="210" y="24"/>
                        </a:lnTo>
                        <a:lnTo>
                          <a:pt x="138" y="18"/>
                        </a:lnTo>
                        <a:lnTo>
                          <a:pt x="132" y="0"/>
                        </a:lnTo>
                        <a:lnTo>
                          <a:pt x="108" y="12"/>
                        </a:lnTo>
                        <a:lnTo>
                          <a:pt x="18" y="12"/>
                        </a:lnTo>
                        <a:lnTo>
                          <a:pt x="0" y="42"/>
                        </a:lnTo>
                        <a:lnTo>
                          <a:pt x="6" y="48"/>
                        </a:lnTo>
                        <a:lnTo>
                          <a:pt x="12" y="60"/>
                        </a:lnTo>
                        <a:lnTo>
                          <a:pt x="12" y="84"/>
                        </a:lnTo>
                        <a:lnTo>
                          <a:pt x="18" y="84"/>
                        </a:lnTo>
                        <a:lnTo>
                          <a:pt x="24" y="90"/>
                        </a:lnTo>
                        <a:lnTo>
                          <a:pt x="24" y="84"/>
                        </a:lnTo>
                        <a:lnTo>
                          <a:pt x="30" y="84"/>
                        </a:lnTo>
                        <a:lnTo>
                          <a:pt x="30" y="96"/>
                        </a:lnTo>
                        <a:lnTo>
                          <a:pt x="24" y="102"/>
                        </a:lnTo>
                        <a:lnTo>
                          <a:pt x="24" y="108"/>
                        </a:lnTo>
                        <a:lnTo>
                          <a:pt x="42" y="126"/>
                        </a:lnTo>
                        <a:lnTo>
                          <a:pt x="36" y="132"/>
                        </a:lnTo>
                        <a:lnTo>
                          <a:pt x="72" y="174"/>
                        </a:lnTo>
                        <a:lnTo>
                          <a:pt x="66" y="180"/>
                        </a:lnTo>
                        <a:lnTo>
                          <a:pt x="60" y="180"/>
                        </a:lnTo>
                        <a:lnTo>
                          <a:pt x="54" y="186"/>
                        </a:lnTo>
                        <a:lnTo>
                          <a:pt x="54" y="192"/>
                        </a:lnTo>
                        <a:lnTo>
                          <a:pt x="66" y="216"/>
                        </a:lnTo>
                        <a:lnTo>
                          <a:pt x="72" y="222"/>
                        </a:lnTo>
                        <a:lnTo>
                          <a:pt x="78" y="234"/>
                        </a:lnTo>
                        <a:lnTo>
                          <a:pt x="78" y="246"/>
                        </a:lnTo>
                        <a:lnTo>
                          <a:pt x="66" y="258"/>
                        </a:lnTo>
                        <a:lnTo>
                          <a:pt x="60" y="282"/>
                        </a:lnTo>
                        <a:lnTo>
                          <a:pt x="42" y="282"/>
                        </a:lnTo>
                        <a:lnTo>
                          <a:pt x="36" y="288"/>
                        </a:lnTo>
                        <a:lnTo>
                          <a:pt x="36" y="312"/>
                        </a:lnTo>
                        <a:lnTo>
                          <a:pt x="18" y="324"/>
                        </a:lnTo>
                        <a:lnTo>
                          <a:pt x="12" y="342"/>
                        </a:lnTo>
                        <a:lnTo>
                          <a:pt x="6" y="348"/>
                        </a:lnTo>
                        <a:lnTo>
                          <a:pt x="0" y="360"/>
                        </a:lnTo>
                        <a:lnTo>
                          <a:pt x="0" y="384"/>
                        </a:lnTo>
                        <a:lnTo>
                          <a:pt x="18" y="402"/>
                        </a:lnTo>
                        <a:lnTo>
                          <a:pt x="30" y="402"/>
                        </a:lnTo>
                        <a:lnTo>
                          <a:pt x="30" y="390"/>
                        </a:lnTo>
                        <a:lnTo>
                          <a:pt x="54" y="390"/>
                        </a:lnTo>
                        <a:lnTo>
                          <a:pt x="60" y="408"/>
                        </a:lnTo>
                        <a:lnTo>
                          <a:pt x="42" y="408"/>
                        </a:lnTo>
                        <a:lnTo>
                          <a:pt x="30" y="420"/>
                        </a:lnTo>
                        <a:lnTo>
                          <a:pt x="24" y="414"/>
                        </a:lnTo>
                        <a:lnTo>
                          <a:pt x="18" y="414"/>
                        </a:lnTo>
                        <a:lnTo>
                          <a:pt x="6" y="420"/>
                        </a:lnTo>
                        <a:lnTo>
                          <a:pt x="0" y="432"/>
                        </a:lnTo>
                        <a:lnTo>
                          <a:pt x="0" y="438"/>
                        </a:lnTo>
                        <a:lnTo>
                          <a:pt x="12" y="450"/>
                        </a:lnTo>
                        <a:lnTo>
                          <a:pt x="6" y="468"/>
                        </a:lnTo>
                        <a:lnTo>
                          <a:pt x="258" y="624"/>
                        </a:lnTo>
                        <a:lnTo>
                          <a:pt x="270" y="636"/>
                        </a:lnTo>
                        <a:lnTo>
                          <a:pt x="270" y="642"/>
                        </a:lnTo>
                        <a:lnTo>
                          <a:pt x="264" y="648"/>
                        </a:lnTo>
                        <a:lnTo>
                          <a:pt x="258" y="648"/>
                        </a:lnTo>
                        <a:lnTo>
                          <a:pt x="252" y="654"/>
                        </a:lnTo>
                        <a:lnTo>
                          <a:pt x="366" y="762"/>
                        </a:lnTo>
                        <a:lnTo>
                          <a:pt x="384" y="756"/>
                        </a:lnTo>
                        <a:lnTo>
                          <a:pt x="414" y="690"/>
                        </a:lnTo>
                        <a:lnTo>
                          <a:pt x="414" y="660"/>
                        </a:lnTo>
                        <a:lnTo>
                          <a:pt x="426" y="648"/>
                        </a:lnTo>
                        <a:lnTo>
                          <a:pt x="432" y="648"/>
                        </a:lnTo>
                        <a:lnTo>
                          <a:pt x="444" y="636"/>
                        </a:lnTo>
                        <a:lnTo>
                          <a:pt x="444" y="624"/>
                        </a:lnTo>
                        <a:lnTo>
                          <a:pt x="438" y="618"/>
                        </a:lnTo>
                        <a:lnTo>
                          <a:pt x="438" y="600"/>
                        </a:lnTo>
                        <a:lnTo>
                          <a:pt x="444" y="594"/>
                        </a:lnTo>
                        <a:lnTo>
                          <a:pt x="456" y="588"/>
                        </a:lnTo>
                        <a:lnTo>
                          <a:pt x="468" y="588"/>
                        </a:lnTo>
                        <a:lnTo>
                          <a:pt x="474" y="582"/>
                        </a:lnTo>
                        <a:lnTo>
                          <a:pt x="480" y="582"/>
                        </a:lnTo>
                        <a:lnTo>
                          <a:pt x="486" y="540"/>
                        </a:lnTo>
                        <a:lnTo>
                          <a:pt x="516" y="540"/>
                        </a:lnTo>
                        <a:lnTo>
                          <a:pt x="528" y="534"/>
                        </a:lnTo>
                        <a:lnTo>
                          <a:pt x="534" y="522"/>
                        </a:lnTo>
                        <a:lnTo>
                          <a:pt x="540" y="516"/>
                        </a:lnTo>
                        <a:lnTo>
                          <a:pt x="498" y="450"/>
                        </a:lnTo>
                        <a:lnTo>
                          <a:pt x="498" y="15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12" name="Kazakhstan"/>
                  <p:cNvSpPr>
                    <a:spLocks noEditPoints="1"/>
                  </p:cNvSpPr>
                  <p:nvPr/>
                </p:nvSpPr>
                <p:spPr bwMode="gray">
                  <a:xfrm>
                    <a:off x="3419" y="1177"/>
                    <a:ext cx="643" cy="298"/>
                  </a:xfrm>
                  <a:custGeom>
                    <a:avLst/>
                    <a:gdLst>
                      <a:gd name="T0" fmla="*/ 2147483647 w 2514"/>
                      <a:gd name="T1" fmla="*/ 2147483647 h 1164"/>
                      <a:gd name="T2" fmla="*/ 2147483647 w 2514"/>
                      <a:gd name="T3" fmla="*/ 2147483647 h 1164"/>
                      <a:gd name="T4" fmla="*/ 2147483647 w 2514"/>
                      <a:gd name="T5" fmla="*/ 2147483647 h 1164"/>
                      <a:gd name="T6" fmla="*/ 2147483647 w 2514"/>
                      <a:gd name="T7" fmla="*/ 2147483647 h 1164"/>
                      <a:gd name="T8" fmla="*/ 2147483647 w 2514"/>
                      <a:gd name="T9" fmla="*/ 2147483647 h 1164"/>
                      <a:gd name="T10" fmla="*/ 2147483647 w 2514"/>
                      <a:gd name="T11" fmla="*/ 2147483647 h 1164"/>
                      <a:gd name="T12" fmla="*/ 2147483647 w 2514"/>
                      <a:gd name="T13" fmla="*/ 2147483647 h 1164"/>
                      <a:gd name="T14" fmla="*/ 2147483647 w 2514"/>
                      <a:gd name="T15" fmla="*/ 2147483647 h 1164"/>
                      <a:gd name="T16" fmla="*/ 2147483647 w 2514"/>
                      <a:gd name="T17" fmla="*/ 2147483647 h 1164"/>
                      <a:gd name="T18" fmla="*/ 2147483647 w 2514"/>
                      <a:gd name="T19" fmla="*/ 2147483647 h 1164"/>
                      <a:gd name="T20" fmla="*/ 2147483647 w 2514"/>
                      <a:gd name="T21" fmla="*/ 2147483647 h 1164"/>
                      <a:gd name="T22" fmla="*/ 2147483647 w 2514"/>
                      <a:gd name="T23" fmla="*/ 2147483647 h 1164"/>
                      <a:gd name="T24" fmla="*/ 2147483647 w 2514"/>
                      <a:gd name="T25" fmla="*/ 2147483647 h 1164"/>
                      <a:gd name="T26" fmla="*/ 2147483647 w 2514"/>
                      <a:gd name="T27" fmla="*/ 2147483647 h 1164"/>
                      <a:gd name="T28" fmla="*/ 2147483647 w 2514"/>
                      <a:gd name="T29" fmla="*/ 2147483647 h 1164"/>
                      <a:gd name="T30" fmla="*/ 2147483647 w 2514"/>
                      <a:gd name="T31" fmla="*/ 2147483647 h 1164"/>
                      <a:gd name="T32" fmla="*/ 2147483647 w 2514"/>
                      <a:gd name="T33" fmla="*/ 2147483647 h 1164"/>
                      <a:gd name="T34" fmla="*/ 2147483647 w 2514"/>
                      <a:gd name="T35" fmla="*/ 2147483647 h 1164"/>
                      <a:gd name="T36" fmla="*/ 2147483647 w 2514"/>
                      <a:gd name="T37" fmla="*/ 2147483647 h 1164"/>
                      <a:gd name="T38" fmla="*/ 2147483647 w 2514"/>
                      <a:gd name="T39" fmla="*/ 2147483647 h 1164"/>
                      <a:gd name="T40" fmla="*/ 2147483647 w 2514"/>
                      <a:gd name="T41" fmla="*/ 2147483647 h 1164"/>
                      <a:gd name="T42" fmla="*/ 2147483647 w 2514"/>
                      <a:gd name="T43" fmla="*/ 2147483647 h 1164"/>
                      <a:gd name="T44" fmla="*/ 2147483647 w 2514"/>
                      <a:gd name="T45" fmla="*/ 2147483647 h 1164"/>
                      <a:gd name="T46" fmla="*/ 2147483647 w 2514"/>
                      <a:gd name="T47" fmla="*/ 2147483647 h 1164"/>
                      <a:gd name="T48" fmla="*/ 2147483647 w 2514"/>
                      <a:gd name="T49" fmla="*/ 2147483647 h 1164"/>
                      <a:gd name="T50" fmla="*/ 2147483647 w 2514"/>
                      <a:gd name="T51" fmla="*/ 2147483647 h 1164"/>
                      <a:gd name="T52" fmla="*/ 2147483647 w 2514"/>
                      <a:gd name="T53" fmla="*/ 2147483647 h 1164"/>
                      <a:gd name="T54" fmla="*/ 2147483647 w 2514"/>
                      <a:gd name="T55" fmla="*/ 2147483647 h 1164"/>
                      <a:gd name="T56" fmla="*/ 2147483647 w 2514"/>
                      <a:gd name="T57" fmla="*/ 2147483647 h 1164"/>
                      <a:gd name="T58" fmla="*/ 2147483647 w 2514"/>
                      <a:gd name="T59" fmla="*/ 2147483647 h 1164"/>
                      <a:gd name="T60" fmla="*/ 2147483647 w 2514"/>
                      <a:gd name="T61" fmla="*/ 2147483647 h 1164"/>
                      <a:gd name="T62" fmla="*/ 2147483647 w 2514"/>
                      <a:gd name="T63" fmla="*/ 2147483647 h 1164"/>
                      <a:gd name="T64" fmla="*/ 2147483647 w 2514"/>
                      <a:gd name="T65" fmla="*/ 2147483647 h 1164"/>
                      <a:gd name="T66" fmla="*/ 2147483647 w 2514"/>
                      <a:gd name="T67" fmla="*/ 2147483647 h 1164"/>
                      <a:gd name="T68" fmla="*/ 2147483647 w 2514"/>
                      <a:gd name="T69" fmla="*/ 2147483647 h 1164"/>
                      <a:gd name="T70" fmla="*/ 2147483647 w 2514"/>
                      <a:gd name="T71" fmla="*/ 2147483647 h 1164"/>
                      <a:gd name="T72" fmla="*/ 2147483647 w 2514"/>
                      <a:gd name="T73" fmla="*/ 2147483647 h 1164"/>
                      <a:gd name="T74" fmla="*/ 2147483647 w 2514"/>
                      <a:gd name="T75" fmla="*/ 2147483647 h 1164"/>
                      <a:gd name="T76" fmla="*/ 2147483647 w 2514"/>
                      <a:gd name="T77" fmla="*/ 2147483647 h 1164"/>
                      <a:gd name="T78" fmla="*/ 2147483647 w 2514"/>
                      <a:gd name="T79" fmla="*/ 2147483647 h 1164"/>
                      <a:gd name="T80" fmla="*/ 2147483647 w 2514"/>
                      <a:gd name="T81" fmla="*/ 2147483647 h 1164"/>
                      <a:gd name="T82" fmla="*/ 2147483647 w 2514"/>
                      <a:gd name="T83" fmla="*/ 2147483647 h 1164"/>
                      <a:gd name="T84" fmla="*/ 2147483647 w 2514"/>
                      <a:gd name="T85" fmla="*/ 2147483647 h 1164"/>
                      <a:gd name="T86" fmla="*/ 2147483647 w 2514"/>
                      <a:gd name="T87" fmla="*/ 2147483647 h 1164"/>
                      <a:gd name="T88" fmla="*/ 2147483647 w 2514"/>
                      <a:gd name="T89" fmla="*/ 2147483647 h 1164"/>
                      <a:gd name="T90" fmla="*/ 2147483647 w 2514"/>
                      <a:gd name="T91" fmla="*/ 2147483647 h 1164"/>
                      <a:gd name="T92" fmla="*/ 2147483647 w 2514"/>
                      <a:gd name="T93" fmla="*/ 2147483647 h 1164"/>
                      <a:gd name="T94" fmla="*/ 2147483647 w 2514"/>
                      <a:gd name="T95" fmla="*/ 2147483647 h 1164"/>
                      <a:gd name="T96" fmla="*/ 2147483647 w 2514"/>
                      <a:gd name="T97" fmla="*/ 2147483647 h 1164"/>
                      <a:gd name="T98" fmla="*/ 2147483647 w 2514"/>
                      <a:gd name="T99" fmla="*/ 2147483647 h 1164"/>
                      <a:gd name="T100" fmla="*/ 2147483647 w 2514"/>
                      <a:gd name="T101" fmla="*/ 2147483647 h 1164"/>
                      <a:gd name="T102" fmla="*/ 2147483647 w 2514"/>
                      <a:gd name="T103" fmla="*/ 2147483647 h 1164"/>
                      <a:gd name="T104" fmla="*/ 2147483647 w 2514"/>
                      <a:gd name="T105" fmla="*/ 2147483647 h 1164"/>
                      <a:gd name="T106" fmla="*/ 2147483647 w 2514"/>
                      <a:gd name="T107" fmla="*/ 2147483647 h 1164"/>
                      <a:gd name="T108" fmla="*/ 2147483647 w 2514"/>
                      <a:gd name="T109" fmla="*/ 2147483647 h 1164"/>
                      <a:gd name="T110" fmla="*/ 2147483647 w 2514"/>
                      <a:gd name="T111" fmla="*/ 2147483647 h 1164"/>
                      <a:gd name="T112" fmla="*/ 2147483647 w 2514"/>
                      <a:gd name="T113" fmla="*/ 2147483647 h 1164"/>
                      <a:gd name="T114" fmla="*/ 2147483647 w 2514"/>
                      <a:gd name="T115" fmla="*/ 2147483647 h 1164"/>
                      <a:gd name="T116" fmla="*/ 2147483647 w 2514"/>
                      <a:gd name="T117" fmla="*/ 2147483647 h 1164"/>
                      <a:gd name="T118" fmla="*/ 2147483647 w 2514"/>
                      <a:gd name="T119" fmla="*/ 2147483647 h 1164"/>
                      <a:gd name="T120" fmla="*/ 2147483647 w 2514"/>
                      <a:gd name="T121" fmla="*/ 2147483647 h 1164"/>
                      <a:gd name="T122" fmla="*/ 2147483647 w 2514"/>
                      <a:gd name="T123" fmla="*/ 2147483647 h 1164"/>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514"/>
                      <a:gd name="T187" fmla="*/ 0 h 1164"/>
                      <a:gd name="T188" fmla="*/ 2514 w 2514"/>
                      <a:gd name="T189" fmla="*/ 1164 h 1164"/>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514" h="1164">
                        <a:moveTo>
                          <a:pt x="852" y="756"/>
                        </a:moveTo>
                        <a:lnTo>
                          <a:pt x="840" y="744"/>
                        </a:lnTo>
                        <a:lnTo>
                          <a:pt x="822" y="768"/>
                        </a:lnTo>
                        <a:lnTo>
                          <a:pt x="816" y="780"/>
                        </a:lnTo>
                        <a:lnTo>
                          <a:pt x="870" y="804"/>
                        </a:lnTo>
                        <a:lnTo>
                          <a:pt x="870" y="786"/>
                        </a:lnTo>
                        <a:lnTo>
                          <a:pt x="864" y="780"/>
                        </a:lnTo>
                        <a:lnTo>
                          <a:pt x="858" y="768"/>
                        </a:lnTo>
                        <a:lnTo>
                          <a:pt x="858" y="762"/>
                        </a:lnTo>
                        <a:lnTo>
                          <a:pt x="852" y="756"/>
                        </a:lnTo>
                        <a:close/>
                        <a:moveTo>
                          <a:pt x="2484" y="492"/>
                        </a:moveTo>
                        <a:lnTo>
                          <a:pt x="2484" y="486"/>
                        </a:lnTo>
                        <a:lnTo>
                          <a:pt x="2514" y="486"/>
                        </a:lnTo>
                        <a:lnTo>
                          <a:pt x="2478" y="444"/>
                        </a:lnTo>
                        <a:lnTo>
                          <a:pt x="2454" y="420"/>
                        </a:lnTo>
                        <a:lnTo>
                          <a:pt x="2442" y="456"/>
                        </a:lnTo>
                        <a:lnTo>
                          <a:pt x="2370" y="450"/>
                        </a:lnTo>
                        <a:lnTo>
                          <a:pt x="2370" y="444"/>
                        </a:lnTo>
                        <a:lnTo>
                          <a:pt x="2364" y="438"/>
                        </a:lnTo>
                        <a:lnTo>
                          <a:pt x="2358" y="426"/>
                        </a:lnTo>
                        <a:lnTo>
                          <a:pt x="2352" y="420"/>
                        </a:lnTo>
                        <a:lnTo>
                          <a:pt x="2346" y="408"/>
                        </a:lnTo>
                        <a:lnTo>
                          <a:pt x="2346" y="402"/>
                        </a:lnTo>
                        <a:lnTo>
                          <a:pt x="2340" y="402"/>
                        </a:lnTo>
                        <a:lnTo>
                          <a:pt x="2328" y="396"/>
                        </a:lnTo>
                        <a:lnTo>
                          <a:pt x="2316" y="396"/>
                        </a:lnTo>
                        <a:lnTo>
                          <a:pt x="2304" y="390"/>
                        </a:lnTo>
                        <a:lnTo>
                          <a:pt x="2292" y="390"/>
                        </a:lnTo>
                        <a:lnTo>
                          <a:pt x="2286" y="378"/>
                        </a:lnTo>
                        <a:lnTo>
                          <a:pt x="2274" y="372"/>
                        </a:lnTo>
                        <a:lnTo>
                          <a:pt x="2250" y="348"/>
                        </a:lnTo>
                        <a:lnTo>
                          <a:pt x="2226" y="336"/>
                        </a:lnTo>
                        <a:lnTo>
                          <a:pt x="2208" y="336"/>
                        </a:lnTo>
                        <a:lnTo>
                          <a:pt x="2196" y="342"/>
                        </a:lnTo>
                        <a:lnTo>
                          <a:pt x="2178" y="348"/>
                        </a:lnTo>
                        <a:lnTo>
                          <a:pt x="2166" y="354"/>
                        </a:lnTo>
                        <a:lnTo>
                          <a:pt x="2160" y="366"/>
                        </a:lnTo>
                        <a:lnTo>
                          <a:pt x="2136" y="366"/>
                        </a:lnTo>
                        <a:lnTo>
                          <a:pt x="2124" y="360"/>
                        </a:lnTo>
                        <a:lnTo>
                          <a:pt x="2118" y="348"/>
                        </a:lnTo>
                        <a:lnTo>
                          <a:pt x="2106" y="342"/>
                        </a:lnTo>
                        <a:lnTo>
                          <a:pt x="2076" y="342"/>
                        </a:lnTo>
                        <a:lnTo>
                          <a:pt x="2076" y="336"/>
                        </a:lnTo>
                        <a:lnTo>
                          <a:pt x="2070" y="330"/>
                        </a:lnTo>
                        <a:lnTo>
                          <a:pt x="2070" y="318"/>
                        </a:lnTo>
                        <a:lnTo>
                          <a:pt x="2064" y="312"/>
                        </a:lnTo>
                        <a:lnTo>
                          <a:pt x="2052" y="312"/>
                        </a:lnTo>
                        <a:lnTo>
                          <a:pt x="2052" y="318"/>
                        </a:lnTo>
                        <a:lnTo>
                          <a:pt x="2046" y="324"/>
                        </a:lnTo>
                        <a:lnTo>
                          <a:pt x="2046" y="336"/>
                        </a:lnTo>
                        <a:lnTo>
                          <a:pt x="2034" y="348"/>
                        </a:lnTo>
                        <a:lnTo>
                          <a:pt x="2022" y="354"/>
                        </a:lnTo>
                        <a:lnTo>
                          <a:pt x="2010" y="354"/>
                        </a:lnTo>
                        <a:lnTo>
                          <a:pt x="1998" y="348"/>
                        </a:lnTo>
                        <a:lnTo>
                          <a:pt x="1986" y="336"/>
                        </a:lnTo>
                        <a:lnTo>
                          <a:pt x="1974" y="318"/>
                        </a:lnTo>
                        <a:lnTo>
                          <a:pt x="1938" y="282"/>
                        </a:lnTo>
                        <a:lnTo>
                          <a:pt x="1920" y="258"/>
                        </a:lnTo>
                        <a:lnTo>
                          <a:pt x="1848" y="198"/>
                        </a:lnTo>
                        <a:lnTo>
                          <a:pt x="1818" y="168"/>
                        </a:lnTo>
                        <a:lnTo>
                          <a:pt x="1800" y="156"/>
                        </a:lnTo>
                        <a:lnTo>
                          <a:pt x="1788" y="150"/>
                        </a:lnTo>
                        <a:lnTo>
                          <a:pt x="1758" y="132"/>
                        </a:lnTo>
                        <a:lnTo>
                          <a:pt x="1728" y="120"/>
                        </a:lnTo>
                        <a:lnTo>
                          <a:pt x="1692" y="102"/>
                        </a:lnTo>
                        <a:lnTo>
                          <a:pt x="1698" y="102"/>
                        </a:lnTo>
                        <a:lnTo>
                          <a:pt x="1710" y="90"/>
                        </a:lnTo>
                        <a:lnTo>
                          <a:pt x="1710" y="72"/>
                        </a:lnTo>
                        <a:lnTo>
                          <a:pt x="1704" y="66"/>
                        </a:lnTo>
                        <a:lnTo>
                          <a:pt x="1698" y="66"/>
                        </a:lnTo>
                        <a:lnTo>
                          <a:pt x="1680" y="84"/>
                        </a:lnTo>
                        <a:lnTo>
                          <a:pt x="1644" y="96"/>
                        </a:lnTo>
                        <a:lnTo>
                          <a:pt x="1632" y="114"/>
                        </a:lnTo>
                        <a:lnTo>
                          <a:pt x="1620" y="114"/>
                        </a:lnTo>
                        <a:lnTo>
                          <a:pt x="1608" y="120"/>
                        </a:lnTo>
                        <a:lnTo>
                          <a:pt x="1602" y="126"/>
                        </a:lnTo>
                        <a:lnTo>
                          <a:pt x="1602" y="144"/>
                        </a:lnTo>
                        <a:lnTo>
                          <a:pt x="1590" y="156"/>
                        </a:lnTo>
                        <a:lnTo>
                          <a:pt x="1578" y="150"/>
                        </a:lnTo>
                        <a:lnTo>
                          <a:pt x="1572" y="144"/>
                        </a:lnTo>
                        <a:lnTo>
                          <a:pt x="1560" y="138"/>
                        </a:lnTo>
                        <a:lnTo>
                          <a:pt x="1554" y="132"/>
                        </a:lnTo>
                        <a:lnTo>
                          <a:pt x="1548" y="132"/>
                        </a:lnTo>
                        <a:lnTo>
                          <a:pt x="1542" y="138"/>
                        </a:lnTo>
                        <a:lnTo>
                          <a:pt x="1536" y="138"/>
                        </a:lnTo>
                        <a:lnTo>
                          <a:pt x="1530" y="144"/>
                        </a:lnTo>
                        <a:lnTo>
                          <a:pt x="1524" y="144"/>
                        </a:lnTo>
                        <a:lnTo>
                          <a:pt x="1524" y="138"/>
                        </a:lnTo>
                        <a:lnTo>
                          <a:pt x="1530" y="132"/>
                        </a:lnTo>
                        <a:lnTo>
                          <a:pt x="1530" y="108"/>
                        </a:lnTo>
                        <a:lnTo>
                          <a:pt x="1518" y="102"/>
                        </a:lnTo>
                        <a:lnTo>
                          <a:pt x="1512" y="102"/>
                        </a:lnTo>
                        <a:lnTo>
                          <a:pt x="1506" y="108"/>
                        </a:lnTo>
                        <a:lnTo>
                          <a:pt x="1482" y="96"/>
                        </a:lnTo>
                        <a:lnTo>
                          <a:pt x="1458" y="108"/>
                        </a:lnTo>
                        <a:lnTo>
                          <a:pt x="1434" y="72"/>
                        </a:lnTo>
                        <a:lnTo>
                          <a:pt x="1422" y="90"/>
                        </a:lnTo>
                        <a:lnTo>
                          <a:pt x="1404" y="90"/>
                        </a:lnTo>
                        <a:lnTo>
                          <a:pt x="1392" y="96"/>
                        </a:lnTo>
                        <a:lnTo>
                          <a:pt x="1374" y="96"/>
                        </a:lnTo>
                        <a:lnTo>
                          <a:pt x="1368" y="90"/>
                        </a:lnTo>
                        <a:lnTo>
                          <a:pt x="1368" y="48"/>
                        </a:lnTo>
                        <a:lnTo>
                          <a:pt x="1362" y="42"/>
                        </a:lnTo>
                        <a:lnTo>
                          <a:pt x="1350" y="42"/>
                        </a:lnTo>
                        <a:lnTo>
                          <a:pt x="1344" y="36"/>
                        </a:lnTo>
                        <a:lnTo>
                          <a:pt x="1338" y="24"/>
                        </a:lnTo>
                        <a:lnTo>
                          <a:pt x="1320" y="6"/>
                        </a:lnTo>
                        <a:lnTo>
                          <a:pt x="1314" y="6"/>
                        </a:lnTo>
                        <a:lnTo>
                          <a:pt x="1302" y="18"/>
                        </a:lnTo>
                        <a:lnTo>
                          <a:pt x="1290" y="18"/>
                        </a:lnTo>
                        <a:lnTo>
                          <a:pt x="1278" y="6"/>
                        </a:lnTo>
                        <a:lnTo>
                          <a:pt x="1260" y="6"/>
                        </a:lnTo>
                        <a:lnTo>
                          <a:pt x="1242" y="0"/>
                        </a:lnTo>
                        <a:lnTo>
                          <a:pt x="1218" y="0"/>
                        </a:lnTo>
                        <a:lnTo>
                          <a:pt x="1200" y="6"/>
                        </a:lnTo>
                        <a:lnTo>
                          <a:pt x="1188" y="12"/>
                        </a:lnTo>
                        <a:lnTo>
                          <a:pt x="1176" y="24"/>
                        </a:lnTo>
                        <a:lnTo>
                          <a:pt x="1176" y="36"/>
                        </a:lnTo>
                        <a:lnTo>
                          <a:pt x="1164" y="36"/>
                        </a:lnTo>
                        <a:lnTo>
                          <a:pt x="1110" y="54"/>
                        </a:lnTo>
                        <a:lnTo>
                          <a:pt x="1020" y="54"/>
                        </a:lnTo>
                        <a:lnTo>
                          <a:pt x="1014" y="60"/>
                        </a:lnTo>
                        <a:lnTo>
                          <a:pt x="1014" y="78"/>
                        </a:lnTo>
                        <a:lnTo>
                          <a:pt x="948" y="78"/>
                        </a:lnTo>
                        <a:lnTo>
                          <a:pt x="942" y="96"/>
                        </a:lnTo>
                        <a:lnTo>
                          <a:pt x="888" y="96"/>
                        </a:lnTo>
                        <a:lnTo>
                          <a:pt x="828" y="102"/>
                        </a:lnTo>
                        <a:lnTo>
                          <a:pt x="792" y="114"/>
                        </a:lnTo>
                        <a:lnTo>
                          <a:pt x="780" y="126"/>
                        </a:lnTo>
                        <a:lnTo>
                          <a:pt x="780" y="132"/>
                        </a:lnTo>
                        <a:lnTo>
                          <a:pt x="786" y="138"/>
                        </a:lnTo>
                        <a:lnTo>
                          <a:pt x="786" y="144"/>
                        </a:lnTo>
                        <a:lnTo>
                          <a:pt x="810" y="144"/>
                        </a:lnTo>
                        <a:lnTo>
                          <a:pt x="798" y="162"/>
                        </a:lnTo>
                        <a:lnTo>
                          <a:pt x="810" y="162"/>
                        </a:lnTo>
                        <a:lnTo>
                          <a:pt x="834" y="174"/>
                        </a:lnTo>
                        <a:lnTo>
                          <a:pt x="846" y="174"/>
                        </a:lnTo>
                        <a:lnTo>
                          <a:pt x="858" y="186"/>
                        </a:lnTo>
                        <a:lnTo>
                          <a:pt x="804" y="186"/>
                        </a:lnTo>
                        <a:lnTo>
                          <a:pt x="792" y="198"/>
                        </a:lnTo>
                        <a:lnTo>
                          <a:pt x="798" y="204"/>
                        </a:lnTo>
                        <a:lnTo>
                          <a:pt x="804" y="216"/>
                        </a:lnTo>
                        <a:lnTo>
                          <a:pt x="810" y="222"/>
                        </a:lnTo>
                        <a:lnTo>
                          <a:pt x="810" y="234"/>
                        </a:lnTo>
                        <a:lnTo>
                          <a:pt x="798" y="246"/>
                        </a:lnTo>
                        <a:lnTo>
                          <a:pt x="786" y="246"/>
                        </a:lnTo>
                        <a:lnTo>
                          <a:pt x="774" y="252"/>
                        </a:lnTo>
                        <a:lnTo>
                          <a:pt x="762" y="252"/>
                        </a:lnTo>
                        <a:lnTo>
                          <a:pt x="792" y="282"/>
                        </a:lnTo>
                        <a:lnTo>
                          <a:pt x="816" y="282"/>
                        </a:lnTo>
                        <a:lnTo>
                          <a:pt x="834" y="288"/>
                        </a:lnTo>
                        <a:lnTo>
                          <a:pt x="846" y="294"/>
                        </a:lnTo>
                        <a:lnTo>
                          <a:pt x="870" y="318"/>
                        </a:lnTo>
                        <a:lnTo>
                          <a:pt x="876" y="336"/>
                        </a:lnTo>
                        <a:lnTo>
                          <a:pt x="876" y="348"/>
                        </a:lnTo>
                        <a:lnTo>
                          <a:pt x="870" y="360"/>
                        </a:lnTo>
                        <a:lnTo>
                          <a:pt x="864" y="366"/>
                        </a:lnTo>
                        <a:lnTo>
                          <a:pt x="828" y="366"/>
                        </a:lnTo>
                        <a:lnTo>
                          <a:pt x="816" y="360"/>
                        </a:lnTo>
                        <a:lnTo>
                          <a:pt x="810" y="354"/>
                        </a:lnTo>
                        <a:lnTo>
                          <a:pt x="798" y="354"/>
                        </a:lnTo>
                        <a:lnTo>
                          <a:pt x="792" y="348"/>
                        </a:lnTo>
                        <a:lnTo>
                          <a:pt x="780" y="372"/>
                        </a:lnTo>
                        <a:lnTo>
                          <a:pt x="768" y="372"/>
                        </a:lnTo>
                        <a:lnTo>
                          <a:pt x="756" y="366"/>
                        </a:lnTo>
                        <a:lnTo>
                          <a:pt x="732" y="366"/>
                        </a:lnTo>
                        <a:lnTo>
                          <a:pt x="708" y="354"/>
                        </a:lnTo>
                        <a:lnTo>
                          <a:pt x="702" y="342"/>
                        </a:lnTo>
                        <a:lnTo>
                          <a:pt x="690" y="336"/>
                        </a:lnTo>
                        <a:lnTo>
                          <a:pt x="684" y="330"/>
                        </a:lnTo>
                        <a:lnTo>
                          <a:pt x="672" y="330"/>
                        </a:lnTo>
                        <a:lnTo>
                          <a:pt x="666" y="336"/>
                        </a:lnTo>
                        <a:lnTo>
                          <a:pt x="654" y="342"/>
                        </a:lnTo>
                        <a:lnTo>
                          <a:pt x="636" y="348"/>
                        </a:lnTo>
                        <a:lnTo>
                          <a:pt x="624" y="348"/>
                        </a:lnTo>
                        <a:lnTo>
                          <a:pt x="588" y="330"/>
                        </a:lnTo>
                        <a:lnTo>
                          <a:pt x="582" y="330"/>
                        </a:lnTo>
                        <a:lnTo>
                          <a:pt x="570" y="336"/>
                        </a:lnTo>
                        <a:lnTo>
                          <a:pt x="558" y="348"/>
                        </a:lnTo>
                        <a:lnTo>
                          <a:pt x="546" y="354"/>
                        </a:lnTo>
                        <a:lnTo>
                          <a:pt x="540" y="366"/>
                        </a:lnTo>
                        <a:lnTo>
                          <a:pt x="534" y="372"/>
                        </a:lnTo>
                        <a:lnTo>
                          <a:pt x="462" y="336"/>
                        </a:lnTo>
                        <a:lnTo>
                          <a:pt x="450" y="336"/>
                        </a:lnTo>
                        <a:lnTo>
                          <a:pt x="450" y="342"/>
                        </a:lnTo>
                        <a:lnTo>
                          <a:pt x="462" y="354"/>
                        </a:lnTo>
                        <a:lnTo>
                          <a:pt x="462" y="372"/>
                        </a:lnTo>
                        <a:lnTo>
                          <a:pt x="450" y="372"/>
                        </a:lnTo>
                        <a:lnTo>
                          <a:pt x="438" y="360"/>
                        </a:lnTo>
                        <a:lnTo>
                          <a:pt x="438" y="354"/>
                        </a:lnTo>
                        <a:lnTo>
                          <a:pt x="426" y="324"/>
                        </a:lnTo>
                        <a:lnTo>
                          <a:pt x="390" y="324"/>
                        </a:lnTo>
                        <a:lnTo>
                          <a:pt x="384" y="312"/>
                        </a:lnTo>
                        <a:lnTo>
                          <a:pt x="384" y="306"/>
                        </a:lnTo>
                        <a:lnTo>
                          <a:pt x="378" y="300"/>
                        </a:lnTo>
                        <a:lnTo>
                          <a:pt x="318" y="300"/>
                        </a:lnTo>
                        <a:lnTo>
                          <a:pt x="312" y="288"/>
                        </a:lnTo>
                        <a:lnTo>
                          <a:pt x="306" y="282"/>
                        </a:lnTo>
                        <a:lnTo>
                          <a:pt x="288" y="282"/>
                        </a:lnTo>
                        <a:lnTo>
                          <a:pt x="276" y="288"/>
                        </a:lnTo>
                        <a:lnTo>
                          <a:pt x="264" y="300"/>
                        </a:lnTo>
                        <a:lnTo>
                          <a:pt x="234" y="300"/>
                        </a:lnTo>
                        <a:lnTo>
                          <a:pt x="228" y="294"/>
                        </a:lnTo>
                        <a:lnTo>
                          <a:pt x="228" y="288"/>
                        </a:lnTo>
                        <a:lnTo>
                          <a:pt x="222" y="288"/>
                        </a:lnTo>
                        <a:lnTo>
                          <a:pt x="210" y="282"/>
                        </a:lnTo>
                        <a:lnTo>
                          <a:pt x="180" y="282"/>
                        </a:lnTo>
                        <a:lnTo>
                          <a:pt x="180" y="288"/>
                        </a:lnTo>
                        <a:lnTo>
                          <a:pt x="186" y="294"/>
                        </a:lnTo>
                        <a:lnTo>
                          <a:pt x="186" y="312"/>
                        </a:lnTo>
                        <a:lnTo>
                          <a:pt x="174" y="324"/>
                        </a:lnTo>
                        <a:lnTo>
                          <a:pt x="162" y="330"/>
                        </a:lnTo>
                        <a:lnTo>
                          <a:pt x="150" y="330"/>
                        </a:lnTo>
                        <a:lnTo>
                          <a:pt x="138" y="336"/>
                        </a:lnTo>
                        <a:lnTo>
                          <a:pt x="132" y="336"/>
                        </a:lnTo>
                        <a:lnTo>
                          <a:pt x="132" y="360"/>
                        </a:lnTo>
                        <a:lnTo>
                          <a:pt x="102" y="372"/>
                        </a:lnTo>
                        <a:lnTo>
                          <a:pt x="114" y="384"/>
                        </a:lnTo>
                        <a:lnTo>
                          <a:pt x="120" y="396"/>
                        </a:lnTo>
                        <a:lnTo>
                          <a:pt x="114" y="402"/>
                        </a:lnTo>
                        <a:lnTo>
                          <a:pt x="108" y="414"/>
                        </a:lnTo>
                        <a:lnTo>
                          <a:pt x="102" y="420"/>
                        </a:lnTo>
                        <a:lnTo>
                          <a:pt x="90" y="420"/>
                        </a:lnTo>
                        <a:lnTo>
                          <a:pt x="78" y="414"/>
                        </a:lnTo>
                        <a:lnTo>
                          <a:pt x="72" y="402"/>
                        </a:lnTo>
                        <a:lnTo>
                          <a:pt x="60" y="396"/>
                        </a:lnTo>
                        <a:lnTo>
                          <a:pt x="48" y="384"/>
                        </a:lnTo>
                        <a:lnTo>
                          <a:pt x="36" y="378"/>
                        </a:lnTo>
                        <a:lnTo>
                          <a:pt x="24" y="378"/>
                        </a:lnTo>
                        <a:lnTo>
                          <a:pt x="18" y="384"/>
                        </a:lnTo>
                        <a:lnTo>
                          <a:pt x="18" y="396"/>
                        </a:lnTo>
                        <a:lnTo>
                          <a:pt x="24" y="402"/>
                        </a:lnTo>
                        <a:lnTo>
                          <a:pt x="24" y="426"/>
                        </a:lnTo>
                        <a:lnTo>
                          <a:pt x="0" y="426"/>
                        </a:lnTo>
                        <a:lnTo>
                          <a:pt x="6" y="462"/>
                        </a:lnTo>
                        <a:lnTo>
                          <a:pt x="12" y="468"/>
                        </a:lnTo>
                        <a:lnTo>
                          <a:pt x="12" y="492"/>
                        </a:lnTo>
                        <a:lnTo>
                          <a:pt x="0" y="516"/>
                        </a:lnTo>
                        <a:lnTo>
                          <a:pt x="0" y="546"/>
                        </a:lnTo>
                        <a:lnTo>
                          <a:pt x="6" y="546"/>
                        </a:lnTo>
                        <a:lnTo>
                          <a:pt x="12" y="552"/>
                        </a:lnTo>
                        <a:lnTo>
                          <a:pt x="36" y="552"/>
                        </a:lnTo>
                        <a:lnTo>
                          <a:pt x="42" y="558"/>
                        </a:lnTo>
                        <a:lnTo>
                          <a:pt x="42" y="588"/>
                        </a:lnTo>
                        <a:lnTo>
                          <a:pt x="48" y="594"/>
                        </a:lnTo>
                        <a:lnTo>
                          <a:pt x="90" y="594"/>
                        </a:lnTo>
                        <a:lnTo>
                          <a:pt x="102" y="588"/>
                        </a:lnTo>
                        <a:lnTo>
                          <a:pt x="114" y="588"/>
                        </a:lnTo>
                        <a:lnTo>
                          <a:pt x="162" y="636"/>
                        </a:lnTo>
                        <a:lnTo>
                          <a:pt x="168" y="648"/>
                        </a:lnTo>
                        <a:lnTo>
                          <a:pt x="180" y="660"/>
                        </a:lnTo>
                        <a:lnTo>
                          <a:pt x="180" y="672"/>
                        </a:lnTo>
                        <a:lnTo>
                          <a:pt x="144" y="672"/>
                        </a:lnTo>
                        <a:lnTo>
                          <a:pt x="144" y="678"/>
                        </a:lnTo>
                        <a:lnTo>
                          <a:pt x="156" y="690"/>
                        </a:lnTo>
                        <a:lnTo>
                          <a:pt x="174" y="696"/>
                        </a:lnTo>
                        <a:lnTo>
                          <a:pt x="186" y="696"/>
                        </a:lnTo>
                        <a:lnTo>
                          <a:pt x="192" y="702"/>
                        </a:lnTo>
                        <a:lnTo>
                          <a:pt x="198" y="702"/>
                        </a:lnTo>
                        <a:lnTo>
                          <a:pt x="204" y="690"/>
                        </a:lnTo>
                        <a:lnTo>
                          <a:pt x="222" y="690"/>
                        </a:lnTo>
                        <a:lnTo>
                          <a:pt x="228" y="684"/>
                        </a:lnTo>
                        <a:lnTo>
                          <a:pt x="246" y="672"/>
                        </a:lnTo>
                        <a:lnTo>
                          <a:pt x="306" y="648"/>
                        </a:lnTo>
                        <a:lnTo>
                          <a:pt x="324" y="642"/>
                        </a:lnTo>
                        <a:lnTo>
                          <a:pt x="336" y="648"/>
                        </a:lnTo>
                        <a:lnTo>
                          <a:pt x="342" y="654"/>
                        </a:lnTo>
                        <a:lnTo>
                          <a:pt x="360" y="666"/>
                        </a:lnTo>
                        <a:lnTo>
                          <a:pt x="366" y="672"/>
                        </a:lnTo>
                        <a:lnTo>
                          <a:pt x="384" y="672"/>
                        </a:lnTo>
                        <a:lnTo>
                          <a:pt x="390" y="666"/>
                        </a:lnTo>
                        <a:lnTo>
                          <a:pt x="402" y="666"/>
                        </a:lnTo>
                        <a:lnTo>
                          <a:pt x="408" y="660"/>
                        </a:lnTo>
                        <a:lnTo>
                          <a:pt x="414" y="666"/>
                        </a:lnTo>
                        <a:lnTo>
                          <a:pt x="426" y="672"/>
                        </a:lnTo>
                        <a:lnTo>
                          <a:pt x="450" y="696"/>
                        </a:lnTo>
                        <a:lnTo>
                          <a:pt x="450" y="726"/>
                        </a:lnTo>
                        <a:lnTo>
                          <a:pt x="444" y="732"/>
                        </a:lnTo>
                        <a:lnTo>
                          <a:pt x="444" y="738"/>
                        </a:lnTo>
                        <a:lnTo>
                          <a:pt x="438" y="744"/>
                        </a:lnTo>
                        <a:lnTo>
                          <a:pt x="438" y="750"/>
                        </a:lnTo>
                        <a:lnTo>
                          <a:pt x="444" y="756"/>
                        </a:lnTo>
                        <a:lnTo>
                          <a:pt x="450" y="768"/>
                        </a:lnTo>
                        <a:lnTo>
                          <a:pt x="462" y="774"/>
                        </a:lnTo>
                        <a:lnTo>
                          <a:pt x="474" y="786"/>
                        </a:lnTo>
                        <a:lnTo>
                          <a:pt x="486" y="786"/>
                        </a:lnTo>
                        <a:lnTo>
                          <a:pt x="504" y="768"/>
                        </a:lnTo>
                        <a:lnTo>
                          <a:pt x="516" y="762"/>
                        </a:lnTo>
                        <a:lnTo>
                          <a:pt x="528" y="762"/>
                        </a:lnTo>
                        <a:lnTo>
                          <a:pt x="528" y="792"/>
                        </a:lnTo>
                        <a:lnTo>
                          <a:pt x="546" y="810"/>
                        </a:lnTo>
                        <a:lnTo>
                          <a:pt x="510" y="816"/>
                        </a:lnTo>
                        <a:lnTo>
                          <a:pt x="510" y="828"/>
                        </a:lnTo>
                        <a:lnTo>
                          <a:pt x="504" y="834"/>
                        </a:lnTo>
                        <a:lnTo>
                          <a:pt x="498" y="834"/>
                        </a:lnTo>
                        <a:lnTo>
                          <a:pt x="486" y="822"/>
                        </a:lnTo>
                        <a:lnTo>
                          <a:pt x="486" y="816"/>
                        </a:lnTo>
                        <a:lnTo>
                          <a:pt x="498" y="804"/>
                        </a:lnTo>
                        <a:lnTo>
                          <a:pt x="504" y="804"/>
                        </a:lnTo>
                        <a:lnTo>
                          <a:pt x="510" y="798"/>
                        </a:lnTo>
                        <a:lnTo>
                          <a:pt x="480" y="798"/>
                        </a:lnTo>
                        <a:lnTo>
                          <a:pt x="462" y="792"/>
                        </a:lnTo>
                        <a:lnTo>
                          <a:pt x="450" y="792"/>
                        </a:lnTo>
                        <a:lnTo>
                          <a:pt x="432" y="786"/>
                        </a:lnTo>
                        <a:lnTo>
                          <a:pt x="408" y="786"/>
                        </a:lnTo>
                        <a:lnTo>
                          <a:pt x="390" y="780"/>
                        </a:lnTo>
                        <a:lnTo>
                          <a:pt x="372" y="780"/>
                        </a:lnTo>
                        <a:lnTo>
                          <a:pt x="360" y="774"/>
                        </a:lnTo>
                        <a:lnTo>
                          <a:pt x="348" y="774"/>
                        </a:lnTo>
                        <a:lnTo>
                          <a:pt x="360" y="804"/>
                        </a:lnTo>
                        <a:lnTo>
                          <a:pt x="342" y="804"/>
                        </a:lnTo>
                        <a:lnTo>
                          <a:pt x="330" y="816"/>
                        </a:lnTo>
                        <a:lnTo>
                          <a:pt x="330" y="822"/>
                        </a:lnTo>
                        <a:lnTo>
                          <a:pt x="336" y="828"/>
                        </a:lnTo>
                        <a:lnTo>
                          <a:pt x="348" y="834"/>
                        </a:lnTo>
                        <a:lnTo>
                          <a:pt x="354" y="840"/>
                        </a:lnTo>
                        <a:lnTo>
                          <a:pt x="366" y="840"/>
                        </a:lnTo>
                        <a:lnTo>
                          <a:pt x="372" y="846"/>
                        </a:lnTo>
                        <a:lnTo>
                          <a:pt x="372" y="852"/>
                        </a:lnTo>
                        <a:lnTo>
                          <a:pt x="360" y="852"/>
                        </a:lnTo>
                        <a:lnTo>
                          <a:pt x="348" y="846"/>
                        </a:lnTo>
                        <a:lnTo>
                          <a:pt x="336" y="846"/>
                        </a:lnTo>
                        <a:lnTo>
                          <a:pt x="324" y="840"/>
                        </a:lnTo>
                        <a:lnTo>
                          <a:pt x="306" y="834"/>
                        </a:lnTo>
                        <a:lnTo>
                          <a:pt x="300" y="834"/>
                        </a:lnTo>
                        <a:lnTo>
                          <a:pt x="294" y="840"/>
                        </a:lnTo>
                        <a:lnTo>
                          <a:pt x="294" y="846"/>
                        </a:lnTo>
                        <a:lnTo>
                          <a:pt x="306" y="858"/>
                        </a:lnTo>
                        <a:lnTo>
                          <a:pt x="318" y="864"/>
                        </a:lnTo>
                        <a:lnTo>
                          <a:pt x="324" y="870"/>
                        </a:lnTo>
                        <a:lnTo>
                          <a:pt x="336" y="870"/>
                        </a:lnTo>
                        <a:lnTo>
                          <a:pt x="336" y="882"/>
                        </a:lnTo>
                        <a:lnTo>
                          <a:pt x="342" y="894"/>
                        </a:lnTo>
                        <a:lnTo>
                          <a:pt x="366" y="918"/>
                        </a:lnTo>
                        <a:lnTo>
                          <a:pt x="372" y="930"/>
                        </a:lnTo>
                        <a:lnTo>
                          <a:pt x="372" y="954"/>
                        </a:lnTo>
                        <a:lnTo>
                          <a:pt x="408" y="960"/>
                        </a:lnTo>
                        <a:lnTo>
                          <a:pt x="414" y="978"/>
                        </a:lnTo>
                        <a:lnTo>
                          <a:pt x="444" y="978"/>
                        </a:lnTo>
                        <a:lnTo>
                          <a:pt x="480" y="996"/>
                        </a:lnTo>
                        <a:lnTo>
                          <a:pt x="486" y="1002"/>
                        </a:lnTo>
                        <a:lnTo>
                          <a:pt x="486" y="1014"/>
                        </a:lnTo>
                        <a:lnTo>
                          <a:pt x="480" y="1020"/>
                        </a:lnTo>
                        <a:lnTo>
                          <a:pt x="468" y="1026"/>
                        </a:lnTo>
                        <a:lnTo>
                          <a:pt x="462" y="1038"/>
                        </a:lnTo>
                        <a:lnTo>
                          <a:pt x="462" y="1056"/>
                        </a:lnTo>
                        <a:lnTo>
                          <a:pt x="468" y="1062"/>
                        </a:lnTo>
                        <a:lnTo>
                          <a:pt x="492" y="1062"/>
                        </a:lnTo>
                        <a:lnTo>
                          <a:pt x="498" y="1056"/>
                        </a:lnTo>
                        <a:lnTo>
                          <a:pt x="504" y="1038"/>
                        </a:lnTo>
                        <a:lnTo>
                          <a:pt x="510" y="1026"/>
                        </a:lnTo>
                        <a:lnTo>
                          <a:pt x="516" y="1020"/>
                        </a:lnTo>
                        <a:lnTo>
                          <a:pt x="528" y="1020"/>
                        </a:lnTo>
                        <a:lnTo>
                          <a:pt x="546" y="1026"/>
                        </a:lnTo>
                        <a:lnTo>
                          <a:pt x="546" y="1020"/>
                        </a:lnTo>
                        <a:lnTo>
                          <a:pt x="552" y="1014"/>
                        </a:lnTo>
                        <a:lnTo>
                          <a:pt x="570" y="1014"/>
                        </a:lnTo>
                        <a:lnTo>
                          <a:pt x="594" y="1026"/>
                        </a:lnTo>
                        <a:lnTo>
                          <a:pt x="606" y="1026"/>
                        </a:lnTo>
                        <a:lnTo>
                          <a:pt x="618" y="1038"/>
                        </a:lnTo>
                        <a:lnTo>
                          <a:pt x="630" y="1044"/>
                        </a:lnTo>
                        <a:lnTo>
                          <a:pt x="636" y="1056"/>
                        </a:lnTo>
                        <a:lnTo>
                          <a:pt x="642" y="1062"/>
                        </a:lnTo>
                        <a:lnTo>
                          <a:pt x="648" y="1074"/>
                        </a:lnTo>
                        <a:lnTo>
                          <a:pt x="672" y="1098"/>
                        </a:lnTo>
                        <a:lnTo>
                          <a:pt x="684" y="1104"/>
                        </a:lnTo>
                        <a:lnTo>
                          <a:pt x="690" y="1110"/>
                        </a:lnTo>
                        <a:lnTo>
                          <a:pt x="696" y="1104"/>
                        </a:lnTo>
                        <a:lnTo>
                          <a:pt x="696" y="1098"/>
                        </a:lnTo>
                        <a:lnTo>
                          <a:pt x="702" y="1092"/>
                        </a:lnTo>
                        <a:lnTo>
                          <a:pt x="654" y="810"/>
                        </a:lnTo>
                        <a:lnTo>
                          <a:pt x="798" y="768"/>
                        </a:lnTo>
                        <a:lnTo>
                          <a:pt x="804" y="774"/>
                        </a:lnTo>
                        <a:lnTo>
                          <a:pt x="804" y="762"/>
                        </a:lnTo>
                        <a:lnTo>
                          <a:pt x="810" y="756"/>
                        </a:lnTo>
                        <a:lnTo>
                          <a:pt x="810" y="750"/>
                        </a:lnTo>
                        <a:lnTo>
                          <a:pt x="816" y="738"/>
                        </a:lnTo>
                        <a:lnTo>
                          <a:pt x="816" y="732"/>
                        </a:lnTo>
                        <a:lnTo>
                          <a:pt x="822" y="726"/>
                        </a:lnTo>
                        <a:lnTo>
                          <a:pt x="846" y="726"/>
                        </a:lnTo>
                        <a:lnTo>
                          <a:pt x="852" y="750"/>
                        </a:lnTo>
                        <a:lnTo>
                          <a:pt x="864" y="744"/>
                        </a:lnTo>
                        <a:lnTo>
                          <a:pt x="870" y="744"/>
                        </a:lnTo>
                        <a:lnTo>
                          <a:pt x="876" y="738"/>
                        </a:lnTo>
                        <a:lnTo>
                          <a:pt x="876" y="732"/>
                        </a:lnTo>
                        <a:lnTo>
                          <a:pt x="852" y="708"/>
                        </a:lnTo>
                        <a:lnTo>
                          <a:pt x="870" y="708"/>
                        </a:lnTo>
                        <a:lnTo>
                          <a:pt x="882" y="720"/>
                        </a:lnTo>
                        <a:lnTo>
                          <a:pt x="936" y="720"/>
                        </a:lnTo>
                        <a:lnTo>
                          <a:pt x="924" y="708"/>
                        </a:lnTo>
                        <a:lnTo>
                          <a:pt x="918" y="708"/>
                        </a:lnTo>
                        <a:lnTo>
                          <a:pt x="906" y="696"/>
                        </a:lnTo>
                        <a:lnTo>
                          <a:pt x="882" y="696"/>
                        </a:lnTo>
                        <a:lnTo>
                          <a:pt x="876" y="690"/>
                        </a:lnTo>
                        <a:lnTo>
                          <a:pt x="876" y="684"/>
                        </a:lnTo>
                        <a:lnTo>
                          <a:pt x="882" y="678"/>
                        </a:lnTo>
                        <a:lnTo>
                          <a:pt x="906" y="678"/>
                        </a:lnTo>
                        <a:lnTo>
                          <a:pt x="924" y="666"/>
                        </a:lnTo>
                        <a:lnTo>
                          <a:pt x="930" y="672"/>
                        </a:lnTo>
                        <a:lnTo>
                          <a:pt x="936" y="684"/>
                        </a:lnTo>
                        <a:lnTo>
                          <a:pt x="942" y="690"/>
                        </a:lnTo>
                        <a:lnTo>
                          <a:pt x="948" y="690"/>
                        </a:lnTo>
                        <a:lnTo>
                          <a:pt x="954" y="684"/>
                        </a:lnTo>
                        <a:lnTo>
                          <a:pt x="960" y="690"/>
                        </a:lnTo>
                        <a:lnTo>
                          <a:pt x="966" y="702"/>
                        </a:lnTo>
                        <a:lnTo>
                          <a:pt x="966" y="708"/>
                        </a:lnTo>
                        <a:lnTo>
                          <a:pt x="960" y="714"/>
                        </a:lnTo>
                        <a:lnTo>
                          <a:pt x="954" y="714"/>
                        </a:lnTo>
                        <a:lnTo>
                          <a:pt x="942" y="720"/>
                        </a:lnTo>
                        <a:lnTo>
                          <a:pt x="924" y="738"/>
                        </a:lnTo>
                        <a:lnTo>
                          <a:pt x="888" y="738"/>
                        </a:lnTo>
                        <a:lnTo>
                          <a:pt x="882" y="744"/>
                        </a:lnTo>
                        <a:lnTo>
                          <a:pt x="882" y="756"/>
                        </a:lnTo>
                        <a:lnTo>
                          <a:pt x="888" y="762"/>
                        </a:lnTo>
                        <a:lnTo>
                          <a:pt x="900" y="762"/>
                        </a:lnTo>
                        <a:lnTo>
                          <a:pt x="906" y="768"/>
                        </a:lnTo>
                        <a:lnTo>
                          <a:pt x="918" y="768"/>
                        </a:lnTo>
                        <a:lnTo>
                          <a:pt x="918" y="786"/>
                        </a:lnTo>
                        <a:lnTo>
                          <a:pt x="912" y="798"/>
                        </a:lnTo>
                        <a:lnTo>
                          <a:pt x="912" y="816"/>
                        </a:lnTo>
                        <a:lnTo>
                          <a:pt x="918" y="822"/>
                        </a:lnTo>
                        <a:lnTo>
                          <a:pt x="984" y="858"/>
                        </a:lnTo>
                        <a:lnTo>
                          <a:pt x="1062" y="930"/>
                        </a:lnTo>
                        <a:lnTo>
                          <a:pt x="1068" y="930"/>
                        </a:lnTo>
                        <a:lnTo>
                          <a:pt x="1074" y="924"/>
                        </a:lnTo>
                        <a:lnTo>
                          <a:pt x="1110" y="924"/>
                        </a:lnTo>
                        <a:lnTo>
                          <a:pt x="1128" y="918"/>
                        </a:lnTo>
                        <a:lnTo>
                          <a:pt x="1188" y="918"/>
                        </a:lnTo>
                        <a:lnTo>
                          <a:pt x="1206" y="924"/>
                        </a:lnTo>
                        <a:lnTo>
                          <a:pt x="1224" y="924"/>
                        </a:lnTo>
                        <a:lnTo>
                          <a:pt x="1230" y="918"/>
                        </a:lnTo>
                        <a:lnTo>
                          <a:pt x="1254" y="906"/>
                        </a:lnTo>
                        <a:lnTo>
                          <a:pt x="1266" y="906"/>
                        </a:lnTo>
                        <a:lnTo>
                          <a:pt x="1272" y="918"/>
                        </a:lnTo>
                        <a:lnTo>
                          <a:pt x="1290" y="936"/>
                        </a:lnTo>
                        <a:lnTo>
                          <a:pt x="1296" y="954"/>
                        </a:lnTo>
                        <a:lnTo>
                          <a:pt x="1308" y="960"/>
                        </a:lnTo>
                        <a:lnTo>
                          <a:pt x="1314" y="972"/>
                        </a:lnTo>
                        <a:lnTo>
                          <a:pt x="1344" y="972"/>
                        </a:lnTo>
                        <a:lnTo>
                          <a:pt x="1344" y="984"/>
                        </a:lnTo>
                        <a:lnTo>
                          <a:pt x="1350" y="1002"/>
                        </a:lnTo>
                        <a:lnTo>
                          <a:pt x="1350" y="1044"/>
                        </a:lnTo>
                        <a:lnTo>
                          <a:pt x="1356" y="1050"/>
                        </a:lnTo>
                        <a:lnTo>
                          <a:pt x="1362" y="1050"/>
                        </a:lnTo>
                        <a:lnTo>
                          <a:pt x="1368" y="1044"/>
                        </a:lnTo>
                        <a:lnTo>
                          <a:pt x="1380" y="1044"/>
                        </a:lnTo>
                        <a:lnTo>
                          <a:pt x="1386" y="1050"/>
                        </a:lnTo>
                        <a:lnTo>
                          <a:pt x="1416" y="1110"/>
                        </a:lnTo>
                        <a:lnTo>
                          <a:pt x="1494" y="1110"/>
                        </a:lnTo>
                        <a:lnTo>
                          <a:pt x="1512" y="1116"/>
                        </a:lnTo>
                        <a:lnTo>
                          <a:pt x="1512" y="1134"/>
                        </a:lnTo>
                        <a:lnTo>
                          <a:pt x="1506" y="1140"/>
                        </a:lnTo>
                        <a:lnTo>
                          <a:pt x="1506" y="1152"/>
                        </a:lnTo>
                        <a:lnTo>
                          <a:pt x="1512" y="1152"/>
                        </a:lnTo>
                        <a:lnTo>
                          <a:pt x="1524" y="1158"/>
                        </a:lnTo>
                        <a:lnTo>
                          <a:pt x="1536" y="1158"/>
                        </a:lnTo>
                        <a:lnTo>
                          <a:pt x="1542" y="1164"/>
                        </a:lnTo>
                        <a:lnTo>
                          <a:pt x="1542" y="1152"/>
                        </a:lnTo>
                        <a:lnTo>
                          <a:pt x="1536" y="1146"/>
                        </a:lnTo>
                        <a:lnTo>
                          <a:pt x="1536" y="1134"/>
                        </a:lnTo>
                        <a:lnTo>
                          <a:pt x="1548" y="1122"/>
                        </a:lnTo>
                        <a:lnTo>
                          <a:pt x="1560" y="1116"/>
                        </a:lnTo>
                        <a:lnTo>
                          <a:pt x="1566" y="1110"/>
                        </a:lnTo>
                        <a:lnTo>
                          <a:pt x="1572" y="1110"/>
                        </a:lnTo>
                        <a:lnTo>
                          <a:pt x="1572" y="1092"/>
                        </a:lnTo>
                        <a:lnTo>
                          <a:pt x="1584" y="1080"/>
                        </a:lnTo>
                        <a:lnTo>
                          <a:pt x="1596" y="1074"/>
                        </a:lnTo>
                        <a:lnTo>
                          <a:pt x="1608" y="1074"/>
                        </a:lnTo>
                        <a:lnTo>
                          <a:pt x="1614" y="1068"/>
                        </a:lnTo>
                        <a:lnTo>
                          <a:pt x="1620" y="1068"/>
                        </a:lnTo>
                        <a:lnTo>
                          <a:pt x="1632" y="1044"/>
                        </a:lnTo>
                        <a:lnTo>
                          <a:pt x="1656" y="1044"/>
                        </a:lnTo>
                        <a:lnTo>
                          <a:pt x="1686" y="1026"/>
                        </a:lnTo>
                        <a:lnTo>
                          <a:pt x="1662" y="1026"/>
                        </a:lnTo>
                        <a:lnTo>
                          <a:pt x="1662" y="1008"/>
                        </a:lnTo>
                        <a:lnTo>
                          <a:pt x="1668" y="996"/>
                        </a:lnTo>
                        <a:lnTo>
                          <a:pt x="1686" y="978"/>
                        </a:lnTo>
                        <a:lnTo>
                          <a:pt x="1716" y="978"/>
                        </a:lnTo>
                        <a:lnTo>
                          <a:pt x="1728" y="984"/>
                        </a:lnTo>
                        <a:lnTo>
                          <a:pt x="1746" y="990"/>
                        </a:lnTo>
                        <a:lnTo>
                          <a:pt x="1782" y="1008"/>
                        </a:lnTo>
                        <a:lnTo>
                          <a:pt x="1812" y="1008"/>
                        </a:lnTo>
                        <a:lnTo>
                          <a:pt x="1830" y="1014"/>
                        </a:lnTo>
                        <a:lnTo>
                          <a:pt x="1830" y="1002"/>
                        </a:lnTo>
                        <a:lnTo>
                          <a:pt x="1824" y="990"/>
                        </a:lnTo>
                        <a:lnTo>
                          <a:pt x="1824" y="960"/>
                        </a:lnTo>
                        <a:lnTo>
                          <a:pt x="1830" y="954"/>
                        </a:lnTo>
                        <a:lnTo>
                          <a:pt x="1872" y="954"/>
                        </a:lnTo>
                        <a:lnTo>
                          <a:pt x="1884" y="960"/>
                        </a:lnTo>
                        <a:lnTo>
                          <a:pt x="1890" y="972"/>
                        </a:lnTo>
                        <a:lnTo>
                          <a:pt x="1914" y="972"/>
                        </a:lnTo>
                        <a:lnTo>
                          <a:pt x="1926" y="978"/>
                        </a:lnTo>
                        <a:lnTo>
                          <a:pt x="1944" y="978"/>
                        </a:lnTo>
                        <a:lnTo>
                          <a:pt x="1962" y="972"/>
                        </a:lnTo>
                        <a:lnTo>
                          <a:pt x="2082" y="972"/>
                        </a:lnTo>
                        <a:lnTo>
                          <a:pt x="2094" y="978"/>
                        </a:lnTo>
                        <a:lnTo>
                          <a:pt x="2106" y="978"/>
                        </a:lnTo>
                        <a:lnTo>
                          <a:pt x="2154" y="972"/>
                        </a:lnTo>
                        <a:lnTo>
                          <a:pt x="2166" y="984"/>
                        </a:lnTo>
                        <a:lnTo>
                          <a:pt x="2184" y="984"/>
                        </a:lnTo>
                        <a:lnTo>
                          <a:pt x="2208" y="1014"/>
                        </a:lnTo>
                        <a:lnTo>
                          <a:pt x="2250" y="1014"/>
                        </a:lnTo>
                        <a:lnTo>
                          <a:pt x="2268" y="1020"/>
                        </a:lnTo>
                        <a:lnTo>
                          <a:pt x="2262" y="1014"/>
                        </a:lnTo>
                        <a:lnTo>
                          <a:pt x="2262" y="1002"/>
                        </a:lnTo>
                        <a:lnTo>
                          <a:pt x="2256" y="996"/>
                        </a:lnTo>
                        <a:lnTo>
                          <a:pt x="2256" y="984"/>
                        </a:lnTo>
                        <a:lnTo>
                          <a:pt x="2280" y="984"/>
                        </a:lnTo>
                        <a:lnTo>
                          <a:pt x="2262" y="966"/>
                        </a:lnTo>
                        <a:lnTo>
                          <a:pt x="2262" y="960"/>
                        </a:lnTo>
                        <a:lnTo>
                          <a:pt x="2268" y="954"/>
                        </a:lnTo>
                        <a:lnTo>
                          <a:pt x="2286" y="954"/>
                        </a:lnTo>
                        <a:lnTo>
                          <a:pt x="2286" y="942"/>
                        </a:lnTo>
                        <a:lnTo>
                          <a:pt x="2274" y="936"/>
                        </a:lnTo>
                        <a:lnTo>
                          <a:pt x="2268" y="924"/>
                        </a:lnTo>
                        <a:lnTo>
                          <a:pt x="2226" y="882"/>
                        </a:lnTo>
                        <a:lnTo>
                          <a:pt x="2214" y="858"/>
                        </a:lnTo>
                        <a:lnTo>
                          <a:pt x="2214" y="828"/>
                        </a:lnTo>
                        <a:lnTo>
                          <a:pt x="2196" y="828"/>
                        </a:lnTo>
                        <a:lnTo>
                          <a:pt x="2184" y="822"/>
                        </a:lnTo>
                        <a:lnTo>
                          <a:pt x="2178" y="816"/>
                        </a:lnTo>
                        <a:lnTo>
                          <a:pt x="2178" y="810"/>
                        </a:lnTo>
                        <a:lnTo>
                          <a:pt x="2184" y="804"/>
                        </a:lnTo>
                        <a:lnTo>
                          <a:pt x="2196" y="798"/>
                        </a:lnTo>
                        <a:lnTo>
                          <a:pt x="2208" y="798"/>
                        </a:lnTo>
                        <a:lnTo>
                          <a:pt x="2220" y="792"/>
                        </a:lnTo>
                        <a:lnTo>
                          <a:pt x="2232" y="792"/>
                        </a:lnTo>
                        <a:lnTo>
                          <a:pt x="2268" y="774"/>
                        </a:lnTo>
                        <a:lnTo>
                          <a:pt x="2280" y="774"/>
                        </a:lnTo>
                        <a:lnTo>
                          <a:pt x="2286" y="780"/>
                        </a:lnTo>
                        <a:lnTo>
                          <a:pt x="2292" y="792"/>
                        </a:lnTo>
                        <a:lnTo>
                          <a:pt x="2298" y="798"/>
                        </a:lnTo>
                        <a:lnTo>
                          <a:pt x="2316" y="786"/>
                        </a:lnTo>
                        <a:lnTo>
                          <a:pt x="2328" y="798"/>
                        </a:lnTo>
                        <a:lnTo>
                          <a:pt x="2334" y="798"/>
                        </a:lnTo>
                        <a:lnTo>
                          <a:pt x="2340" y="792"/>
                        </a:lnTo>
                        <a:lnTo>
                          <a:pt x="2340" y="780"/>
                        </a:lnTo>
                        <a:lnTo>
                          <a:pt x="2334" y="774"/>
                        </a:lnTo>
                        <a:lnTo>
                          <a:pt x="2328" y="774"/>
                        </a:lnTo>
                        <a:lnTo>
                          <a:pt x="2322" y="768"/>
                        </a:lnTo>
                        <a:lnTo>
                          <a:pt x="2316" y="768"/>
                        </a:lnTo>
                        <a:lnTo>
                          <a:pt x="2316" y="630"/>
                        </a:lnTo>
                        <a:lnTo>
                          <a:pt x="2328" y="630"/>
                        </a:lnTo>
                        <a:lnTo>
                          <a:pt x="2340" y="636"/>
                        </a:lnTo>
                        <a:lnTo>
                          <a:pt x="2352" y="636"/>
                        </a:lnTo>
                        <a:lnTo>
                          <a:pt x="2376" y="648"/>
                        </a:lnTo>
                        <a:lnTo>
                          <a:pt x="2424" y="648"/>
                        </a:lnTo>
                        <a:lnTo>
                          <a:pt x="2436" y="660"/>
                        </a:lnTo>
                        <a:lnTo>
                          <a:pt x="2454" y="642"/>
                        </a:lnTo>
                        <a:lnTo>
                          <a:pt x="2472" y="642"/>
                        </a:lnTo>
                        <a:lnTo>
                          <a:pt x="2478" y="636"/>
                        </a:lnTo>
                        <a:lnTo>
                          <a:pt x="2478" y="618"/>
                        </a:lnTo>
                        <a:lnTo>
                          <a:pt x="2466" y="594"/>
                        </a:lnTo>
                        <a:lnTo>
                          <a:pt x="2454" y="582"/>
                        </a:lnTo>
                        <a:lnTo>
                          <a:pt x="2442" y="558"/>
                        </a:lnTo>
                        <a:lnTo>
                          <a:pt x="2442" y="540"/>
                        </a:lnTo>
                        <a:lnTo>
                          <a:pt x="2454" y="528"/>
                        </a:lnTo>
                        <a:lnTo>
                          <a:pt x="2496" y="528"/>
                        </a:lnTo>
                        <a:lnTo>
                          <a:pt x="2502" y="522"/>
                        </a:lnTo>
                        <a:lnTo>
                          <a:pt x="2502" y="510"/>
                        </a:lnTo>
                        <a:lnTo>
                          <a:pt x="2484" y="492"/>
                        </a:lnTo>
                        <a:close/>
                        <a:moveTo>
                          <a:pt x="2082" y="696"/>
                        </a:moveTo>
                        <a:lnTo>
                          <a:pt x="2046" y="696"/>
                        </a:lnTo>
                        <a:lnTo>
                          <a:pt x="2046" y="702"/>
                        </a:lnTo>
                        <a:lnTo>
                          <a:pt x="2040" y="708"/>
                        </a:lnTo>
                        <a:lnTo>
                          <a:pt x="2028" y="708"/>
                        </a:lnTo>
                        <a:lnTo>
                          <a:pt x="2022" y="702"/>
                        </a:lnTo>
                        <a:lnTo>
                          <a:pt x="2010" y="696"/>
                        </a:lnTo>
                        <a:lnTo>
                          <a:pt x="1980" y="702"/>
                        </a:lnTo>
                        <a:lnTo>
                          <a:pt x="1950" y="696"/>
                        </a:lnTo>
                        <a:lnTo>
                          <a:pt x="1932" y="696"/>
                        </a:lnTo>
                        <a:lnTo>
                          <a:pt x="1908" y="690"/>
                        </a:lnTo>
                        <a:lnTo>
                          <a:pt x="1860" y="690"/>
                        </a:lnTo>
                        <a:lnTo>
                          <a:pt x="1854" y="684"/>
                        </a:lnTo>
                        <a:lnTo>
                          <a:pt x="1854" y="678"/>
                        </a:lnTo>
                        <a:lnTo>
                          <a:pt x="1836" y="696"/>
                        </a:lnTo>
                        <a:lnTo>
                          <a:pt x="1830" y="696"/>
                        </a:lnTo>
                        <a:lnTo>
                          <a:pt x="1824" y="708"/>
                        </a:lnTo>
                        <a:lnTo>
                          <a:pt x="1824" y="714"/>
                        </a:lnTo>
                        <a:lnTo>
                          <a:pt x="1818" y="726"/>
                        </a:lnTo>
                        <a:lnTo>
                          <a:pt x="1812" y="732"/>
                        </a:lnTo>
                        <a:lnTo>
                          <a:pt x="1794" y="732"/>
                        </a:lnTo>
                        <a:lnTo>
                          <a:pt x="1800" y="762"/>
                        </a:lnTo>
                        <a:lnTo>
                          <a:pt x="1788" y="768"/>
                        </a:lnTo>
                        <a:lnTo>
                          <a:pt x="1806" y="786"/>
                        </a:lnTo>
                        <a:lnTo>
                          <a:pt x="1800" y="810"/>
                        </a:lnTo>
                        <a:lnTo>
                          <a:pt x="1794" y="810"/>
                        </a:lnTo>
                        <a:lnTo>
                          <a:pt x="1788" y="798"/>
                        </a:lnTo>
                        <a:lnTo>
                          <a:pt x="1776" y="792"/>
                        </a:lnTo>
                        <a:lnTo>
                          <a:pt x="1770" y="780"/>
                        </a:lnTo>
                        <a:lnTo>
                          <a:pt x="1758" y="774"/>
                        </a:lnTo>
                        <a:lnTo>
                          <a:pt x="1752" y="762"/>
                        </a:lnTo>
                        <a:lnTo>
                          <a:pt x="1752" y="750"/>
                        </a:lnTo>
                        <a:lnTo>
                          <a:pt x="1746" y="732"/>
                        </a:lnTo>
                        <a:lnTo>
                          <a:pt x="1746" y="720"/>
                        </a:lnTo>
                        <a:lnTo>
                          <a:pt x="1764" y="702"/>
                        </a:lnTo>
                        <a:lnTo>
                          <a:pt x="1776" y="702"/>
                        </a:lnTo>
                        <a:lnTo>
                          <a:pt x="1782" y="696"/>
                        </a:lnTo>
                        <a:lnTo>
                          <a:pt x="1788" y="684"/>
                        </a:lnTo>
                        <a:lnTo>
                          <a:pt x="1788" y="678"/>
                        </a:lnTo>
                        <a:lnTo>
                          <a:pt x="1800" y="666"/>
                        </a:lnTo>
                        <a:lnTo>
                          <a:pt x="1818" y="666"/>
                        </a:lnTo>
                        <a:lnTo>
                          <a:pt x="1830" y="672"/>
                        </a:lnTo>
                        <a:lnTo>
                          <a:pt x="1848" y="672"/>
                        </a:lnTo>
                        <a:lnTo>
                          <a:pt x="1854" y="666"/>
                        </a:lnTo>
                        <a:lnTo>
                          <a:pt x="1896" y="666"/>
                        </a:lnTo>
                        <a:lnTo>
                          <a:pt x="1908" y="672"/>
                        </a:lnTo>
                        <a:lnTo>
                          <a:pt x="1914" y="678"/>
                        </a:lnTo>
                        <a:lnTo>
                          <a:pt x="1932" y="678"/>
                        </a:lnTo>
                        <a:lnTo>
                          <a:pt x="1944" y="684"/>
                        </a:lnTo>
                        <a:lnTo>
                          <a:pt x="1974" y="684"/>
                        </a:lnTo>
                        <a:lnTo>
                          <a:pt x="1986" y="672"/>
                        </a:lnTo>
                        <a:lnTo>
                          <a:pt x="2028" y="672"/>
                        </a:lnTo>
                        <a:lnTo>
                          <a:pt x="2034" y="678"/>
                        </a:lnTo>
                        <a:lnTo>
                          <a:pt x="2046" y="678"/>
                        </a:lnTo>
                        <a:lnTo>
                          <a:pt x="2052" y="672"/>
                        </a:lnTo>
                        <a:lnTo>
                          <a:pt x="2064" y="666"/>
                        </a:lnTo>
                        <a:lnTo>
                          <a:pt x="2088" y="666"/>
                        </a:lnTo>
                        <a:lnTo>
                          <a:pt x="2088" y="684"/>
                        </a:lnTo>
                        <a:lnTo>
                          <a:pt x="2082" y="690"/>
                        </a:lnTo>
                        <a:lnTo>
                          <a:pt x="2082" y="69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13" name="Jordan"/>
                  <p:cNvSpPr>
                    <a:spLocks/>
                  </p:cNvSpPr>
                  <p:nvPr/>
                </p:nvSpPr>
                <p:spPr bwMode="gray">
                  <a:xfrm>
                    <a:off x="3272" y="1624"/>
                    <a:ext cx="72" cy="86"/>
                  </a:xfrm>
                  <a:custGeom>
                    <a:avLst/>
                    <a:gdLst>
                      <a:gd name="T0" fmla="*/ 2147483647 w 282"/>
                      <a:gd name="T1" fmla="*/ 2147483647 h 336"/>
                      <a:gd name="T2" fmla="*/ 2147483647 w 282"/>
                      <a:gd name="T3" fmla="*/ 2147483647 h 336"/>
                      <a:gd name="T4" fmla="*/ 2147483647 w 282"/>
                      <a:gd name="T5" fmla="*/ 0 h 336"/>
                      <a:gd name="T6" fmla="*/ 2147483647 w 282"/>
                      <a:gd name="T7" fmla="*/ 2147483647 h 336"/>
                      <a:gd name="T8" fmla="*/ 2147483647 w 282"/>
                      <a:gd name="T9" fmla="*/ 2147483647 h 336"/>
                      <a:gd name="T10" fmla="*/ 2147483647 w 282"/>
                      <a:gd name="T11" fmla="*/ 2147483647 h 336"/>
                      <a:gd name="T12" fmla="*/ 2147483647 w 282"/>
                      <a:gd name="T13" fmla="*/ 2147483647 h 336"/>
                      <a:gd name="T14" fmla="*/ 2147483647 w 282"/>
                      <a:gd name="T15" fmla="*/ 2147483647 h 336"/>
                      <a:gd name="T16" fmla="*/ 2147483647 w 282"/>
                      <a:gd name="T17" fmla="*/ 2147483647 h 336"/>
                      <a:gd name="T18" fmla="*/ 2147483647 w 282"/>
                      <a:gd name="T19" fmla="*/ 2147483647 h 336"/>
                      <a:gd name="T20" fmla="*/ 2147483647 w 282"/>
                      <a:gd name="T21" fmla="*/ 2147483647 h 336"/>
                      <a:gd name="T22" fmla="*/ 2147483647 w 282"/>
                      <a:gd name="T23" fmla="*/ 2147483647 h 336"/>
                      <a:gd name="T24" fmla="*/ 2147483647 w 282"/>
                      <a:gd name="T25" fmla="*/ 2147483647 h 336"/>
                      <a:gd name="T26" fmla="*/ 2147483647 w 282"/>
                      <a:gd name="T27" fmla="*/ 2147483647 h 336"/>
                      <a:gd name="T28" fmla="*/ 2147483647 w 282"/>
                      <a:gd name="T29" fmla="*/ 2147483647 h 336"/>
                      <a:gd name="T30" fmla="*/ 2147483647 w 282"/>
                      <a:gd name="T31" fmla="*/ 2147483647 h 336"/>
                      <a:gd name="T32" fmla="*/ 2147483647 w 282"/>
                      <a:gd name="T33" fmla="*/ 2147483647 h 336"/>
                      <a:gd name="T34" fmla="*/ 2147483647 w 282"/>
                      <a:gd name="T35" fmla="*/ 2147483647 h 336"/>
                      <a:gd name="T36" fmla="*/ 2147483647 w 282"/>
                      <a:gd name="T37" fmla="*/ 2147483647 h 336"/>
                      <a:gd name="T38" fmla="*/ 2147483647 w 282"/>
                      <a:gd name="T39" fmla="*/ 2147483647 h 336"/>
                      <a:gd name="T40" fmla="*/ 2147483647 w 282"/>
                      <a:gd name="T41" fmla="*/ 2147483647 h 336"/>
                      <a:gd name="T42" fmla="*/ 2147483647 w 282"/>
                      <a:gd name="T43" fmla="*/ 2147483647 h 336"/>
                      <a:gd name="T44" fmla="*/ 2147483647 w 282"/>
                      <a:gd name="T45" fmla="*/ 2147483647 h 336"/>
                      <a:gd name="T46" fmla="*/ 0 w 282"/>
                      <a:gd name="T47" fmla="*/ 2147483647 h 336"/>
                      <a:gd name="T48" fmla="*/ 0 w 282"/>
                      <a:gd name="T49" fmla="*/ 2147483647 h 336"/>
                      <a:gd name="T50" fmla="*/ 2147483647 w 282"/>
                      <a:gd name="T51" fmla="*/ 2147483647 h 336"/>
                      <a:gd name="T52" fmla="*/ 2147483647 w 282"/>
                      <a:gd name="T53" fmla="*/ 2147483647 h 336"/>
                      <a:gd name="T54" fmla="*/ 2147483647 w 282"/>
                      <a:gd name="T55" fmla="*/ 2147483647 h 336"/>
                      <a:gd name="T56" fmla="*/ 2147483647 w 282"/>
                      <a:gd name="T57" fmla="*/ 2147483647 h 336"/>
                      <a:gd name="T58" fmla="*/ 2147483647 w 282"/>
                      <a:gd name="T59" fmla="*/ 2147483647 h 336"/>
                      <a:gd name="T60" fmla="*/ 2147483647 w 282"/>
                      <a:gd name="T61" fmla="*/ 2147483647 h 336"/>
                      <a:gd name="T62" fmla="*/ 2147483647 w 282"/>
                      <a:gd name="T63" fmla="*/ 2147483647 h 336"/>
                      <a:gd name="T64" fmla="*/ 2147483647 w 282"/>
                      <a:gd name="T65" fmla="*/ 2147483647 h 336"/>
                      <a:gd name="T66" fmla="*/ 2147483647 w 282"/>
                      <a:gd name="T67" fmla="*/ 2147483647 h 336"/>
                      <a:gd name="T68" fmla="*/ 2147483647 w 282"/>
                      <a:gd name="T69" fmla="*/ 2147483647 h 336"/>
                      <a:gd name="T70" fmla="*/ 2147483647 w 282"/>
                      <a:gd name="T71" fmla="*/ 2147483647 h 336"/>
                      <a:gd name="T72" fmla="*/ 2147483647 w 282"/>
                      <a:gd name="T73" fmla="*/ 2147483647 h 336"/>
                      <a:gd name="T74" fmla="*/ 2147483647 w 282"/>
                      <a:gd name="T75" fmla="*/ 2147483647 h 336"/>
                      <a:gd name="T76" fmla="*/ 2147483647 w 282"/>
                      <a:gd name="T77" fmla="*/ 2147483647 h 336"/>
                      <a:gd name="T78" fmla="*/ 2147483647 w 282"/>
                      <a:gd name="T79" fmla="*/ 2147483647 h 336"/>
                      <a:gd name="T80" fmla="*/ 2147483647 w 282"/>
                      <a:gd name="T81" fmla="*/ 2147483647 h 336"/>
                      <a:gd name="T82" fmla="*/ 2147483647 w 282"/>
                      <a:gd name="T83" fmla="*/ 2147483647 h 336"/>
                      <a:gd name="T84" fmla="*/ 2147483647 w 282"/>
                      <a:gd name="T85" fmla="*/ 2147483647 h 336"/>
                      <a:gd name="T86" fmla="*/ 2147483647 w 282"/>
                      <a:gd name="T87" fmla="*/ 2147483647 h 336"/>
                      <a:gd name="T88" fmla="*/ 2147483647 w 282"/>
                      <a:gd name="T89" fmla="*/ 2147483647 h 336"/>
                      <a:gd name="T90" fmla="*/ 2147483647 w 282"/>
                      <a:gd name="T91" fmla="*/ 2147483647 h 336"/>
                      <a:gd name="T92" fmla="*/ 2147483647 w 282"/>
                      <a:gd name="T93" fmla="*/ 2147483647 h 336"/>
                      <a:gd name="T94" fmla="*/ 2147483647 w 282"/>
                      <a:gd name="T95" fmla="*/ 2147483647 h 336"/>
                      <a:gd name="T96" fmla="*/ 2147483647 w 282"/>
                      <a:gd name="T97" fmla="*/ 2147483647 h 336"/>
                      <a:gd name="T98" fmla="*/ 2147483647 w 282"/>
                      <a:gd name="T99" fmla="*/ 2147483647 h 336"/>
                      <a:gd name="T100" fmla="*/ 2147483647 w 282"/>
                      <a:gd name="T101" fmla="*/ 2147483647 h 336"/>
                      <a:gd name="T102" fmla="*/ 2147483647 w 282"/>
                      <a:gd name="T103" fmla="*/ 2147483647 h 336"/>
                      <a:gd name="T104" fmla="*/ 2147483647 w 282"/>
                      <a:gd name="T105" fmla="*/ 2147483647 h 336"/>
                      <a:gd name="T106" fmla="*/ 2147483647 w 282"/>
                      <a:gd name="T107" fmla="*/ 2147483647 h 336"/>
                      <a:gd name="T108" fmla="*/ 2147483647 w 282"/>
                      <a:gd name="T109" fmla="*/ 2147483647 h 336"/>
                      <a:gd name="T110" fmla="*/ 2147483647 w 282"/>
                      <a:gd name="T111" fmla="*/ 2147483647 h 336"/>
                      <a:gd name="T112" fmla="*/ 2147483647 w 282"/>
                      <a:gd name="T113" fmla="*/ 2147483647 h 336"/>
                      <a:gd name="T114" fmla="*/ 2147483647 w 282"/>
                      <a:gd name="T115" fmla="*/ 2147483647 h 336"/>
                      <a:gd name="T116" fmla="*/ 2147483647 w 282"/>
                      <a:gd name="T117" fmla="*/ 2147483647 h 336"/>
                      <a:gd name="T118" fmla="*/ 2147483647 w 282"/>
                      <a:gd name="T119" fmla="*/ 2147483647 h 336"/>
                      <a:gd name="T120" fmla="*/ 2147483647 w 282"/>
                      <a:gd name="T121" fmla="*/ 2147483647 h 336"/>
                      <a:gd name="T122" fmla="*/ 2147483647 w 282"/>
                      <a:gd name="T123" fmla="*/ 2147483647 h 3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282"/>
                      <a:gd name="T187" fmla="*/ 0 h 336"/>
                      <a:gd name="T188" fmla="*/ 282 w 282"/>
                      <a:gd name="T189" fmla="*/ 336 h 3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282" h="336">
                        <a:moveTo>
                          <a:pt x="258" y="60"/>
                        </a:moveTo>
                        <a:lnTo>
                          <a:pt x="258" y="42"/>
                        </a:lnTo>
                        <a:lnTo>
                          <a:pt x="234" y="0"/>
                        </a:lnTo>
                        <a:lnTo>
                          <a:pt x="222" y="6"/>
                        </a:lnTo>
                        <a:lnTo>
                          <a:pt x="198" y="30"/>
                        </a:lnTo>
                        <a:lnTo>
                          <a:pt x="138" y="78"/>
                        </a:lnTo>
                        <a:lnTo>
                          <a:pt x="114" y="84"/>
                        </a:lnTo>
                        <a:lnTo>
                          <a:pt x="96" y="84"/>
                        </a:lnTo>
                        <a:lnTo>
                          <a:pt x="84" y="78"/>
                        </a:lnTo>
                        <a:lnTo>
                          <a:pt x="72" y="66"/>
                        </a:lnTo>
                        <a:lnTo>
                          <a:pt x="36" y="48"/>
                        </a:lnTo>
                        <a:lnTo>
                          <a:pt x="30" y="48"/>
                        </a:lnTo>
                        <a:lnTo>
                          <a:pt x="24" y="66"/>
                        </a:lnTo>
                        <a:lnTo>
                          <a:pt x="30" y="138"/>
                        </a:lnTo>
                        <a:lnTo>
                          <a:pt x="18" y="150"/>
                        </a:lnTo>
                        <a:lnTo>
                          <a:pt x="18" y="162"/>
                        </a:lnTo>
                        <a:lnTo>
                          <a:pt x="30" y="174"/>
                        </a:lnTo>
                        <a:lnTo>
                          <a:pt x="30" y="186"/>
                        </a:lnTo>
                        <a:lnTo>
                          <a:pt x="24" y="198"/>
                        </a:lnTo>
                        <a:lnTo>
                          <a:pt x="18" y="204"/>
                        </a:lnTo>
                        <a:lnTo>
                          <a:pt x="12" y="216"/>
                        </a:lnTo>
                        <a:lnTo>
                          <a:pt x="6" y="222"/>
                        </a:lnTo>
                        <a:lnTo>
                          <a:pt x="6" y="282"/>
                        </a:lnTo>
                        <a:lnTo>
                          <a:pt x="0" y="294"/>
                        </a:lnTo>
                        <a:lnTo>
                          <a:pt x="0" y="312"/>
                        </a:lnTo>
                        <a:lnTo>
                          <a:pt x="6" y="324"/>
                        </a:lnTo>
                        <a:lnTo>
                          <a:pt x="24" y="324"/>
                        </a:lnTo>
                        <a:lnTo>
                          <a:pt x="48" y="336"/>
                        </a:lnTo>
                        <a:lnTo>
                          <a:pt x="84" y="336"/>
                        </a:lnTo>
                        <a:lnTo>
                          <a:pt x="96" y="324"/>
                        </a:lnTo>
                        <a:lnTo>
                          <a:pt x="108" y="300"/>
                        </a:lnTo>
                        <a:lnTo>
                          <a:pt x="108" y="288"/>
                        </a:lnTo>
                        <a:lnTo>
                          <a:pt x="120" y="276"/>
                        </a:lnTo>
                        <a:lnTo>
                          <a:pt x="126" y="276"/>
                        </a:lnTo>
                        <a:lnTo>
                          <a:pt x="138" y="270"/>
                        </a:lnTo>
                        <a:lnTo>
                          <a:pt x="150" y="270"/>
                        </a:lnTo>
                        <a:lnTo>
                          <a:pt x="162" y="264"/>
                        </a:lnTo>
                        <a:lnTo>
                          <a:pt x="168" y="258"/>
                        </a:lnTo>
                        <a:lnTo>
                          <a:pt x="174" y="246"/>
                        </a:lnTo>
                        <a:lnTo>
                          <a:pt x="180" y="240"/>
                        </a:lnTo>
                        <a:lnTo>
                          <a:pt x="180" y="228"/>
                        </a:lnTo>
                        <a:lnTo>
                          <a:pt x="186" y="222"/>
                        </a:lnTo>
                        <a:lnTo>
                          <a:pt x="186" y="210"/>
                        </a:lnTo>
                        <a:lnTo>
                          <a:pt x="180" y="204"/>
                        </a:lnTo>
                        <a:lnTo>
                          <a:pt x="168" y="180"/>
                        </a:lnTo>
                        <a:lnTo>
                          <a:pt x="144" y="156"/>
                        </a:lnTo>
                        <a:lnTo>
                          <a:pt x="132" y="156"/>
                        </a:lnTo>
                        <a:lnTo>
                          <a:pt x="120" y="150"/>
                        </a:lnTo>
                        <a:lnTo>
                          <a:pt x="96" y="150"/>
                        </a:lnTo>
                        <a:lnTo>
                          <a:pt x="96" y="144"/>
                        </a:lnTo>
                        <a:lnTo>
                          <a:pt x="108" y="144"/>
                        </a:lnTo>
                        <a:lnTo>
                          <a:pt x="120" y="138"/>
                        </a:lnTo>
                        <a:lnTo>
                          <a:pt x="186" y="138"/>
                        </a:lnTo>
                        <a:lnTo>
                          <a:pt x="198" y="114"/>
                        </a:lnTo>
                        <a:lnTo>
                          <a:pt x="240" y="114"/>
                        </a:lnTo>
                        <a:lnTo>
                          <a:pt x="252" y="108"/>
                        </a:lnTo>
                        <a:lnTo>
                          <a:pt x="258" y="102"/>
                        </a:lnTo>
                        <a:lnTo>
                          <a:pt x="264" y="102"/>
                        </a:lnTo>
                        <a:lnTo>
                          <a:pt x="276" y="96"/>
                        </a:lnTo>
                        <a:lnTo>
                          <a:pt x="282" y="90"/>
                        </a:lnTo>
                        <a:lnTo>
                          <a:pt x="282" y="78"/>
                        </a:lnTo>
                        <a:lnTo>
                          <a:pt x="258" y="6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14" name="Jamaica"/>
                  <p:cNvSpPr>
                    <a:spLocks/>
                  </p:cNvSpPr>
                  <p:nvPr/>
                </p:nvSpPr>
                <p:spPr bwMode="gray">
                  <a:xfrm>
                    <a:off x="1246" y="1931"/>
                    <a:ext cx="40" cy="13"/>
                  </a:xfrm>
                  <a:custGeom>
                    <a:avLst/>
                    <a:gdLst>
                      <a:gd name="T0" fmla="*/ 2147483647 w 156"/>
                      <a:gd name="T1" fmla="*/ 2147483647 h 54"/>
                      <a:gd name="T2" fmla="*/ 2147483647 w 156"/>
                      <a:gd name="T3" fmla="*/ 2147483647 h 54"/>
                      <a:gd name="T4" fmla="*/ 2147483647 w 156"/>
                      <a:gd name="T5" fmla="*/ 2147483647 h 54"/>
                      <a:gd name="T6" fmla="*/ 2147483647 w 156"/>
                      <a:gd name="T7" fmla="*/ 2147483647 h 54"/>
                      <a:gd name="T8" fmla="*/ 2147483647 w 156"/>
                      <a:gd name="T9" fmla="*/ 2147483647 h 54"/>
                      <a:gd name="T10" fmla="*/ 2147483647 w 156"/>
                      <a:gd name="T11" fmla="*/ 2147483647 h 54"/>
                      <a:gd name="T12" fmla="*/ 2147483647 w 156"/>
                      <a:gd name="T13" fmla="*/ 2147483647 h 54"/>
                      <a:gd name="T14" fmla="*/ 2147483647 w 156"/>
                      <a:gd name="T15" fmla="*/ 2147483647 h 54"/>
                      <a:gd name="T16" fmla="*/ 2147483647 w 156"/>
                      <a:gd name="T17" fmla="*/ 0 h 54"/>
                      <a:gd name="T18" fmla="*/ 2147483647 w 156"/>
                      <a:gd name="T19" fmla="*/ 0 h 54"/>
                      <a:gd name="T20" fmla="*/ 2147483647 w 156"/>
                      <a:gd name="T21" fmla="*/ 2147483647 h 54"/>
                      <a:gd name="T22" fmla="*/ 0 w 156"/>
                      <a:gd name="T23" fmla="*/ 2147483647 h 54"/>
                      <a:gd name="T24" fmla="*/ 2147483647 w 156"/>
                      <a:gd name="T25" fmla="*/ 2147483647 h 54"/>
                      <a:gd name="T26" fmla="*/ 2147483647 w 156"/>
                      <a:gd name="T27" fmla="*/ 2147483647 h 54"/>
                      <a:gd name="T28" fmla="*/ 2147483647 w 156"/>
                      <a:gd name="T29" fmla="*/ 2147483647 h 54"/>
                      <a:gd name="T30" fmla="*/ 2147483647 w 156"/>
                      <a:gd name="T31" fmla="*/ 2147483647 h 54"/>
                      <a:gd name="T32" fmla="*/ 2147483647 w 156"/>
                      <a:gd name="T33" fmla="*/ 2147483647 h 54"/>
                      <a:gd name="T34" fmla="*/ 2147483647 w 156"/>
                      <a:gd name="T35" fmla="*/ 2147483647 h 54"/>
                      <a:gd name="T36" fmla="*/ 2147483647 w 156"/>
                      <a:gd name="T37" fmla="*/ 2147483647 h 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56"/>
                      <a:gd name="T58" fmla="*/ 0 h 54"/>
                      <a:gd name="T59" fmla="*/ 156 w 156"/>
                      <a:gd name="T60" fmla="*/ 54 h 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56" h="54">
                        <a:moveTo>
                          <a:pt x="108" y="54"/>
                        </a:moveTo>
                        <a:lnTo>
                          <a:pt x="114" y="36"/>
                        </a:lnTo>
                        <a:lnTo>
                          <a:pt x="156" y="48"/>
                        </a:lnTo>
                        <a:lnTo>
                          <a:pt x="156" y="42"/>
                        </a:lnTo>
                        <a:lnTo>
                          <a:pt x="150" y="36"/>
                        </a:lnTo>
                        <a:lnTo>
                          <a:pt x="144" y="24"/>
                        </a:lnTo>
                        <a:lnTo>
                          <a:pt x="126" y="6"/>
                        </a:lnTo>
                        <a:lnTo>
                          <a:pt x="84" y="6"/>
                        </a:lnTo>
                        <a:lnTo>
                          <a:pt x="66" y="0"/>
                        </a:lnTo>
                        <a:lnTo>
                          <a:pt x="24" y="0"/>
                        </a:lnTo>
                        <a:lnTo>
                          <a:pt x="12" y="6"/>
                        </a:lnTo>
                        <a:lnTo>
                          <a:pt x="0" y="6"/>
                        </a:lnTo>
                        <a:lnTo>
                          <a:pt x="6" y="18"/>
                        </a:lnTo>
                        <a:lnTo>
                          <a:pt x="18" y="24"/>
                        </a:lnTo>
                        <a:lnTo>
                          <a:pt x="24" y="36"/>
                        </a:lnTo>
                        <a:lnTo>
                          <a:pt x="36" y="42"/>
                        </a:lnTo>
                        <a:lnTo>
                          <a:pt x="60" y="42"/>
                        </a:lnTo>
                        <a:lnTo>
                          <a:pt x="78" y="48"/>
                        </a:lnTo>
                        <a:lnTo>
                          <a:pt x="108" y="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15" name="Japan"/>
                  <p:cNvSpPr>
                    <a:spLocks noEditPoints="1"/>
                  </p:cNvSpPr>
                  <p:nvPr/>
                </p:nvSpPr>
                <p:spPr bwMode="gray">
                  <a:xfrm>
                    <a:off x="4851" y="1374"/>
                    <a:ext cx="224" cy="437"/>
                  </a:xfrm>
                  <a:custGeom>
                    <a:avLst/>
                    <a:gdLst>
                      <a:gd name="T0" fmla="*/ 2147483647 w 876"/>
                      <a:gd name="T1" fmla="*/ 2147483647 h 1710"/>
                      <a:gd name="T2" fmla="*/ 2147483647 w 876"/>
                      <a:gd name="T3" fmla="*/ 2147483647 h 1710"/>
                      <a:gd name="T4" fmla="*/ 2147483647 w 876"/>
                      <a:gd name="T5" fmla="*/ 2147483647 h 1710"/>
                      <a:gd name="T6" fmla="*/ 2147483647 w 876"/>
                      <a:gd name="T7" fmla="*/ 2147483647 h 1710"/>
                      <a:gd name="T8" fmla="*/ 2147483647 w 876"/>
                      <a:gd name="T9" fmla="*/ 2147483647 h 1710"/>
                      <a:gd name="T10" fmla="*/ 2147483647 w 876"/>
                      <a:gd name="T11" fmla="*/ 2147483647 h 1710"/>
                      <a:gd name="T12" fmla="*/ 2147483647 w 876"/>
                      <a:gd name="T13" fmla="*/ 2147483647 h 1710"/>
                      <a:gd name="T14" fmla="*/ 2147483647 w 876"/>
                      <a:gd name="T15" fmla="*/ 2147483647 h 1710"/>
                      <a:gd name="T16" fmla="*/ 2147483647 w 876"/>
                      <a:gd name="T17" fmla="*/ 2147483647 h 1710"/>
                      <a:gd name="T18" fmla="*/ 2147483647 w 876"/>
                      <a:gd name="T19" fmla="*/ 2147483647 h 1710"/>
                      <a:gd name="T20" fmla="*/ 2147483647 w 876"/>
                      <a:gd name="T21" fmla="*/ 2147483647 h 1710"/>
                      <a:gd name="T22" fmla="*/ 2147483647 w 876"/>
                      <a:gd name="T23" fmla="*/ 2147483647 h 1710"/>
                      <a:gd name="T24" fmla="*/ 2147483647 w 876"/>
                      <a:gd name="T25" fmla="*/ 2147483647 h 1710"/>
                      <a:gd name="T26" fmla="*/ 2147483647 w 876"/>
                      <a:gd name="T27" fmla="*/ 2147483647 h 1710"/>
                      <a:gd name="T28" fmla="*/ 2147483647 w 876"/>
                      <a:gd name="T29" fmla="*/ 2147483647 h 1710"/>
                      <a:gd name="T30" fmla="*/ 2147483647 w 876"/>
                      <a:gd name="T31" fmla="*/ 2147483647 h 1710"/>
                      <a:gd name="T32" fmla="*/ 2147483647 w 876"/>
                      <a:gd name="T33" fmla="*/ 2147483647 h 1710"/>
                      <a:gd name="T34" fmla="*/ 2147483647 w 876"/>
                      <a:gd name="T35" fmla="*/ 2147483647 h 1710"/>
                      <a:gd name="T36" fmla="*/ 2147483647 w 876"/>
                      <a:gd name="T37" fmla="*/ 2147483647 h 1710"/>
                      <a:gd name="T38" fmla="*/ 2147483647 w 876"/>
                      <a:gd name="T39" fmla="*/ 2147483647 h 1710"/>
                      <a:gd name="T40" fmla="*/ 2147483647 w 876"/>
                      <a:gd name="T41" fmla="*/ 2147483647 h 1710"/>
                      <a:gd name="T42" fmla="*/ 2147483647 w 876"/>
                      <a:gd name="T43" fmla="*/ 2147483647 h 1710"/>
                      <a:gd name="T44" fmla="*/ 2147483647 w 876"/>
                      <a:gd name="T45" fmla="*/ 2147483647 h 1710"/>
                      <a:gd name="T46" fmla="*/ 2147483647 w 876"/>
                      <a:gd name="T47" fmla="*/ 2147483647 h 1710"/>
                      <a:gd name="T48" fmla="*/ 2147483647 w 876"/>
                      <a:gd name="T49" fmla="*/ 2147483647 h 1710"/>
                      <a:gd name="T50" fmla="*/ 2147483647 w 876"/>
                      <a:gd name="T51" fmla="*/ 2147483647 h 1710"/>
                      <a:gd name="T52" fmla="*/ 2147483647 w 876"/>
                      <a:gd name="T53" fmla="*/ 2147483647 h 1710"/>
                      <a:gd name="T54" fmla="*/ 2147483647 w 876"/>
                      <a:gd name="T55" fmla="*/ 2147483647 h 1710"/>
                      <a:gd name="T56" fmla="*/ 2147483647 w 876"/>
                      <a:gd name="T57" fmla="*/ 2147483647 h 1710"/>
                      <a:gd name="T58" fmla="*/ 2147483647 w 876"/>
                      <a:gd name="T59" fmla="*/ 2147483647 h 1710"/>
                      <a:gd name="T60" fmla="*/ 2147483647 w 876"/>
                      <a:gd name="T61" fmla="*/ 2147483647 h 1710"/>
                      <a:gd name="T62" fmla="*/ 2147483647 w 876"/>
                      <a:gd name="T63" fmla="*/ 2147483647 h 1710"/>
                      <a:gd name="T64" fmla="*/ 2147483647 w 876"/>
                      <a:gd name="T65" fmla="*/ 2147483647 h 1710"/>
                      <a:gd name="T66" fmla="*/ 2147483647 w 876"/>
                      <a:gd name="T67" fmla="*/ 2147483647 h 1710"/>
                      <a:gd name="T68" fmla="*/ 2147483647 w 876"/>
                      <a:gd name="T69" fmla="*/ 2147483647 h 1710"/>
                      <a:gd name="T70" fmla="*/ 2147483647 w 876"/>
                      <a:gd name="T71" fmla="*/ 2147483647 h 1710"/>
                      <a:gd name="T72" fmla="*/ 2147483647 w 876"/>
                      <a:gd name="T73" fmla="*/ 2147483647 h 1710"/>
                      <a:gd name="T74" fmla="*/ 2147483647 w 876"/>
                      <a:gd name="T75" fmla="*/ 2147483647 h 1710"/>
                      <a:gd name="T76" fmla="*/ 2147483647 w 876"/>
                      <a:gd name="T77" fmla="*/ 2147483647 h 1710"/>
                      <a:gd name="T78" fmla="*/ 2147483647 w 876"/>
                      <a:gd name="T79" fmla="*/ 2147483647 h 1710"/>
                      <a:gd name="T80" fmla="*/ 2147483647 w 876"/>
                      <a:gd name="T81" fmla="*/ 2147483647 h 1710"/>
                      <a:gd name="T82" fmla="*/ 2147483647 w 876"/>
                      <a:gd name="T83" fmla="*/ 2147483647 h 1710"/>
                      <a:gd name="T84" fmla="*/ 2147483647 w 876"/>
                      <a:gd name="T85" fmla="*/ 2147483647 h 1710"/>
                      <a:gd name="T86" fmla="*/ 2147483647 w 876"/>
                      <a:gd name="T87" fmla="*/ 2147483647 h 1710"/>
                      <a:gd name="T88" fmla="*/ 2147483647 w 876"/>
                      <a:gd name="T89" fmla="*/ 2147483647 h 1710"/>
                      <a:gd name="T90" fmla="*/ 2147483647 w 876"/>
                      <a:gd name="T91" fmla="*/ 2147483647 h 1710"/>
                      <a:gd name="T92" fmla="*/ 2147483647 w 876"/>
                      <a:gd name="T93" fmla="*/ 2147483647 h 1710"/>
                      <a:gd name="T94" fmla="*/ 2147483647 w 876"/>
                      <a:gd name="T95" fmla="*/ 2147483647 h 1710"/>
                      <a:gd name="T96" fmla="*/ 2147483647 w 876"/>
                      <a:gd name="T97" fmla="*/ 2147483647 h 1710"/>
                      <a:gd name="T98" fmla="*/ 2147483647 w 876"/>
                      <a:gd name="T99" fmla="*/ 2147483647 h 1710"/>
                      <a:gd name="T100" fmla="*/ 2147483647 w 876"/>
                      <a:gd name="T101" fmla="*/ 2147483647 h 1710"/>
                      <a:gd name="T102" fmla="*/ 2147483647 w 876"/>
                      <a:gd name="T103" fmla="*/ 2147483647 h 1710"/>
                      <a:gd name="T104" fmla="*/ 2147483647 w 876"/>
                      <a:gd name="T105" fmla="*/ 2147483647 h 1710"/>
                      <a:gd name="T106" fmla="*/ 2147483647 w 876"/>
                      <a:gd name="T107" fmla="*/ 2147483647 h 1710"/>
                      <a:gd name="T108" fmla="*/ 2147483647 w 876"/>
                      <a:gd name="T109" fmla="*/ 2147483647 h 1710"/>
                      <a:gd name="T110" fmla="*/ 2147483647 w 876"/>
                      <a:gd name="T111" fmla="*/ 2147483647 h 1710"/>
                      <a:gd name="T112" fmla="*/ 2147483647 w 876"/>
                      <a:gd name="T113" fmla="*/ 2147483647 h 1710"/>
                      <a:gd name="T114" fmla="*/ 2147483647 w 876"/>
                      <a:gd name="T115" fmla="*/ 2147483647 h 1710"/>
                      <a:gd name="T116" fmla="*/ 2147483647 w 876"/>
                      <a:gd name="T117" fmla="*/ 2147483647 h 1710"/>
                      <a:gd name="T118" fmla="*/ 2147483647 w 876"/>
                      <a:gd name="T119" fmla="*/ 2147483647 h 171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876"/>
                      <a:gd name="T181" fmla="*/ 0 h 1710"/>
                      <a:gd name="T182" fmla="*/ 876 w 876"/>
                      <a:gd name="T183" fmla="*/ 1710 h 171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876" h="1710">
                        <a:moveTo>
                          <a:pt x="876" y="780"/>
                        </a:moveTo>
                        <a:lnTo>
                          <a:pt x="864" y="774"/>
                        </a:lnTo>
                        <a:lnTo>
                          <a:pt x="858" y="768"/>
                        </a:lnTo>
                        <a:lnTo>
                          <a:pt x="846" y="762"/>
                        </a:lnTo>
                        <a:lnTo>
                          <a:pt x="840" y="750"/>
                        </a:lnTo>
                        <a:lnTo>
                          <a:pt x="828" y="744"/>
                        </a:lnTo>
                        <a:lnTo>
                          <a:pt x="828" y="720"/>
                        </a:lnTo>
                        <a:lnTo>
                          <a:pt x="834" y="702"/>
                        </a:lnTo>
                        <a:lnTo>
                          <a:pt x="834" y="684"/>
                        </a:lnTo>
                        <a:lnTo>
                          <a:pt x="828" y="666"/>
                        </a:lnTo>
                        <a:lnTo>
                          <a:pt x="816" y="642"/>
                        </a:lnTo>
                        <a:lnTo>
                          <a:pt x="792" y="618"/>
                        </a:lnTo>
                        <a:lnTo>
                          <a:pt x="786" y="600"/>
                        </a:lnTo>
                        <a:lnTo>
                          <a:pt x="786" y="576"/>
                        </a:lnTo>
                        <a:lnTo>
                          <a:pt x="792" y="570"/>
                        </a:lnTo>
                        <a:lnTo>
                          <a:pt x="810" y="570"/>
                        </a:lnTo>
                        <a:lnTo>
                          <a:pt x="810" y="528"/>
                        </a:lnTo>
                        <a:lnTo>
                          <a:pt x="798" y="516"/>
                        </a:lnTo>
                        <a:lnTo>
                          <a:pt x="810" y="510"/>
                        </a:lnTo>
                        <a:lnTo>
                          <a:pt x="810" y="498"/>
                        </a:lnTo>
                        <a:lnTo>
                          <a:pt x="804" y="486"/>
                        </a:lnTo>
                        <a:lnTo>
                          <a:pt x="804" y="474"/>
                        </a:lnTo>
                        <a:lnTo>
                          <a:pt x="798" y="468"/>
                        </a:lnTo>
                        <a:lnTo>
                          <a:pt x="792" y="456"/>
                        </a:lnTo>
                        <a:lnTo>
                          <a:pt x="786" y="450"/>
                        </a:lnTo>
                        <a:lnTo>
                          <a:pt x="774" y="444"/>
                        </a:lnTo>
                        <a:lnTo>
                          <a:pt x="768" y="438"/>
                        </a:lnTo>
                        <a:lnTo>
                          <a:pt x="762" y="420"/>
                        </a:lnTo>
                        <a:lnTo>
                          <a:pt x="756" y="420"/>
                        </a:lnTo>
                        <a:lnTo>
                          <a:pt x="738" y="402"/>
                        </a:lnTo>
                        <a:lnTo>
                          <a:pt x="714" y="390"/>
                        </a:lnTo>
                        <a:lnTo>
                          <a:pt x="702" y="378"/>
                        </a:lnTo>
                        <a:lnTo>
                          <a:pt x="696" y="360"/>
                        </a:lnTo>
                        <a:lnTo>
                          <a:pt x="690" y="348"/>
                        </a:lnTo>
                        <a:lnTo>
                          <a:pt x="690" y="330"/>
                        </a:lnTo>
                        <a:lnTo>
                          <a:pt x="684" y="324"/>
                        </a:lnTo>
                        <a:lnTo>
                          <a:pt x="678" y="324"/>
                        </a:lnTo>
                        <a:lnTo>
                          <a:pt x="666" y="318"/>
                        </a:lnTo>
                        <a:lnTo>
                          <a:pt x="654" y="318"/>
                        </a:lnTo>
                        <a:lnTo>
                          <a:pt x="648" y="324"/>
                        </a:lnTo>
                        <a:lnTo>
                          <a:pt x="648" y="342"/>
                        </a:lnTo>
                        <a:lnTo>
                          <a:pt x="654" y="342"/>
                        </a:lnTo>
                        <a:lnTo>
                          <a:pt x="660" y="348"/>
                        </a:lnTo>
                        <a:lnTo>
                          <a:pt x="672" y="342"/>
                        </a:lnTo>
                        <a:lnTo>
                          <a:pt x="678" y="348"/>
                        </a:lnTo>
                        <a:lnTo>
                          <a:pt x="678" y="366"/>
                        </a:lnTo>
                        <a:lnTo>
                          <a:pt x="672" y="366"/>
                        </a:lnTo>
                        <a:lnTo>
                          <a:pt x="666" y="360"/>
                        </a:lnTo>
                        <a:lnTo>
                          <a:pt x="654" y="372"/>
                        </a:lnTo>
                        <a:lnTo>
                          <a:pt x="630" y="342"/>
                        </a:lnTo>
                        <a:lnTo>
                          <a:pt x="612" y="342"/>
                        </a:lnTo>
                        <a:lnTo>
                          <a:pt x="636" y="378"/>
                        </a:lnTo>
                        <a:lnTo>
                          <a:pt x="618" y="378"/>
                        </a:lnTo>
                        <a:lnTo>
                          <a:pt x="648" y="426"/>
                        </a:lnTo>
                        <a:lnTo>
                          <a:pt x="636" y="438"/>
                        </a:lnTo>
                        <a:lnTo>
                          <a:pt x="648" y="444"/>
                        </a:lnTo>
                        <a:lnTo>
                          <a:pt x="666" y="462"/>
                        </a:lnTo>
                        <a:lnTo>
                          <a:pt x="678" y="468"/>
                        </a:lnTo>
                        <a:lnTo>
                          <a:pt x="684" y="480"/>
                        </a:lnTo>
                        <a:lnTo>
                          <a:pt x="684" y="504"/>
                        </a:lnTo>
                        <a:lnTo>
                          <a:pt x="678" y="516"/>
                        </a:lnTo>
                        <a:lnTo>
                          <a:pt x="678" y="534"/>
                        </a:lnTo>
                        <a:lnTo>
                          <a:pt x="672" y="540"/>
                        </a:lnTo>
                        <a:lnTo>
                          <a:pt x="672" y="570"/>
                        </a:lnTo>
                        <a:lnTo>
                          <a:pt x="678" y="570"/>
                        </a:lnTo>
                        <a:lnTo>
                          <a:pt x="690" y="582"/>
                        </a:lnTo>
                        <a:lnTo>
                          <a:pt x="690" y="600"/>
                        </a:lnTo>
                        <a:lnTo>
                          <a:pt x="678" y="606"/>
                        </a:lnTo>
                        <a:lnTo>
                          <a:pt x="660" y="606"/>
                        </a:lnTo>
                        <a:lnTo>
                          <a:pt x="660" y="618"/>
                        </a:lnTo>
                        <a:lnTo>
                          <a:pt x="666" y="630"/>
                        </a:lnTo>
                        <a:lnTo>
                          <a:pt x="666" y="642"/>
                        </a:lnTo>
                        <a:lnTo>
                          <a:pt x="660" y="654"/>
                        </a:lnTo>
                        <a:lnTo>
                          <a:pt x="654" y="660"/>
                        </a:lnTo>
                        <a:lnTo>
                          <a:pt x="642" y="666"/>
                        </a:lnTo>
                        <a:lnTo>
                          <a:pt x="630" y="666"/>
                        </a:lnTo>
                        <a:lnTo>
                          <a:pt x="618" y="672"/>
                        </a:lnTo>
                        <a:lnTo>
                          <a:pt x="612" y="678"/>
                        </a:lnTo>
                        <a:lnTo>
                          <a:pt x="606" y="678"/>
                        </a:lnTo>
                        <a:lnTo>
                          <a:pt x="606" y="696"/>
                        </a:lnTo>
                        <a:lnTo>
                          <a:pt x="588" y="696"/>
                        </a:lnTo>
                        <a:lnTo>
                          <a:pt x="564" y="672"/>
                        </a:lnTo>
                        <a:lnTo>
                          <a:pt x="564" y="654"/>
                        </a:lnTo>
                        <a:lnTo>
                          <a:pt x="570" y="636"/>
                        </a:lnTo>
                        <a:lnTo>
                          <a:pt x="558" y="636"/>
                        </a:lnTo>
                        <a:lnTo>
                          <a:pt x="552" y="642"/>
                        </a:lnTo>
                        <a:lnTo>
                          <a:pt x="540" y="648"/>
                        </a:lnTo>
                        <a:lnTo>
                          <a:pt x="534" y="654"/>
                        </a:lnTo>
                        <a:lnTo>
                          <a:pt x="534" y="660"/>
                        </a:lnTo>
                        <a:lnTo>
                          <a:pt x="540" y="666"/>
                        </a:lnTo>
                        <a:lnTo>
                          <a:pt x="558" y="702"/>
                        </a:lnTo>
                        <a:lnTo>
                          <a:pt x="558" y="714"/>
                        </a:lnTo>
                        <a:lnTo>
                          <a:pt x="552" y="720"/>
                        </a:lnTo>
                        <a:lnTo>
                          <a:pt x="540" y="744"/>
                        </a:lnTo>
                        <a:lnTo>
                          <a:pt x="540" y="756"/>
                        </a:lnTo>
                        <a:lnTo>
                          <a:pt x="546" y="762"/>
                        </a:lnTo>
                        <a:lnTo>
                          <a:pt x="546" y="768"/>
                        </a:lnTo>
                        <a:lnTo>
                          <a:pt x="552" y="780"/>
                        </a:lnTo>
                        <a:lnTo>
                          <a:pt x="558" y="786"/>
                        </a:lnTo>
                        <a:lnTo>
                          <a:pt x="558" y="792"/>
                        </a:lnTo>
                        <a:lnTo>
                          <a:pt x="522" y="792"/>
                        </a:lnTo>
                        <a:lnTo>
                          <a:pt x="498" y="780"/>
                        </a:lnTo>
                        <a:lnTo>
                          <a:pt x="474" y="780"/>
                        </a:lnTo>
                        <a:lnTo>
                          <a:pt x="450" y="792"/>
                        </a:lnTo>
                        <a:lnTo>
                          <a:pt x="438" y="792"/>
                        </a:lnTo>
                        <a:lnTo>
                          <a:pt x="420" y="798"/>
                        </a:lnTo>
                        <a:lnTo>
                          <a:pt x="414" y="804"/>
                        </a:lnTo>
                        <a:lnTo>
                          <a:pt x="378" y="804"/>
                        </a:lnTo>
                        <a:lnTo>
                          <a:pt x="366" y="792"/>
                        </a:lnTo>
                        <a:lnTo>
                          <a:pt x="336" y="816"/>
                        </a:lnTo>
                        <a:lnTo>
                          <a:pt x="330" y="828"/>
                        </a:lnTo>
                        <a:lnTo>
                          <a:pt x="312" y="846"/>
                        </a:lnTo>
                        <a:lnTo>
                          <a:pt x="306" y="864"/>
                        </a:lnTo>
                        <a:lnTo>
                          <a:pt x="300" y="870"/>
                        </a:lnTo>
                        <a:lnTo>
                          <a:pt x="294" y="882"/>
                        </a:lnTo>
                        <a:lnTo>
                          <a:pt x="270" y="882"/>
                        </a:lnTo>
                        <a:lnTo>
                          <a:pt x="264" y="888"/>
                        </a:lnTo>
                        <a:lnTo>
                          <a:pt x="258" y="888"/>
                        </a:lnTo>
                        <a:lnTo>
                          <a:pt x="258" y="900"/>
                        </a:lnTo>
                        <a:lnTo>
                          <a:pt x="264" y="912"/>
                        </a:lnTo>
                        <a:lnTo>
                          <a:pt x="276" y="924"/>
                        </a:lnTo>
                        <a:lnTo>
                          <a:pt x="288" y="924"/>
                        </a:lnTo>
                        <a:lnTo>
                          <a:pt x="294" y="918"/>
                        </a:lnTo>
                        <a:lnTo>
                          <a:pt x="312" y="918"/>
                        </a:lnTo>
                        <a:lnTo>
                          <a:pt x="318" y="924"/>
                        </a:lnTo>
                        <a:lnTo>
                          <a:pt x="324" y="924"/>
                        </a:lnTo>
                        <a:lnTo>
                          <a:pt x="336" y="930"/>
                        </a:lnTo>
                        <a:lnTo>
                          <a:pt x="342" y="930"/>
                        </a:lnTo>
                        <a:lnTo>
                          <a:pt x="348" y="924"/>
                        </a:lnTo>
                        <a:lnTo>
                          <a:pt x="348" y="912"/>
                        </a:lnTo>
                        <a:lnTo>
                          <a:pt x="354" y="906"/>
                        </a:lnTo>
                        <a:lnTo>
                          <a:pt x="354" y="894"/>
                        </a:lnTo>
                        <a:lnTo>
                          <a:pt x="372" y="906"/>
                        </a:lnTo>
                        <a:lnTo>
                          <a:pt x="378" y="906"/>
                        </a:lnTo>
                        <a:lnTo>
                          <a:pt x="384" y="900"/>
                        </a:lnTo>
                        <a:lnTo>
                          <a:pt x="420" y="882"/>
                        </a:lnTo>
                        <a:lnTo>
                          <a:pt x="426" y="882"/>
                        </a:lnTo>
                        <a:lnTo>
                          <a:pt x="432" y="876"/>
                        </a:lnTo>
                        <a:lnTo>
                          <a:pt x="444" y="876"/>
                        </a:lnTo>
                        <a:lnTo>
                          <a:pt x="456" y="882"/>
                        </a:lnTo>
                        <a:lnTo>
                          <a:pt x="480" y="882"/>
                        </a:lnTo>
                        <a:lnTo>
                          <a:pt x="480" y="876"/>
                        </a:lnTo>
                        <a:lnTo>
                          <a:pt x="474" y="870"/>
                        </a:lnTo>
                        <a:lnTo>
                          <a:pt x="474" y="864"/>
                        </a:lnTo>
                        <a:lnTo>
                          <a:pt x="480" y="858"/>
                        </a:lnTo>
                        <a:lnTo>
                          <a:pt x="498" y="858"/>
                        </a:lnTo>
                        <a:lnTo>
                          <a:pt x="516" y="876"/>
                        </a:lnTo>
                        <a:lnTo>
                          <a:pt x="522" y="870"/>
                        </a:lnTo>
                        <a:lnTo>
                          <a:pt x="534" y="864"/>
                        </a:lnTo>
                        <a:lnTo>
                          <a:pt x="540" y="864"/>
                        </a:lnTo>
                        <a:lnTo>
                          <a:pt x="546" y="858"/>
                        </a:lnTo>
                        <a:lnTo>
                          <a:pt x="552" y="864"/>
                        </a:lnTo>
                        <a:lnTo>
                          <a:pt x="552" y="882"/>
                        </a:lnTo>
                        <a:lnTo>
                          <a:pt x="546" y="894"/>
                        </a:lnTo>
                        <a:lnTo>
                          <a:pt x="540" y="900"/>
                        </a:lnTo>
                        <a:lnTo>
                          <a:pt x="540" y="912"/>
                        </a:lnTo>
                        <a:lnTo>
                          <a:pt x="546" y="918"/>
                        </a:lnTo>
                        <a:lnTo>
                          <a:pt x="552" y="930"/>
                        </a:lnTo>
                        <a:lnTo>
                          <a:pt x="576" y="954"/>
                        </a:lnTo>
                        <a:lnTo>
                          <a:pt x="600" y="966"/>
                        </a:lnTo>
                        <a:lnTo>
                          <a:pt x="612" y="960"/>
                        </a:lnTo>
                        <a:lnTo>
                          <a:pt x="618" y="954"/>
                        </a:lnTo>
                        <a:lnTo>
                          <a:pt x="630" y="930"/>
                        </a:lnTo>
                        <a:lnTo>
                          <a:pt x="630" y="906"/>
                        </a:lnTo>
                        <a:lnTo>
                          <a:pt x="660" y="900"/>
                        </a:lnTo>
                        <a:lnTo>
                          <a:pt x="654" y="894"/>
                        </a:lnTo>
                        <a:lnTo>
                          <a:pt x="648" y="882"/>
                        </a:lnTo>
                        <a:lnTo>
                          <a:pt x="636" y="870"/>
                        </a:lnTo>
                        <a:lnTo>
                          <a:pt x="624" y="870"/>
                        </a:lnTo>
                        <a:lnTo>
                          <a:pt x="612" y="858"/>
                        </a:lnTo>
                        <a:lnTo>
                          <a:pt x="630" y="834"/>
                        </a:lnTo>
                        <a:lnTo>
                          <a:pt x="636" y="834"/>
                        </a:lnTo>
                        <a:lnTo>
                          <a:pt x="636" y="840"/>
                        </a:lnTo>
                        <a:lnTo>
                          <a:pt x="642" y="852"/>
                        </a:lnTo>
                        <a:lnTo>
                          <a:pt x="642" y="858"/>
                        </a:lnTo>
                        <a:lnTo>
                          <a:pt x="654" y="858"/>
                        </a:lnTo>
                        <a:lnTo>
                          <a:pt x="666" y="870"/>
                        </a:lnTo>
                        <a:lnTo>
                          <a:pt x="666" y="876"/>
                        </a:lnTo>
                        <a:lnTo>
                          <a:pt x="684" y="864"/>
                        </a:lnTo>
                        <a:lnTo>
                          <a:pt x="696" y="870"/>
                        </a:lnTo>
                        <a:lnTo>
                          <a:pt x="732" y="870"/>
                        </a:lnTo>
                        <a:lnTo>
                          <a:pt x="744" y="858"/>
                        </a:lnTo>
                        <a:lnTo>
                          <a:pt x="744" y="852"/>
                        </a:lnTo>
                        <a:lnTo>
                          <a:pt x="738" y="846"/>
                        </a:lnTo>
                        <a:lnTo>
                          <a:pt x="738" y="840"/>
                        </a:lnTo>
                        <a:lnTo>
                          <a:pt x="744" y="834"/>
                        </a:lnTo>
                        <a:lnTo>
                          <a:pt x="762" y="834"/>
                        </a:lnTo>
                        <a:lnTo>
                          <a:pt x="768" y="840"/>
                        </a:lnTo>
                        <a:lnTo>
                          <a:pt x="768" y="858"/>
                        </a:lnTo>
                        <a:lnTo>
                          <a:pt x="774" y="864"/>
                        </a:lnTo>
                        <a:lnTo>
                          <a:pt x="774" y="870"/>
                        </a:lnTo>
                        <a:lnTo>
                          <a:pt x="780" y="870"/>
                        </a:lnTo>
                        <a:lnTo>
                          <a:pt x="786" y="864"/>
                        </a:lnTo>
                        <a:lnTo>
                          <a:pt x="786" y="852"/>
                        </a:lnTo>
                        <a:lnTo>
                          <a:pt x="780" y="840"/>
                        </a:lnTo>
                        <a:lnTo>
                          <a:pt x="780" y="816"/>
                        </a:lnTo>
                        <a:lnTo>
                          <a:pt x="804" y="816"/>
                        </a:lnTo>
                        <a:lnTo>
                          <a:pt x="804" y="798"/>
                        </a:lnTo>
                        <a:lnTo>
                          <a:pt x="810" y="792"/>
                        </a:lnTo>
                        <a:lnTo>
                          <a:pt x="810" y="786"/>
                        </a:lnTo>
                        <a:lnTo>
                          <a:pt x="816" y="780"/>
                        </a:lnTo>
                        <a:lnTo>
                          <a:pt x="828" y="792"/>
                        </a:lnTo>
                        <a:lnTo>
                          <a:pt x="828" y="840"/>
                        </a:lnTo>
                        <a:lnTo>
                          <a:pt x="852" y="840"/>
                        </a:lnTo>
                        <a:lnTo>
                          <a:pt x="858" y="828"/>
                        </a:lnTo>
                        <a:lnTo>
                          <a:pt x="858" y="792"/>
                        </a:lnTo>
                        <a:lnTo>
                          <a:pt x="876" y="780"/>
                        </a:lnTo>
                        <a:close/>
                        <a:moveTo>
                          <a:pt x="498" y="912"/>
                        </a:moveTo>
                        <a:lnTo>
                          <a:pt x="486" y="906"/>
                        </a:lnTo>
                        <a:lnTo>
                          <a:pt x="480" y="900"/>
                        </a:lnTo>
                        <a:lnTo>
                          <a:pt x="468" y="894"/>
                        </a:lnTo>
                        <a:lnTo>
                          <a:pt x="444" y="894"/>
                        </a:lnTo>
                        <a:lnTo>
                          <a:pt x="438" y="900"/>
                        </a:lnTo>
                        <a:lnTo>
                          <a:pt x="438" y="924"/>
                        </a:lnTo>
                        <a:lnTo>
                          <a:pt x="432" y="924"/>
                        </a:lnTo>
                        <a:lnTo>
                          <a:pt x="426" y="918"/>
                        </a:lnTo>
                        <a:lnTo>
                          <a:pt x="396" y="918"/>
                        </a:lnTo>
                        <a:lnTo>
                          <a:pt x="390" y="924"/>
                        </a:lnTo>
                        <a:lnTo>
                          <a:pt x="390" y="942"/>
                        </a:lnTo>
                        <a:lnTo>
                          <a:pt x="396" y="948"/>
                        </a:lnTo>
                        <a:lnTo>
                          <a:pt x="396" y="954"/>
                        </a:lnTo>
                        <a:lnTo>
                          <a:pt x="378" y="972"/>
                        </a:lnTo>
                        <a:lnTo>
                          <a:pt x="390" y="978"/>
                        </a:lnTo>
                        <a:lnTo>
                          <a:pt x="396" y="990"/>
                        </a:lnTo>
                        <a:lnTo>
                          <a:pt x="408" y="1002"/>
                        </a:lnTo>
                        <a:lnTo>
                          <a:pt x="432" y="1014"/>
                        </a:lnTo>
                        <a:lnTo>
                          <a:pt x="438" y="1020"/>
                        </a:lnTo>
                        <a:lnTo>
                          <a:pt x="450" y="1026"/>
                        </a:lnTo>
                        <a:lnTo>
                          <a:pt x="450" y="984"/>
                        </a:lnTo>
                        <a:lnTo>
                          <a:pt x="456" y="972"/>
                        </a:lnTo>
                        <a:lnTo>
                          <a:pt x="462" y="966"/>
                        </a:lnTo>
                        <a:lnTo>
                          <a:pt x="474" y="960"/>
                        </a:lnTo>
                        <a:lnTo>
                          <a:pt x="486" y="960"/>
                        </a:lnTo>
                        <a:lnTo>
                          <a:pt x="492" y="966"/>
                        </a:lnTo>
                        <a:lnTo>
                          <a:pt x="504" y="972"/>
                        </a:lnTo>
                        <a:lnTo>
                          <a:pt x="510" y="984"/>
                        </a:lnTo>
                        <a:lnTo>
                          <a:pt x="516" y="990"/>
                        </a:lnTo>
                        <a:lnTo>
                          <a:pt x="516" y="978"/>
                        </a:lnTo>
                        <a:lnTo>
                          <a:pt x="522" y="966"/>
                        </a:lnTo>
                        <a:lnTo>
                          <a:pt x="522" y="954"/>
                        </a:lnTo>
                        <a:lnTo>
                          <a:pt x="528" y="942"/>
                        </a:lnTo>
                        <a:lnTo>
                          <a:pt x="528" y="930"/>
                        </a:lnTo>
                        <a:lnTo>
                          <a:pt x="522" y="918"/>
                        </a:lnTo>
                        <a:lnTo>
                          <a:pt x="516" y="912"/>
                        </a:lnTo>
                        <a:lnTo>
                          <a:pt x="516" y="906"/>
                        </a:lnTo>
                        <a:lnTo>
                          <a:pt x="498" y="912"/>
                        </a:lnTo>
                        <a:close/>
                        <a:moveTo>
                          <a:pt x="354" y="1050"/>
                        </a:moveTo>
                        <a:lnTo>
                          <a:pt x="354" y="1038"/>
                        </a:lnTo>
                        <a:lnTo>
                          <a:pt x="372" y="1020"/>
                        </a:lnTo>
                        <a:lnTo>
                          <a:pt x="372" y="1008"/>
                        </a:lnTo>
                        <a:lnTo>
                          <a:pt x="360" y="1002"/>
                        </a:lnTo>
                        <a:lnTo>
                          <a:pt x="354" y="990"/>
                        </a:lnTo>
                        <a:lnTo>
                          <a:pt x="348" y="984"/>
                        </a:lnTo>
                        <a:lnTo>
                          <a:pt x="336" y="978"/>
                        </a:lnTo>
                        <a:lnTo>
                          <a:pt x="336" y="966"/>
                        </a:lnTo>
                        <a:lnTo>
                          <a:pt x="330" y="960"/>
                        </a:lnTo>
                        <a:lnTo>
                          <a:pt x="324" y="960"/>
                        </a:lnTo>
                        <a:lnTo>
                          <a:pt x="318" y="954"/>
                        </a:lnTo>
                        <a:lnTo>
                          <a:pt x="300" y="954"/>
                        </a:lnTo>
                        <a:lnTo>
                          <a:pt x="294" y="948"/>
                        </a:lnTo>
                        <a:lnTo>
                          <a:pt x="270" y="936"/>
                        </a:lnTo>
                        <a:lnTo>
                          <a:pt x="258" y="936"/>
                        </a:lnTo>
                        <a:lnTo>
                          <a:pt x="240" y="954"/>
                        </a:lnTo>
                        <a:lnTo>
                          <a:pt x="204" y="972"/>
                        </a:lnTo>
                        <a:lnTo>
                          <a:pt x="234" y="1026"/>
                        </a:lnTo>
                        <a:lnTo>
                          <a:pt x="252" y="1014"/>
                        </a:lnTo>
                        <a:lnTo>
                          <a:pt x="252" y="1008"/>
                        </a:lnTo>
                        <a:lnTo>
                          <a:pt x="246" y="1002"/>
                        </a:lnTo>
                        <a:lnTo>
                          <a:pt x="246" y="990"/>
                        </a:lnTo>
                        <a:lnTo>
                          <a:pt x="252" y="990"/>
                        </a:lnTo>
                        <a:lnTo>
                          <a:pt x="264" y="1002"/>
                        </a:lnTo>
                        <a:lnTo>
                          <a:pt x="270" y="1014"/>
                        </a:lnTo>
                        <a:lnTo>
                          <a:pt x="276" y="1020"/>
                        </a:lnTo>
                        <a:lnTo>
                          <a:pt x="282" y="1032"/>
                        </a:lnTo>
                        <a:lnTo>
                          <a:pt x="282" y="1068"/>
                        </a:lnTo>
                        <a:lnTo>
                          <a:pt x="264" y="1074"/>
                        </a:lnTo>
                        <a:lnTo>
                          <a:pt x="264" y="1080"/>
                        </a:lnTo>
                        <a:lnTo>
                          <a:pt x="270" y="1086"/>
                        </a:lnTo>
                        <a:lnTo>
                          <a:pt x="270" y="1104"/>
                        </a:lnTo>
                        <a:lnTo>
                          <a:pt x="276" y="1116"/>
                        </a:lnTo>
                        <a:lnTo>
                          <a:pt x="282" y="1134"/>
                        </a:lnTo>
                        <a:lnTo>
                          <a:pt x="294" y="1146"/>
                        </a:lnTo>
                        <a:lnTo>
                          <a:pt x="300" y="1146"/>
                        </a:lnTo>
                        <a:lnTo>
                          <a:pt x="306" y="1140"/>
                        </a:lnTo>
                        <a:lnTo>
                          <a:pt x="306" y="1104"/>
                        </a:lnTo>
                        <a:lnTo>
                          <a:pt x="336" y="1116"/>
                        </a:lnTo>
                        <a:lnTo>
                          <a:pt x="336" y="1140"/>
                        </a:lnTo>
                        <a:lnTo>
                          <a:pt x="342" y="1146"/>
                        </a:lnTo>
                        <a:lnTo>
                          <a:pt x="342" y="1152"/>
                        </a:lnTo>
                        <a:lnTo>
                          <a:pt x="348" y="1152"/>
                        </a:lnTo>
                        <a:lnTo>
                          <a:pt x="348" y="1140"/>
                        </a:lnTo>
                        <a:lnTo>
                          <a:pt x="360" y="1128"/>
                        </a:lnTo>
                        <a:lnTo>
                          <a:pt x="366" y="1116"/>
                        </a:lnTo>
                        <a:lnTo>
                          <a:pt x="366" y="1110"/>
                        </a:lnTo>
                        <a:lnTo>
                          <a:pt x="360" y="1104"/>
                        </a:lnTo>
                        <a:lnTo>
                          <a:pt x="360" y="1074"/>
                        </a:lnTo>
                        <a:lnTo>
                          <a:pt x="354" y="1062"/>
                        </a:lnTo>
                        <a:lnTo>
                          <a:pt x="354" y="1050"/>
                        </a:lnTo>
                        <a:close/>
                        <a:moveTo>
                          <a:pt x="264" y="1026"/>
                        </a:moveTo>
                        <a:lnTo>
                          <a:pt x="246" y="1062"/>
                        </a:lnTo>
                        <a:lnTo>
                          <a:pt x="264" y="1056"/>
                        </a:lnTo>
                        <a:lnTo>
                          <a:pt x="264" y="1026"/>
                        </a:lnTo>
                        <a:close/>
                        <a:moveTo>
                          <a:pt x="624" y="618"/>
                        </a:moveTo>
                        <a:lnTo>
                          <a:pt x="636" y="618"/>
                        </a:lnTo>
                        <a:lnTo>
                          <a:pt x="636" y="594"/>
                        </a:lnTo>
                        <a:lnTo>
                          <a:pt x="630" y="594"/>
                        </a:lnTo>
                        <a:lnTo>
                          <a:pt x="612" y="570"/>
                        </a:lnTo>
                        <a:lnTo>
                          <a:pt x="606" y="582"/>
                        </a:lnTo>
                        <a:lnTo>
                          <a:pt x="618" y="600"/>
                        </a:lnTo>
                        <a:lnTo>
                          <a:pt x="624" y="618"/>
                        </a:lnTo>
                        <a:close/>
                        <a:moveTo>
                          <a:pt x="546" y="72"/>
                        </a:moveTo>
                        <a:lnTo>
                          <a:pt x="552" y="96"/>
                        </a:lnTo>
                        <a:lnTo>
                          <a:pt x="558" y="102"/>
                        </a:lnTo>
                        <a:lnTo>
                          <a:pt x="570" y="108"/>
                        </a:lnTo>
                        <a:lnTo>
                          <a:pt x="576" y="114"/>
                        </a:lnTo>
                        <a:lnTo>
                          <a:pt x="576" y="132"/>
                        </a:lnTo>
                        <a:lnTo>
                          <a:pt x="564" y="144"/>
                        </a:lnTo>
                        <a:lnTo>
                          <a:pt x="564" y="150"/>
                        </a:lnTo>
                        <a:lnTo>
                          <a:pt x="570" y="156"/>
                        </a:lnTo>
                        <a:lnTo>
                          <a:pt x="576" y="168"/>
                        </a:lnTo>
                        <a:lnTo>
                          <a:pt x="582" y="174"/>
                        </a:lnTo>
                        <a:lnTo>
                          <a:pt x="582" y="186"/>
                        </a:lnTo>
                        <a:lnTo>
                          <a:pt x="576" y="186"/>
                        </a:lnTo>
                        <a:lnTo>
                          <a:pt x="564" y="180"/>
                        </a:lnTo>
                        <a:lnTo>
                          <a:pt x="552" y="180"/>
                        </a:lnTo>
                        <a:lnTo>
                          <a:pt x="540" y="174"/>
                        </a:lnTo>
                        <a:lnTo>
                          <a:pt x="528" y="174"/>
                        </a:lnTo>
                        <a:lnTo>
                          <a:pt x="522" y="168"/>
                        </a:lnTo>
                        <a:lnTo>
                          <a:pt x="522" y="180"/>
                        </a:lnTo>
                        <a:lnTo>
                          <a:pt x="540" y="198"/>
                        </a:lnTo>
                        <a:lnTo>
                          <a:pt x="516" y="228"/>
                        </a:lnTo>
                        <a:lnTo>
                          <a:pt x="522" y="240"/>
                        </a:lnTo>
                        <a:lnTo>
                          <a:pt x="528" y="246"/>
                        </a:lnTo>
                        <a:lnTo>
                          <a:pt x="528" y="252"/>
                        </a:lnTo>
                        <a:lnTo>
                          <a:pt x="534" y="258"/>
                        </a:lnTo>
                        <a:lnTo>
                          <a:pt x="546" y="264"/>
                        </a:lnTo>
                        <a:lnTo>
                          <a:pt x="552" y="270"/>
                        </a:lnTo>
                        <a:lnTo>
                          <a:pt x="564" y="276"/>
                        </a:lnTo>
                        <a:lnTo>
                          <a:pt x="570" y="282"/>
                        </a:lnTo>
                        <a:lnTo>
                          <a:pt x="576" y="282"/>
                        </a:lnTo>
                        <a:lnTo>
                          <a:pt x="576" y="318"/>
                        </a:lnTo>
                        <a:lnTo>
                          <a:pt x="582" y="330"/>
                        </a:lnTo>
                        <a:lnTo>
                          <a:pt x="600" y="330"/>
                        </a:lnTo>
                        <a:lnTo>
                          <a:pt x="600" y="300"/>
                        </a:lnTo>
                        <a:lnTo>
                          <a:pt x="636" y="300"/>
                        </a:lnTo>
                        <a:lnTo>
                          <a:pt x="642" y="294"/>
                        </a:lnTo>
                        <a:lnTo>
                          <a:pt x="606" y="270"/>
                        </a:lnTo>
                        <a:lnTo>
                          <a:pt x="588" y="270"/>
                        </a:lnTo>
                        <a:lnTo>
                          <a:pt x="576" y="264"/>
                        </a:lnTo>
                        <a:lnTo>
                          <a:pt x="570" y="264"/>
                        </a:lnTo>
                        <a:lnTo>
                          <a:pt x="558" y="258"/>
                        </a:lnTo>
                        <a:lnTo>
                          <a:pt x="558" y="246"/>
                        </a:lnTo>
                        <a:lnTo>
                          <a:pt x="564" y="240"/>
                        </a:lnTo>
                        <a:lnTo>
                          <a:pt x="576" y="234"/>
                        </a:lnTo>
                        <a:lnTo>
                          <a:pt x="600" y="246"/>
                        </a:lnTo>
                        <a:lnTo>
                          <a:pt x="606" y="252"/>
                        </a:lnTo>
                        <a:lnTo>
                          <a:pt x="618" y="240"/>
                        </a:lnTo>
                        <a:lnTo>
                          <a:pt x="630" y="234"/>
                        </a:lnTo>
                        <a:lnTo>
                          <a:pt x="636" y="234"/>
                        </a:lnTo>
                        <a:lnTo>
                          <a:pt x="690" y="252"/>
                        </a:lnTo>
                        <a:lnTo>
                          <a:pt x="726" y="270"/>
                        </a:lnTo>
                        <a:lnTo>
                          <a:pt x="756" y="282"/>
                        </a:lnTo>
                        <a:lnTo>
                          <a:pt x="768" y="282"/>
                        </a:lnTo>
                        <a:lnTo>
                          <a:pt x="768" y="270"/>
                        </a:lnTo>
                        <a:lnTo>
                          <a:pt x="762" y="258"/>
                        </a:lnTo>
                        <a:lnTo>
                          <a:pt x="762" y="222"/>
                        </a:lnTo>
                        <a:lnTo>
                          <a:pt x="780" y="204"/>
                        </a:lnTo>
                        <a:lnTo>
                          <a:pt x="792" y="204"/>
                        </a:lnTo>
                        <a:lnTo>
                          <a:pt x="798" y="210"/>
                        </a:lnTo>
                        <a:lnTo>
                          <a:pt x="816" y="210"/>
                        </a:lnTo>
                        <a:lnTo>
                          <a:pt x="840" y="198"/>
                        </a:lnTo>
                        <a:lnTo>
                          <a:pt x="858" y="180"/>
                        </a:lnTo>
                        <a:lnTo>
                          <a:pt x="804" y="144"/>
                        </a:lnTo>
                        <a:lnTo>
                          <a:pt x="804" y="120"/>
                        </a:lnTo>
                        <a:lnTo>
                          <a:pt x="798" y="108"/>
                        </a:lnTo>
                        <a:lnTo>
                          <a:pt x="792" y="102"/>
                        </a:lnTo>
                        <a:lnTo>
                          <a:pt x="786" y="102"/>
                        </a:lnTo>
                        <a:lnTo>
                          <a:pt x="774" y="114"/>
                        </a:lnTo>
                        <a:lnTo>
                          <a:pt x="774" y="126"/>
                        </a:lnTo>
                        <a:lnTo>
                          <a:pt x="756" y="120"/>
                        </a:lnTo>
                        <a:lnTo>
                          <a:pt x="720" y="114"/>
                        </a:lnTo>
                        <a:lnTo>
                          <a:pt x="678" y="102"/>
                        </a:lnTo>
                        <a:lnTo>
                          <a:pt x="648" y="90"/>
                        </a:lnTo>
                        <a:lnTo>
                          <a:pt x="624" y="72"/>
                        </a:lnTo>
                        <a:lnTo>
                          <a:pt x="552" y="24"/>
                        </a:lnTo>
                        <a:lnTo>
                          <a:pt x="516" y="6"/>
                        </a:lnTo>
                        <a:lnTo>
                          <a:pt x="498" y="0"/>
                        </a:lnTo>
                        <a:lnTo>
                          <a:pt x="498" y="18"/>
                        </a:lnTo>
                        <a:lnTo>
                          <a:pt x="510" y="30"/>
                        </a:lnTo>
                        <a:lnTo>
                          <a:pt x="516" y="42"/>
                        </a:lnTo>
                        <a:lnTo>
                          <a:pt x="528" y="54"/>
                        </a:lnTo>
                        <a:lnTo>
                          <a:pt x="534" y="66"/>
                        </a:lnTo>
                        <a:lnTo>
                          <a:pt x="546" y="72"/>
                        </a:lnTo>
                        <a:close/>
                        <a:moveTo>
                          <a:pt x="282" y="1458"/>
                        </a:moveTo>
                        <a:lnTo>
                          <a:pt x="306" y="1458"/>
                        </a:lnTo>
                        <a:lnTo>
                          <a:pt x="276" y="1440"/>
                        </a:lnTo>
                        <a:lnTo>
                          <a:pt x="282" y="1458"/>
                        </a:lnTo>
                        <a:close/>
                        <a:moveTo>
                          <a:pt x="300" y="1386"/>
                        </a:moveTo>
                        <a:lnTo>
                          <a:pt x="312" y="1398"/>
                        </a:lnTo>
                        <a:lnTo>
                          <a:pt x="318" y="1398"/>
                        </a:lnTo>
                        <a:lnTo>
                          <a:pt x="330" y="1386"/>
                        </a:lnTo>
                        <a:lnTo>
                          <a:pt x="336" y="1386"/>
                        </a:lnTo>
                        <a:lnTo>
                          <a:pt x="342" y="1380"/>
                        </a:lnTo>
                        <a:lnTo>
                          <a:pt x="342" y="1368"/>
                        </a:lnTo>
                        <a:lnTo>
                          <a:pt x="336" y="1362"/>
                        </a:lnTo>
                        <a:lnTo>
                          <a:pt x="318" y="1362"/>
                        </a:lnTo>
                        <a:lnTo>
                          <a:pt x="306" y="1368"/>
                        </a:lnTo>
                        <a:lnTo>
                          <a:pt x="300" y="1380"/>
                        </a:lnTo>
                        <a:lnTo>
                          <a:pt x="300" y="1386"/>
                        </a:lnTo>
                        <a:close/>
                        <a:moveTo>
                          <a:pt x="312" y="1416"/>
                        </a:moveTo>
                        <a:lnTo>
                          <a:pt x="300" y="1416"/>
                        </a:lnTo>
                        <a:lnTo>
                          <a:pt x="300" y="1428"/>
                        </a:lnTo>
                        <a:lnTo>
                          <a:pt x="318" y="1428"/>
                        </a:lnTo>
                        <a:lnTo>
                          <a:pt x="318" y="1422"/>
                        </a:lnTo>
                        <a:lnTo>
                          <a:pt x="312" y="1416"/>
                        </a:lnTo>
                        <a:close/>
                        <a:moveTo>
                          <a:pt x="336" y="1200"/>
                        </a:moveTo>
                        <a:lnTo>
                          <a:pt x="336" y="1206"/>
                        </a:lnTo>
                        <a:lnTo>
                          <a:pt x="330" y="1206"/>
                        </a:lnTo>
                        <a:lnTo>
                          <a:pt x="318" y="1212"/>
                        </a:lnTo>
                        <a:lnTo>
                          <a:pt x="342" y="1230"/>
                        </a:lnTo>
                        <a:lnTo>
                          <a:pt x="342" y="1218"/>
                        </a:lnTo>
                        <a:lnTo>
                          <a:pt x="336" y="1206"/>
                        </a:lnTo>
                        <a:lnTo>
                          <a:pt x="336" y="1200"/>
                        </a:lnTo>
                        <a:close/>
                        <a:moveTo>
                          <a:pt x="366" y="1170"/>
                        </a:moveTo>
                        <a:lnTo>
                          <a:pt x="366" y="1182"/>
                        </a:lnTo>
                        <a:lnTo>
                          <a:pt x="360" y="1194"/>
                        </a:lnTo>
                        <a:lnTo>
                          <a:pt x="378" y="1224"/>
                        </a:lnTo>
                        <a:lnTo>
                          <a:pt x="378" y="1200"/>
                        </a:lnTo>
                        <a:lnTo>
                          <a:pt x="372" y="1194"/>
                        </a:lnTo>
                        <a:lnTo>
                          <a:pt x="372" y="1176"/>
                        </a:lnTo>
                        <a:lnTo>
                          <a:pt x="366" y="1170"/>
                        </a:lnTo>
                        <a:close/>
                        <a:moveTo>
                          <a:pt x="36" y="1698"/>
                        </a:moveTo>
                        <a:lnTo>
                          <a:pt x="54" y="1698"/>
                        </a:lnTo>
                        <a:lnTo>
                          <a:pt x="60" y="1692"/>
                        </a:lnTo>
                        <a:lnTo>
                          <a:pt x="72" y="1692"/>
                        </a:lnTo>
                        <a:lnTo>
                          <a:pt x="42" y="1680"/>
                        </a:lnTo>
                        <a:lnTo>
                          <a:pt x="36" y="1686"/>
                        </a:lnTo>
                        <a:lnTo>
                          <a:pt x="36" y="1698"/>
                        </a:lnTo>
                        <a:close/>
                        <a:moveTo>
                          <a:pt x="114" y="1662"/>
                        </a:moveTo>
                        <a:lnTo>
                          <a:pt x="96" y="1632"/>
                        </a:lnTo>
                        <a:lnTo>
                          <a:pt x="96" y="1662"/>
                        </a:lnTo>
                        <a:lnTo>
                          <a:pt x="102" y="1674"/>
                        </a:lnTo>
                        <a:lnTo>
                          <a:pt x="114" y="1680"/>
                        </a:lnTo>
                        <a:lnTo>
                          <a:pt x="120" y="1680"/>
                        </a:lnTo>
                        <a:lnTo>
                          <a:pt x="126" y="1674"/>
                        </a:lnTo>
                        <a:lnTo>
                          <a:pt x="126" y="1662"/>
                        </a:lnTo>
                        <a:lnTo>
                          <a:pt x="114" y="1662"/>
                        </a:lnTo>
                        <a:close/>
                        <a:moveTo>
                          <a:pt x="12" y="1686"/>
                        </a:moveTo>
                        <a:lnTo>
                          <a:pt x="6" y="1686"/>
                        </a:lnTo>
                        <a:lnTo>
                          <a:pt x="0" y="1692"/>
                        </a:lnTo>
                        <a:lnTo>
                          <a:pt x="0" y="1704"/>
                        </a:lnTo>
                        <a:lnTo>
                          <a:pt x="6" y="1710"/>
                        </a:lnTo>
                        <a:lnTo>
                          <a:pt x="12" y="1710"/>
                        </a:lnTo>
                        <a:lnTo>
                          <a:pt x="24" y="1698"/>
                        </a:lnTo>
                        <a:lnTo>
                          <a:pt x="24" y="1686"/>
                        </a:lnTo>
                        <a:lnTo>
                          <a:pt x="12" y="1686"/>
                        </a:lnTo>
                        <a:close/>
                        <a:moveTo>
                          <a:pt x="168" y="1536"/>
                        </a:moveTo>
                        <a:lnTo>
                          <a:pt x="168" y="1542"/>
                        </a:lnTo>
                        <a:lnTo>
                          <a:pt x="180" y="1548"/>
                        </a:lnTo>
                        <a:lnTo>
                          <a:pt x="186" y="1548"/>
                        </a:lnTo>
                        <a:lnTo>
                          <a:pt x="186" y="1536"/>
                        </a:lnTo>
                        <a:lnTo>
                          <a:pt x="180" y="1530"/>
                        </a:lnTo>
                        <a:lnTo>
                          <a:pt x="168" y="1530"/>
                        </a:lnTo>
                        <a:lnTo>
                          <a:pt x="168" y="1536"/>
                        </a:lnTo>
                        <a:close/>
                        <a:moveTo>
                          <a:pt x="264" y="1494"/>
                        </a:moveTo>
                        <a:lnTo>
                          <a:pt x="252" y="1518"/>
                        </a:lnTo>
                        <a:lnTo>
                          <a:pt x="246" y="1536"/>
                        </a:lnTo>
                        <a:lnTo>
                          <a:pt x="246" y="1548"/>
                        </a:lnTo>
                        <a:lnTo>
                          <a:pt x="240" y="1554"/>
                        </a:lnTo>
                        <a:lnTo>
                          <a:pt x="240" y="1560"/>
                        </a:lnTo>
                        <a:lnTo>
                          <a:pt x="258" y="1566"/>
                        </a:lnTo>
                        <a:lnTo>
                          <a:pt x="264" y="1554"/>
                        </a:lnTo>
                        <a:lnTo>
                          <a:pt x="264" y="1548"/>
                        </a:lnTo>
                        <a:lnTo>
                          <a:pt x="270" y="1542"/>
                        </a:lnTo>
                        <a:lnTo>
                          <a:pt x="270" y="1524"/>
                        </a:lnTo>
                        <a:lnTo>
                          <a:pt x="288" y="1506"/>
                        </a:lnTo>
                        <a:lnTo>
                          <a:pt x="282" y="1500"/>
                        </a:lnTo>
                        <a:lnTo>
                          <a:pt x="282" y="1494"/>
                        </a:lnTo>
                        <a:lnTo>
                          <a:pt x="276" y="1488"/>
                        </a:lnTo>
                        <a:lnTo>
                          <a:pt x="264" y="149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16" name="Italy"/>
                  <p:cNvSpPr>
                    <a:spLocks noEditPoints="1"/>
                  </p:cNvSpPr>
                  <p:nvPr/>
                </p:nvSpPr>
                <p:spPr bwMode="gray">
                  <a:xfrm>
                    <a:off x="2778" y="1341"/>
                    <a:ext cx="199" cy="212"/>
                  </a:xfrm>
                  <a:custGeom>
                    <a:avLst/>
                    <a:gdLst>
                      <a:gd name="T0" fmla="*/ 2147483647 w 780"/>
                      <a:gd name="T1" fmla="*/ 2147483647 h 828"/>
                      <a:gd name="T2" fmla="*/ 2147483647 w 780"/>
                      <a:gd name="T3" fmla="*/ 2147483647 h 828"/>
                      <a:gd name="T4" fmla="*/ 2147483647 w 780"/>
                      <a:gd name="T5" fmla="*/ 2147483647 h 828"/>
                      <a:gd name="T6" fmla="*/ 2147483647 w 780"/>
                      <a:gd name="T7" fmla="*/ 2147483647 h 828"/>
                      <a:gd name="T8" fmla="*/ 2147483647 w 780"/>
                      <a:gd name="T9" fmla="*/ 2147483647 h 828"/>
                      <a:gd name="T10" fmla="*/ 2147483647 w 780"/>
                      <a:gd name="T11" fmla="*/ 2147483647 h 828"/>
                      <a:gd name="T12" fmla="*/ 2147483647 w 780"/>
                      <a:gd name="T13" fmla="*/ 2147483647 h 828"/>
                      <a:gd name="T14" fmla="*/ 2147483647 w 780"/>
                      <a:gd name="T15" fmla="*/ 2147483647 h 828"/>
                      <a:gd name="T16" fmla="*/ 2147483647 w 780"/>
                      <a:gd name="T17" fmla="*/ 2147483647 h 828"/>
                      <a:gd name="T18" fmla="*/ 2147483647 w 780"/>
                      <a:gd name="T19" fmla="*/ 2147483647 h 828"/>
                      <a:gd name="T20" fmla="*/ 2147483647 w 780"/>
                      <a:gd name="T21" fmla="*/ 2147483647 h 828"/>
                      <a:gd name="T22" fmla="*/ 2147483647 w 780"/>
                      <a:gd name="T23" fmla="*/ 2147483647 h 828"/>
                      <a:gd name="T24" fmla="*/ 2147483647 w 780"/>
                      <a:gd name="T25" fmla="*/ 2147483647 h 828"/>
                      <a:gd name="T26" fmla="*/ 2147483647 w 780"/>
                      <a:gd name="T27" fmla="*/ 2147483647 h 828"/>
                      <a:gd name="T28" fmla="*/ 2147483647 w 780"/>
                      <a:gd name="T29" fmla="*/ 2147483647 h 828"/>
                      <a:gd name="T30" fmla="*/ 2147483647 w 780"/>
                      <a:gd name="T31" fmla="*/ 2147483647 h 828"/>
                      <a:gd name="T32" fmla="*/ 2147483647 w 780"/>
                      <a:gd name="T33" fmla="*/ 2147483647 h 828"/>
                      <a:gd name="T34" fmla="*/ 2147483647 w 780"/>
                      <a:gd name="T35" fmla="*/ 2147483647 h 828"/>
                      <a:gd name="T36" fmla="*/ 2147483647 w 780"/>
                      <a:gd name="T37" fmla="*/ 2147483647 h 828"/>
                      <a:gd name="T38" fmla="*/ 2147483647 w 780"/>
                      <a:gd name="T39" fmla="*/ 2147483647 h 828"/>
                      <a:gd name="T40" fmla="*/ 2147483647 w 780"/>
                      <a:gd name="T41" fmla="*/ 2147483647 h 828"/>
                      <a:gd name="T42" fmla="*/ 2147483647 w 780"/>
                      <a:gd name="T43" fmla="*/ 2147483647 h 828"/>
                      <a:gd name="T44" fmla="*/ 2147483647 w 780"/>
                      <a:gd name="T45" fmla="*/ 2147483647 h 828"/>
                      <a:gd name="T46" fmla="*/ 2147483647 w 780"/>
                      <a:gd name="T47" fmla="*/ 2147483647 h 828"/>
                      <a:gd name="T48" fmla="*/ 2147483647 w 780"/>
                      <a:gd name="T49" fmla="*/ 2147483647 h 828"/>
                      <a:gd name="T50" fmla="*/ 2147483647 w 780"/>
                      <a:gd name="T51" fmla="*/ 2147483647 h 828"/>
                      <a:gd name="T52" fmla="*/ 2147483647 w 780"/>
                      <a:gd name="T53" fmla="*/ 2147483647 h 828"/>
                      <a:gd name="T54" fmla="*/ 2147483647 w 780"/>
                      <a:gd name="T55" fmla="*/ 2147483647 h 828"/>
                      <a:gd name="T56" fmla="*/ 2147483647 w 780"/>
                      <a:gd name="T57" fmla="*/ 2147483647 h 828"/>
                      <a:gd name="T58" fmla="*/ 2147483647 w 780"/>
                      <a:gd name="T59" fmla="*/ 2147483647 h 828"/>
                      <a:gd name="T60" fmla="*/ 2147483647 w 780"/>
                      <a:gd name="T61" fmla="*/ 2147483647 h 828"/>
                      <a:gd name="T62" fmla="*/ 2147483647 w 780"/>
                      <a:gd name="T63" fmla="*/ 2147483647 h 828"/>
                      <a:gd name="T64" fmla="*/ 2147483647 w 780"/>
                      <a:gd name="T65" fmla="*/ 2147483647 h 828"/>
                      <a:gd name="T66" fmla="*/ 2147483647 w 780"/>
                      <a:gd name="T67" fmla="*/ 2147483647 h 828"/>
                      <a:gd name="T68" fmla="*/ 2147483647 w 780"/>
                      <a:gd name="T69" fmla="*/ 2147483647 h 828"/>
                      <a:gd name="T70" fmla="*/ 2147483647 w 780"/>
                      <a:gd name="T71" fmla="*/ 2147483647 h 828"/>
                      <a:gd name="T72" fmla="*/ 2147483647 w 780"/>
                      <a:gd name="T73" fmla="*/ 2147483647 h 828"/>
                      <a:gd name="T74" fmla="*/ 2147483647 w 780"/>
                      <a:gd name="T75" fmla="*/ 2147483647 h 828"/>
                      <a:gd name="T76" fmla="*/ 2147483647 w 780"/>
                      <a:gd name="T77" fmla="*/ 2147483647 h 828"/>
                      <a:gd name="T78" fmla="*/ 2147483647 w 780"/>
                      <a:gd name="T79" fmla="*/ 2147483647 h 828"/>
                      <a:gd name="T80" fmla="*/ 2147483647 w 780"/>
                      <a:gd name="T81" fmla="*/ 2147483647 h 828"/>
                      <a:gd name="T82" fmla="*/ 2147483647 w 780"/>
                      <a:gd name="T83" fmla="*/ 2147483647 h 828"/>
                      <a:gd name="T84" fmla="*/ 2147483647 w 780"/>
                      <a:gd name="T85" fmla="*/ 2147483647 h 828"/>
                      <a:gd name="T86" fmla="*/ 2147483647 w 780"/>
                      <a:gd name="T87" fmla="*/ 2147483647 h 828"/>
                      <a:gd name="T88" fmla="*/ 2147483647 w 780"/>
                      <a:gd name="T89" fmla="*/ 2147483647 h 828"/>
                      <a:gd name="T90" fmla="*/ 2147483647 w 780"/>
                      <a:gd name="T91" fmla="*/ 2147483647 h 828"/>
                      <a:gd name="T92" fmla="*/ 2147483647 w 780"/>
                      <a:gd name="T93" fmla="*/ 2147483647 h 828"/>
                      <a:gd name="T94" fmla="*/ 2147483647 w 780"/>
                      <a:gd name="T95" fmla="*/ 2147483647 h 828"/>
                      <a:gd name="T96" fmla="*/ 2147483647 w 780"/>
                      <a:gd name="T97" fmla="*/ 2147483647 h 828"/>
                      <a:gd name="T98" fmla="*/ 2147483647 w 780"/>
                      <a:gd name="T99" fmla="*/ 2147483647 h 828"/>
                      <a:gd name="T100" fmla="*/ 2147483647 w 780"/>
                      <a:gd name="T101" fmla="*/ 2147483647 h 828"/>
                      <a:gd name="T102" fmla="*/ 2147483647 w 780"/>
                      <a:gd name="T103" fmla="*/ 2147483647 h 828"/>
                      <a:gd name="T104" fmla="*/ 2147483647 w 780"/>
                      <a:gd name="T105" fmla="*/ 2147483647 h 828"/>
                      <a:gd name="T106" fmla="*/ 2147483647 w 780"/>
                      <a:gd name="T107" fmla="*/ 2147483647 h 828"/>
                      <a:gd name="T108" fmla="*/ 2147483647 w 780"/>
                      <a:gd name="T109" fmla="*/ 2147483647 h 828"/>
                      <a:gd name="T110" fmla="*/ 2147483647 w 780"/>
                      <a:gd name="T111" fmla="*/ 2147483647 h 828"/>
                      <a:gd name="T112" fmla="*/ 2147483647 w 780"/>
                      <a:gd name="T113" fmla="*/ 2147483647 h 82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80"/>
                      <a:gd name="T172" fmla="*/ 0 h 828"/>
                      <a:gd name="T173" fmla="*/ 780 w 780"/>
                      <a:gd name="T174" fmla="*/ 828 h 828"/>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80" h="828">
                        <a:moveTo>
                          <a:pt x="570" y="720"/>
                        </a:moveTo>
                        <a:lnTo>
                          <a:pt x="558" y="714"/>
                        </a:lnTo>
                        <a:lnTo>
                          <a:pt x="552" y="708"/>
                        </a:lnTo>
                        <a:lnTo>
                          <a:pt x="540" y="708"/>
                        </a:lnTo>
                        <a:lnTo>
                          <a:pt x="534" y="714"/>
                        </a:lnTo>
                        <a:lnTo>
                          <a:pt x="522" y="720"/>
                        </a:lnTo>
                        <a:lnTo>
                          <a:pt x="516" y="726"/>
                        </a:lnTo>
                        <a:lnTo>
                          <a:pt x="468" y="726"/>
                        </a:lnTo>
                        <a:lnTo>
                          <a:pt x="456" y="720"/>
                        </a:lnTo>
                        <a:lnTo>
                          <a:pt x="444" y="708"/>
                        </a:lnTo>
                        <a:lnTo>
                          <a:pt x="438" y="708"/>
                        </a:lnTo>
                        <a:lnTo>
                          <a:pt x="420" y="726"/>
                        </a:lnTo>
                        <a:lnTo>
                          <a:pt x="402" y="714"/>
                        </a:lnTo>
                        <a:lnTo>
                          <a:pt x="396" y="714"/>
                        </a:lnTo>
                        <a:lnTo>
                          <a:pt x="384" y="726"/>
                        </a:lnTo>
                        <a:lnTo>
                          <a:pt x="384" y="738"/>
                        </a:lnTo>
                        <a:lnTo>
                          <a:pt x="396" y="750"/>
                        </a:lnTo>
                        <a:lnTo>
                          <a:pt x="420" y="762"/>
                        </a:lnTo>
                        <a:lnTo>
                          <a:pt x="426" y="762"/>
                        </a:lnTo>
                        <a:lnTo>
                          <a:pt x="444" y="780"/>
                        </a:lnTo>
                        <a:lnTo>
                          <a:pt x="444" y="786"/>
                        </a:lnTo>
                        <a:lnTo>
                          <a:pt x="456" y="786"/>
                        </a:lnTo>
                        <a:lnTo>
                          <a:pt x="468" y="798"/>
                        </a:lnTo>
                        <a:lnTo>
                          <a:pt x="480" y="804"/>
                        </a:lnTo>
                        <a:lnTo>
                          <a:pt x="498" y="798"/>
                        </a:lnTo>
                        <a:lnTo>
                          <a:pt x="504" y="804"/>
                        </a:lnTo>
                        <a:lnTo>
                          <a:pt x="516" y="810"/>
                        </a:lnTo>
                        <a:lnTo>
                          <a:pt x="522" y="822"/>
                        </a:lnTo>
                        <a:lnTo>
                          <a:pt x="534" y="828"/>
                        </a:lnTo>
                        <a:lnTo>
                          <a:pt x="558" y="828"/>
                        </a:lnTo>
                        <a:lnTo>
                          <a:pt x="570" y="816"/>
                        </a:lnTo>
                        <a:lnTo>
                          <a:pt x="570" y="792"/>
                        </a:lnTo>
                        <a:lnTo>
                          <a:pt x="564" y="780"/>
                        </a:lnTo>
                        <a:lnTo>
                          <a:pt x="564" y="768"/>
                        </a:lnTo>
                        <a:lnTo>
                          <a:pt x="570" y="750"/>
                        </a:lnTo>
                        <a:lnTo>
                          <a:pt x="576" y="738"/>
                        </a:lnTo>
                        <a:lnTo>
                          <a:pt x="582" y="732"/>
                        </a:lnTo>
                        <a:lnTo>
                          <a:pt x="582" y="714"/>
                        </a:lnTo>
                        <a:lnTo>
                          <a:pt x="576" y="702"/>
                        </a:lnTo>
                        <a:lnTo>
                          <a:pt x="570" y="720"/>
                        </a:lnTo>
                        <a:close/>
                        <a:moveTo>
                          <a:pt x="180" y="468"/>
                        </a:moveTo>
                        <a:lnTo>
                          <a:pt x="156" y="480"/>
                        </a:lnTo>
                        <a:lnTo>
                          <a:pt x="150" y="486"/>
                        </a:lnTo>
                        <a:lnTo>
                          <a:pt x="138" y="492"/>
                        </a:lnTo>
                        <a:lnTo>
                          <a:pt x="132" y="498"/>
                        </a:lnTo>
                        <a:lnTo>
                          <a:pt x="126" y="498"/>
                        </a:lnTo>
                        <a:lnTo>
                          <a:pt x="114" y="492"/>
                        </a:lnTo>
                        <a:lnTo>
                          <a:pt x="102" y="480"/>
                        </a:lnTo>
                        <a:lnTo>
                          <a:pt x="96" y="498"/>
                        </a:lnTo>
                        <a:lnTo>
                          <a:pt x="102" y="504"/>
                        </a:lnTo>
                        <a:lnTo>
                          <a:pt x="114" y="510"/>
                        </a:lnTo>
                        <a:lnTo>
                          <a:pt x="120" y="522"/>
                        </a:lnTo>
                        <a:lnTo>
                          <a:pt x="120" y="540"/>
                        </a:lnTo>
                        <a:lnTo>
                          <a:pt x="114" y="558"/>
                        </a:lnTo>
                        <a:lnTo>
                          <a:pt x="114" y="570"/>
                        </a:lnTo>
                        <a:lnTo>
                          <a:pt x="126" y="582"/>
                        </a:lnTo>
                        <a:lnTo>
                          <a:pt x="114" y="588"/>
                        </a:lnTo>
                        <a:lnTo>
                          <a:pt x="120" y="636"/>
                        </a:lnTo>
                        <a:lnTo>
                          <a:pt x="108" y="636"/>
                        </a:lnTo>
                        <a:lnTo>
                          <a:pt x="126" y="654"/>
                        </a:lnTo>
                        <a:lnTo>
                          <a:pt x="138" y="654"/>
                        </a:lnTo>
                        <a:lnTo>
                          <a:pt x="144" y="642"/>
                        </a:lnTo>
                        <a:lnTo>
                          <a:pt x="156" y="630"/>
                        </a:lnTo>
                        <a:lnTo>
                          <a:pt x="156" y="618"/>
                        </a:lnTo>
                        <a:lnTo>
                          <a:pt x="168" y="630"/>
                        </a:lnTo>
                        <a:lnTo>
                          <a:pt x="180" y="636"/>
                        </a:lnTo>
                        <a:lnTo>
                          <a:pt x="186" y="636"/>
                        </a:lnTo>
                        <a:lnTo>
                          <a:pt x="192" y="630"/>
                        </a:lnTo>
                        <a:lnTo>
                          <a:pt x="198" y="618"/>
                        </a:lnTo>
                        <a:lnTo>
                          <a:pt x="198" y="594"/>
                        </a:lnTo>
                        <a:lnTo>
                          <a:pt x="204" y="582"/>
                        </a:lnTo>
                        <a:lnTo>
                          <a:pt x="204" y="558"/>
                        </a:lnTo>
                        <a:lnTo>
                          <a:pt x="198" y="552"/>
                        </a:lnTo>
                        <a:lnTo>
                          <a:pt x="192" y="552"/>
                        </a:lnTo>
                        <a:lnTo>
                          <a:pt x="192" y="546"/>
                        </a:lnTo>
                        <a:lnTo>
                          <a:pt x="198" y="540"/>
                        </a:lnTo>
                        <a:lnTo>
                          <a:pt x="204" y="540"/>
                        </a:lnTo>
                        <a:lnTo>
                          <a:pt x="210" y="534"/>
                        </a:lnTo>
                        <a:lnTo>
                          <a:pt x="210" y="522"/>
                        </a:lnTo>
                        <a:lnTo>
                          <a:pt x="204" y="510"/>
                        </a:lnTo>
                        <a:lnTo>
                          <a:pt x="204" y="492"/>
                        </a:lnTo>
                        <a:lnTo>
                          <a:pt x="198" y="480"/>
                        </a:lnTo>
                        <a:lnTo>
                          <a:pt x="186" y="474"/>
                        </a:lnTo>
                        <a:lnTo>
                          <a:pt x="180" y="468"/>
                        </a:lnTo>
                        <a:close/>
                        <a:moveTo>
                          <a:pt x="774" y="546"/>
                        </a:moveTo>
                        <a:lnTo>
                          <a:pt x="768" y="534"/>
                        </a:lnTo>
                        <a:lnTo>
                          <a:pt x="756" y="528"/>
                        </a:lnTo>
                        <a:lnTo>
                          <a:pt x="738" y="510"/>
                        </a:lnTo>
                        <a:lnTo>
                          <a:pt x="678" y="480"/>
                        </a:lnTo>
                        <a:lnTo>
                          <a:pt x="672" y="480"/>
                        </a:lnTo>
                        <a:lnTo>
                          <a:pt x="660" y="474"/>
                        </a:lnTo>
                        <a:lnTo>
                          <a:pt x="648" y="474"/>
                        </a:lnTo>
                        <a:lnTo>
                          <a:pt x="630" y="468"/>
                        </a:lnTo>
                        <a:lnTo>
                          <a:pt x="606" y="456"/>
                        </a:lnTo>
                        <a:lnTo>
                          <a:pt x="606" y="450"/>
                        </a:lnTo>
                        <a:lnTo>
                          <a:pt x="612" y="438"/>
                        </a:lnTo>
                        <a:lnTo>
                          <a:pt x="624" y="426"/>
                        </a:lnTo>
                        <a:lnTo>
                          <a:pt x="624" y="420"/>
                        </a:lnTo>
                        <a:lnTo>
                          <a:pt x="618" y="414"/>
                        </a:lnTo>
                        <a:lnTo>
                          <a:pt x="612" y="414"/>
                        </a:lnTo>
                        <a:lnTo>
                          <a:pt x="594" y="408"/>
                        </a:lnTo>
                        <a:lnTo>
                          <a:pt x="552" y="408"/>
                        </a:lnTo>
                        <a:lnTo>
                          <a:pt x="540" y="402"/>
                        </a:lnTo>
                        <a:lnTo>
                          <a:pt x="534" y="396"/>
                        </a:lnTo>
                        <a:lnTo>
                          <a:pt x="516" y="384"/>
                        </a:lnTo>
                        <a:lnTo>
                          <a:pt x="492" y="360"/>
                        </a:lnTo>
                        <a:lnTo>
                          <a:pt x="480" y="342"/>
                        </a:lnTo>
                        <a:lnTo>
                          <a:pt x="474" y="336"/>
                        </a:lnTo>
                        <a:lnTo>
                          <a:pt x="468" y="324"/>
                        </a:lnTo>
                        <a:lnTo>
                          <a:pt x="468" y="312"/>
                        </a:lnTo>
                        <a:lnTo>
                          <a:pt x="450" y="276"/>
                        </a:lnTo>
                        <a:lnTo>
                          <a:pt x="438" y="270"/>
                        </a:lnTo>
                        <a:lnTo>
                          <a:pt x="432" y="264"/>
                        </a:lnTo>
                        <a:lnTo>
                          <a:pt x="420" y="258"/>
                        </a:lnTo>
                        <a:lnTo>
                          <a:pt x="414" y="252"/>
                        </a:lnTo>
                        <a:lnTo>
                          <a:pt x="378" y="222"/>
                        </a:lnTo>
                        <a:lnTo>
                          <a:pt x="372" y="210"/>
                        </a:lnTo>
                        <a:lnTo>
                          <a:pt x="360" y="198"/>
                        </a:lnTo>
                        <a:lnTo>
                          <a:pt x="360" y="186"/>
                        </a:lnTo>
                        <a:lnTo>
                          <a:pt x="366" y="180"/>
                        </a:lnTo>
                        <a:lnTo>
                          <a:pt x="384" y="180"/>
                        </a:lnTo>
                        <a:lnTo>
                          <a:pt x="384" y="174"/>
                        </a:lnTo>
                        <a:lnTo>
                          <a:pt x="372" y="162"/>
                        </a:lnTo>
                        <a:lnTo>
                          <a:pt x="366" y="150"/>
                        </a:lnTo>
                        <a:lnTo>
                          <a:pt x="366" y="138"/>
                        </a:lnTo>
                        <a:lnTo>
                          <a:pt x="402" y="120"/>
                        </a:lnTo>
                        <a:lnTo>
                          <a:pt x="408" y="114"/>
                        </a:lnTo>
                        <a:lnTo>
                          <a:pt x="414" y="114"/>
                        </a:lnTo>
                        <a:lnTo>
                          <a:pt x="438" y="108"/>
                        </a:lnTo>
                        <a:lnTo>
                          <a:pt x="444" y="72"/>
                        </a:lnTo>
                        <a:lnTo>
                          <a:pt x="432" y="66"/>
                        </a:lnTo>
                        <a:lnTo>
                          <a:pt x="438" y="60"/>
                        </a:lnTo>
                        <a:lnTo>
                          <a:pt x="438" y="42"/>
                        </a:lnTo>
                        <a:lnTo>
                          <a:pt x="384" y="42"/>
                        </a:lnTo>
                        <a:lnTo>
                          <a:pt x="378" y="24"/>
                        </a:lnTo>
                        <a:lnTo>
                          <a:pt x="366" y="24"/>
                        </a:lnTo>
                        <a:lnTo>
                          <a:pt x="366" y="6"/>
                        </a:lnTo>
                        <a:lnTo>
                          <a:pt x="360" y="0"/>
                        </a:lnTo>
                        <a:lnTo>
                          <a:pt x="342" y="0"/>
                        </a:lnTo>
                        <a:lnTo>
                          <a:pt x="336" y="6"/>
                        </a:lnTo>
                        <a:lnTo>
                          <a:pt x="336" y="12"/>
                        </a:lnTo>
                        <a:lnTo>
                          <a:pt x="294" y="12"/>
                        </a:lnTo>
                        <a:lnTo>
                          <a:pt x="282" y="30"/>
                        </a:lnTo>
                        <a:lnTo>
                          <a:pt x="270" y="24"/>
                        </a:lnTo>
                        <a:lnTo>
                          <a:pt x="252" y="24"/>
                        </a:lnTo>
                        <a:lnTo>
                          <a:pt x="246" y="42"/>
                        </a:lnTo>
                        <a:lnTo>
                          <a:pt x="222" y="42"/>
                        </a:lnTo>
                        <a:lnTo>
                          <a:pt x="222" y="48"/>
                        </a:lnTo>
                        <a:lnTo>
                          <a:pt x="234" y="60"/>
                        </a:lnTo>
                        <a:lnTo>
                          <a:pt x="228" y="72"/>
                        </a:lnTo>
                        <a:lnTo>
                          <a:pt x="210" y="60"/>
                        </a:lnTo>
                        <a:lnTo>
                          <a:pt x="192" y="66"/>
                        </a:lnTo>
                        <a:lnTo>
                          <a:pt x="180" y="48"/>
                        </a:lnTo>
                        <a:lnTo>
                          <a:pt x="174" y="72"/>
                        </a:lnTo>
                        <a:lnTo>
                          <a:pt x="162" y="84"/>
                        </a:lnTo>
                        <a:lnTo>
                          <a:pt x="162" y="102"/>
                        </a:lnTo>
                        <a:lnTo>
                          <a:pt x="138" y="78"/>
                        </a:lnTo>
                        <a:lnTo>
                          <a:pt x="132" y="78"/>
                        </a:lnTo>
                        <a:lnTo>
                          <a:pt x="132" y="72"/>
                        </a:lnTo>
                        <a:lnTo>
                          <a:pt x="126" y="66"/>
                        </a:lnTo>
                        <a:lnTo>
                          <a:pt x="126" y="60"/>
                        </a:lnTo>
                        <a:lnTo>
                          <a:pt x="120" y="54"/>
                        </a:lnTo>
                        <a:lnTo>
                          <a:pt x="108" y="54"/>
                        </a:lnTo>
                        <a:lnTo>
                          <a:pt x="102" y="60"/>
                        </a:lnTo>
                        <a:lnTo>
                          <a:pt x="102" y="78"/>
                        </a:lnTo>
                        <a:lnTo>
                          <a:pt x="84" y="96"/>
                        </a:lnTo>
                        <a:lnTo>
                          <a:pt x="78" y="96"/>
                        </a:lnTo>
                        <a:lnTo>
                          <a:pt x="66" y="84"/>
                        </a:lnTo>
                        <a:lnTo>
                          <a:pt x="54" y="84"/>
                        </a:lnTo>
                        <a:lnTo>
                          <a:pt x="42" y="96"/>
                        </a:lnTo>
                        <a:lnTo>
                          <a:pt x="30" y="96"/>
                        </a:lnTo>
                        <a:lnTo>
                          <a:pt x="30" y="102"/>
                        </a:lnTo>
                        <a:lnTo>
                          <a:pt x="24" y="102"/>
                        </a:lnTo>
                        <a:lnTo>
                          <a:pt x="18" y="108"/>
                        </a:lnTo>
                        <a:lnTo>
                          <a:pt x="42" y="132"/>
                        </a:lnTo>
                        <a:lnTo>
                          <a:pt x="42" y="138"/>
                        </a:lnTo>
                        <a:lnTo>
                          <a:pt x="24" y="156"/>
                        </a:lnTo>
                        <a:lnTo>
                          <a:pt x="0" y="156"/>
                        </a:lnTo>
                        <a:lnTo>
                          <a:pt x="12" y="174"/>
                        </a:lnTo>
                        <a:lnTo>
                          <a:pt x="24" y="174"/>
                        </a:lnTo>
                        <a:lnTo>
                          <a:pt x="30" y="180"/>
                        </a:lnTo>
                        <a:lnTo>
                          <a:pt x="30" y="192"/>
                        </a:lnTo>
                        <a:lnTo>
                          <a:pt x="24" y="198"/>
                        </a:lnTo>
                        <a:lnTo>
                          <a:pt x="24" y="204"/>
                        </a:lnTo>
                        <a:lnTo>
                          <a:pt x="18" y="210"/>
                        </a:lnTo>
                        <a:lnTo>
                          <a:pt x="18" y="216"/>
                        </a:lnTo>
                        <a:lnTo>
                          <a:pt x="24" y="222"/>
                        </a:lnTo>
                        <a:lnTo>
                          <a:pt x="36" y="228"/>
                        </a:lnTo>
                        <a:lnTo>
                          <a:pt x="42" y="228"/>
                        </a:lnTo>
                        <a:lnTo>
                          <a:pt x="42" y="234"/>
                        </a:lnTo>
                        <a:lnTo>
                          <a:pt x="66" y="234"/>
                        </a:lnTo>
                        <a:lnTo>
                          <a:pt x="72" y="240"/>
                        </a:lnTo>
                        <a:lnTo>
                          <a:pt x="72" y="246"/>
                        </a:lnTo>
                        <a:lnTo>
                          <a:pt x="54" y="264"/>
                        </a:lnTo>
                        <a:lnTo>
                          <a:pt x="54" y="270"/>
                        </a:lnTo>
                        <a:lnTo>
                          <a:pt x="66" y="270"/>
                        </a:lnTo>
                        <a:lnTo>
                          <a:pt x="90" y="258"/>
                        </a:lnTo>
                        <a:lnTo>
                          <a:pt x="120" y="228"/>
                        </a:lnTo>
                        <a:lnTo>
                          <a:pt x="144" y="216"/>
                        </a:lnTo>
                        <a:lnTo>
                          <a:pt x="156" y="216"/>
                        </a:lnTo>
                        <a:lnTo>
                          <a:pt x="168" y="222"/>
                        </a:lnTo>
                        <a:lnTo>
                          <a:pt x="204" y="234"/>
                        </a:lnTo>
                        <a:lnTo>
                          <a:pt x="216" y="240"/>
                        </a:lnTo>
                        <a:lnTo>
                          <a:pt x="228" y="252"/>
                        </a:lnTo>
                        <a:lnTo>
                          <a:pt x="234" y="264"/>
                        </a:lnTo>
                        <a:lnTo>
                          <a:pt x="234" y="276"/>
                        </a:lnTo>
                        <a:lnTo>
                          <a:pt x="240" y="282"/>
                        </a:lnTo>
                        <a:lnTo>
                          <a:pt x="240" y="288"/>
                        </a:lnTo>
                        <a:lnTo>
                          <a:pt x="252" y="300"/>
                        </a:lnTo>
                        <a:lnTo>
                          <a:pt x="252" y="306"/>
                        </a:lnTo>
                        <a:lnTo>
                          <a:pt x="246" y="318"/>
                        </a:lnTo>
                        <a:lnTo>
                          <a:pt x="246" y="324"/>
                        </a:lnTo>
                        <a:lnTo>
                          <a:pt x="258" y="336"/>
                        </a:lnTo>
                        <a:lnTo>
                          <a:pt x="282" y="348"/>
                        </a:lnTo>
                        <a:lnTo>
                          <a:pt x="288" y="354"/>
                        </a:lnTo>
                        <a:lnTo>
                          <a:pt x="294" y="354"/>
                        </a:lnTo>
                        <a:lnTo>
                          <a:pt x="300" y="372"/>
                        </a:lnTo>
                        <a:lnTo>
                          <a:pt x="330" y="372"/>
                        </a:lnTo>
                        <a:lnTo>
                          <a:pt x="348" y="390"/>
                        </a:lnTo>
                        <a:lnTo>
                          <a:pt x="354" y="402"/>
                        </a:lnTo>
                        <a:lnTo>
                          <a:pt x="366" y="414"/>
                        </a:lnTo>
                        <a:lnTo>
                          <a:pt x="378" y="420"/>
                        </a:lnTo>
                        <a:lnTo>
                          <a:pt x="384" y="432"/>
                        </a:lnTo>
                        <a:lnTo>
                          <a:pt x="420" y="468"/>
                        </a:lnTo>
                        <a:lnTo>
                          <a:pt x="456" y="468"/>
                        </a:lnTo>
                        <a:lnTo>
                          <a:pt x="462" y="474"/>
                        </a:lnTo>
                        <a:lnTo>
                          <a:pt x="468" y="486"/>
                        </a:lnTo>
                        <a:lnTo>
                          <a:pt x="492" y="498"/>
                        </a:lnTo>
                        <a:lnTo>
                          <a:pt x="510" y="504"/>
                        </a:lnTo>
                        <a:lnTo>
                          <a:pt x="528" y="504"/>
                        </a:lnTo>
                        <a:lnTo>
                          <a:pt x="540" y="510"/>
                        </a:lnTo>
                        <a:lnTo>
                          <a:pt x="546" y="510"/>
                        </a:lnTo>
                        <a:lnTo>
                          <a:pt x="552" y="522"/>
                        </a:lnTo>
                        <a:lnTo>
                          <a:pt x="552" y="534"/>
                        </a:lnTo>
                        <a:lnTo>
                          <a:pt x="564" y="558"/>
                        </a:lnTo>
                        <a:lnTo>
                          <a:pt x="570" y="564"/>
                        </a:lnTo>
                        <a:lnTo>
                          <a:pt x="582" y="564"/>
                        </a:lnTo>
                        <a:lnTo>
                          <a:pt x="594" y="558"/>
                        </a:lnTo>
                        <a:lnTo>
                          <a:pt x="600" y="558"/>
                        </a:lnTo>
                        <a:lnTo>
                          <a:pt x="600" y="570"/>
                        </a:lnTo>
                        <a:lnTo>
                          <a:pt x="606" y="582"/>
                        </a:lnTo>
                        <a:lnTo>
                          <a:pt x="606" y="606"/>
                        </a:lnTo>
                        <a:lnTo>
                          <a:pt x="612" y="618"/>
                        </a:lnTo>
                        <a:lnTo>
                          <a:pt x="630" y="636"/>
                        </a:lnTo>
                        <a:lnTo>
                          <a:pt x="630" y="666"/>
                        </a:lnTo>
                        <a:lnTo>
                          <a:pt x="612" y="666"/>
                        </a:lnTo>
                        <a:lnTo>
                          <a:pt x="612" y="690"/>
                        </a:lnTo>
                        <a:lnTo>
                          <a:pt x="606" y="696"/>
                        </a:lnTo>
                        <a:lnTo>
                          <a:pt x="600" y="708"/>
                        </a:lnTo>
                        <a:lnTo>
                          <a:pt x="594" y="714"/>
                        </a:lnTo>
                        <a:lnTo>
                          <a:pt x="594" y="732"/>
                        </a:lnTo>
                        <a:lnTo>
                          <a:pt x="606" y="732"/>
                        </a:lnTo>
                        <a:lnTo>
                          <a:pt x="618" y="726"/>
                        </a:lnTo>
                        <a:lnTo>
                          <a:pt x="624" y="726"/>
                        </a:lnTo>
                        <a:lnTo>
                          <a:pt x="636" y="702"/>
                        </a:lnTo>
                        <a:lnTo>
                          <a:pt x="654" y="696"/>
                        </a:lnTo>
                        <a:lnTo>
                          <a:pt x="654" y="666"/>
                        </a:lnTo>
                        <a:lnTo>
                          <a:pt x="666" y="654"/>
                        </a:lnTo>
                        <a:lnTo>
                          <a:pt x="678" y="654"/>
                        </a:lnTo>
                        <a:lnTo>
                          <a:pt x="684" y="648"/>
                        </a:lnTo>
                        <a:lnTo>
                          <a:pt x="696" y="648"/>
                        </a:lnTo>
                        <a:lnTo>
                          <a:pt x="696" y="636"/>
                        </a:lnTo>
                        <a:lnTo>
                          <a:pt x="690" y="630"/>
                        </a:lnTo>
                        <a:lnTo>
                          <a:pt x="690" y="618"/>
                        </a:lnTo>
                        <a:lnTo>
                          <a:pt x="678" y="606"/>
                        </a:lnTo>
                        <a:lnTo>
                          <a:pt x="666" y="606"/>
                        </a:lnTo>
                        <a:lnTo>
                          <a:pt x="648" y="588"/>
                        </a:lnTo>
                        <a:lnTo>
                          <a:pt x="654" y="582"/>
                        </a:lnTo>
                        <a:lnTo>
                          <a:pt x="660" y="570"/>
                        </a:lnTo>
                        <a:lnTo>
                          <a:pt x="666" y="552"/>
                        </a:lnTo>
                        <a:lnTo>
                          <a:pt x="672" y="540"/>
                        </a:lnTo>
                        <a:lnTo>
                          <a:pt x="684" y="528"/>
                        </a:lnTo>
                        <a:lnTo>
                          <a:pt x="690" y="534"/>
                        </a:lnTo>
                        <a:lnTo>
                          <a:pt x="702" y="534"/>
                        </a:lnTo>
                        <a:lnTo>
                          <a:pt x="708" y="540"/>
                        </a:lnTo>
                        <a:lnTo>
                          <a:pt x="738" y="540"/>
                        </a:lnTo>
                        <a:lnTo>
                          <a:pt x="738" y="552"/>
                        </a:lnTo>
                        <a:lnTo>
                          <a:pt x="744" y="558"/>
                        </a:lnTo>
                        <a:lnTo>
                          <a:pt x="744" y="564"/>
                        </a:lnTo>
                        <a:lnTo>
                          <a:pt x="750" y="576"/>
                        </a:lnTo>
                        <a:lnTo>
                          <a:pt x="762" y="576"/>
                        </a:lnTo>
                        <a:lnTo>
                          <a:pt x="774" y="570"/>
                        </a:lnTo>
                        <a:lnTo>
                          <a:pt x="780" y="564"/>
                        </a:lnTo>
                        <a:lnTo>
                          <a:pt x="780" y="558"/>
                        </a:lnTo>
                        <a:lnTo>
                          <a:pt x="774" y="54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17" name="Israel"/>
                  <p:cNvSpPr>
                    <a:spLocks/>
                  </p:cNvSpPr>
                  <p:nvPr/>
                </p:nvSpPr>
                <p:spPr bwMode="gray">
                  <a:xfrm>
                    <a:off x="3257" y="1621"/>
                    <a:ext cx="26" cy="82"/>
                  </a:xfrm>
                  <a:custGeom>
                    <a:avLst/>
                    <a:gdLst>
                      <a:gd name="T0" fmla="*/ 0 w 102"/>
                      <a:gd name="T1" fmla="*/ 2147483647 h 324"/>
                      <a:gd name="T2" fmla="*/ 2147483647 w 102"/>
                      <a:gd name="T3" fmla="*/ 2147483647 h 324"/>
                      <a:gd name="T4" fmla="*/ 2147483647 w 102"/>
                      <a:gd name="T5" fmla="*/ 2147483647 h 324"/>
                      <a:gd name="T6" fmla="*/ 2147483647 w 102"/>
                      <a:gd name="T7" fmla="*/ 2147483647 h 324"/>
                      <a:gd name="T8" fmla="*/ 2147483647 w 102"/>
                      <a:gd name="T9" fmla="*/ 2147483647 h 324"/>
                      <a:gd name="T10" fmla="*/ 2147483647 w 102"/>
                      <a:gd name="T11" fmla="*/ 2147483647 h 324"/>
                      <a:gd name="T12" fmla="*/ 2147483647 w 102"/>
                      <a:gd name="T13" fmla="*/ 2147483647 h 324"/>
                      <a:gd name="T14" fmla="*/ 2147483647 w 102"/>
                      <a:gd name="T15" fmla="*/ 2147483647 h 324"/>
                      <a:gd name="T16" fmla="*/ 2147483647 w 102"/>
                      <a:gd name="T17" fmla="*/ 2147483647 h 324"/>
                      <a:gd name="T18" fmla="*/ 2147483647 w 102"/>
                      <a:gd name="T19" fmla="*/ 2147483647 h 324"/>
                      <a:gd name="T20" fmla="*/ 2147483647 w 102"/>
                      <a:gd name="T21" fmla="*/ 2147483647 h 324"/>
                      <a:gd name="T22" fmla="*/ 2147483647 w 102"/>
                      <a:gd name="T23" fmla="*/ 2147483647 h 324"/>
                      <a:gd name="T24" fmla="*/ 2147483647 w 102"/>
                      <a:gd name="T25" fmla="*/ 2147483647 h 324"/>
                      <a:gd name="T26" fmla="*/ 2147483647 w 102"/>
                      <a:gd name="T27" fmla="*/ 2147483647 h 324"/>
                      <a:gd name="T28" fmla="*/ 2147483647 w 102"/>
                      <a:gd name="T29" fmla="*/ 2147483647 h 324"/>
                      <a:gd name="T30" fmla="*/ 2147483647 w 102"/>
                      <a:gd name="T31" fmla="*/ 2147483647 h 324"/>
                      <a:gd name="T32" fmla="*/ 2147483647 w 102"/>
                      <a:gd name="T33" fmla="*/ 2147483647 h 324"/>
                      <a:gd name="T34" fmla="*/ 2147483647 w 102"/>
                      <a:gd name="T35" fmla="*/ 2147483647 h 324"/>
                      <a:gd name="T36" fmla="*/ 2147483647 w 102"/>
                      <a:gd name="T37" fmla="*/ 2147483647 h 324"/>
                      <a:gd name="T38" fmla="*/ 2147483647 w 102"/>
                      <a:gd name="T39" fmla="*/ 2147483647 h 324"/>
                      <a:gd name="T40" fmla="*/ 2147483647 w 102"/>
                      <a:gd name="T41" fmla="*/ 2147483647 h 324"/>
                      <a:gd name="T42" fmla="*/ 2147483647 w 102"/>
                      <a:gd name="T43" fmla="*/ 2147483647 h 324"/>
                      <a:gd name="T44" fmla="*/ 2147483647 w 102"/>
                      <a:gd name="T45" fmla="*/ 2147483647 h 324"/>
                      <a:gd name="T46" fmla="*/ 2147483647 w 102"/>
                      <a:gd name="T47" fmla="*/ 2147483647 h 324"/>
                      <a:gd name="T48" fmla="*/ 2147483647 w 102"/>
                      <a:gd name="T49" fmla="*/ 0 h 324"/>
                      <a:gd name="T50" fmla="*/ 2147483647 w 102"/>
                      <a:gd name="T51" fmla="*/ 2147483647 h 324"/>
                      <a:gd name="T52" fmla="*/ 2147483647 w 102"/>
                      <a:gd name="T53" fmla="*/ 2147483647 h 324"/>
                      <a:gd name="T54" fmla="*/ 2147483647 w 102"/>
                      <a:gd name="T55" fmla="*/ 2147483647 h 324"/>
                      <a:gd name="T56" fmla="*/ 2147483647 w 102"/>
                      <a:gd name="T57" fmla="*/ 2147483647 h 324"/>
                      <a:gd name="T58" fmla="*/ 2147483647 w 102"/>
                      <a:gd name="T59" fmla="*/ 2147483647 h 324"/>
                      <a:gd name="T60" fmla="*/ 2147483647 w 102"/>
                      <a:gd name="T61" fmla="*/ 2147483647 h 324"/>
                      <a:gd name="T62" fmla="*/ 2147483647 w 102"/>
                      <a:gd name="T63" fmla="*/ 2147483647 h 324"/>
                      <a:gd name="T64" fmla="*/ 2147483647 w 102"/>
                      <a:gd name="T65" fmla="*/ 2147483647 h 324"/>
                      <a:gd name="T66" fmla="*/ 2147483647 w 102"/>
                      <a:gd name="T67" fmla="*/ 2147483647 h 324"/>
                      <a:gd name="T68" fmla="*/ 2147483647 w 102"/>
                      <a:gd name="T69" fmla="*/ 2147483647 h 324"/>
                      <a:gd name="T70" fmla="*/ 2147483647 w 102"/>
                      <a:gd name="T71" fmla="*/ 2147483647 h 324"/>
                      <a:gd name="T72" fmla="*/ 2147483647 w 102"/>
                      <a:gd name="T73" fmla="*/ 2147483647 h 324"/>
                      <a:gd name="T74" fmla="*/ 2147483647 w 102"/>
                      <a:gd name="T75" fmla="*/ 2147483647 h 324"/>
                      <a:gd name="T76" fmla="*/ 2147483647 w 102"/>
                      <a:gd name="T77" fmla="*/ 2147483647 h 324"/>
                      <a:gd name="T78" fmla="*/ 0 w 102"/>
                      <a:gd name="T79" fmla="*/ 2147483647 h 32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02"/>
                      <a:gd name="T121" fmla="*/ 0 h 324"/>
                      <a:gd name="T122" fmla="*/ 102 w 102"/>
                      <a:gd name="T123" fmla="*/ 324 h 32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02" h="324">
                        <a:moveTo>
                          <a:pt x="0" y="168"/>
                        </a:moveTo>
                        <a:lnTo>
                          <a:pt x="54" y="312"/>
                        </a:lnTo>
                        <a:lnTo>
                          <a:pt x="60" y="324"/>
                        </a:lnTo>
                        <a:lnTo>
                          <a:pt x="60" y="306"/>
                        </a:lnTo>
                        <a:lnTo>
                          <a:pt x="66" y="294"/>
                        </a:lnTo>
                        <a:lnTo>
                          <a:pt x="66" y="234"/>
                        </a:lnTo>
                        <a:lnTo>
                          <a:pt x="72" y="228"/>
                        </a:lnTo>
                        <a:lnTo>
                          <a:pt x="78" y="216"/>
                        </a:lnTo>
                        <a:lnTo>
                          <a:pt x="84" y="210"/>
                        </a:lnTo>
                        <a:lnTo>
                          <a:pt x="90" y="198"/>
                        </a:lnTo>
                        <a:lnTo>
                          <a:pt x="90" y="186"/>
                        </a:lnTo>
                        <a:lnTo>
                          <a:pt x="78" y="174"/>
                        </a:lnTo>
                        <a:lnTo>
                          <a:pt x="78" y="162"/>
                        </a:lnTo>
                        <a:lnTo>
                          <a:pt x="72" y="156"/>
                        </a:lnTo>
                        <a:lnTo>
                          <a:pt x="66" y="162"/>
                        </a:lnTo>
                        <a:lnTo>
                          <a:pt x="66" y="168"/>
                        </a:lnTo>
                        <a:lnTo>
                          <a:pt x="60" y="168"/>
                        </a:lnTo>
                        <a:lnTo>
                          <a:pt x="54" y="174"/>
                        </a:lnTo>
                        <a:lnTo>
                          <a:pt x="48" y="168"/>
                        </a:lnTo>
                        <a:lnTo>
                          <a:pt x="48" y="96"/>
                        </a:lnTo>
                        <a:lnTo>
                          <a:pt x="66" y="78"/>
                        </a:lnTo>
                        <a:lnTo>
                          <a:pt x="84" y="78"/>
                        </a:lnTo>
                        <a:lnTo>
                          <a:pt x="90" y="60"/>
                        </a:lnTo>
                        <a:lnTo>
                          <a:pt x="84" y="18"/>
                        </a:lnTo>
                        <a:lnTo>
                          <a:pt x="102" y="0"/>
                        </a:lnTo>
                        <a:lnTo>
                          <a:pt x="78" y="6"/>
                        </a:lnTo>
                        <a:lnTo>
                          <a:pt x="78" y="18"/>
                        </a:lnTo>
                        <a:lnTo>
                          <a:pt x="72" y="30"/>
                        </a:lnTo>
                        <a:lnTo>
                          <a:pt x="66" y="36"/>
                        </a:lnTo>
                        <a:lnTo>
                          <a:pt x="60" y="36"/>
                        </a:lnTo>
                        <a:lnTo>
                          <a:pt x="54" y="30"/>
                        </a:lnTo>
                        <a:lnTo>
                          <a:pt x="42" y="54"/>
                        </a:lnTo>
                        <a:lnTo>
                          <a:pt x="30" y="60"/>
                        </a:lnTo>
                        <a:lnTo>
                          <a:pt x="36" y="72"/>
                        </a:lnTo>
                        <a:lnTo>
                          <a:pt x="36" y="84"/>
                        </a:lnTo>
                        <a:lnTo>
                          <a:pt x="42" y="90"/>
                        </a:lnTo>
                        <a:lnTo>
                          <a:pt x="42" y="96"/>
                        </a:lnTo>
                        <a:lnTo>
                          <a:pt x="18" y="138"/>
                        </a:lnTo>
                        <a:lnTo>
                          <a:pt x="18" y="156"/>
                        </a:lnTo>
                        <a:lnTo>
                          <a:pt x="0" y="1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18" name="Ireland"/>
                  <p:cNvSpPr>
                    <a:spLocks/>
                  </p:cNvSpPr>
                  <p:nvPr/>
                </p:nvSpPr>
                <p:spPr bwMode="gray">
                  <a:xfrm>
                    <a:off x="2517" y="1179"/>
                    <a:ext cx="72" cy="76"/>
                  </a:xfrm>
                  <a:custGeom>
                    <a:avLst/>
                    <a:gdLst>
                      <a:gd name="T0" fmla="*/ 2147483647 w 282"/>
                      <a:gd name="T1" fmla="*/ 2147483647 h 300"/>
                      <a:gd name="T2" fmla="*/ 2147483647 w 282"/>
                      <a:gd name="T3" fmla="*/ 2147483647 h 300"/>
                      <a:gd name="T4" fmla="*/ 2147483647 w 282"/>
                      <a:gd name="T5" fmla="*/ 2147483647 h 300"/>
                      <a:gd name="T6" fmla="*/ 2147483647 w 282"/>
                      <a:gd name="T7" fmla="*/ 2147483647 h 300"/>
                      <a:gd name="T8" fmla="*/ 2147483647 w 282"/>
                      <a:gd name="T9" fmla="*/ 2147483647 h 300"/>
                      <a:gd name="T10" fmla="*/ 2147483647 w 282"/>
                      <a:gd name="T11" fmla="*/ 2147483647 h 300"/>
                      <a:gd name="T12" fmla="*/ 2147483647 w 282"/>
                      <a:gd name="T13" fmla="*/ 2147483647 h 300"/>
                      <a:gd name="T14" fmla="*/ 2147483647 w 282"/>
                      <a:gd name="T15" fmla="*/ 2147483647 h 300"/>
                      <a:gd name="T16" fmla="*/ 2147483647 w 282"/>
                      <a:gd name="T17" fmla="*/ 2147483647 h 300"/>
                      <a:gd name="T18" fmla="*/ 2147483647 w 282"/>
                      <a:gd name="T19" fmla="*/ 2147483647 h 300"/>
                      <a:gd name="T20" fmla="*/ 2147483647 w 282"/>
                      <a:gd name="T21" fmla="*/ 2147483647 h 300"/>
                      <a:gd name="T22" fmla="*/ 2147483647 w 282"/>
                      <a:gd name="T23" fmla="*/ 2147483647 h 300"/>
                      <a:gd name="T24" fmla="*/ 2147483647 w 282"/>
                      <a:gd name="T25" fmla="*/ 0 h 300"/>
                      <a:gd name="T26" fmla="*/ 2147483647 w 282"/>
                      <a:gd name="T27" fmla="*/ 2147483647 h 300"/>
                      <a:gd name="T28" fmla="*/ 2147483647 w 282"/>
                      <a:gd name="T29" fmla="*/ 2147483647 h 300"/>
                      <a:gd name="T30" fmla="*/ 2147483647 w 282"/>
                      <a:gd name="T31" fmla="*/ 2147483647 h 300"/>
                      <a:gd name="T32" fmla="*/ 2147483647 w 282"/>
                      <a:gd name="T33" fmla="*/ 2147483647 h 300"/>
                      <a:gd name="T34" fmla="*/ 2147483647 w 282"/>
                      <a:gd name="T35" fmla="*/ 2147483647 h 300"/>
                      <a:gd name="T36" fmla="*/ 2147483647 w 282"/>
                      <a:gd name="T37" fmla="*/ 2147483647 h 300"/>
                      <a:gd name="T38" fmla="*/ 2147483647 w 282"/>
                      <a:gd name="T39" fmla="*/ 2147483647 h 300"/>
                      <a:gd name="T40" fmla="*/ 2147483647 w 282"/>
                      <a:gd name="T41" fmla="*/ 2147483647 h 300"/>
                      <a:gd name="T42" fmla="*/ 2147483647 w 282"/>
                      <a:gd name="T43" fmla="*/ 2147483647 h 300"/>
                      <a:gd name="T44" fmla="*/ 2147483647 w 282"/>
                      <a:gd name="T45" fmla="*/ 2147483647 h 300"/>
                      <a:gd name="T46" fmla="*/ 2147483647 w 282"/>
                      <a:gd name="T47" fmla="*/ 2147483647 h 300"/>
                      <a:gd name="T48" fmla="*/ 2147483647 w 282"/>
                      <a:gd name="T49" fmla="*/ 2147483647 h 300"/>
                      <a:gd name="T50" fmla="*/ 2147483647 w 282"/>
                      <a:gd name="T51" fmla="*/ 2147483647 h 300"/>
                      <a:gd name="T52" fmla="*/ 2147483647 w 282"/>
                      <a:gd name="T53" fmla="*/ 2147483647 h 300"/>
                      <a:gd name="T54" fmla="*/ 2147483647 w 282"/>
                      <a:gd name="T55" fmla="*/ 2147483647 h 300"/>
                      <a:gd name="T56" fmla="*/ 2147483647 w 282"/>
                      <a:gd name="T57" fmla="*/ 2147483647 h 300"/>
                      <a:gd name="T58" fmla="*/ 2147483647 w 282"/>
                      <a:gd name="T59" fmla="*/ 2147483647 h 300"/>
                      <a:gd name="T60" fmla="*/ 2147483647 w 282"/>
                      <a:gd name="T61" fmla="*/ 2147483647 h 300"/>
                      <a:gd name="T62" fmla="*/ 2147483647 w 282"/>
                      <a:gd name="T63" fmla="*/ 2147483647 h 300"/>
                      <a:gd name="T64" fmla="*/ 2147483647 w 282"/>
                      <a:gd name="T65" fmla="*/ 2147483647 h 300"/>
                      <a:gd name="T66" fmla="*/ 2147483647 w 282"/>
                      <a:gd name="T67" fmla="*/ 2147483647 h 300"/>
                      <a:gd name="T68" fmla="*/ 2147483647 w 282"/>
                      <a:gd name="T69" fmla="*/ 2147483647 h 300"/>
                      <a:gd name="T70" fmla="*/ 2147483647 w 282"/>
                      <a:gd name="T71" fmla="*/ 2147483647 h 300"/>
                      <a:gd name="T72" fmla="*/ 2147483647 w 282"/>
                      <a:gd name="T73" fmla="*/ 2147483647 h 300"/>
                      <a:gd name="T74" fmla="*/ 2147483647 w 282"/>
                      <a:gd name="T75" fmla="*/ 2147483647 h 300"/>
                      <a:gd name="T76" fmla="*/ 2147483647 w 282"/>
                      <a:gd name="T77" fmla="*/ 2147483647 h 300"/>
                      <a:gd name="T78" fmla="*/ 2147483647 w 282"/>
                      <a:gd name="T79" fmla="*/ 2147483647 h 300"/>
                      <a:gd name="T80" fmla="*/ 0 w 282"/>
                      <a:gd name="T81" fmla="*/ 2147483647 h 300"/>
                      <a:gd name="T82" fmla="*/ 2147483647 w 282"/>
                      <a:gd name="T83" fmla="*/ 2147483647 h 300"/>
                      <a:gd name="T84" fmla="*/ 2147483647 w 282"/>
                      <a:gd name="T85" fmla="*/ 2147483647 h 300"/>
                      <a:gd name="T86" fmla="*/ 2147483647 w 282"/>
                      <a:gd name="T87" fmla="*/ 2147483647 h 300"/>
                      <a:gd name="T88" fmla="*/ 2147483647 w 282"/>
                      <a:gd name="T89" fmla="*/ 2147483647 h 300"/>
                      <a:gd name="T90" fmla="*/ 2147483647 w 282"/>
                      <a:gd name="T91" fmla="*/ 2147483647 h 300"/>
                      <a:gd name="T92" fmla="*/ 2147483647 w 282"/>
                      <a:gd name="T93" fmla="*/ 2147483647 h 300"/>
                      <a:gd name="T94" fmla="*/ 2147483647 w 282"/>
                      <a:gd name="T95" fmla="*/ 2147483647 h 300"/>
                      <a:gd name="T96" fmla="*/ 2147483647 w 282"/>
                      <a:gd name="T97" fmla="*/ 2147483647 h 300"/>
                      <a:gd name="T98" fmla="*/ 2147483647 w 282"/>
                      <a:gd name="T99" fmla="*/ 2147483647 h 300"/>
                      <a:gd name="T100" fmla="*/ 2147483647 w 282"/>
                      <a:gd name="T101" fmla="*/ 2147483647 h 300"/>
                      <a:gd name="T102" fmla="*/ 2147483647 w 282"/>
                      <a:gd name="T103" fmla="*/ 2147483647 h 300"/>
                      <a:gd name="T104" fmla="*/ 2147483647 w 282"/>
                      <a:gd name="T105" fmla="*/ 2147483647 h 300"/>
                      <a:gd name="T106" fmla="*/ 2147483647 w 282"/>
                      <a:gd name="T107" fmla="*/ 2147483647 h 300"/>
                      <a:gd name="T108" fmla="*/ 2147483647 w 282"/>
                      <a:gd name="T109" fmla="*/ 2147483647 h 300"/>
                      <a:gd name="T110" fmla="*/ 2147483647 w 282"/>
                      <a:gd name="T111" fmla="*/ 2147483647 h 3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82"/>
                      <a:gd name="T169" fmla="*/ 0 h 300"/>
                      <a:gd name="T170" fmla="*/ 282 w 282"/>
                      <a:gd name="T171" fmla="*/ 300 h 30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82" h="300">
                        <a:moveTo>
                          <a:pt x="276" y="156"/>
                        </a:moveTo>
                        <a:lnTo>
                          <a:pt x="276" y="144"/>
                        </a:lnTo>
                        <a:lnTo>
                          <a:pt x="270" y="132"/>
                        </a:lnTo>
                        <a:lnTo>
                          <a:pt x="264" y="126"/>
                        </a:lnTo>
                        <a:lnTo>
                          <a:pt x="264" y="114"/>
                        </a:lnTo>
                        <a:lnTo>
                          <a:pt x="258" y="108"/>
                        </a:lnTo>
                        <a:lnTo>
                          <a:pt x="258" y="102"/>
                        </a:lnTo>
                        <a:lnTo>
                          <a:pt x="276" y="102"/>
                        </a:lnTo>
                        <a:lnTo>
                          <a:pt x="282" y="96"/>
                        </a:lnTo>
                        <a:lnTo>
                          <a:pt x="246" y="90"/>
                        </a:lnTo>
                        <a:lnTo>
                          <a:pt x="228" y="66"/>
                        </a:lnTo>
                        <a:lnTo>
                          <a:pt x="204" y="90"/>
                        </a:lnTo>
                        <a:lnTo>
                          <a:pt x="192" y="90"/>
                        </a:lnTo>
                        <a:lnTo>
                          <a:pt x="168" y="78"/>
                        </a:lnTo>
                        <a:lnTo>
                          <a:pt x="162" y="72"/>
                        </a:lnTo>
                        <a:lnTo>
                          <a:pt x="174" y="60"/>
                        </a:lnTo>
                        <a:lnTo>
                          <a:pt x="180" y="60"/>
                        </a:lnTo>
                        <a:lnTo>
                          <a:pt x="186" y="54"/>
                        </a:lnTo>
                        <a:lnTo>
                          <a:pt x="192" y="54"/>
                        </a:lnTo>
                        <a:lnTo>
                          <a:pt x="192" y="42"/>
                        </a:lnTo>
                        <a:lnTo>
                          <a:pt x="234" y="18"/>
                        </a:lnTo>
                        <a:lnTo>
                          <a:pt x="240" y="12"/>
                        </a:lnTo>
                        <a:lnTo>
                          <a:pt x="240" y="6"/>
                        </a:lnTo>
                        <a:lnTo>
                          <a:pt x="234" y="6"/>
                        </a:lnTo>
                        <a:lnTo>
                          <a:pt x="228" y="0"/>
                        </a:lnTo>
                        <a:lnTo>
                          <a:pt x="222" y="0"/>
                        </a:lnTo>
                        <a:lnTo>
                          <a:pt x="210" y="6"/>
                        </a:lnTo>
                        <a:lnTo>
                          <a:pt x="204" y="18"/>
                        </a:lnTo>
                        <a:lnTo>
                          <a:pt x="198" y="6"/>
                        </a:lnTo>
                        <a:lnTo>
                          <a:pt x="174" y="6"/>
                        </a:lnTo>
                        <a:lnTo>
                          <a:pt x="162" y="12"/>
                        </a:lnTo>
                        <a:lnTo>
                          <a:pt x="156" y="12"/>
                        </a:lnTo>
                        <a:lnTo>
                          <a:pt x="150" y="18"/>
                        </a:lnTo>
                        <a:lnTo>
                          <a:pt x="150" y="30"/>
                        </a:lnTo>
                        <a:lnTo>
                          <a:pt x="144" y="36"/>
                        </a:lnTo>
                        <a:lnTo>
                          <a:pt x="144" y="42"/>
                        </a:lnTo>
                        <a:lnTo>
                          <a:pt x="126" y="42"/>
                        </a:lnTo>
                        <a:lnTo>
                          <a:pt x="120" y="48"/>
                        </a:lnTo>
                        <a:lnTo>
                          <a:pt x="120" y="54"/>
                        </a:lnTo>
                        <a:lnTo>
                          <a:pt x="138" y="54"/>
                        </a:lnTo>
                        <a:lnTo>
                          <a:pt x="144" y="60"/>
                        </a:lnTo>
                        <a:lnTo>
                          <a:pt x="150" y="60"/>
                        </a:lnTo>
                        <a:lnTo>
                          <a:pt x="150" y="66"/>
                        </a:lnTo>
                        <a:lnTo>
                          <a:pt x="144" y="72"/>
                        </a:lnTo>
                        <a:lnTo>
                          <a:pt x="132" y="72"/>
                        </a:lnTo>
                        <a:lnTo>
                          <a:pt x="132" y="78"/>
                        </a:lnTo>
                        <a:lnTo>
                          <a:pt x="126" y="84"/>
                        </a:lnTo>
                        <a:lnTo>
                          <a:pt x="102" y="84"/>
                        </a:lnTo>
                        <a:lnTo>
                          <a:pt x="102" y="90"/>
                        </a:lnTo>
                        <a:lnTo>
                          <a:pt x="90" y="78"/>
                        </a:lnTo>
                        <a:lnTo>
                          <a:pt x="42" y="78"/>
                        </a:lnTo>
                        <a:lnTo>
                          <a:pt x="42" y="102"/>
                        </a:lnTo>
                        <a:lnTo>
                          <a:pt x="54" y="102"/>
                        </a:lnTo>
                        <a:lnTo>
                          <a:pt x="54" y="108"/>
                        </a:lnTo>
                        <a:lnTo>
                          <a:pt x="60" y="114"/>
                        </a:lnTo>
                        <a:lnTo>
                          <a:pt x="42" y="126"/>
                        </a:lnTo>
                        <a:lnTo>
                          <a:pt x="36" y="126"/>
                        </a:lnTo>
                        <a:lnTo>
                          <a:pt x="30" y="132"/>
                        </a:lnTo>
                        <a:lnTo>
                          <a:pt x="30" y="138"/>
                        </a:lnTo>
                        <a:lnTo>
                          <a:pt x="42" y="150"/>
                        </a:lnTo>
                        <a:lnTo>
                          <a:pt x="54" y="156"/>
                        </a:lnTo>
                        <a:lnTo>
                          <a:pt x="60" y="162"/>
                        </a:lnTo>
                        <a:lnTo>
                          <a:pt x="72" y="162"/>
                        </a:lnTo>
                        <a:lnTo>
                          <a:pt x="78" y="156"/>
                        </a:lnTo>
                        <a:lnTo>
                          <a:pt x="96" y="156"/>
                        </a:lnTo>
                        <a:lnTo>
                          <a:pt x="96" y="168"/>
                        </a:lnTo>
                        <a:lnTo>
                          <a:pt x="90" y="174"/>
                        </a:lnTo>
                        <a:lnTo>
                          <a:pt x="72" y="174"/>
                        </a:lnTo>
                        <a:lnTo>
                          <a:pt x="72" y="192"/>
                        </a:lnTo>
                        <a:lnTo>
                          <a:pt x="54" y="192"/>
                        </a:lnTo>
                        <a:lnTo>
                          <a:pt x="48" y="198"/>
                        </a:lnTo>
                        <a:lnTo>
                          <a:pt x="48" y="210"/>
                        </a:lnTo>
                        <a:lnTo>
                          <a:pt x="42" y="222"/>
                        </a:lnTo>
                        <a:lnTo>
                          <a:pt x="42" y="234"/>
                        </a:lnTo>
                        <a:lnTo>
                          <a:pt x="18" y="234"/>
                        </a:lnTo>
                        <a:lnTo>
                          <a:pt x="12" y="240"/>
                        </a:lnTo>
                        <a:lnTo>
                          <a:pt x="6" y="240"/>
                        </a:lnTo>
                        <a:lnTo>
                          <a:pt x="6" y="246"/>
                        </a:lnTo>
                        <a:lnTo>
                          <a:pt x="12" y="246"/>
                        </a:lnTo>
                        <a:lnTo>
                          <a:pt x="18" y="252"/>
                        </a:lnTo>
                        <a:lnTo>
                          <a:pt x="6" y="252"/>
                        </a:lnTo>
                        <a:lnTo>
                          <a:pt x="0" y="258"/>
                        </a:lnTo>
                        <a:lnTo>
                          <a:pt x="0" y="270"/>
                        </a:lnTo>
                        <a:lnTo>
                          <a:pt x="42" y="270"/>
                        </a:lnTo>
                        <a:lnTo>
                          <a:pt x="24" y="288"/>
                        </a:lnTo>
                        <a:lnTo>
                          <a:pt x="30" y="282"/>
                        </a:lnTo>
                        <a:lnTo>
                          <a:pt x="48" y="282"/>
                        </a:lnTo>
                        <a:lnTo>
                          <a:pt x="48" y="288"/>
                        </a:lnTo>
                        <a:lnTo>
                          <a:pt x="42" y="288"/>
                        </a:lnTo>
                        <a:lnTo>
                          <a:pt x="36" y="294"/>
                        </a:lnTo>
                        <a:lnTo>
                          <a:pt x="30" y="294"/>
                        </a:lnTo>
                        <a:lnTo>
                          <a:pt x="36" y="300"/>
                        </a:lnTo>
                        <a:lnTo>
                          <a:pt x="60" y="300"/>
                        </a:lnTo>
                        <a:lnTo>
                          <a:pt x="96" y="288"/>
                        </a:lnTo>
                        <a:lnTo>
                          <a:pt x="108" y="282"/>
                        </a:lnTo>
                        <a:lnTo>
                          <a:pt x="120" y="270"/>
                        </a:lnTo>
                        <a:lnTo>
                          <a:pt x="120" y="264"/>
                        </a:lnTo>
                        <a:lnTo>
                          <a:pt x="132" y="270"/>
                        </a:lnTo>
                        <a:lnTo>
                          <a:pt x="138" y="270"/>
                        </a:lnTo>
                        <a:lnTo>
                          <a:pt x="150" y="264"/>
                        </a:lnTo>
                        <a:lnTo>
                          <a:pt x="162" y="252"/>
                        </a:lnTo>
                        <a:lnTo>
                          <a:pt x="180" y="246"/>
                        </a:lnTo>
                        <a:lnTo>
                          <a:pt x="204" y="246"/>
                        </a:lnTo>
                        <a:lnTo>
                          <a:pt x="210" y="240"/>
                        </a:lnTo>
                        <a:lnTo>
                          <a:pt x="252" y="240"/>
                        </a:lnTo>
                        <a:lnTo>
                          <a:pt x="246" y="222"/>
                        </a:lnTo>
                        <a:lnTo>
                          <a:pt x="264" y="222"/>
                        </a:lnTo>
                        <a:lnTo>
                          <a:pt x="264" y="198"/>
                        </a:lnTo>
                        <a:lnTo>
                          <a:pt x="270" y="192"/>
                        </a:lnTo>
                        <a:lnTo>
                          <a:pt x="270" y="180"/>
                        </a:lnTo>
                        <a:lnTo>
                          <a:pt x="276" y="168"/>
                        </a:lnTo>
                        <a:lnTo>
                          <a:pt x="276" y="15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19" name="Iraq"/>
                  <p:cNvSpPr>
                    <a:spLocks/>
                  </p:cNvSpPr>
                  <p:nvPr/>
                </p:nvSpPr>
                <p:spPr bwMode="gray">
                  <a:xfrm>
                    <a:off x="3332" y="1541"/>
                    <a:ext cx="175" cy="169"/>
                  </a:xfrm>
                  <a:custGeom>
                    <a:avLst/>
                    <a:gdLst>
                      <a:gd name="T0" fmla="*/ 2147483647 w 684"/>
                      <a:gd name="T1" fmla="*/ 2147483647 h 660"/>
                      <a:gd name="T2" fmla="*/ 2147483647 w 684"/>
                      <a:gd name="T3" fmla="*/ 2147483647 h 660"/>
                      <a:gd name="T4" fmla="*/ 2147483647 w 684"/>
                      <a:gd name="T5" fmla="*/ 2147483647 h 660"/>
                      <a:gd name="T6" fmla="*/ 2147483647 w 684"/>
                      <a:gd name="T7" fmla="*/ 2147483647 h 660"/>
                      <a:gd name="T8" fmla="*/ 2147483647 w 684"/>
                      <a:gd name="T9" fmla="*/ 2147483647 h 660"/>
                      <a:gd name="T10" fmla="*/ 2147483647 w 684"/>
                      <a:gd name="T11" fmla="*/ 2147483647 h 660"/>
                      <a:gd name="T12" fmla="*/ 2147483647 w 684"/>
                      <a:gd name="T13" fmla="*/ 2147483647 h 660"/>
                      <a:gd name="T14" fmla="*/ 2147483647 w 684"/>
                      <a:gd name="T15" fmla="*/ 2147483647 h 660"/>
                      <a:gd name="T16" fmla="*/ 2147483647 w 684"/>
                      <a:gd name="T17" fmla="*/ 2147483647 h 660"/>
                      <a:gd name="T18" fmla="*/ 2147483647 w 684"/>
                      <a:gd name="T19" fmla="*/ 2147483647 h 660"/>
                      <a:gd name="T20" fmla="*/ 2147483647 w 684"/>
                      <a:gd name="T21" fmla="*/ 2147483647 h 660"/>
                      <a:gd name="T22" fmla="*/ 2147483647 w 684"/>
                      <a:gd name="T23" fmla="*/ 2147483647 h 660"/>
                      <a:gd name="T24" fmla="*/ 2147483647 w 684"/>
                      <a:gd name="T25" fmla="*/ 2147483647 h 660"/>
                      <a:gd name="T26" fmla="*/ 2147483647 w 684"/>
                      <a:gd name="T27" fmla="*/ 2147483647 h 660"/>
                      <a:gd name="T28" fmla="*/ 2147483647 w 684"/>
                      <a:gd name="T29" fmla="*/ 2147483647 h 660"/>
                      <a:gd name="T30" fmla="*/ 2147483647 w 684"/>
                      <a:gd name="T31" fmla="*/ 2147483647 h 660"/>
                      <a:gd name="T32" fmla="*/ 2147483647 w 684"/>
                      <a:gd name="T33" fmla="*/ 2147483647 h 660"/>
                      <a:gd name="T34" fmla="*/ 2147483647 w 684"/>
                      <a:gd name="T35" fmla="*/ 2147483647 h 660"/>
                      <a:gd name="T36" fmla="*/ 2147483647 w 684"/>
                      <a:gd name="T37" fmla="*/ 2147483647 h 660"/>
                      <a:gd name="T38" fmla="*/ 2147483647 w 684"/>
                      <a:gd name="T39" fmla="*/ 2147483647 h 660"/>
                      <a:gd name="T40" fmla="*/ 2147483647 w 684"/>
                      <a:gd name="T41" fmla="*/ 2147483647 h 660"/>
                      <a:gd name="T42" fmla="*/ 2147483647 w 684"/>
                      <a:gd name="T43" fmla="*/ 2147483647 h 660"/>
                      <a:gd name="T44" fmla="*/ 2147483647 w 684"/>
                      <a:gd name="T45" fmla="*/ 2147483647 h 660"/>
                      <a:gd name="T46" fmla="*/ 2147483647 w 684"/>
                      <a:gd name="T47" fmla="*/ 2147483647 h 660"/>
                      <a:gd name="T48" fmla="*/ 2147483647 w 684"/>
                      <a:gd name="T49" fmla="*/ 2147483647 h 660"/>
                      <a:gd name="T50" fmla="*/ 2147483647 w 684"/>
                      <a:gd name="T51" fmla="*/ 2147483647 h 660"/>
                      <a:gd name="T52" fmla="*/ 2147483647 w 684"/>
                      <a:gd name="T53" fmla="*/ 0 h 660"/>
                      <a:gd name="T54" fmla="*/ 2147483647 w 684"/>
                      <a:gd name="T55" fmla="*/ 2147483647 h 660"/>
                      <a:gd name="T56" fmla="*/ 2147483647 w 684"/>
                      <a:gd name="T57" fmla="*/ 2147483647 h 660"/>
                      <a:gd name="T58" fmla="*/ 2147483647 w 684"/>
                      <a:gd name="T59" fmla="*/ 0 h 660"/>
                      <a:gd name="T60" fmla="*/ 2147483647 w 684"/>
                      <a:gd name="T61" fmla="*/ 2147483647 h 660"/>
                      <a:gd name="T62" fmla="*/ 2147483647 w 684"/>
                      <a:gd name="T63" fmla="*/ 2147483647 h 660"/>
                      <a:gd name="T64" fmla="*/ 2147483647 w 684"/>
                      <a:gd name="T65" fmla="*/ 2147483647 h 660"/>
                      <a:gd name="T66" fmla="*/ 2147483647 w 684"/>
                      <a:gd name="T67" fmla="*/ 2147483647 h 660"/>
                      <a:gd name="T68" fmla="*/ 2147483647 w 684"/>
                      <a:gd name="T69" fmla="*/ 2147483647 h 660"/>
                      <a:gd name="T70" fmla="*/ 2147483647 w 684"/>
                      <a:gd name="T71" fmla="*/ 2147483647 h 660"/>
                      <a:gd name="T72" fmla="*/ 2147483647 w 684"/>
                      <a:gd name="T73" fmla="*/ 2147483647 h 660"/>
                      <a:gd name="T74" fmla="*/ 2147483647 w 684"/>
                      <a:gd name="T75" fmla="*/ 2147483647 h 660"/>
                      <a:gd name="T76" fmla="*/ 2147483647 w 684"/>
                      <a:gd name="T77" fmla="*/ 2147483647 h 660"/>
                      <a:gd name="T78" fmla="*/ 2147483647 w 684"/>
                      <a:gd name="T79" fmla="*/ 2147483647 h 660"/>
                      <a:gd name="T80" fmla="*/ 2147483647 w 684"/>
                      <a:gd name="T81" fmla="*/ 2147483647 h 660"/>
                      <a:gd name="T82" fmla="*/ 2147483647 w 684"/>
                      <a:gd name="T83" fmla="*/ 2147483647 h 660"/>
                      <a:gd name="T84" fmla="*/ 2147483647 w 684"/>
                      <a:gd name="T85" fmla="*/ 2147483647 h 660"/>
                      <a:gd name="T86" fmla="*/ 0 w 684"/>
                      <a:gd name="T87" fmla="*/ 2147483647 h 660"/>
                      <a:gd name="T88" fmla="*/ 2147483647 w 684"/>
                      <a:gd name="T89" fmla="*/ 2147483647 h 660"/>
                      <a:gd name="T90" fmla="*/ 2147483647 w 684"/>
                      <a:gd name="T91" fmla="*/ 2147483647 h 660"/>
                      <a:gd name="T92" fmla="*/ 2147483647 w 684"/>
                      <a:gd name="T93" fmla="*/ 2147483647 h 660"/>
                      <a:gd name="T94" fmla="*/ 2147483647 w 684"/>
                      <a:gd name="T95" fmla="*/ 2147483647 h 660"/>
                      <a:gd name="T96" fmla="*/ 2147483647 w 684"/>
                      <a:gd name="T97" fmla="*/ 2147483647 h 660"/>
                      <a:gd name="T98" fmla="*/ 2147483647 w 684"/>
                      <a:gd name="T99" fmla="*/ 2147483647 h 660"/>
                      <a:gd name="T100" fmla="*/ 2147483647 w 684"/>
                      <a:gd name="T101" fmla="*/ 2147483647 h 660"/>
                      <a:gd name="T102" fmla="*/ 2147483647 w 684"/>
                      <a:gd name="T103" fmla="*/ 2147483647 h 660"/>
                      <a:gd name="T104" fmla="*/ 2147483647 w 684"/>
                      <a:gd name="T105" fmla="*/ 2147483647 h 660"/>
                      <a:gd name="T106" fmla="*/ 2147483647 w 684"/>
                      <a:gd name="T107" fmla="*/ 2147483647 h 660"/>
                      <a:gd name="T108" fmla="*/ 2147483647 w 684"/>
                      <a:gd name="T109" fmla="*/ 2147483647 h 660"/>
                      <a:gd name="T110" fmla="*/ 2147483647 w 684"/>
                      <a:gd name="T111" fmla="*/ 2147483647 h 660"/>
                      <a:gd name="T112" fmla="*/ 2147483647 w 684"/>
                      <a:gd name="T113" fmla="*/ 2147483647 h 660"/>
                      <a:gd name="T114" fmla="*/ 2147483647 w 684"/>
                      <a:gd name="T115" fmla="*/ 2147483647 h 66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84"/>
                      <a:gd name="T175" fmla="*/ 0 h 660"/>
                      <a:gd name="T176" fmla="*/ 684 w 684"/>
                      <a:gd name="T177" fmla="*/ 660 h 66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84" h="660">
                        <a:moveTo>
                          <a:pt x="678" y="564"/>
                        </a:moveTo>
                        <a:lnTo>
                          <a:pt x="666" y="552"/>
                        </a:lnTo>
                        <a:lnTo>
                          <a:pt x="654" y="546"/>
                        </a:lnTo>
                        <a:lnTo>
                          <a:pt x="648" y="516"/>
                        </a:lnTo>
                        <a:lnTo>
                          <a:pt x="642" y="516"/>
                        </a:lnTo>
                        <a:lnTo>
                          <a:pt x="636" y="510"/>
                        </a:lnTo>
                        <a:lnTo>
                          <a:pt x="624" y="504"/>
                        </a:lnTo>
                        <a:lnTo>
                          <a:pt x="618" y="498"/>
                        </a:lnTo>
                        <a:lnTo>
                          <a:pt x="618" y="462"/>
                        </a:lnTo>
                        <a:lnTo>
                          <a:pt x="624" y="450"/>
                        </a:lnTo>
                        <a:lnTo>
                          <a:pt x="624" y="438"/>
                        </a:lnTo>
                        <a:lnTo>
                          <a:pt x="594" y="402"/>
                        </a:lnTo>
                        <a:lnTo>
                          <a:pt x="588" y="390"/>
                        </a:lnTo>
                        <a:lnTo>
                          <a:pt x="582" y="384"/>
                        </a:lnTo>
                        <a:lnTo>
                          <a:pt x="564" y="384"/>
                        </a:lnTo>
                        <a:lnTo>
                          <a:pt x="546" y="366"/>
                        </a:lnTo>
                        <a:lnTo>
                          <a:pt x="534" y="360"/>
                        </a:lnTo>
                        <a:lnTo>
                          <a:pt x="528" y="354"/>
                        </a:lnTo>
                        <a:lnTo>
                          <a:pt x="504" y="354"/>
                        </a:lnTo>
                        <a:lnTo>
                          <a:pt x="504" y="312"/>
                        </a:lnTo>
                        <a:lnTo>
                          <a:pt x="498" y="312"/>
                        </a:lnTo>
                        <a:lnTo>
                          <a:pt x="492" y="306"/>
                        </a:lnTo>
                        <a:lnTo>
                          <a:pt x="468" y="294"/>
                        </a:lnTo>
                        <a:lnTo>
                          <a:pt x="456" y="282"/>
                        </a:lnTo>
                        <a:lnTo>
                          <a:pt x="444" y="276"/>
                        </a:lnTo>
                        <a:lnTo>
                          <a:pt x="438" y="270"/>
                        </a:lnTo>
                        <a:lnTo>
                          <a:pt x="438" y="264"/>
                        </a:lnTo>
                        <a:lnTo>
                          <a:pt x="444" y="252"/>
                        </a:lnTo>
                        <a:lnTo>
                          <a:pt x="450" y="246"/>
                        </a:lnTo>
                        <a:lnTo>
                          <a:pt x="438" y="234"/>
                        </a:lnTo>
                        <a:lnTo>
                          <a:pt x="438" y="228"/>
                        </a:lnTo>
                        <a:lnTo>
                          <a:pt x="450" y="216"/>
                        </a:lnTo>
                        <a:lnTo>
                          <a:pt x="462" y="216"/>
                        </a:lnTo>
                        <a:lnTo>
                          <a:pt x="462" y="186"/>
                        </a:lnTo>
                        <a:lnTo>
                          <a:pt x="468" y="186"/>
                        </a:lnTo>
                        <a:lnTo>
                          <a:pt x="480" y="174"/>
                        </a:lnTo>
                        <a:lnTo>
                          <a:pt x="480" y="168"/>
                        </a:lnTo>
                        <a:lnTo>
                          <a:pt x="474" y="156"/>
                        </a:lnTo>
                        <a:lnTo>
                          <a:pt x="462" y="144"/>
                        </a:lnTo>
                        <a:lnTo>
                          <a:pt x="462" y="138"/>
                        </a:lnTo>
                        <a:lnTo>
                          <a:pt x="480" y="120"/>
                        </a:lnTo>
                        <a:lnTo>
                          <a:pt x="480" y="114"/>
                        </a:lnTo>
                        <a:lnTo>
                          <a:pt x="468" y="114"/>
                        </a:lnTo>
                        <a:lnTo>
                          <a:pt x="456" y="120"/>
                        </a:lnTo>
                        <a:lnTo>
                          <a:pt x="450" y="126"/>
                        </a:lnTo>
                        <a:lnTo>
                          <a:pt x="438" y="108"/>
                        </a:lnTo>
                        <a:lnTo>
                          <a:pt x="414" y="102"/>
                        </a:lnTo>
                        <a:lnTo>
                          <a:pt x="414" y="84"/>
                        </a:lnTo>
                        <a:lnTo>
                          <a:pt x="402" y="72"/>
                        </a:lnTo>
                        <a:lnTo>
                          <a:pt x="378" y="24"/>
                        </a:lnTo>
                        <a:lnTo>
                          <a:pt x="378" y="12"/>
                        </a:lnTo>
                        <a:lnTo>
                          <a:pt x="336" y="24"/>
                        </a:lnTo>
                        <a:lnTo>
                          <a:pt x="336" y="6"/>
                        </a:lnTo>
                        <a:lnTo>
                          <a:pt x="330" y="0"/>
                        </a:lnTo>
                        <a:lnTo>
                          <a:pt x="306" y="0"/>
                        </a:lnTo>
                        <a:lnTo>
                          <a:pt x="306" y="6"/>
                        </a:lnTo>
                        <a:lnTo>
                          <a:pt x="300" y="12"/>
                        </a:lnTo>
                        <a:lnTo>
                          <a:pt x="288" y="12"/>
                        </a:lnTo>
                        <a:lnTo>
                          <a:pt x="276" y="0"/>
                        </a:lnTo>
                        <a:lnTo>
                          <a:pt x="234" y="0"/>
                        </a:lnTo>
                        <a:lnTo>
                          <a:pt x="234" y="12"/>
                        </a:lnTo>
                        <a:lnTo>
                          <a:pt x="228" y="18"/>
                        </a:lnTo>
                        <a:lnTo>
                          <a:pt x="216" y="24"/>
                        </a:lnTo>
                        <a:lnTo>
                          <a:pt x="204" y="36"/>
                        </a:lnTo>
                        <a:lnTo>
                          <a:pt x="198" y="48"/>
                        </a:lnTo>
                        <a:lnTo>
                          <a:pt x="192" y="54"/>
                        </a:lnTo>
                        <a:lnTo>
                          <a:pt x="180" y="54"/>
                        </a:lnTo>
                        <a:lnTo>
                          <a:pt x="168" y="60"/>
                        </a:lnTo>
                        <a:lnTo>
                          <a:pt x="156" y="60"/>
                        </a:lnTo>
                        <a:lnTo>
                          <a:pt x="150" y="66"/>
                        </a:lnTo>
                        <a:lnTo>
                          <a:pt x="144" y="78"/>
                        </a:lnTo>
                        <a:lnTo>
                          <a:pt x="144" y="90"/>
                        </a:lnTo>
                        <a:lnTo>
                          <a:pt x="150" y="102"/>
                        </a:lnTo>
                        <a:lnTo>
                          <a:pt x="156" y="108"/>
                        </a:lnTo>
                        <a:lnTo>
                          <a:pt x="156" y="120"/>
                        </a:lnTo>
                        <a:lnTo>
                          <a:pt x="162" y="132"/>
                        </a:lnTo>
                        <a:lnTo>
                          <a:pt x="162" y="162"/>
                        </a:lnTo>
                        <a:lnTo>
                          <a:pt x="156" y="174"/>
                        </a:lnTo>
                        <a:lnTo>
                          <a:pt x="150" y="192"/>
                        </a:lnTo>
                        <a:lnTo>
                          <a:pt x="150" y="198"/>
                        </a:lnTo>
                        <a:lnTo>
                          <a:pt x="168" y="216"/>
                        </a:lnTo>
                        <a:lnTo>
                          <a:pt x="168" y="222"/>
                        </a:lnTo>
                        <a:lnTo>
                          <a:pt x="162" y="228"/>
                        </a:lnTo>
                        <a:lnTo>
                          <a:pt x="138" y="240"/>
                        </a:lnTo>
                        <a:lnTo>
                          <a:pt x="78" y="264"/>
                        </a:lnTo>
                        <a:lnTo>
                          <a:pt x="66" y="270"/>
                        </a:lnTo>
                        <a:lnTo>
                          <a:pt x="6" y="318"/>
                        </a:lnTo>
                        <a:lnTo>
                          <a:pt x="0" y="318"/>
                        </a:lnTo>
                        <a:lnTo>
                          <a:pt x="0" y="324"/>
                        </a:lnTo>
                        <a:lnTo>
                          <a:pt x="24" y="366"/>
                        </a:lnTo>
                        <a:lnTo>
                          <a:pt x="24" y="384"/>
                        </a:lnTo>
                        <a:lnTo>
                          <a:pt x="48" y="402"/>
                        </a:lnTo>
                        <a:lnTo>
                          <a:pt x="48" y="414"/>
                        </a:lnTo>
                        <a:lnTo>
                          <a:pt x="60" y="426"/>
                        </a:lnTo>
                        <a:lnTo>
                          <a:pt x="126" y="426"/>
                        </a:lnTo>
                        <a:lnTo>
                          <a:pt x="156" y="456"/>
                        </a:lnTo>
                        <a:lnTo>
                          <a:pt x="168" y="462"/>
                        </a:lnTo>
                        <a:lnTo>
                          <a:pt x="180" y="474"/>
                        </a:lnTo>
                        <a:lnTo>
                          <a:pt x="228" y="498"/>
                        </a:lnTo>
                        <a:lnTo>
                          <a:pt x="234" y="504"/>
                        </a:lnTo>
                        <a:lnTo>
                          <a:pt x="246" y="510"/>
                        </a:lnTo>
                        <a:lnTo>
                          <a:pt x="438" y="654"/>
                        </a:lnTo>
                        <a:lnTo>
                          <a:pt x="522" y="654"/>
                        </a:lnTo>
                        <a:lnTo>
                          <a:pt x="570" y="660"/>
                        </a:lnTo>
                        <a:lnTo>
                          <a:pt x="564" y="660"/>
                        </a:lnTo>
                        <a:lnTo>
                          <a:pt x="570" y="654"/>
                        </a:lnTo>
                        <a:lnTo>
                          <a:pt x="588" y="618"/>
                        </a:lnTo>
                        <a:lnTo>
                          <a:pt x="588" y="606"/>
                        </a:lnTo>
                        <a:lnTo>
                          <a:pt x="594" y="600"/>
                        </a:lnTo>
                        <a:lnTo>
                          <a:pt x="600" y="588"/>
                        </a:lnTo>
                        <a:lnTo>
                          <a:pt x="648" y="588"/>
                        </a:lnTo>
                        <a:lnTo>
                          <a:pt x="654" y="594"/>
                        </a:lnTo>
                        <a:lnTo>
                          <a:pt x="678" y="582"/>
                        </a:lnTo>
                        <a:lnTo>
                          <a:pt x="684" y="576"/>
                        </a:lnTo>
                        <a:lnTo>
                          <a:pt x="678" y="570"/>
                        </a:lnTo>
                        <a:lnTo>
                          <a:pt x="678" y="56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20" name="Iran"/>
                  <p:cNvSpPr>
                    <a:spLocks/>
                  </p:cNvSpPr>
                  <p:nvPr/>
                </p:nvSpPr>
                <p:spPr bwMode="gray">
                  <a:xfrm>
                    <a:off x="3407" y="1490"/>
                    <a:ext cx="368" cy="302"/>
                  </a:xfrm>
                  <a:custGeom>
                    <a:avLst/>
                    <a:gdLst>
                      <a:gd name="T0" fmla="*/ 2147483647 w 1440"/>
                      <a:gd name="T1" fmla="*/ 2147483647 h 1182"/>
                      <a:gd name="T2" fmla="*/ 2147483647 w 1440"/>
                      <a:gd name="T3" fmla="*/ 2147483647 h 1182"/>
                      <a:gd name="T4" fmla="*/ 2147483647 w 1440"/>
                      <a:gd name="T5" fmla="*/ 2147483647 h 1182"/>
                      <a:gd name="T6" fmla="*/ 2147483647 w 1440"/>
                      <a:gd name="T7" fmla="*/ 2147483647 h 1182"/>
                      <a:gd name="T8" fmla="*/ 2147483647 w 1440"/>
                      <a:gd name="T9" fmla="*/ 2147483647 h 1182"/>
                      <a:gd name="T10" fmla="*/ 2147483647 w 1440"/>
                      <a:gd name="T11" fmla="*/ 2147483647 h 1182"/>
                      <a:gd name="T12" fmla="*/ 2147483647 w 1440"/>
                      <a:gd name="T13" fmla="*/ 2147483647 h 1182"/>
                      <a:gd name="T14" fmla="*/ 2147483647 w 1440"/>
                      <a:gd name="T15" fmla="*/ 2147483647 h 1182"/>
                      <a:gd name="T16" fmla="*/ 2147483647 w 1440"/>
                      <a:gd name="T17" fmla="*/ 2147483647 h 1182"/>
                      <a:gd name="T18" fmla="*/ 2147483647 w 1440"/>
                      <a:gd name="T19" fmla="*/ 2147483647 h 1182"/>
                      <a:gd name="T20" fmla="*/ 2147483647 w 1440"/>
                      <a:gd name="T21" fmla="*/ 2147483647 h 1182"/>
                      <a:gd name="T22" fmla="*/ 2147483647 w 1440"/>
                      <a:gd name="T23" fmla="*/ 2147483647 h 1182"/>
                      <a:gd name="T24" fmla="*/ 2147483647 w 1440"/>
                      <a:gd name="T25" fmla="*/ 2147483647 h 1182"/>
                      <a:gd name="T26" fmla="*/ 2147483647 w 1440"/>
                      <a:gd name="T27" fmla="*/ 2147483647 h 1182"/>
                      <a:gd name="T28" fmla="*/ 2147483647 w 1440"/>
                      <a:gd name="T29" fmla="*/ 2147483647 h 1182"/>
                      <a:gd name="T30" fmla="*/ 2147483647 w 1440"/>
                      <a:gd name="T31" fmla="*/ 2147483647 h 1182"/>
                      <a:gd name="T32" fmla="*/ 2147483647 w 1440"/>
                      <a:gd name="T33" fmla="*/ 2147483647 h 1182"/>
                      <a:gd name="T34" fmla="*/ 2147483647 w 1440"/>
                      <a:gd name="T35" fmla="*/ 2147483647 h 1182"/>
                      <a:gd name="T36" fmla="*/ 2147483647 w 1440"/>
                      <a:gd name="T37" fmla="*/ 2147483647 h 1182"/>
                      <a:gd name="T38" fmla="*/ 2147483647 w 1440"/>
                      <a:gd name="T39" fmla="*/ 2147483647 h 1182"/>
                      <a:gd name="T40" fmla="*/ 2147483647 w 1440"/>
                      <a:gd name="T41" fmla="*/ 2147483647 h 1182"/>
                      <a:gd name="T42" fmla="*/ 2147483647 w 1440"/>
                      <a:gd name="T43" fmla="*/ 2147483647 h 1182"/>
                      <a:gd name="T44" fmla="*/ 2147483647 w 1440"/>
                      <a:gd name="T45" fmla="*/ 2147483647 h 1182"/>
                      <a:gd name="T46" fmla="*/ 2147483647 w 1440"/>
                      <a:gd name="T47" fmla="*/ 2147483647 h 1182"/>
                      <a:gd name="T48" fmla="*/ 2147483647 w 1440"/>
                      <a:gd name="T49" fmla="*/ 2147483647 h 1182"/>
                      <a:gd name="T50" fmla="*/ 2147483647 w 1440"/>
                      <a:gd name="T51" fmla="*/ 2147483647 h 1182"/>
                      <a:gd name="T52" fmla="*/ 2147483647 w 1440"/>
                      <a:gd name="T53" fmla="*/ 2147483647 h 1182"/>
                      <a:gd name="T54" fmla="*/ 2147483647 w 1440"/>
                      <a:gd name="T55" fmla="*/ 2147483647 h 1182"/>
                      <a:gd name="T56" fmla="*/ 2147483647 w 1440"/>
                      <a:gd name="T57" fmla="*/ 2147483647 h 1182"/>
                      <a:gd name="T58" fmla="*/ 2147483647 w 1440"/>
                      <a:gd name="T59" fmla="*/ 2147483647 h 1182"/>
                      <a:gd name="T60" fmla="*/ 2147483647 w 1440"/>
                      <a:gd name="T61" fmla="*/ 0 h 1182"/>
                      <a:gd name="T62" fmla="*/ 2147483647 w 1440"/>
                      <a:gd name="T63" fmla="*/ 2147483647 h 1182"/>
                      <a:gd name="T64" fmla="*/ 2147483647 w 1440"/>
                      <a:gd name="T65" fmla="*/ 2147483647 h 1182"/>
                      <a:gd name="T66" fmla="*/ 2147483647 w 1440"/>
                      <a:gd name="T67" fmla="*/ 2147483647 h 1182"/>
                      <a:gd name="T68" fmla="*/ 2147483647 w 1440"/>
                      <a:gd name="T69" fmla="*/ 2147483647 h 1182"/>
                      <a:gd name="T70" fmla="*/ 2147483647 w 1440"/>
                      <a:gd name="T71" fmla="*/ 2147483647 h 1182"/>
                      <a:gd name="T72" fmla="*/ 2147483647 w 1440"/>
                      <a:gd name="T73" fmla="*/ 2147483647 h 1182"/>
                      <a:gd name="T74" fmla="*/ 2147483647 w 1440"/>
                      <a:gd name="T75" fmla="*/ 2147483647 h 1182"/>
                      <a:gd name="T76" fmla="*/ 2147483647 w 1440"/>
                      <a:gd name="T77" fmla="*/ 2147483647 h 1182"/>
                      <a:gd name="T78" fmla="*/ 2147483647 w 1440"/>
                      <a:gd name="T79" fmla="*/ 2147483647 h 1182"/>
                      <a:gd name="T80" fmla="*/ 2147483647 w 1440"/>
                      <a:gd name="T81" fmla="*/ 2147483647 h 1182"/>
                      <a:gd name="T82" fmla="*/ 2147483647 w 1440"/>
                      <a:gd name="T83" fmla="*/ 2147483647 h 1182"/>
                      <a:gd name="T84" fmla="*/ 2147483647 w 1440"/>
                      <a:gd name="T85" fmla="*/ 2147483647 h 1182"/>
                      <a:gd name="T86" fmla="*/ 2147483647 w 1440"/>
                      <a:gd name="T87" fmla="*/ 2147483647 h 1182"/>
                      <a:gd name="T88" fmla="*/ 2147483647 w 1440"/>
                      <a:gd name="T89" fmla="*/ 2147483647 h 1182"/>
                      <a:gd name="T90" fmla="*/ 2147483647 w 1440"/>
                      <a:gd name="T91" fmla="*/ 2147483647 h 1182"/>
                      <a:gd name="T92" fmla="*/ 2147483647 w 1440"/>
                      <a:gd name="T93" fmla="*/ 2147483647 h 1182"/>
                      <a:gd name="T94" fmla="*/ 2147483647 w 1440"/>
                      <a:gd name="T95" fmla="*/ 2147483647 h 1182"/>
                      <a:gd name="T96" fmla="*/ 2147483647 w 1440"/>
                      <a:gd name="T97" fmla="*/ 2147483647 h 1182"/>
                      <a:gd name="T98" fmla="*/ 2147483647 w 1440"/>
                      <a:gd name="T99" fmla="*/ 2147483647 h 1182"/>
                      <a:gd name="T100" fmla="*/ 2147483647 w 1440"/>
                      <a:gd name="T101" fmla="*/ 2147483647 h 1182"/>
                      <a:gd name="T102" fmla="*/ 2147483647 w 1440"/>
                      <a:gd name="T103" fmla="*/ 2147483647 h 1182"/>
                      <a:gd name="T104" fmla="*/ 2147483647 w 1440"/>
                      <a:gd name="T105" fmla="*/ 2147483647 h 1182"/>
                      <a:gd name="T106" fmla="*/ 2147483647 w 1440"/>
                      <a:gd name="T107" fmla="*/ 2147483647 h 1182"/>
                      <a:gd name="T108" fmla="*/ 2147483647 w 1440"/>
                      <a:gd name="T109" fmla="*/ 2147483647 h 1182"/>
                      <a:gd name="T110" fmla="*/ 2147483647 w 1440"/>
                      <a:gd name="T111" fmla="*/ 2147483647 h 118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1440"/>
                      <a:gd name="T169" fmla="*/ 0 h 1182"/>
                      <a:gd name="T170" fmla="*/ 1440 w 1440"/>
                      <a:gd name="T171" fmla="*/ 1182 h 1182"/>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1440" h="1182">
                        <a:moveTo>
                          <a:pt x="1338" y="1176"/>
                        </a:moveTo>
                        <a:lnTo>
                          <a:pt x="1338" y="1170"/>
                        </a:lnTo>
                        <a:lnTo>
                          <a:pt x="1332" y="1158"/>
                        </a:lnTo>
                        <a:lnTo>
                          <a:pt x="1332" y="1128"/>
                        </a:lnTo>
                        <a:lnTo>
                          <a:pt x="1344" y="1116"/>
                        </a:lnTo>
                        <a:lnTo>
                          <a:pt x="1344" y="1110"/>
                        </a:lnTo>
                        <a:lnTo>
                          <a:pt x="1350" y="1104"/>
                        </a:lnTo>
                        <a:lnTo>
                          <a:pt x="1356" y="1086"/>
                        </a:lnTo>
                        <a:lnTo>
                          <a:pt x="1368" y="1086"/>
                        </a:lnTo>
                        <a:lnTo>
                          <a:pt x="1374" y="1080"/>
                        </a:lnTo>
                        <a:lnTo>
                          <a:pt x="1374" y="1074"/>
                        </a:lnTo>
                        <a:lnTo>
                          <a:pt x="1380" y="1074"/>
                        </a:lnTo>
                        <a:lnTo>
                          <a:pt x="1380" y="1068"/>
                        </a:lnTo>
                        <a:lnTo>
                          <a:pt x="1386" y="1062"/>
                        </a:lnTo>
                        <a:lnTo>
                          <a:pt x="1398" y="1056"/>
                        </a:lnTo>
                        <a:lnTo>
                          <a:pt x="1428" y="1056"/>
                        </a:lnTo>
                        <a:lnTo>
                          <a:pt x="1428" y="1062"/>
                        </a:lnTo>
                        <a:lnTo>
                          <a:pt x="1434" y="1062"/>
                        </a:lnTo>
                        <a:lnTo>
                          <a:pt x="1440" y="1056"/>
                        </a:lnTo>
                        <a:lnTo>
                          <a:pt x="1440" y="1044"/>
                        </a:lnTo>
                        <a:lnTo>
                          <a:pt x="1434" y="1026"/>
                        </a:lnTo>
                        <a:lnTo>
                          <a:pt x="1428" y="1014"/>
                        </a:lnTo>
                        <a:lnTo>
                          <a:pt x="1422" y="1008"/>
                        </a:lnTo>
                        <a:lnTo>
                          <a:pt x="1404" y="1008"/>
                        </a:lnTo>
                        <a:lnTo>
                          <a:pt x="1404" y="996"/>
                        </a:lnTo>
                        <a:lnTo>
                          <a:pt x="1398" y="984"/>
                        </a:lnTo>
                        <a:lnTo>
                          <a:pt x="1398" y="960"/>
                        </a:lnTo>
                        <a:lnTo>
                          <a:pt x="1392" y="960"/>
                        </a:lnTo>
                        <a:lnTo>
                          <a:pt x="1398" y="930"/>
                        </a:lnTo>
                        <a:lnTo>
                          <a:pt x="1374" y="930"/>
                        </a:lnTo>
                        <a:lnTo>
                          <a:pt x="1362" y="912"/>
                        </a:lnTo>
                        <a:lnTo>
                          <a:pt x="1350" y="918"/>
                        </a:lnTo>
                        <a:lnTo>
                          <a:pt x="1332" y="918"/>
                        </a:lnTo>
                        <a:lnTo>
                          <a:pt x="1326" y="912"/>
                        </a:lnTo>
                        <a:lnTo>
                          <a:pt x="1314" y="894"/>
                        </a:lnTo>
                        <a:lnTo>
                          <a:pt x="1308" y="876"/>
                        </a:lnTo>
                        <a:lnTo>
                          <a:pt x="1296" y="864"/>
                        </a:lnTo>
                        <a:lnTo>
                          <a:pt x="1284" y="846"/>
                        </a:lnTo>
                        <a:lnTo>
                          <a:pt x="1278" y="840"/>
                        </a:lnTo>
                        <a:lnTo>
                          <a:pt x="1272" y="828"/>
                        </a:lnTo>
                        <a:lnTo>
                          <a:pt x="1248" y="804"/>
                        </a:lnTo>
                        <a:lnTo>
                          <a:pt x="1242" y="804"/>
                        </a:lnTo>
                        <a:lnTo>
                          <a:pt x="1242" y="792"/>
                        </a:lnTo>
                        <a:lnTo>
                          <a:pt x="1260" y="774"/>
                        </a:lnTo>
                        <a:lnTo>
                          <a:pt x="1266" y="762"/>
                        </a:lnTo>
                        <a:lnTo>
                          <a:pt x="1272" y="756"/>
                        </a:lnTo>
                        <a:lnTo>
                          <a:pt x="1296" y="708"/>
                        </a:lnTo>
                        <a:lnTo>
                          <a:pt x="1284" y="684"/>
                        </a:lnTo>
                        <a:lnTo>
                          <a:pt x="1278" y="678"/>
                        </a:lnTo>
                        <a:lnTo>
                          <a:pt x="1242" y="678"/>
                        </a:lnTo>
                        <a:lnTo>
                          <a:pt x="1230" y="672"/>
                        </a:lnTo>
                        <a:lnTo>
                          <a:pt x="1224" y="672"/>
                        </a:lnTo>
                        <a:lnTo>
                          <a:pt x="1218" y="666"/>
                        </a:lnTo>
                        <a:lnTo>
                          <a:pt x="1218" y="612"/>
                        </a:lnTo>
                        <a:lnTo>
                          <a:pt x="1212" y="606"/>
                        </a:lnTo>
                        <a:lnTo>
                          <a:pt x="1200" y="582"/>
                        </a:lnTo>
                        <a:lnTo>
                          <a:pt x="1188" y="564"/>
                        </a:lnTo>
                        <a:lnTo>
                          <a:pt x="1176" y="540"/>
                        </a:lnTo>
                        <a:lnTo>
                          <a:pt x="1182" y="528"/>
                        </a:lnTo>
                        <a:lnTo>
                          <a:pt x="1200" y="510"/>
                        </a:lnTo>
                        <a:lnTo>
                          <a:pt x="1200" y="504"/>
                        </a:lnTo>
                        <a:lnTo>
                          <a:pt x="1194" y="498"/>
                        </a:lnTo>
                        <a:lnTo>
                          <a:pt x="1170" y="498"/>
                        </a:lnTo>
                        <a:lnTo>
                          <a:pt x="1170" y="468"/>
                        </a:lnTo>
                        <a:lnTo>
                          <a:pt x="1158" y="456"/>
                        </a:lnTo>
                        <a:lnTo>
                          <a:pt x="1158" y="450"/>
                        </a:lnTo>
                        <a:lnTo>
                          <a:pt x="1164" y="444"/>
                        </a:lnTo>
                        <a:lnTo>
                          <a:pt x="1176" y="438"/>
                        </a:lnTo>
                        <a:lnTo>
                          <a:pt x="1182" y="432"/>
                        </a:lnTo>
                        <a:lnTo>
                          <a:pt x="1188" y="432"/>
                        </a:lnTo>
                        <a:lnTo>
                          <a:pt x="1176" y="414"/>
                        </a:lnTo>
                        <a:lnTo>
                          <a:pt x="1200" y="408"/>
                        </a:lnTo>
                        <a:lnTo>
                          <a:pt x="1200" y="402"/>
                        </a:lnTo>
                        <a:lnTo>
                          <a:pt x="1194" y="396"/>
                        </a:lnTo>
                        <a:lnTo>
                          <a:pt x="1194" y="372"/>
                        </a:lnTo>
                        <a:lnTo>
                          <a:pt x="1188" y="360"/>
                        </a:lnTo>
                        <a:lnTo>
                          <a:pt x="1188" y="354"/>
                        </a:lnTo>
                        <a:lnTo>
                          <a:pt x="1194" y="342"/>
                        </a:lnTo>
                        <a:lnTo>
                          <a:pt x="1200" y="336"/>
                        </a:lnTo>
                        <a:lnTo>
                          <a:pt x="1188" y="306"/>
                        </a:lnTo>
                        <a:lnTo>
                          <a:pt x="1194" y="282"/>
                        </a:lnTo>
                        <a:lnTo>
                          <a:pt x="1182" y="282"/>
                        </a:lnTo>
                        <a:lnTo>
                          <a:pt x="1182" y="246"/>
                        </a:lnTo>
                        <a:lnTo>
                          <a:pt x="1116" y="252"/>
                        </a:lnTo>
                        <a:lnTo>
                          <a:pt x="1110" y="246"/>
                        </a:lnTo>
                        <a:lnTo>
                          <a:pt x="1104" y="234"/>
                        </a:lnTo>
                        <a:lnTo>
                          <a:pt x="1092" y="228"/>
                        </a:lnTo>
                        <a:lnTo>
                          <a:pt x="1080" y="216"/>
                        </a:lnTo>
                        <a:lnTo>
                          <a:pt x="1068" y="216"/>
                        </a:lnTo>
                        <a:lnTo>
                          <a:pt x="1062" y="210"/>
                        </a:lnTo>
                        <a:lnTo>
                          <a:pt x="1056" y="210"/>
                        </a:lnTo>
                        <a:lnTo>
                          <a:pt x="1050" y="204"/>
                        </a:lnTo>
                        <a:lnTo>
                          <a:pt x="1044" y="192"/>
                        </a:lnTo>
                        <a:lnTo>
                          <a:pt x="1044" y="186"/>
                        </a:lnTo>
                        <a:lnTo>
                          <a:pt x="1038" y="180"/>
                        </a:lnTo>
                        <a:lnTo>
                          <a:pt x="1032" y="180"/>
                        </a:lnTo>
                        <a:lnTo>
                          <a:pt x="1020" y="174"/>
                        </a:lnTo>
                        <a:lnTo>
                          <a:pt x="1002" y="174"/>
                        </a:lnTo>
                        <a:lnTo>
                          <a:pt x="990" y="168"/>
                        </a:lnTo>
                        <a:lnTo>
                          <a:pt x="972" y="168"/>
                        </a:lnTo>
                        <a:lnTo>
                          <a:pt x="972" y="174"/>
                        </a:lnTo>
                        <a:lnTo>
                          <a:pt x="960" y="168"/>
                        </a:lnTo>
                        <a:lnTo>
                          <a:pt x="954" y="162"/>
                        </a:lnTo>
                        <a:lnTo>
                          <a:pt x="942" y="156"/>
                        </a:lnTo>
                        <a:lnTo>
                          <a:pt x="936" y="150"/>
                        </a:lnTo>
                        <a:lnTo>
                          <a:pt x="906" y="150"/>
                        </a:lnTo>
                        <a:lnTo>
                          <a:pt x="906" y="138"/>
                        </a:lnTo>
                        <a:lnTo>
                          <a:pt x="894" y="126"/>
                        </a:lnTo>
                        <a:lnTo>
                          <a:pt x="834" y="126"/>
                        </a:lnTo>
                        <a:lnTo>
                          <a:pt x="834" y="132"/>
                        </a:lnTo>
                        <a:lnTo>
                          <a:pt x="828" y="138"/>
                        </a:lnTo>
                        <a:lnTo>
                          <a:pt x="816" y="132"/>
                        </a:lnTo>
                        <a:lnTo>
                          <a:pt x="780" y="132"/>
                        </a:lnTo>
                        <a:lnTo>
                          <a:pt x="768" y="138"/>
                        </a:lnTo>
                        <a:lnTo>
                          <a:pt x="750" y="156"/>
                        </a:lnTo>
                        <a:lnTo>
                          <a:pt x="738" y="162"/>
                        </a:lnTo>
                        <a:lnTo>
                          <a:pt x="732" y="168"/>
                        </a:lnTo>
                        <a:lnTo>
                          <a:pt x="732" y="180"/>
                        </a:lnTo>
                        <a:lnTo>
                          <a:pt x="720" y="186"/>
                        </a:lnTo>
                        <a:lnTo>
                          <a:pt x="708" y="198"/>
                        </a:lnTo>
                        <a:lnTo>
                          <a:pt x="678" y="198"/>
                        </a:lnTo>
                        <a:lnTo>
                          <a:pt x="690" y="210"/>
                        </a:lnTo>
                        <a:lnTo>
                          <a:pt x="690" y="222"/>
                        </a:lnTo>
                        <a:lnTo>
                          <a:pt x="696" y="228"/>
                        </a:lnTo>
                        <a:lnTo>
                          <a:pt x="696" y="234"/>
                        </a:lnTo>
                        <a:lnTo>
                          <a:pt x="690" y="240"/>
                        </a:lnTo>
                        <a:lnTo>
                          <a:pt x="678" y="240"/>
                        </a:lnTo>
                        <a:lnTo>
                          <a:pt x="666" y="234"/>
                        </a:lnTo>
                        <a:lnTo>
                          <a:pt x="660" y="228"/>
                        </a:lnTo>
                        <a:lnTo>
                          <a:pt x="654" y="228"/>
                        </a:lnTo>
                        <a:lnTo>
                          <a:pt x="648" y="234"/>
                        </a:lnTo>
                        <a:lnTo>
                          <a:pt x="624" y="234"/>
                        </a:lnTo>
                        <a:lnTo>
                          <a:pt x="612" y="240"/>
                        </a:lnTo>
                        <a:lnTo>
                          <a:pt x="600" y="240"/>
                        </a:lnTo>
                        <a:lnTo>
                          <a:pt x="582" y="246"/>
                        </a:lnTo>
                        <a:lnTo>
                          <a:pt x="558" y="258"/>
                        </a:lnTo>
                        <a:lnTo>
                          <a:pt x="546" y="252"/>
                        </a:lnTo>
                        <a:lnTo>
                          <a:pt x="534" y="252"/>
                        </a:lnTo>
                        <a:lnTo>
                          <a:pt x="522" y="246"/>
                        </a:lnTo>
                        <a:lnTo>
                          <a:pt x="498" y="246"/>
                        </a:lnTo>
                        <a:lnTo>
                          <a:pt x="480" y="240"/>
                        </a:lnTo>
                        <a:lnTo>
                          <a:pt x="468" y="228"/>
                        </a:lnTo>
                        <a:lnTo>
                          <a:pt x="456" y="222"/>
                        </a:lnTo>
                        <a:lnTo>
                          <a:pt x="444" y="210"/>
                        </a:lnTo>
                        <a:lnTo>
                          <a:pt x="438" y="198"/>
                        </a:lnTo>
                        <a:lnTo>
                          <a:pt x="432" y="192"/>
                        </a:lnTo>
                        <a:lnTo>
                          <a:pt x="432" y="186"/>
                        </a:lnTo>
                        <a:lnTo>
                          <a:pt x="378" y="186"/>
                        </a:lnTo>
                        <a:lnTo>
                          <a:pt x="354" y="162"/>
                        </a:lnTo>
                        <a:lnTo>
                          <a:pt x="336" y="126"/>
                        </a:lnTo>
                        <a:lnTo>
                          <a:pt x="330" y="120"/>
                        </a:lnTo>
                        <a:lnTo>
                          <a:pt x="330" y="114"/>
                        </a:lnTo>
                        <a:lnTo>
                          <a:pt x="312" y="114"/>
                        </a:lnTo>
                        <a:lnTo>
                          <a:pt x="312" y="108"/>
                        </a:lnTo>
                        <a:lnTo>
                          <a:pt x="306" y="102"/>
                        </a:lnTo>
                        <a:lnTo>
                          <a:pt x="300" y="102"/>
                        </a:lnTo>
                        <a:lnTo>
                          <a:pt x="294" y="96"/>
                        </a:lnTo>
                        <a:lnTo>
                          <a:pt x="282" y="90"/>
                        </a:lnTo>
                        <a:lnTo>
                          <a:pt x="270" y="78"/>
                        </a:lnTo>
                        <a:lnTo>
                          <a:pt x="270" y="72"/>
                        </a:lnTo>
                        <a:lnTo>
                          <a:pt x="282" y="72"/>
                        </a:lnTo>
                        <a:lnTo>
                          <a:pt x="288" y="66"/>
                        </a:lnTo>
                        <a:lnTo>
                          <a:pt x="288" y="60"/>
                        </a:lnTo>
                        <a:lnTo>
                          <a:pt x="282" y="54"/>
                        </a:lnTo>
                        <a:lnTo>
                          <a:pt x="276" y="54"/>
                        </a:lnTo>
                        <a:lnTo>
                          <a:pt x="276" y="42"/>
                        </a:lnTo>
                        <a:lnTo>
                          <a:pt x="282" y="36"/>
                        </a:lnTo>
                        <a:lnTo>
                          <a:pt x="282" y="18"/>
                        </a:lnTo>
                        <a:lnTo>
                          <a:pt x="276" y="12"/>
                        </a:lnTo>
                        <a:lnTo>
                          <a:pt x="270" y="0"/>
                        </a:lnTo>
                        <a:lnTo>
                          <a:pt x="258" y="0"/>
                        </a:lnTo>
                        <a:lnTo>
                          <a:pt x="246" y="6"/>
                        </a:lnTo>
                        <a:lnTo>
                          <a:pt x="234" y="18"/>
                        </a:lnTo>
                        <a:lnTo>
                          <a:pt x="222" y="24"/>
                        </a:lnTo>
                        <a:lnTo>
                          <a:pt x="204" y="36"/>
                        </a:lnTo>
                        <a:lnTo>
                          <a:pt x="192" y="48"/>
                        </a:lnTo>
                        <a:lnTo>
                          <a:pt x="192" y="54"/>
                        </a:lnTo>
                        <a:lnTo>
                          <a:pt x="186" y="60"/>
                        </a:lnTo>
                        <a:lnTo>
                          <a:pt x="180" y="72"/>
                        </a:lnTo>
                        <a:lnTo>
                          <a:pt x="132" y="72"/>
                        </a:lnTo>
                        <a:lnTo>
                          <a:pt x="96" y="60"/>
                        </a:lnTo>
                        <a:lnTo>
                          <a:pt x="84" y="54"/>
                        </a:lnTo>
                        <a:lnTo>
                          <a:pt x="66" y="36"/>
                        </a:lnTo>
                        <a:lnTo>
                          <a:pt x="54" y="12"/>
                        </a:lnTo>
                        <a:lnTo>
                          <a:pt x="54" y="6"/>
                        </a:lnTo>
                        <a:lnTo>
                          <a:pt x="48" y="0"/>
                        </a:lnTo>
                        <a:lnTo>
                          <a:pt x="42" y="0"/>
                        </a:lnTo>
                        <a:lnTo>
                          <a:pt x="24" y="18"/>
                        </a:lnTo>
                        <a:lnTo>
                          <a:pt x="24" y="30"/>
                        </a:lnTo>
                        <a:lnTo>
                          <a:pt x="0" y="30"/>
                        </a:lnTo>
                        <a:lnTo>
                          <a:pt x="18" y="54"/>
                        </a:lnTo>
                        <a:lnTo>
                          <a:pt x="18" y="84"/>
                        </a:lnTo>
                        <a:lnTo>
                          <a:pt x="30" y="96"/>
                        </a:lnTo>
                        <a:lnTo>
                          <a:pt x="30" y="108"/>
                        </a:lnTo>
                        <a:lnTo>
                          <a:pt x="36" y="114"/>
                        </a:lnTo>
                        <a:lnTo>
                          <a:pt x="42" y="114"/>
                        </a:lnTo>
                        <a:lnTo>
                          <a:pt x="36" y="120"/>
                        </a:lnTo>
                        <a:lnTo>
                          <a:pt x="36" y="126"/>
                        </a:lnTo>
                        <a:lnTo>
                          <a:pt x="30" y="138"/>
                        </a:lnTo>
                        <a:lnTo>
                          <a:pt x="24" y="144"/>
                        </a:lnTo>
                        <a:lnTo>
                          <a:pt x="60" y="162"/>
                        </a:lnTo>
                        <a:lnTo>
                          <a:pt x="60" y="192"/>
                        </a:lnTo>
                        <a:lnTo>
                          <a:pt x="84" y="198"/>
                        </a:lnTo>
                        <a:lnTo>
                          <a:pt x="84" y="210"/>
                        </a:lnTo>
                        <a:lnTo>
                          <a:pt x="96" y="246"/>
                        </a:lnTo>
                        <a:lnTo>
                          <a:pt x="108" y="270"/>
                        </a:lnTo>
                        <a:lnTo>
                          <a:pt x="120" y="282"/>
                        </a:lnTo>
                        <a:lnTo>
                          <a:pt x="120" y="300"/>
                        </a:lnTo>
                        <a:lnTo>
                          <a:pt x="144" y="306"/>
                        </a:lnTo>
                        <a:lnTo>
                          <a:pt x="156" y="324"/>
                        </a:lnTo>
                        <a:lnTo>
                          <a:pt x="162" y="318"/>
                        </a:lnTo>
                        <a:lnTo>
                          <a:pt x="174" y="312"/>
                        </a:lnTo>
                        <a:lnTo>
                          <a:pt x="186" y="312"/>
                        </a:lnTo>
                        <a:lnTo>
                          <a:pt x="186" y="318"/>
                        </a:lnTo>
                        <a:lnTo>
                          <a:pt x="168" y="336"/>
                        </a:lnTo>
                        <a:lnTo>
                          <a:pt x="168" y="342"/>
                        </a:lnTo>
                        <a:lnTo>
                          <a:pt x="180" y="354"/>
                        </a:lnTo>
                        <a:lnTo>
                          <a:pt x="186" y="366"/>
                        </a:lnTo>
                        <a:lnTo>
                          <a:pt x="186" y="372"/>
                        </a:lnTo>
                        <a:lnTo>
                          <a:pt x="174" y="384"/>
                        </a:lnTo>
                        <a:lnTo>
                          <a:pt x="168" y="384"/>
                        </a:lnTo>
                        <a:lnTo>
                          <a:pt x="168" y="414"/>
                        </a:lnTo>
                        <a:lnTo>
                          <a:pt x="156" y="414"/>
                        </a:lnTo>
                        <a:lnTo>
                          <a:pt x="144" y="426"/>
                        </a:lnTo>
                        <a:lnTo>
                          <a:pt x="144" y="432"/>
                        </a:lnTo>
                        <a:lnTo>
                          <a:pt x="156" y="444"/>
                        </a:lnTo>
                        <a:lnTo>
                          <a:pt x="150" y="450"/>
                        </a:lnTo>
                        <a:lnTo>
                          <a:pt x="144" y="462"/>
                        </a:lnTo>
                        <a:lnTo>
                          <a:pt x="144" y="468"/>
                        </a:lnTo>
                        <a:lnTo>
                          <a:pt x="150" y="474"/>
                        </a:lnTo>
                        <a:lnTo>
                          <a:pt x="162" y="480"/>
                        </a:lnTo>
                        <a:lnTo>
                          <a:pt x="174" y="492"/>
                        </a:lnTo>
                        <a:lnTo>
                          <a:pt x="198" y="504"/>
                        </a:lnTo>
                        <a:lnTo>
                          <a:pt x="204" y="510"/>
                        </a:lnTo>
                        <a:lnTo>
                          <a:pt x="210" y="510"/>
                        </a:lnTo>
                        <a:lnTo>
                          <a:pt x="210" y="552"/>
                        </a:lnTo>
                        <a:lnTo>
                          <a:pt x="234" y="552"/>
                        </a:lnTo>
                        <a:lnTo>
                          <a:pt x="240" y="558"/>
                        </a:lnTo>
                        <a:lnTo>
                          <a:pt x="252" y="564"/>
                        </a:lnTo>
                        <a:lnTo>
                          <a:pt x="270" y="582"/>
                        </a:lnTo>
                        <a:lnTo>
                          <a:pt x="288" y="582"/>
                        </a:lnTo>
                        <a:lnTo>
                          <a:pt x="294" y="588"/>
                        </a:lnTo>
                        <a:lnTo>
                          <a:pt x="300" y="600"/>
                        </a:lnTo>
                        <a:lnTo>
                          <a:pt x="330" y="636"/>
                        </a:lnTo>
                        <a:lnTo>
                          <a:pt x="330" y="648"/>
                        </a:lnTo>
                        <a:lnTo>
                          <a:pt x="324" y="660"/>
                        </a:lnTo>
                        <a:lnTo>
                          <a:pt x="324" y="696"/>
                        </a:lnTo>
                        <a:lnTo>
                          <a:pt x="330" y="702"/>
                        </a:lnTo>
                        <a:lnTo>
                          <a:pt x="342" y="708"/>
                        </a:lnTo>
                        <a:lnTo>
                          <a:pt x="348" y="714"/>
                        </a:lnTo>
                        <a:lnTo>
                          <a:pt x="354" y="714"/>
                        </a:lnTo>
                        <a:lnTo>
                          <a:pt x="360" y="744"/>
                        </a:lnTo>
                        <a:lnTo>
                          <a:pt x="372" y="750"/>
                        </a:lnTo>
                        <a:lnTo>
                          <a:pt x="384" y="762"/>
                        </a:lnTo>
                        <a:lnTo>
                          <a:pt x="384" y="768"/>
                        </a:lnTo>
                        <a:lnTo>
                          <a:pt x="390" y="774"/>
                        </a:lnTo>
                        <a:lnTo>
                          <a:pt x="402" y="780"/>
                        </a:lnTo>
                        <a:lnTo>
                          <a:pt x="408" y="786"/>
                        </a:lnTo>
                        <a:lnTo>
                          <a:pt x="420" y="792"/>
                        </a:lnTo>
                        <a:lnTo>
                          <a:pt x="426" y="786"/>
                        </a:lnTo>
                        <a:lnTo>
                          <a:pt x="426" y="774"/>
                        </a:lnTo>
                        <a:lnTo>
                          <a:pt x="420" y="768"/>
                        </a:lnTo>
                        <a:lnTo>
                          <a:pt x="420" y="762"/>
                        </a:lnTo>
                        <a:lnTo>
                          <a:pt x="426" y="756"/>
                        </a:lnTo>
                        <a:lnTo>
                          <a:pt x="438" y="750"/>
                        </a:lnTo>
                        <a:lnTo>
                          <a:pt x="444" y="756"/>
                        </a:lnTo>
                        <a:lnTo>
                          <a:pt x="450" y="756"/>
                        </a:lnTo>
                        <a:lnTo>
                          <a:pt x="450" y="768"/>
                        </a:lnTo>
                        <a:lnTo>
                          <a:pt x="456" y="780"/>
                        </a:lnTo>
                        <a:lnTo>
                          <a:pt x="474" y="780"/>
                        </a:lnTo>
                        <a:lnTo>
                          <a:pt x="474" y="786"/>
                        </a:lnTo>
                        <a:lnTo>
                          <a:pt x="474" y="780"/>
                        </a:lnTo>
                        <a:lnTo>
                          <a:pt x="480" y="780"/>
                        </a:lnTo>
                        <a:lnTo>
                          <a:pt x="480" y="768"/>
                        </a:lnTo>
                        <a:lnTo>
                          <a:pt x="504" y="768"/>
                        </a:lnTo>
                        <a:lnTo>
                          <a:pt x="504" y="804"/>
                        </a:lnTo>
                        <a:lnTo>
                          <a:pt x="510" y="810"/>
                        </a:lnTo>
                        <a:lnTo>
                          <a:pt x="516" y="810"/>
                        </a:lnTo>
                        <a:lnTo>
                          <a:pt x="528" y="816"/>
                        </a:lnTo>
                        <a:lnTo>
                          <a:pt x="540" y="828"/>
                        </a:lnTo>
                        <a:lnTo>
                          <a:pt x="540" y="846"/>
                        </a:lnTo>
                        <a:lnTo>
                          <a:pt x="552" y="858"/>
                        </a:lnTo>
                        <a:lnTo>
                          <a:pt x="558" y="870"/>
                        </a:lnTo>
                        <a:lnTo>
                          <a:pt x="564" y="876"/>
                        </a:lnTo>
                        <a:lnTo>
                          <a:pt x="570" y="876"/>
                        </a:lnTo>
                        <a:lnTo>
                          <a:pt x="582" y="894"/>
                        </a:lnTo>
                        <a:lnTo>
                          <a:pt x="582" y="906"/>
                        </a:lnTo>
                        <a:lnTo>
                          <a:pt x="594" y="930"/>
                        </a:lnTo>
                        <a:lnTo>
                          <a:pt x="600" y="936"/>
                        </a:lnTo>
                        <a:lnTo>
                          <a:pt x="606" y="936"/>
                        </a:lnTo>
                        <a:lnTo>
                          <a:pt x="612" y="942"/>
                        </a:lnTo>
                        <a:lnTo>
                          <a:pt x="618" y="954"/>
                        </a:lnTo>
                        <a:lnTo>
                          <a:pt x="618" y="960"/>
                        </a:lnTo>
                        <a:lnTo>
                          <a:pt x="648" y="960"/>
                        </a:lnTo>
                        <a:lnTo>
                          <a:pt x="666" y="984"/>
                        </a:lnTo>
                        <a:lnTo>
                          <a:pt x="684" y="978"/>
                        </a:lnTo>
                        <a:lnTo>
                          <a:pt x="702" y="978"/>
                        </a:lnTo>
                        <a:lnTo>
                          <a:pt x="720" y="996"/>
                        </a:lnTo>
                        <a:lnTo>
                          <a:pt x="738" y="1008"/>
                        </a:lnTo>
                        <a:lnTo>
                          <a:pt x="756" y="1026"/>
                        </a:lnTo>
                        <a:lnTo>
                          <a:pt x="792" y="1050"/>
                        </a:lnTo>
                        <a:lnTo>
                          <a:pt x="810" y="1050"/>
                        </a:lnTo>
                        <a:lnTo>
                          <a:pt x="822" y="1056"/>
                        </a:lnTo>
                        <a:lnTo>
                          <a:pt x="834" y="1068"/>
                        </a:lnTo>
                        <a:lnTo>
                          <a:pt x="852" y="1068"/>
                        </a:lnTo>
                        <a:lnTo>
                          <a:pt x="876" y="1056"/>
                        </a:lnTo>
                        <a:lnTo>
                          <a:pt x="876" y="1050"/>
                        </a:lnTo>
                        <a:lnTo>
                          <a:pt x="900" y="1056"/>
                        </a:lnTo>
                        <a:lnTo>
                          <a:pt x="912" y="1032"/>
                        </a:lnTo>
                        <a:lnTo>
                          <a:pt x="930" y="1032"/>
                        </a:lnTo>
                        <a:lnTo>
                          <a:pt x="954" y="1008"/>
                        </a:lnTo>
                        <a:lnTo>
                          <a:pt x="966" y="1020"/>
                        </a:lnTo>
                        <a:lnTo>
                          <a:pt x="972" y="1014"/>
                        </a:lnTo>
                        <a:lnTo>
                          <a:pt x="984" y="1014"/>
                        </a:lnTo>
                        <a:lnTo>
                          <a:pt x="1002" y="1032"/>
                        </a:lnTo>
                        <a:lnTo>
                          <a:pt x="1014" y="1050"/>
                        </a:lnTo>
                        <a:lnTo>
                          <a:pt x="1020" y="1068"/>
                        </a:lnTo>
                        <a:lnTo>
                          <a:pt x="1032" y="1080"/>
                        </a:lnTo>
                        <a:lnTo>
                          <a:pt x="1032" y="1098"/>
                        </a:lnTo>
                        <a:lnTo>
                          <a:pt x="1038" y="1110"/>
                        </a:lnTo>
                        <a:lnTo>
                          <a:pt x="1044" y="1116"/>
                        </a:lnTo>
                        <a:lnTo>
                          <a:pt x="1056" y="1122"/>
                        </a:lnTo>
                        <a:lnTo>
                          <a:pt x="1080" y="1122"/>
                        </a:lnTo>
                        <a:lnTo>
                          <a:pt x="1080" y="1128"/>
                        </a:lnTo>
                        <a:lnTo>
                          <a:pt x="1086" y="1134"/>
                        </a:lnTo>
                        <a:lnTo>
                          <a:pt x="1098" y="1140"/>
                        </a:lnTo>
                        <a:lnTo>
                          <a:pt x="1164" y="1140"/>
                        </a:lnTo>
                        <a:lnTo>
                          <a:pt x="1176" y="1146"/>
                        </a:lnTo>
                        <a:lnTo>
                          <a:pt x="1200" y="1170"/>
                        </a:lnTo>
                        <a:lnTo>
                          <a:pt x="1212" y="1170"/>
                        </a:lnTo>
                        <a:lnTo>
                          <a:pt x="1224" y="1164"/>
                        </a:lnTo>
                        <a:lnTo>
                          <a:pt x="1230" y="1164"/>
                        </a:lnTo>
                        <a:lnTo>
                          <a:pt x="1242" y="1158"/>
                        </a:lnTo>
                        <a:lnTo>
                          <a:pt x="1248" y="1158"/>
                        </a:lnTo>
                        <a:lnTo>
                          <a:pt x="1254" y="1164"/>
                        </a:lnTo>
                        <a:lnTo>
                          <a:pt x="1278" y="1176"/>
                        </a:lnTo>
                        <a:lnTo>
                          <a:pt x="1296" y="1182"/>
                        </a:lnTo>
                        <a:lnTo>
                          <a:pt x="1326" y="1182"/>
                        </a:lnTo>
                        <a:lnTo>
                          <a:pt x="1338" y="117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21" name="Indonesia"/>
                  <p:cNvSpPr>
                    <a:spLocks noEditPoints="1"/>
                  </p:cNvSpPr>
                  <p:nvPr/>
                </p:nvSpPr>
                <p:spPr bwMode="gray">
                  <a:xfrm>
                    <a:off x="4384" y="2193"/>
                    <a:ext cx="835" cy="333"/>
                  </a:xfrm>
                  <a:custGeom>
                    <a:avLst/>
                    <a:gdLst>
                      <a:gd name="T0" fmla="*/ 2147483647 w 3264"/>
                      <a:gd name="T1" fmla="*/ 2147483647 h 1302"/>
                      <a:gd name="T2" fmla="*/ 2147483647 w 3264"/>
                      <a:gd name="T3" fmla="*/ 2147483647 h 1302"/>
                      <a:gd name="T4" fmla="*/ 2147483647 w 3264"/>
                      <a:gd name="T5" fmla="*/ 2147483647 h 1302"/>
                      <a:gd name="T6" fmla="*/ 2147483647 w 3264"/>
                      <a:gd name="T7" fmla="*/ 2147483647 h 1302"/>
                      <a:gd name="T8" fmla="*/ 2147483647 w 3264"/>
                      <a:gd name="T9" fmla="*/ 2147483647 h 1302"/>
                      <a:gd name="T10" fmla="*/ 2147483647 w 3264"/>
                      <a:gd name="T11" fmla="*/ 2147483647 h 1302"/>
                      <a:gd name="T12" fmla="*/ 2147483647 w 3264"/>
                      <a:gd name="T13" fmla="*/ 2147483647 h 1302"/>
                      <a:gd name="T14" fmla="*/ 2147483647 w 3264"/>
                      <a:gd name="T15" fmla="*/ 2147483647 h 1302"/>
                      <a:gd name="T16" fmla="*/ 2147483647 w 3264"/>
                      <a:gd name="T17" fmla="*/ 2147483647 h 1302"/>
                      <a:gd name="T18" fmla="*/ 2147483647 w 3264"/>
                      <a:gd name="T19" fmla="*/ 2147483647 h 1302"/>
                      <a:gd name="T20" fmla="*/ 2147483647 w 3264"/>
                      <a:gd name="T21" fmla="*/ 2147483647 h 1302"/>
                      <a:gd name="T22" fmla="*/ 2147483647 w 3264"/>
                      <a:gd name="T23" fmla="*/ 2147483647 h 1302"/>
                      <a:gd name="T24" fmla="*/ 2147483647 w 3264"/>
                      <a:gd name="T25" fmla="*/ 2147483647 h 1302"/>
                      <a:gd name="T26" fmla="*/ 2147483647 w 3264"/>
                      <a:gd name="T27" fmla="*/ 2147483647 h 1302"/>
                      <a:gd name="T28" fmla="*/ 2147483647 w 3264"/>
                      <a:gd name="T29" fmla="*/ 2147483647 h 1302"/>
                      <a:gd name="T30" fmla="*/ 2147483647 w 3264"/>
                      <a:gd name="T31" fmla="*/ 2147483647 h 1302"/>
                      <a:gd name="T32" fmla="*/ 2147483647 w 3264"/>
                      <a:gd name="T33" fmla="*/ 2147483647 h 1302"/>
                      <a:gd name="T34" fmla="*/ 2147483647 w 3264"/>
                      <a:gd name="T35" fmla="*/ 2147483647 h 1302"/>
                      <a:gd name="T36" fmla="*/ 2147483647 w 3264"/>
                      <a:gd name="T37" fmla="*/ 2147483647 h 1302"/>
                      <a:gd name="T38" fmla="*/ 2147483647 w 3264"/>
                      <a:gd name="T39" fmla="*/ 2147483647 h 1302"/>
                      <a:gd name="T40" fmla="*/ 2147483647 w 3264"/>
                      <a:gd name="T41" fmla="*/ 2147483647 h 1302"/>
                      <a:gd name="T42" fmla="*/ 2147483647 w 3264"/>
                      <a:gd name="T43" fmla="*/ 2147483647 h 1302"/>
                      <a:gd name="T44" fmla="*/ 2147483647 w 3264"/>
                      <a:gd name="T45" fmla="*/ 2147483647 h 1302"/>
                      <a:gd name="T46" fmla="*/ 2147483647 w 3264"/>
                      <a:gd name="T47" fmla="*/ 2147483647 h 1302"/>
                      <a:gd name="T48" fmla="*/ 2147483647 w 3264"/>
                      <a:gd name="T49" fmla="*/ 2147483647 h 1302"/>
                      <a:gd name="T50" fmla="*/ 2147483647 w 3264"/>
                      <a:gd name="T51" fmla="*/ 2147483647 h 1302"/>
                      <a:gd name="T52" fmla="*/ 2147483647 w 3264"/>
                      <a:gd name="T53" fmla="*/ 2147483647 h 1302"/>
                      <a:gd name="T54" fmla="*/ 2147483647 w 3264"/>
                      <a:gd name="T55" fmla="*/ 2147483647 h 1302"/>
                      <a:gd name="T56" fmla="*/ 2147483647 w 3264"/>
                      <a:gd name="T57" fmla="*/ 2147483647 h 1302"/>
                      <a:gd name="T58" fmla="*/ 2147483647 w 3264"/>
                      <a:gd name="T59" fmla="*/ 2147483647 h 1302"/>
                      <a:gd name="T60" fmla="*/ 2147483647 w 3264"/>
                      <a:gd name="T61" fmla="*/ 2147483647 h 1302"/>
                      <a:gd name="T62" fmla="*/ 2147483647 w 3264"/>
                      <a:gd name="T63" fmla="*/ 2147483647 h 1302"/>
                      <a:gd name="T64" fmla="*/ 2147483647 w 3264"/>
                      <a:gd name="T65" fmla="*/ 2147483647 h 1302"/>
                      <a:gd name="T66" fmla="*/ 2147483647 w 3264"/>
                      <a:gd name="T67" fmla="*/ 2147483647 h 1302"/>
                      <a:gd name="T68" fmla="*/ 2147483647 w 3264"/>
                      <a:gd name="T69" fmla="*/ 2147483647 h 1302"/>
                      <a:gd name="T70" fmla="*/ 2147483647 w 3264"/>
                      <a:gd name="T71" fmla="*/ 2147483647 h 1302"/>
                      <a:gd name="T72" fmla="*/ 2147483647 w 3264"/>
                      <a:gd name="T73" fmla="*/ 2147483647 h 1302"/>
                      <a:gd name="T74" fmla="*/ 2147483647 w 3264"/>
                      <a:gd name="T75" fmla="*/ 2147483647 h 1302"/>
                      <a:gd name="T76" fmla="*/ 2147483647 w 3264"/>
                      <a:gd name="T77" fmla="*/ 2147483647 h 1302"/>
                      <a:gd name="T78" fmla="*/ 2147483647 w 3264"/>
                      <a:gd name="T79" fmla="*/ 2147483647 h 1302"/>
                      <a:gd name="T80" fmla="*/ 2147483647 w 3264"/>
                      <a:gd name="T81" fmla="*/ 2147483647 h 1302"/>
                      <a:gd name="T82" fmla="*/ 2147483647 w 3264"/>
                      <a:gd name="T83" fmla="*/ 2147483647 h 1302"/>
                      <a:gd name="T84" fmla="*/ 2147483647 w 3264"/>
                      <a:gd name="T85" fmla="*/ 2147483647 h 1302"/>
                      <a:gd name="T86" fmla="*/ 2147483647 w 3264"/>
                      <a:gd name="T87" fmla="*/ 2147483647 h 1302"/>
                      <a:gd name="T88" fmla="*/ 2147483647 w 3264"/>
                      <a:gd name="T89" fmla="*/ 2147483647 h 1302"/>
                      <a:gd name="T90" fmla="*/ 2147483647 w 3264"/>
                      <a:gd name="T91" fmla="*/ 2147483647 h 1302"/>
                      <a:gd name="T92" fmla="*/ 2147483647 w 3264"/>
                      <a:gd name="T93" fmla="*/ 2147483647 h 1302"/>
                      <a:gd name="T94" fmla="*/ 2147483647 w 3264"/>
                      <a:gd name="T95" fmla="*/ 2147483647 h 1302"/>
                      <a:gd name="T96" fmla="*/ 2147483647 w 3264"/>
                      <a:gd name="T97" fmla="*/ 2147483647 h 1302"/>
                      <a:gd name="T98" fmla="*/ 2147483647 w 3264"/>
                      <a:gd name="T99" fmla="*/ 2147483647 h 1302"/>
                      <a:gd name="T100" fmla="*/ 2147483647 w 3264"/>
                      <a:gd name="T101" fmla="*/ 2147483647 h 1302"/>
                      <a:gd name="T102" fmla="*/ 2147483647 w 3264"/>
                      <a:gd name="T103" fmla="*/ 2147483647 h 1302"/>
                      <a:gd name="T104" fmla="*/ 2147483647 w 3264"/>
                      <a:gd name="T105" fmla="*/ 2147483647 h 1302"/>
                      <a:gd name="T106" fmla="*/ 2147483647 w 3264"/>
                      <a:gd name="T107" fmla="*/ 2147483647 h 1302"/>
                      <a:gd name="T108" fmla="*/ 2147483647 w 3264"/>
                      <a:gd name="T109" fmla="*/ 2147483647 h 1302"/>
                      <a:gd name="T110" fmla="*/ 2147483647 w 3264"/>
                      <a:gd name="T111" fmla="*/ 2147483647 h 1302"/>
                      <a:gd name="T112" fmla="*/ 2147483647 w 3264"/>
                      <a:gd name="T113" fmla="*/ 2147483647 h 1302"/>
                      <a:gd name="T114" fmla="*/ 2147483647 w 3264"/>
                      <a:gd name="T115" fmla="*/ 2147483647 h 1302"/>
                      <a:gd name="T116" fmla="*/ 2147483647 w 3264"/>
                      <a:gd name="T117" fmla="*/ 2147483647 h 1302"/>
                      <a:gd name="T118" fmla="*/ 2147483647 w 3264"/>
                      <a:gd name="T119" fmla="*/ 2147483647 h 1302"/>
                      <a:gd name="T120" fmla="*/ 2147483647 w 3264"/>
                      <a:gd name="T121" fmla="*/ 2147483647 h 1302"/>
                      <a:gd name="T122" fmla="*/ 2147483647 w 3264"/>
                      <a:gd name="T123" fmla="*/ 2147483647 h 1302"/>
                      <a:gd name="T124" fmla="*/ 2147483647 w 3264"/>
                      <a:gd name="T125" fmla="*/ 2147483647 h 130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64"/>
                      <a:gd name="T190" fmla="*/ 0 h 1302"/>
                      <a:gd name="T191" fmla="*/ 3264 w 3264"/>
                      <a:gd name="T192" fmla="*/ 1302 h 130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64" h="1302">
                        <a:moveTo>
                          <a:pt x="1788" y="984"/>
                        </a:moveTo>
                        <a:lnTo>
                          <a:pt x="1806" y="978"/>
                        </a:lnTo>
                        <a:lnTo>
                          <a:pt x="1818" y="954"/>
                        </a:lnTo>
                        <a:lnTo>
                          <a:pt x="1812" y="930"/>
                        </a:lnTo>
                        <a:lnTo>
                          <a:pt x="1788" y="984"/>
                        </a:lnTo>
                        <a:close/>
                        <a:moveTo>
                          <a:pt x="672" y="462"/>
                        </a:moveTo>
                        <a:lnTo>
                          <a:pt x="702" y="480"/>
                        </a:lnTo>
                        <a:lnTo>
                          <a:pt x="702" y="450"/>
                        </a:lnTo>
                        <a:lnTo>
                          <a:pt x="672" y="426"/>
                        </a:lnTo>
                        <a:lnTo>
                          <a:pt x="672" y="462"/>
                        </a:lnTo>
                        <a:close/>
                        <a:moveTo>
                          <a:pt x="678" y="492"/>
                        </a:moveTo>
                        <a:lnTo>
                          <a:pt x="654" y="516"/>
                        </a:lnTo>
                        <a:lnTo>
                          <a:pt x="678" y="546"/>
                        </a:lnTo>
                        <a:lnTo>
                          <a:pt x="678" y="492"/>
                        </a:lnTo>
                        <a:close/>
                        <a:moveTo>
                          <a:pt x="906" y="714"/>
                        </a:moveTo>
                        <a:lnTo>
                          <a:pt x="930" y="732"/>
                        </a:lnTo>
                        <a:lnTo>
                          <a:pt x="936" y="708"/>
                        </a:lnTo>
                        <a:lnTo>
                          <a:pt x="936" y="702"/>
                        </a:lnTo>
                        <a:lnTo>
                          <a:pt x="930" y="696"/>
                        </a:lnTo>
                        <a:lnTo>
                          <a:pt x="930" y="690"/>
                        </a:lnTo>
                        <a:lnTo>
                          <a:pt x="912" y="672"/>
                        </a:lnTo>
                        <a:lnTo>
                          <a:pt x="900" y="666"/>
                        </a:lnTo>
                        <a:lnTo>
                          <a:pt x="888" y="666"/>
                        </a:lnTo>
                        <a:lnTo>
                          <a:pt x="882" y="672"/>
                        </a:lnTo>
                        <a:lnTo>
                          <a:pt x="876" y="684"/>
                        </a:lnTo>
                        <a:lnTo>
                          <a:pt x="882" y="696"/>
                        </a:lnTo>
                        <a:lnTo>
                          <a:pt x="882" y="708"/>
                        </a:lnTo>
                        <a:lnTo>
                          <a:pt x="888" y="720"/>
                        </a:lnTo>
                        <a:lnTo>
                          <a:pt x="906" y="714"/>
                        </a:lnTo>
                        <a:close/>
                        <a:moveTo>
                          <a:pt x="684" y="372"/>
                        </a:moveTo>
                        <a:lnTo>
                          <a:pt x="672" y="360"/>
                        </a:lnTo>
                        <a:lnTo>
                          <a:pt x="660" y="372"/>
                        </a:lnTo>
                        <a:lnTo>
                          <a:pt x="672" y="396"/>
                        </a:lnTo>
                        <a:lnTo>
                          <a:pt x="684" y="396"/>
                        </a:lnTo>
                        <a:lnTo>
                          <a:pt x="684" y="372"/>
                        </a:lnTo>
                        <a:close/>
                        <a:moveTo>
                          <a:pt x="750" y="624"/>
                        </a:moveTo>
                        <a:lnTo>
                          <a:pt x="750" y="630"/>
                        </a:lnTo>
                        <a:lnTo>
                          <a:pt x="756" y="636"/>
                        </a:lnTo>
                        <a:lnTo>
                          <a:pt x="756" y="648"/>
                        </a:lnTo>
                        <a:lnTo>
                          <a:pt x="774" y="684"/>
                        </a:lnTo>
                        <a:lnTo>
                          <a:pt x="786" y="690"/>
                        </a:lnTo>
                        <a:lnTo>
                          <a:pt x="804" y="696"/>
                        </a:lnTo>
                        <a:lnTo>
                          <a:pt x="816" y="702"/>
                        </a:lnTo>
                        <a:lnTo>
                          <a:pt x="834" y="702"/>
                        </a:lnTo>
                        <a:lnTo>
                          <a:pt x="828" y="660"/>
                        </a:lnTo>
                        <a:lnTo>
                          <a:pt x="810" y="648"/>
                        </a:lnTo>
                        <a:lnTo>
                          <a:pt x="810" y="618"/>
                        </a:lnTo>
                        <a:lnTo>
                          <a:pt x="804" y="606"/>
                        </a:lnTo>
                        <a:lnTo>
                          <a:pt x="792" y="600"/>
                        </a:lnTo>
                        <a:lnTo>
                          <a:pt x="786" y="588"/>
                        </a:lnTo>
                        <a:lnTo>
                          <a:pt x="768" y="582"/>
                        </a:lnTo>
                        <a:lnTo>
                          <a:pt x="756" y="576"/>
                        </a:lnTo>
                        <a:lnTo>
                          <a:pt x="732" y="576"/>
                        </a:lnTo>
                        <a:lnTo>
                          <a:pt x="732" y="582"/>
                        </a:lnTo>
                        <a:lnTo>
                          <a:pt x="726" y="588"/>
                        </a:lnTo>
                        <a:lnTo>
                          <a:pt x="726" y="600"/>
                        </a:lnTo>
                        <a:lnTo>
                          <a:pt x="714" y="600"/>
                        </a:lnTo>
                        <a:lnTo>
                          <a:pt x="714" y="606"/>
                        </a:lnTo>
                        <a:lnTo>
                          <a:pt x="708" y="612"/>
                        </a:lnTo>
                        <a:lnTo>
                          <a:pt x="714" y="624"/>
                        </a:lnTo>
                        <a:lnTo>
                          <a:pt x="750" y="624"/>
                        </a:lnTo>
                        <a:close/>
                        <a:moveTo>
                          <a:pt x="246" y="438"/>
                        </a:moveTo>
                        <a:lnTo>
                          <a:pt x="222" y="462"/>
                        </a:lnTo>
                        <a:lnTo>
                          <a:pt x="234" y="492"/>
                        </a:lnTo>
                        <a:lnTo>
                          <a:pt x="234" y="498"/>
                        </a:lnTo>
                        <a:lnTo>
                          <a:pt x="228" y="504"/>
                        </a:lnTo>
                        <a:lnTo>
                          <a:pt x="228" y="510"/>
                        </a:lnTo>
                        <a:lnTo>
                          <a:pt x="240" y="510"/>
                        </a:lnTo>
                        <a:lnTo>
                          <a:pt x="246" y="504"/>
                        </a:lnTo>
                        <a:lnTo>
                          <a:pt x="246" y="468"/>
                        </a:lnTo>
                        <a:lnTo>
                          <a:pt x="252" y="456"/>
                        </a:lnTo>
                        <a:lnTo>
                          <a:pt x="246" y="438"/>
                        </a:lnTo>
                        <a:close/>
                        <a:moveTo>
                          <a:pt x="264" y="534"/>
                        </a:moveTo>
                        <a:lnTo>
                          <a:pt x="258" y="546"/>
                        </a:lnTo>
                        <a:lnTo>
                          <a:pt x="258" y="588"/>
                        </a:lnTo>
                        <a:lnTo>
                          <a:pt x="264" y="600"/>
                        </a:lnTo>
                        <a:lnTo>
                          <a:pt x="276" y="612"/>
                        </a:lnTo>
                        <a:lnTo>
                          <a:pt x="288" y="612"/>
                        </a:lnTo>
                        <a:lnTo>
                          <a:pt x="294" y="606"/>
                        </a:lnTo>
                        <a:lnTo>
                          <a:pt x="294" y="588"/>
                        </a:lnTo>
                        <a:lnTo>
                          <a:pt x="288" y="576"/>
                        </a:lnTo>
                        <a:lnTo>
                          <a:pt x="282" y="558"/>
                        </a:lnTo>
                        <a:lnTo>
                          <a:pt x="282" y="546"/>
                        </a:lnTo>
                        <a:lnTo>
                          <a:pt x="276" y="534"/>
                        </a:lnTo>
                        <a:lnTo>
                          <a:pt x="264" y="534"/>
                        </a:lnTo>
                        <a:close/>
                        <a:moveTo>
                          <a:pt x="48" y="222"/>
                        </a:moveTo>
                        <a:lnTo>
                          <a:pt x="42" y="228"/>
                        </a:lnTo>
                        <a:lnTo>
                          <a:pt x="42" y="246"/>
                        </a:lnTo>
                        <a:lnTo>
                          <a:pt x="48" y="258"/>
                        </a:lnTo>
                        <a:lnTo>
                          <a:pt x="66" y="258"/>
                        </a:lnTo>
                        <a:lnTo>
                          <a:pt x="84" y="276"/>
                        </a:lnTo>
                        <a:lnTo>
                          <a:pt x="90" y="270"/>
                        </a:lnTo>
                        <a:lnTo>
                          <a:pt x="90" y="252"/>
                        </a:lnTo>
                        <a:lnTo>
                          <a:pt x="78" y="246"/>
                        </a:lnTo>
                        <a:lnTo>
                          <a:pt x="72" y="234"/>
                        </a:lnTo>
                        <a:lnTo>
                          <a:pt x="60" y="228"/>
                        </a:lnTo>
                        <a:lnTo>
                          <a:pt x="54" y="222"/>
                        </a:lnTo>
                        <a:lnTo>
                          <a:pt x="48" y="222"/>
                        </a:lnTo>
                        <a:close/>
                        <a:moveTo>
                          <a:pt x="162" y="330"/>
                        </a:moveTo>
                        <a:lnTo>
                          <a:pt x="156" y="330"/>
                        </a:lnTo>
                        <a:lnTo>
                          <a:pt x="144" y="342"/>
                        </a:lnTo>
                        <a:lnTo>
                          <a:pt x="144" y="354"/>
                        </a:lnTo>
                        <a:lnTo>
                          <a:pt x="156" y="366"/>
                        </a:lnTo>
                        <a:lnTo>
                          <a:pt x="162" y="378"/>
                        </a:lnTo>
                        <a:lnTo>
                          <a:pt x="174" y="390"/>
                        </a:lnTo>
                        <a:lnTo>
                          <a:pt x="180" y="402"/>
                        </a:lnTo>
                        <a:lnTo>
                          <a:pt x="192" y="414"/>
                        </a:lnTo>
                        <a:lnTo>
                          <a:pt x="198" y="408"/>
                        </a:lnTo>
                        <a:lnTo>
                          <a:pt x="198" y="402"/>
                        </a:lnTo>
                        <a:lnTo>
                          <a:pt x="204" y="390"/>
                        </a:lnTo>
                        <a:lnTo>
                          <a:pt x="204" y="384"/>
                        </a:lnTo>
                        <a:lnTo>
                          <a:pt x="198" y="372"/>
                        </a:lnTo>
                        <a:lnTo>
                          <a:pt x="198" y="366"/>
                        </a:lnTo>
                        <a:lnTo>
                          <a:pt x="192" y="360"/>
                        </a:lnTo>
                        <a:lnTo>
                          <a:pt x="186" y="348"/>
                        </a:lnTo>
                        <a:lnTo>
                          <a:pt x="180" y="342"/>
                        </a:lnTo>
                        <a:lnTo>
                          <a:pt x="168" y="336"/>
                        </a:lnTo>
                        <a:lnTo>
                          <a:pt x="162" y="330"/>
                        </a:lnTo>
                        <a:close/>
                        <a:moveTo>
                          <a:pt x="2574" y="486"/>
                        </a:moveTo>
                        <a:lnTo>
                          <a:pt x="2574" y="474"/>
                        </a:lnTo>
                        <a:lnTo>
                          <a:pt x="2568" y="474"/>
                        </a:lnTo>
                        <a:lnTo>
                          <a:pt x="2556" y="468"/>
                        </a:lnTo>
                        <a:lnTo>
                          <a:pt x="2520" y="468"/>
                        </a:lnTo>
                        <a:lnTo>
                          <a:pt x="2514" y="474"/>
                        </a:lnTo>
                        <a:lnTo>
                          <a:pt x="2520" y="498"/>
                        </a:lnTo>
                        <a:lnTo>
                          <a:pt x="2526" y="498"/>
                        </a:lnTo>
                        <a:lnTo>
                          <a:pt x="2538" y="492"/>
                        </a:lnTo>
                        <a:lnTo>
                          <a:pt x="2562" y="492"/>
                        </a:lnTo>
                        <a:lnTo>
                          <a:pt x="2568" y="486"/>
                        </a:lnTo>
                        <a:lnTo>
                          <a:pt x="2574" y="486"/>
                        </a:lnTo>
                        <a:close/>
                        <a:moveTo>
                          <a:pt x="336" y="648"/>
                        </a:moveTo>
                        <a:lnTo>
                          <a:pt x="342" y="648"/>
                        </a:lnTo>
                        <a:lnTo>
                          <a:pt x="342" y="636"/>
                        </a:lnTo>
                        <a:lnTo>
                          <a:pt x="330" y="624"/>
                        </a:lnTo>
                        <a:lnTo>
                          <a:pt x="318" y="624"/>
                        </a:lnTo>
                        <a:lnTo>
                          <a:pt x="318" y="636"/>
                        </a:lnTo>
                        <a:lnTo>
                          <a:pt x="330" y="648"/>
                        </a:lnTo>
                        <a:lnTo>
                          <a:pt x="336" y="648"/>
                        </a:lnTo>
                        <a:close/>
                        <a:moveTo>
                          <a:pt x="2472" y="654"/>
                        </a:moveTo>
                        <a:lnTo>
                          <a:pt x="2484" y="648"/>
                        </a:lnTo>
                        <a:lnTo>
                          <a:pt x="2502" y="630"/>
                        </a:lnTo>
                        <a:lnTo>
                          <a:pt x="2502" y="618"/>
                        </a:lnTo>
                        <a:lnTo>
                          <a:pt x="2430" y="612"/>
                        </a:lnTo>
                        <a:lnTo>
                          <a:pt x="2430" y="624"/>
                        </a:lnTo>
                        <a:lnTo>
                          <a:pt x="2436" y="630"/>
                        </a:lnTo>
                        <a:lnTo>
                          <a:pt x="2442" y="642"/>
                        </a:lnTo>
                        <a:lnTo>
                          <a:pt x="2448" y="648"/>
                        </a:lnTo>
                        <a:lnTo>
                          <a:pt x="2460" y="654"/>
                        </a:lnTo>
                        <a:lnTo>
                          <a:pt x="2472" y="654"/>
                        </a:lnTo>
                        <a:close/>
                        <a:moveTo>
                          <a:pt x="2406" y="288"/>
                        </a:moveTo>
                        <a:lnTo>
                          <a:pt x="2418" y="276"/>
                        </a:lnTo>
                        <a:lnTo>
                          <a:pt x="2418" y="264"/>
                        </a:lnTo>
                        <a:lnTo>
                          <a:pt x="2412" y="258"/>
                        </a:lnTo>
                        <a:lnTo>
                          <a:pt x="2400" y="252"/>
                        </a:lnTo>
                        <a:lnTo>
                          <a:pt x="2376" y="252"/>
                        </a:lnTo>
                        <a:lnTo>
                          <a:pt x="2370" y="258"/>
                        </a:lnTo>
                        <a:lnTo>
                          <a:pt x="2370" y="264"/>
                        </a:lnTo>
                        <a:lnTo>
                          <a:pt x="2394" y="288"/>
                        </a:lnTo>
                        <a:lnTo>
                          <a:pt x="2406" y="288"/>
                        </a:lnTo>
                        <a:close/>
                        <a:moveTo>
                          <a:pt x="2868" y="528"/>
                        </a:moveTo>
                        <a:lnTo>
                          <a:pt x="2886" y="534"/>
                        </a:lnTo>
                        <a:lnTo>
                          <a:pt x="2892" y="534"/>
                        </a:lnTo>
                        <a:lnTo>
                          <a:pt x="2898" y="528"/>
                        </a:lnTo>
                        <a:lnTo>
                          <a:pt x="2898" y="522"/>
                        </a:lnTo>
                        <a:lnTo>
                          <a:pt x="2874" y="510"/>
                        </a:lnTo>
                        <a:lnTo>
                          <a:pt x="2868" y="516"/>
                        </a:lnTo>
                        <a:lnTo>
                          <a:pt x="2862" y="516"/>
                        </a:lnTo>
                        <a:lnTo>
                          <a:pt x="2862" y="522"/>
                        </a:lnTo>
                        <a:lnTo>
                          <a:pt x="2868" y="528"/>
                        </a:lnTo>
                        <a:close/>
                        <a:moveTo>
                          <a:pt x="2916" y="618"/>
                        </a:moveTo>
                        <a:lnTo>
                          <a:pt x="2928" y="618"/>
                        </a:lnTo>
                        <a:lnTo>
                          <a:pt x="2940" y="612"/>
                        </a:lnTo>
                        <a:lnTo>
                          <a:pt x="2958" y="612"/>
                        </a:lnTo>
                        <a:lnTo>
                          <a:pt x="2964" y="606"/>
                        </a:lnTo>
                        <a:lnTo>
                          <a:pt x="2970" y="606"/>
                        </a:lnTo>
                        <a:lnTo>
                          <a:pt x="2964" y="606"/>
                        </a:lnTo>
                        <a:lnTo>
                          <a:pt x="2958" y="600"/>
                        </a:lnTo>
                        <a:lnTo>
                          <a:pt x="2946" y="594"/>
                        </a:lnTo>
                        <a:lnTo>
                          <a:pt x="2934" y="594"/>
                        </a:lnTo>
                        <a:lnTo>
                          <a:pt x="2928" y="588"/>
                        </a:lnTo>
                        <a:lnTo>
                          <a:pt x="2922" y="588"/>
                        </a:lnTo>
                        <a:lnTo>
                          <a:pt x="2910" y="594"/>
                        </a:lnTo>
                        <a:lnTo>
                          <a:pt x="2892" y="594"/>
                        </a:lnTo>
                        <a:lnTo>
                          <a:pt x="2886" y="600"/>
                        </a:lnTo>
                        <a:lnTo>
                          <a:pt x="2880" y="600"/>
                        </a:lnTo>
                        <a:lnTo>
                          <a:pt x="2892" y="606"/>
                        </a:lnTo>
                        <a:lnTo>
                          <a:pt x="2898" y="612"/>
                        </a:lnTo>
                        <a:lnTo>
                          <a:pt x="2910" y="618"/>
                        </a:lnTo>
                        <a:lnTo>
                          <a:pt x="2916" y="618"/>
                        </a:lnTo>
                        <a:close/>
                        <a:moveTo>
                          <a:pt x="1710" y="552"/>
                        </a:moveTo>
                        <a:lnTo>
                          <a:pt x="1710" y="564"/>
                        </a:lnTo>
                        <a:lnTo>
                          <a:pt x="1716" y="570"/>
                        </a:lnTo>
                        <a:lnTo>
                          <a:pt x="1716" y="582"/>
                        </a:lnTo>
                        <a:lnTo>
                          <a:pt x="1722" y="594"/>
                        </a:lnTo>
                        <a:lnTo>
                          <a:pt x="1722" y="612"/>
                        </a:lnTo>
                        <a:lnTo>
                          <a:pt x="1716" y="618"/>
                        </a:lnTo>
                        <a:lnTo>
                          <a:pt x="1692" y="630"/>
                        </a:lnTo>
                        <a:lnTo>
                          <a:pt x="1686" y="636"/>
                        </a:lnTo>
                        <a:lnTo>
                          <a:pt x="1674" y="642"/>
                        </a:lnTo>
                        <a:lnTo>
                          <a:pt x="1674" y="678"/>
                        </a:lnTo>
                        <a:lnTo>
                          <a:pt x="1680" y="684"/>
                        </a:lnTo>
                        <a:lnTo>
                          <a:pt x="1686" y="696"/>
                        </a:lnTo>
                        <a:lnTo>
                          <a:pt x="1674" y="708"/>
                        </a:lnTo>
                        <a:lnTo>
                          <a:pt x="1674" y="720"/>
                        </a:lnTo>
                        <a:lnTo>
                          <a:pt x="1680" y="726"/>
                        </a:lnTo>
                        <a:lnTo>
                          <a:pt x="1692" y="732"/>
                        </a:lnTo>
                        <a:lnTo>
                          <a:pt x="1698" y="726"/>
                        </a:lnTo>
                        <a:lnTo>
                          <a:pt x="1722" y="726"/>
                        </a:lnTo>
                        <a:lnTo>
                          <a:pt x="1728" y="732"/>
                        </a:lnTo>
                        <a:lnTo>
                          <a:pt x="1728" y="756"/>
                        </a:lnTo>
                        <a:lnTo>
                          <a:pt x="1722" y="762"/>
                        </a:lnTo>
                        <a:lnTo>
                          <a:pt x="1740" y="780"/>
                        </a:lnTo>
                        <a:lnTo>
                          <a:pt x="1728" y="846"/>
                        </a:lnTo>
                        <a:lnTo>
                          <a:pt x="1710" y="864"/>
                        </a:lnTo>
                        <a:lnTo>
                          <a:pt x="1704" y="876"/>
                        </a:lnTo>
                        <a:lnTo>
                          <a:pt x="1704" y="888"/>
                        </a:lnTo>
                        <a:lnTo>
                          <a:pt x="1710" y="906"/>
                        </a:lnTo>
                        <a:lnTo>
                          <a:pt x="1722" y="924"/>
                        </a:lnTo>
                        <a:lnTo>
                          <a:pt x="1746" y="936"/>
                        </a:lnTo>
                        <a:lnTo>
                          <a:pt x="1764" y="930"/>
                        </a:lnTo>
                        <a:lnTo>
                          <a:pt x="1788" y="906"/>
                        </a:lnTo>
                        <a:lnTo>
                          <a:pt x="1788" y="864"/>
                        </a:lnTo>
                        <a:lnTo>
                          <a:pt x="1782" y="858"/>
                        </a:lnTo>
                        <a:lnTo>
                          <a:pt x="1776" y="846"/>
                        </a:lnTo>
                        <a:lnTo>
                          <a:pt x="1800" y="822"/>
                        </a:lnTo>
                        <a:lnTo>
                          <a:pt x="1806" y="804"/>
                        </a:lnTo>
                        <a:lnTo>
                          <a:pt x="1806" y="774"/>
                        </a:lnTo>
                        <a:lnTo>
                          <a:pt x="1812" y="756"/>
                        </a:lnTo>
                        <a:lnTo>
                          <a:pt x="1812" y="726"/>
                        </a:lnTo>
                        <a:lnTo>
                          <a:pt x="1806" y="714"/>
                        </a:lnTo>
                        <a:lnTo>
                          <a:pt x="1800" y="696"/>
                        </a:lnTo>
                        <a:lnTo>
                          <a:pt x="1794" y="684"/>
                        </a:lnTo>
                        <a:lnTo>
                          <a:pt x="1794" y="636"/>
                        </a:lnTo>
                        <a:lnTo>
                          <a:pt x="1800" y="630"/>
                        </a:lnTo>
                        <a:lnTo>
                          <a:pt x="1800" y="624"/>
                        </a:lnTo>
                        <a:lnTo>
                          <a:pt x="1806" y="618"/>
                        </a:lnTo>
                        <a:lnTo>
                          <a:pt x="1812" y="618"/>
                        </a:lnTo>
                        <a:lnTo>
                          <a:pt x="1818" y="624"/>
                        </a:lnTo>
                        <a:lnTo>
                          <a:pt x="1824" y="642"/>
                        </a:lnTo>
                        <a:lnTo>
                          <a:pt x="1830" y="666"/>
                        </a:lnTo>
                        <a:lnTo>
                          <a:pt x="1836" y="684"/>
                        </a:lnTo>
                        <a:lnTo>
                          <a:pt x="1836" y="702"/>
                        </a:lnTo>
                        <a:lnTo>
                          <a:pt x="1866" y="738"/>
                        </a:lnTo>
                        <a:lnTo>
                          <a:pt x="1866" y="792"/>
                        </a:lnTo>
                        <a:lnTo>
                          <a:pt x="1890" y="822"/>
                        </a:lnTo>
                        <a:lnTo>
                          <a:pt x="1890" y="858"/>
                        </a:lnTo>
                        <a:lnTo>
                          <a:pt x="1902" y="930"/>
                        </a:lnTo>
                        <a:lnTo>
                          <a:pt x="1920" y="918"/>
                        </a:lnTo>
                        <a:lnTo>
                          <a:pt x="1962" y="930"/>
                        </a:lnTo>
                        <a:lnTo>
                          <a:pt x="1962" y="870"/>
                        </a:lnTo>
                        <a:lnTo>
                          <a:pt x="1968" y="864"/>
                        </a:lnTo>
                        <a:lnTo>
                          <a:pt x="1974" y="852"/>
                        </a:lnTo>
                        <a:lnTo>
                          <a:pt x="1980" y="876"/>
                        </a:lnTo>
                        <a:lnTo>
                          <a:pt x="1998" y="876"/>
                        </a:lnTo>
                        <a:lnTo>
                          <a:pt x="2004" y="870"/>
                        </a:lnTo>
                        <a:lnTo>
                          <a:pt x="2010" y="858"/>
                        </a:lnTo>
                        <a:lnTo>
                          <a:pt x="2010" y="828"/>
                        </a:lnTo>
                        <a:lnTo>
                          <a:pt x="2004" y="822"/>
                        </a:lnTo>
                        <a:lnTo>
                          <a:pt x="2004" y="816"/>
                        </a:lnTo>
                        <a:lnTo>
                          <a:pt x="1992" y="810"/>
                        </a:lnTo>
                        <a:lnTo>
                          <a:pt x="1986" y="798"/>
                        </a:lnTo>
                        <a:lnTo>
                          <a:pt x="1974" y="792"/>
                        </a:lnTo>
                        <a:lnTo>
                          <a:pt x="1962" y="780"/>
                        </a:lnTo>
                        <a:lnTo>
                          <a:pt x="1956" y="768"/>
                        </a:lnTo>
                        <a:lnTo>
                          <a:pt x="1944" y="756"/>
                        </a:lnTo>
                        <a:lnTo>
                          <a:pt x="1944" y="750"/>
                        </a:lnTo>
                        <a:lnTo>
                          <a:pt x="1956" y="726"/>
                        </a:lnTo>
                        <a:lnTo>
                          <a:pt x="1968" y="720"/>
                        </a:lnTo>
                        <a:lnTo>
                          <a:pt x="1968" y="708"/>
                        </a:lnTo>
                        <a:lnTo>
                          <a:pt x="1962" y="696"/>
                        </a:lnTo>
                        <a:lnTo>
                          <a:pt x="1938" y="684"/>
                        </a:lnTo>
                        <a:lnTo>
                          <a:pt x="1932" y="672"/>
                        </a:lnTo>
                        <a:lnTo>
                          <a:pt x="1932" y="642"/>
                        </a:lnTo>
                        <a:lnTo>
                          <a:pt x="1938" y="636"/>
                        </a:lnTo>
                        <a:lnTo>
                          <a:pt x="1938" y="630"/>
                        </a:lnTo>
                        <a:lnTo>
                          <a:pt x="1926" y="618"/>
                        </a:lnTo>
                        <a:lnTo>
                          <a:pt x="1914" y="612"/>
                        </a:lnTo>
                        <a:lnTo>
                          <a:pt x="1896" y="594"/>
                        </a:lnTo>
                        <a:lnTo>
                          <a:pt x="1884" y="588"/>
                        </a:lnTo>
                        <a:lnTo>
                          <a:pt x="1878" y="582"/>
                        </a:lnTo>
                        <a:lnTo>
                          <a:pt x="1914" y="582"/>
                        </a:lnTo>
                        <a:lnTo>
                          <a:pt x="1926" y="576"/>
                        </a:lnTo>
                        <a:lnTo>
                          <a:pt x="1932" y="570"/>
                        </a:lnTo>
                        <a:lnTo>
                          <a:pt x="1944" y="546"/>
                        </a:lnTo>
                        <a:lnTo>
                          <a:pt x="1950" y="540"/>
                        </a:lnTo>
                        <a:lnTo>
                          <a:pt x="1956" y="528"/>
                        </a:lnTo>
                        <a:lnTo>
                          <a:pt x="1992" y="528"/>
                        </a:lnTo>
                        <a:lnTo>
                          <a:pt x="2004" y="522"/>
                        </a:lnTo>
                        <a:lnTo>
                          <a:pt x="2010" y="522"/>
                        </a:lnTo>
                        <a:lnTo>
                          <a:pt x="2016" y="516"/>
                        </a:lnTo>
                        <a:lnTo>
                          <a:pt x="2016" y="504"/>
                        </a:lnTo>
                        <a:lnTo>
                          <a:pt x="1998" y="486"/>
                        </a:lnTo>
                        <a:lnTo>
                          <a:pt x="1986" y="480"/>
                        </a:lnTo>
                        <a:lnTo>
                          <a:pt x="1974" y="486"/>
                        </a:lnTo>
                        <a:lnTo>
                          <a:pt x="1956" y="504"/>
                        </a:lnTo>
                        <a:lnTo>
                          <a:pt x="1956" y="510"/>
                        </a:lnTo>
                        <a:lnTo>
                          <a:pt x="1944" y="510"/>
                        </a:lnTo>
                        <a:lnTo>
                          <a:pt x="1932" y="504"/>
                        </a:lnTo>
                        <a:lnTo>
                          <a:pt x="1896" y="504"/>
                        </a:lnTo>
                        <a:lnTo>
                          <a:pt x="1890" y="510"/>
                        </a:lnTo>
                        <a:lnTo>
                          <a:pt x="1884" y="522"/>
                        </a:lnTo>
                        <a:lnTo>
                          <a:pt x="1854" y="552"/>
                        </a:lnTo>
                        <a:lnTo>
                          <a:pt x="1848" y="546"/>
                        </a:lnTo>
                        <a:lnTo>
                          <a:pt x="1836" y="540"/>
                        </a:lnTo>
                        <a:lnTo>
                          <a:pt x="1824" y="516"/>
                        </a:lnTo>
                        <a:lnTo>
                          <a:pt x="1788" y="498"/>
                        </a:lnTo>
                        <a:lnTo>
                          <a:pt x="1776" y="498"/>
                        </a:lnTo>
                        <a:lnTo>
                          <a:pt x="1776" y="486"/>
                        </a:lnTo>
                        <a:lnTo>
                          <a:pt x="1782" y="468"/>
                        </a:lnTo>
                        <a:lnTo>
                          <a:pt x="1782" y="456"/>
                        </a:lnTo>
                        <a:lnTo>
                          <a:pt x="1794" y="420"/>
                        </a:lnTo>
                        <a:lnTo>
                          <a:pt x="1806" y="408"/>
                        </a:lnTo>
                        <a:lnTo>
                          <a:pt x="1824" y="408"/>
                        </a:lnTo>
                        <a:lnTo>
                          <a:pt x="1842" y="414"/>
                        </a:lnTo>
                        <a:lnTo>
                          <a:pt x="1896" y="414"/>
                        </a:lnTo>
                        <a:lnTo>
                          <a:pt x="1902" y="408"/>
                        </a:lnTo>
                        <a:lnTo>
                          <a:pt x="1908" y="408"/>
                        </a:lnTo>
                        <a:lnTo>
                          <a:pt x="1908" y="402"/>
                        </a:lnTo>
                        <a:lnTo>
                          <a:pt x="1914" y="396"/>
                        </a:lnTo>
                        <a:lnTo>
                          <a:pt x="1920" y="396"/>
                        </a:lnTo>
                        <a:lnTo>
                          <a:pt x="1944" y="402"/>
                        </a:lnTo>
                        <a:lnTo>
                          <a:pt x="1980" y="420"/>
                        </a:lnTo>
                        <a:lnTo>
                          <a:pt x="2010" y="432"/>
                        </a:lnTo>
                        <a:lnTo>
                          <a:pt x="2034" y="438"/>
                        </a:lnTo>
                        <a:lnTo>
                          <a:pt x="2040" y="438"/>
                        </a:lnTo>
                        <a:lnTo>
                          <a:pt x="2052" y="432"/>
                        </a:lnTo>
                        <a:lnTo>
                          <a:pt x="2064" y="420"/>
                        </a:lnTo>
                        <a:lnTo>
                          <a:pt x="2082" y="420"/>
                        </a:lnTo>
                        <a:lnTo>
                          <a:pt x="2094" y="414"/>
                        </a:lnTo>
                        <a:lnTo>
                          <a:pt x="2106" y="414"/>
                        </a:lnTo>
                        <a:lnTo>
                          <a:pt x="2112" y="408"/>
                        </a:lnTo>
                        <a:lnTo>
                          <a:pt x="2112" y="402"/>
                        </a:lnTo>
                        <a:lnTo>
                          <a:pt x="2106" y="396"/>
                        </a:lnTo>
                        <a:lnTo>
                          <a:pt x="2106" y="390"/>
                        </a:lnTo>
                        <a:lnTo>
                          <a:pt x="2118" y="378"/>
                        </a:lnTo>
                        <a:lnTo>
                          <a:pt x="2142" y="366"/>
                        </a:lnTo>
                        <a:lnTo>
                          <a:pt x="2148" y="360"/>
                        </a:lnTo>
                        <a:lnTo>
                          <a:pt x="2160" y="354"/>
                        </a:lnTo>
                        <a:lnTo>
                          <a:pt x="2148" y="324"/>
                        </a:lnTo>
                        <a:lnTo>
                          <a:pt x="2070" y="360"/>
                        </a:lnTo>
                        <a:lnTo>
                          <a:pt x="2076" y="366"/>
                        </a:lnTo>
                        <a:lnTo>
                          <a:pt x="2076" y="372"/>
                        </a:lnTo>
                        <a:lnTo>
                          <a:pt x="2070" y="378"/>
                        </a:lnTo>
                        <a:lnTo>
                          <a:pt x="2046" y="378"/>
                        </a:lnTo>
                        <a:lnTo>
                          <a:pt x="2022" y="366"/>
                        </a:lnTo>
                        <a:lnTo>
                          <a:pt x="2004" y="366"/>
                        </a:lnTo>
                        <a:lnTo>
                          <a:pt x="1968" y="384"/>
                        </a:lnTo>
                        <a:lnTo>
                          <a:pt x="1950" y="384"/>
                        </a:lnTo>
                        <a:lnTo>
                          <a:pt x="1938" y="378"/>
                        </a:lnTo>
                        <a:lnTo>
                          <a:pt x="1926" y="378"/>
                        </a:lnTo>
                        <a:lnTo>
                          <a:pt x="1902" y="366"/>
                        </a:lnTo>
                        <a:lnTo>
                          <a:pt x="1860" y="366"/>
                        </a:lnTo>
                        <a:lnTo>
                          <a:pt x="1872" y="348"/>
                        </a:lnTo>
                        <a:lnTo>
                          <a:pt x="1860" y="348"/>
                        </a:lnTo>
                        <a:lnTo>
                          <a:pt x="1848" y="342"/>
                        </a:lnTo>
                        <a:lnTo>
                          <a:pt x="1824" y="342"/>
                        </a:lnTo>
                        <a:lnTo>
                          <a:pt x="1824" y="366"/>
                        </a:lnTo>
                        <a:lnTo>
                          <a:pt x="1812" y="378"/>
                        </a:lnTo>
                        <a:lnTo>
                          <a:pt x="1788" y="390"/>
                        </a:lnTo>
                        <a:lnTo>
                          <a:pt x="1764" y="390"/>
                        </a:lnTo>
                        <a:lnTo>
                          <a:pt x="1758" y="396"/>
                        </a:lnTo>
                        <a:lnTo>
                          <a:pt x="1758" y="426"/>
                        </a:lnTo>
                        <a:lnTo>
                          <a:pt x="1740" y="432"/>
                        </a:lnTo>
                        <a:lnTo>
                          <a:pt x="1752" y="498"/>
                        </a:lnTo>
                        <a:lnTo>
                          <a:pt x="1740" y="498"/>
                        </a:lnTo>
                        <a:lnTo>
                          <a:pt x="1734" y="510"/>
                        </a:lnTo>
                        <a:lnTo>
                          <a:pt x="1728" y="516"/>
                        </a:lnTo>
                        <a:lnTo>
                          <a:pt x="1710" y="552"/>
                        </a:lnTo>
                        <a:close/>
                        <a:moveTo>
                          <a:pt x="1986" y="576"/>
                        </a:moveTo>
                        <a:lnTo>
                          <a:pt x="1986" y="594"/>
                        </a:lnTo>
                        <a:lnTo>
                          <a:pt x="1992" y="600"/>
                        </a:lnTo>
                        <a:lnTo>
                          <a:pt x="2004" y="600"/>
                        </a:lnTo>
                        <a:lnTo>
                          <a:pt x="2016" y="588"/>
                        </a:lnTo>
                        <a:lnTo>
                          <a:pt x="2016" y="576"/>
                        </a:lnTo>
                        <a:lnTo>
                          <a:pt x="1986" y="576"/>
                        </a:lnTo>
                        <a:close/>
                        <a:moveTo>
                          <a:pt x="1686" y="1110"/>
                        </a:moveTo>
                        <a:lnTo>
                          <a:pt x="1674" y="1110"/>
                        </a:lnTo>
                        <a:lnTo>
                          <a:pt x="1668" y="1116"/>
                        </a:lnTo>
                        <a:lnTo>
                          <a:pt x="1662" y="1116"/>
                        </a:lnTo>
                        <a:lnTo>
                          <a:pt x="1614" y="1104"/>
                        </a:lnTo>
                        <a:lnTo>
                          <a:pt x="1644" y="1146"/>
                        </a:lnTo>
                        <a:lnTo>
                          <a:pt x="1650" y="1152"/>
                        </a:lnTo>
                        <a:lnTo>
                          <a:pt x="1662" y="1158"/>
                        </a:lnTo>
                        <a:lnTo>
                          <a:pt x="1668" y="1164"/>
                        </a:lnTo>
                        <a:lnTo>
                          <a:pt x="1680" y="1170"/>
                        </a:lnTo>
                        <a:lnTo>
                          <a:pt x="1692" y="1158"/>
                        </a:lnTo>
                        <a:lnTo>
                          <a:pt x="1698" y="1140"/>
                        </a:lnTo>
                        <a:lnTo>
                          <a:pt x="1698" y="1128"/>
                        </a:lnTo>
                        <a:lnTo>
                          <a:pt x="1692" y="1116"/>
                        </a:lnTo>
                        <a:lnTo>
                          <a:pt x="1686" y="1110"/>
                        </a:lnTo>
                        <a:close/>
                        <a:moveTo>
                          <a:pt x="2094" y="1104"/>
                        </a:moveTo>
                        <a:lnTo>
                          <a:pt x="2064" y="1128"/>
                        </a:lnTo>
                        <a:lnTo>
                          <a:pt x="2094" y="1134"/>
                        </a:lnTo>
                        <a:lnTo>
                          <a:pt x="2094" y="1104"/>
                        </a:lnTo>
                        <a:close/>
                        <a:moveTo>
                          <a:pt x="486" y="294"/>
                        </a:moveTo>
                        <a:lnTo>
                          <a:pt x="474" y="288"/>
                        </a:lnTo>
                        <a:lnTo>
                          <a:pt x="468" y="288"/>
                        </a:lnTo>
                        <a:lnTo>
                          <a:pt x="456" y="294"/>
                        </a:lnTo>
                        <a:lnTo>
                          <a:pt x="456" y="312"/>
                        </a:lnTo>
                        <a:lnTo>
                          <a:pt x="468" y="324"/>
                        </a:lnTo>
                        <a:lnTo>
                          <a:pt x="474" y="318"/>
                        </a:lnTo>
                        <a:lnTo>
                          <a:pt x="486" y="318"/>
                        </a:lnTo>
                        <a:lnTo>
                          <a:pt x="486" y="312"/>
                        </a:lnTo>
                        <a:lnTo>
                          <a:pt x="492" y="300"/>
                        </a:lnTo>
                        <a:lnTo>
                          <a:pt x="486" y="294"/>
                        </a:lnTo>
                        <a:close/>
                        <a:moveTo>
                          <a:pt x="2346" y="588"/>
                        </a:moveTo>
                        <a:lnTo>
                          <a:pt x="2340" y="576"/>
                        </a:lnTo>
                        <a:lnTo>
                          <a:pt x="2328" y="570"/>
                        </a:lnTo>
                        <a:lnTo>
                          <a:pt x="2310" y="552"/>
                        </a:lnTo>
                        <a:lnTo>
                          <a:pt x="2304" y="552"/>
                        </a:lnTo>
                        <a:lnTo>
                          <a:pt x="2304" y="600"/>
                        </a:lnTo>
                        <a:lnTo>
                          <a:pt x="2316" y="600"/>
                        </a:lnTo>
                        <a:lnTo>
                          <a:pt x="2328" y="606"/>
                        </a:lnTo>
                        <a:lnTo>
                          <a:pt x="2334" y="606"/>
                        </a:lnTo>
                        <a:lnTo>
                          <a:pt x="2346" y="600"/>
                        </a:lnTo>
                        <a:lnTo>
                          <a:pt x="2346" y="588"/>
                        </a:lnTo>
                        <a:close/>
                        <a:moveTo>
                          <a:pt x="2310" y="474"/>
                        </a:moveTo>
                        <a:lnTo>
                          <a:pt x="2340" y="504"/>
                        </a:lnTo>
                        <a:lnTo>
                          <a:pt x="2358" y="516"/>
                        </a:lnTo>
                        <a:lnTo>
                          <a:pt x="2382" y="528"/>
                        </a:lnTo>
                        <a:lnTo>
                          <a:pt x="2400" y="528"/>
                        </a:lnTo>
                        <a:lnTo>
                          <a:pt x="2400" y="522"/>
                        </a:lnTo>
                        <a:lnTo>
                          <a:pt x="2358" y="480"/>
                        </a:lnTo>
                        <a:lnTo>
                          <a:pt x="2358" y="468"/>
                        </a:lnTo>
                        <a:lnTo>
                          <a:pt x="2364" y="456"/>
                        </a:lnTo>
                        <a:lnTo>
                          <a:pt x="2376" y="450"/>
                        </a:lnTo>
                        <a:lnTo>
                          <a:pt x="2394" y="450"/>
                        </a:lnTo>
                        <a:lnTo>
                          <a:pt x="2406" y="456"/>
                        </a:lnTo>
                        <a:lnTo>
                          <a:pt x="2424" y="444"/>
                        </a:lnTo>
                        <a:lnTo>
                          <a:pt x="2400" y="432"/>
                        </a:lnTo>
                        <a:lnTo>
                          <a:pt x="2412" y="426"/>
                        </a:lnTo>
                        <a:lnTo>
                          <a:pt x="2424" y="402"/>
                        </a:lnTo>
                        <a:lnTo>
                          <a:pt x="2412" y="378"/>
                        </a:lnTo>
                        <a:lnTo>
                          <a:pt x="2400" y="372"/>
                        </a:lnTo>
                        <a:lnTo>
                          <a:pt x="2382" y="372"/>
                        </a:lnTo>
                        <a:lnTo>
                          <a:pt x="2358" y="396"/>
                        </a:lnTo>
                        <a:lnTo>
                          <a:pt x="2346" y="402"/>
                        </a:lnTo>
                        <a:lnTo>
                          <a:pt x="2340" y="408"/>
                        </a:lnTo>
                        <a:lnTo>
                          <a:pt x="2334" y="408"/>
                        </a:lnTo>
                        <a:lnTo>
                          <a:pt x="2328" y="402"/>
                        </a:lnTo>
                        <a:lnTo>
                          <a:pt x="2328" y="366"/>
                        </a:lnTo>
                        <a:lnTo>
                          <a:pt x="2334" y="360"/>
                        </a:lnTo>
                        <a:lnTo>
                          <a:pt x="2346" y="336"/>
                        </a:lnTo>
                        <a:lnTo>
                          <a:pt x="2346" y="318"/>
                        </a:lnTo>
                        <a:lnTo>
                          <a:pt x="2340" y="312"/>
                        </a:lnTo>
                        <a:lnTo>
                          <a:pt x="2358" y="276"/>
                        </a:lnTo>
                        <a:lnTo>
                          <a:pt x="2316" y="312"/>
                        </a:lnTo>
                        <a:lnTo>
                          <a:pt x="2316" y="342"/>
                        </a:lnTo>
                        <a:lnTo>
                          <a:pt x="2304" y="348"/>
                        </a:lnTo>
                        <a:lnTo>
                          <a:pt x="2298" y="354"/>
                        </a:lnTo>
                        <a:lnTo>
                          <a:pt x="2286" y="378"/>
                        </a:lnTo>
                        <a:lnTo>
                          <a:pt x="2286" y="408"/>
                        </a:lnTo>
                        <a:lnTo>
                          <a:pt x="2298" y="420"/>
                        </a:lnTo>
                        <a:lnTo>
                          <a:pt x="2304" y="432"/>
                        </a:lnTo>
                        <a:lnTo>
                          <a:pt x="2310" y="438"/>
                        </a:lnTo>
                        <a:lnTo>
                          <a:pt x="2310" y="444"/>
                        </a:lnTo>
                        <a:lnTo>
                          <a:pt x="2304" y="450"/>
                        </a:lnTo>
                        <a:lnTo>
                          <a:pt x="2304" y="468"/>
                        </a:lnTo>
                        <a:lnTo>
                          <a:pt x="2310" y="474"/>
                        </a:lnTo>
                        <a:close/>
                        <a:moveTo>
                          <a:pt x="2250" y="708"/>
                        </a:moveTo>
                        <a:lnTo>
                          <a:pt x="2238" y="696"/>
                        </a:lnTo>
                        <a:lnTo>
                          <a:pt x="2214" y="708"/>
                        </a:lnTo>
                        <a:lnTo>
                          <a:pt x="2214" y="732"/>
                        </a:lnTo>
                        <a:lnTo>
                          <a:pt x="2220" y="744"/>
                        </a:lnTo>
                        <a:lnTo>
                          <a:pt x="2226" y="750"/>
                        </a:lnTo>
                        <a:lnTo>
                          <a:pt x="2250" y="762"/>
                        </a:lnTo>
                        <a:lnTo>
                          <a:pt x="2274" y="762"/>
                        </a:lnTo>
                        <a:lnTo>
                          <a:pt x="2280" y="750"/>
                        </a:lnTo>
                        <a:lnTo>
                          <a:pt x="2280" y="738"/>
                        </a:lnTo>
                        <a:lnTo>
                          <a:pt x="2274" y="726"/>
                        </a:lnTo>
                        <a:lnTo>
                          <a:pt x="2274" y="714"/>
                        </a:lnTo>
                        <a:lnTo>
                          <a:pt x="2268" y="708"/>
                        </a:lnTo>
                        <a:lnTo>
                          <a:pt x="2268" y="702"/>
                        </a:lnTo>
                        <a:lnTo>
                          <a:pt x="2250" y="708"/>
                        </a:lnTo>
                        <a:close/>
                        <a:moveTo>
                          <a:pt x="2148" y="1104"/>
                        </a:moveTo>
                        <a:lnTo>
                          <a:pt x="2226" y="1092"/>
                        </a:lnTo>
                        <a:lnTo>
                          <a:pt x="2166" y="1074"/>
                        </a:lnTo>
                        <a:lnTo>
                          <a:pt x="2148" y="1104"/>
                        </a:lnTo>
                        <a:close/>
                        <a:moveTo>
                          <a:pt x="2544" y="750"/>
                        </a:moveTo>
                        <a:lnTo>
                          <a:pt x="2520" y="732"/>
                        </a:lnTo>
                        <a:lnTo>
                          <a:pt x="2526" y="714"/>
                        </a:lnTo>
                        <a:lnTo>
                          <a:pt x="2514" y="702"/>
                        </a:lnTo>
                        <a:lnTo>
                          <a:pt x="2508" y="690"/>
                        </a:lnTo>
                        <a:lnTo>
                          <a:pt x="2490" y="684"/>
                        </a:lnTo>
                        <a:lnTo>
                          <a:pt x="2472" y="672"/>
                        </a:lnTo>
                        <a:lnTo>
                          <a:pt x="2442" y="666"/>
                        </a:lnTo>
                        <a:lnTo>
                          <a:pt x="2424" y="666"/>
                        </a:lnTo>
                        <a:lnTo>
                          <a:pt x="2388" y="684"/>
                        </a:lnTo>
                        <a:lnTo>
                          <a:pt x="2358" y="684"/>
                        </a:lnTo>
                        <a:lnTo>
                          <a:pt x="2346" y="696"/>
                        </a:lnTo>
                        <a:lnTo>
                          <a:pt x="2340" y="708"/>
                        </a:lnTo>
                        <a:lnTo>
                          <a:pt x="2340" y="726"/>
                        </a:lnTo>
                        <a:lnTo>
                          <a:pt x="2346" y="732"/>
                        </a:lnTo>
                        <a:lnTo>
                          <a:pt x="2364" y="714"/>
                        </a:lnTo>
                        <a:lnTo>
                          <a:pt x="2364" y="726"/>
                        </a:lnTo>
                        <a:lnTo>
                          <a:pt x="2370" y="738"/>
                        </a:lnTo>
                        <a:lnTo>
                          <a:pt x="2376" y="744"/>
                        </a:lnTo>
                        <a:lnTo>
                          <a:pt x="2388" y="738"/>
                        </a:lnTo>
                        <a:lnTo>
                          <a:pt x="2394" y="732"/>
                        </a:lnTo>
                        <a:lnTo>
                          <a:pt x="2394" y="726"/>
                        </a:lnTo>
                        <a:lnTo>
                          <a:pt x="2400" y="720"/>
                        </a:lnTo>
                        <a:lnTo>
                          <a:pt x="2400" y="714"/>
                        </a:lnTo>
                        <a:lnTo>
                          <a:pt x="2406" y="726"/>
                        </a:lnTo>
                        <a:lnTo>
                          <a:pt x="2418" y="732"/>
                        </a:lnTo>
                        <a:lnTo>
                          <a:pt x="2430" y="732"/>
                        </a:lnTo>
                        <a:lnTo>
                          <a:pt x="2442" y="720"/>
                        </a:lnTo>
                        <a:lnTo>
                          <a:pt x="2454" y="714"/>
                        </a:lnTo>
                        <a:lnTo>
                          <a:pt x="2460" y="708"/>
                        </a:lnTo>
                        <a:lnTo>
                          <a:pt x="2472" y="762"/>
                        </a:lnTo>
                        <a:lnTo>
                          <a:pt x="2502" y="738"/>
                        </a:lnTo>
                        <a:lnTo>
                          <a:pt x="2538" y="774"/>
                        </a:lnTo>
                        <a:lnTo>
                          <a:pt x="2544" y="750"/>
                        </a:lnTo>
                        <a:close/>
                        <a:moveTo>
                          <a:pt x="3264" y="678"/>
                        </a:moveTo>
                        <a:lnTo>
                          <a:pt x="3222" y="648"/>
                        </a:lnTo>
                        <a:lnTo>
                          <a:pt x="3210" y="648"/>
                        </a:lnTo>
                        <a:lnTo>
                          <a:pt x="3198" y="654"/>
                        </a:lnTo>
                        <a:lnTo>
                          <a:pt x="3180" y="654"/>
                        </a:lnTo>
                        <a:lnTo>
                          <a:pt x="3162" y="648"/>
                        </a:lnTo>
                        <a:lnTo>
                          <a:pt x="3126" y="630"/>
                        </a:lnTo>
                        <a:lnTo>
                          <a:pt x="3096" y="612"/>
                        </a:lnTo>
                        <a:lnTo>
                          <a:pt x="3060" y="594"/>
                        </a:lnTo>
                        <a:lnTo>
                          <a:pt x="3042" y="582"/>
                        </a:lnTo>
                        <a:lnTo>
                          <a:pt x="3030" y="582"/>
                        </a:lnTo>
                        <a:lnTo>
                          <a:pt x="3006" y="594"/>
                        </a:lnTo>
                        <a:lnTo>
                          <a:pt x="3000" y="600"/>
                        </a:lnTo>
                        <a:lnTo>
                          <a:pt x="2988" y="606"/>
                        </a:lnTo>
                        <a:lnTo>
                          <a:pt x="3006" y="630"/>
                        </a:lnTo>
                        <a:lnTo>
                          <a:pt x="2928" y="642"/>
                        </a:lnTo>
                        <a:lnTo>
                          <a:pt x="2934" y="666"/>
                        </a:lnTo>
                        <a:lnTo>
                          <a:pt x="2928" y="678"/>
                        </a:lnTo>
                        <a:lnTo>
                          <a:pt x="2922" y="684"/>
                        </a:lnTo>
                        <a:lnTo>
                          <a:pt x="2916" y="696"/>
                        </a:lnTo>
                        <a:lnTo>
                          <a:pt x="2880" y="720"/>
                        </a:lnTo>
                        <a:lnTo>
                          <a:pt x="2862" y="726"/>
                        </a:lnTo>
                        <a:lnTo>
                          <a:pt x="2844" y="726"/>
                        </a:lnTo>
                        <a:lnTo>
                          <a:pt x="2832" y="720"/>
                        </a:lnTo>
                        <a:lnTo>
                          <a:pt x="2826" y="714"/>
                        </a:lnTo>
                        <a:lnTo>
                          <a:pt x="2820" y="702"/>
                        </a:lnTo>
                        <a:lnTo>
                          <a:pt x="2820" y="678"/>
                        </a:lnTo>
                        <a:lnTo>
                          <a:pt x="2814" y="672"/>
                        </a:lnTo>
                        <a:lnTo>
                          <a:pt x="2814" y="660"/>
                        </a:lnTo>
                        <a:lnTo>
                          <a:pt x="2808" y="666"/>
                        </a:lnTo>
                        <a:lnTo>
                          <a:pt x="2808" y="672"/>
                        </a:lnTo>
                        <a:lnTo>
                          <a:pt x="2802" y="684"/>
                        </a:lnTo>
                        <a:lnTo>
                          <a:pt x="2796" y="690"/>
                        </a:lnTo>
                        <a:lnTo>
                          <a:pt x="2796" y="696"/>
                        </a:lnTo>
                        <a:lnTo>
                          <a:pt x="2796" y="690"/>
                        </a:lnTo>
                        <a:lnTo>
                          <a:pt x="2790" y="684"/>
                        </a:lnTo>
                        <a:lnTo>
                          <a:pt x="2790" y="672"/>
                        </a:lnTo>
                        <a:lnTo>
                          <a:pt x="2784" y="660"/>
                        </a:lnTo>
                        <a:lnTo>
                          <a:pt x="2784" y="576"/>
                        </a:lnTo>
                        <a:lnTo>
                          <a:pt x="2778" y="558"/>
                        </a:lnTo>
                        <a:lnTo>
                          <a:pt x="2760" y="522"/>
                        </a:lnTo>
                        <a:lnTo>
                          <a:pt x="2724" y="522"/>
                        </a:lnTo>
                        <a:lnTo>
                          <a:pt x="2718" y="510"/>
                        </a:lnTo>
                        <a:lnTo>
                          <a:pt x="2694" y="498"/>
                        </a:lnTo>
                        <a:lnTo>
                          <a:pt x="2676" y="486"/>
                        </a:lnTo>
                        <a:lnTo>
                          <a:pt x="2652" y="486"/>
                        </a:lnTo>
                        <a:lnTo>
                          <a:pt x="2634" y="498"/>
                        </a:lnTo>
                        <a:lnTo>
                          <a:pt x="2628" y="504"/>
                        </a:lnTo>
                        <a:lnTo>
                          <a:pt x="2616" y="510"/>
                        </a:lnTo>
                        <a:lnTo>
                          <a:pt x="2610" y="522"/>
                        </a:lnTo>
                        <a:lnTo>
                          <a:pt x="2586" y="528"/>
                        </a:lnTo>
                        <a:lnTo>
                          <a:pt x="2580" y="546"/>
                        </a:lnTo>
                        <a:lnTo>
                          <a:pt x="2562" y="558"/>
                        </a:lnTo>
                        <a:lnTo>
                          <a:pt x="2562" y="540"/>
                        </a:lnTo>
                        <a:lnTo>
                          <a:pt x="2556" y="534"/>
                        </a:lnTo>
                        <a:lnTo>
                          <a:pt x="2532" y="534"/>
                        </a:lnTo>
                        <a:lnTo>
                          <a:pt x="2532" y="546"/>
                        </a:lnTo>
                        <a:lnTo>
                          <a:pt x="2544" y="570"/>
                        </a:lnTo>
                        <a:lnTo>
                          <a:pt x="2568" y="582"/>
                        </a:lnTo>
                        <a:lnTo>
                          <a:pt x="2604" y="582"/>
                        </a:lnTo>
                        <a:lnTo>
                          <a:pt x="2616" y="588"/>
                        </a:lnTo>
                        <a:lnTo>
                          <a:pt x="2622" y="594"/>
                        </a:lnTo>
                        <a:lnTo>
                          <a:pt x="2628" y="594"/>
                        </a:lnTo>
                        <a:lnTo>
                          <a:pt x="2628" y="618"/>
                        </a:lnTo>
                        <a:lnTo>
                          <a:pt x="2634" y="630"/>
                        </a:lnTo>
                        <a:lnTo>
                          <a:pt x="2640" y="636"/>
                        </a:lnTo>
                        <a:lnTo>
                          <a:pt x="2652" y="642"/>
                        </a:lnTo>
                        <a:lnTo>
                          <a:pt x="2694" y="642"/>
                        </a:lnTo>
                        <a:lnTo>
                          <a:pt x="2712" y="636"/>
                        </a:lnTo>
                        <a:lnTo>
                          <a:pt x="2754" y="636"/>
                        </a:lnTo>
                        <a:lnTo>
                          <a:pt x="2760" y="642"/>
                        </a:lnTo>
                        <a:lnTo>
                          <a:pt x="2760" y="660"/>
                        </a:lnTo>
                        <a:lnTo>
                          <a:pt x="2700" y="660"/>
                        </a:lnTo>
                        <a:lnTo>
                          <a:pt x="2688" y="666"/>
                        </a:lnTo>
                        <a:lnTo>
                          <a:pt x="2676" y="678"/>
                        </a:lnTo>
                        <a:lnTo>
                          <a:pt x="2640" y="678"/>
                        </a:lnTo>
                        <a:lnTo>
                          <a:pt x="2616" y="690"/>
                        </a:lnTo>
                        <a:lnTo>
                          <a:pt x="2616" y="696"/>
                        </a:lnTo>
                        <a:lnTo>
                          <a:pt x="2622" y="696"/>
                        </a:lnTo>
                        <a:lnTo>
                          <a:pt x="2646" y="708"/>
                        </a:lnTo>
                        <a:lnTo>
                          <a:pt x="2658" y="708"/>
                        </a:lnTo>
                        <a:lnTo>
                          <a:pt x="2676" y="726"/>
                        </a:lnTo>
                        <a:lnTo>
                          <a:pt x="2682" y="738"/>
                        </a:lnTo>
                        <a:lnTo>
                          <a:pt x="2688" y="744"/>
                        </a:lnTo>
                        <a:lnTo>
                          <a:pt x="2682" y="750"/>
                        </a:lnTo>
                        <a:lnTo>
                          <a:pt x="2676" y="762"/>
                        </a:lnTo>
                        <a:lnTo>
                          <a:pt x="2676" y="774"/>
                        </a:lnTo>
                        <a:lnTo>
                          <a:pt x="2670" y="780"/>
                        </a:lnTo>
                        <a:lnTo>
                          <a:pt x="2676" y="792"/>
                        </a:lnTo>
                        <a:lnTo>
                          <a:pt x="2682" y="798"/>
                        </a:lnTo>
                        <a:lnTo>
                          <a:pt x="2694" y="792"/>
                        </a:lnTo>
                        <a:lnTo>
                          <a:pt x="2706" y="780"/>
                        </a:lnTo>
                        <a:lnTo>
                          <a:pt x="2712" y="768"/>
                        </a:lnTo>
                        <a:lnTo>
                          <a:pt x="2718" y="762"/>
                        </a:lnTo>
                        <a:lnTo>
                          <a:pt x="2718" y="750"/>
                        </a:lnTo>
                        <a:lnTo>
                          <a:pt x="2724" y="744"/>
                        </a:lnTo>
                        <a:lnTo>
                          <a:pt x="2736" y="720"/>
                        </a:lnTo>
                        <a:lnTo>
                          <a:pt x="2742" y="714"/>
                        </a:lnTo>
                        <a:lnTo>
                          <a:pt x="2748" y="702"/>
                        </a:lnTo>
                        <a:lnTo>
                          <a:pt x="2748" y="744"/>
                        </a:lnTo>
                        <a:lnTo>
                          <a:pt x="2754" y="750"/>
                        </a:lnTo>
                        <a:lnTo>
                          <a:pt x="2766" y="756"/>
                        </a:lnTo>
                        <a:lnTo>
                          <a:pt x="2772" y="768"/>
                        </a:lnTo>
                        <a:lnTo>
                          <a:pt x="2784" y="774"/>
                        </a:lnTo>
                        <a:lnTo>
                          <a:pt x="2790" y="780"/>
                        </a:lnTo>
                        <a:lnTo>
                          <a:pt x="2814" y="780"/>
                        </a:lnTo>
                        <a:lnTo>
                          <a:pt x="2820" y="774"/>
                        </a:lnTo>
                        <a:lnTo>
                          <a:pt x="2826" y="774"/>
                        </a:lnTo>
                        <a:lnTo>
                          <a:pt x="2814" y="792"/>
                        </a:lnTo>
                        <a:lnTo>
                          <a:pt x="2844" y="822"/>
                        </a:lnTo>
                        <a:lnTo>
                          <a:pt x="2904" y="822"/>
                        </a:lnTo>
                        <a:lnTo>
                          <a:pt x="2940" y="846"/>
                        </a:lnTo>
                        <a:lnTo>
                          <a:pt x="2976" y="864"/>
                        </a:lnTo>
                        <a:lnTo>
                          <a:pt x="3006" y="876"/>
                        </a:lnTo>
                        <a:lnTo>
                          <a:pt x="3036" y="894"/>
                        </a:lnTo>
                        <a:lnTo>
                          <a:pt x="3066" y="924"/>
                        </a:lnTo>
                        <a:lnTo>
                          <a:pt x="3066" y="972"/>
                        </a:lnTo>
                        <a:lnTo>
                          <a:pt x="3090" y="996"/>
                        </a:lnTo>
                        <a:lnTo>
                          <a:pt x="3102" y="1002"/>
                        </a:lnTo>
                        <a:lnTo>
                          <a:pt x="3096" y="1002"/>
                        </a:lnTo>
                        <a:lnTo>
                          <a:pt x="3084" y="1008"/>
                        </a:lnTo>
                        <a:lnTo>
                          <a:pt x="3078" y="1014"/>
                        </a:lnTo>
                        <a:lnTo>
                          <a:pt x="3078" y="1020"/>
                        </a:lnTo>
                        <a:lnTo>
                          <a:pt x="3090" y="1032"/>
                        </a:lnTo>
                        <a:lnTo>
                          <a:pt x="3114" y="1032"/>
                        </a:lnTo>
                        <a:lnTo>
                          <a:pt x="3090" y="1044"/>
                        </a:lnTo>
                        <a:lnTo>
                          <a:pt x="3090" y="1056"/>
                        </a:lnTo>
                        <a:lnTo>
                          <a:pt x="3102" y="1062"/>
                        </a:lnTo>
                        <a:lnTo>
                          <a:pt x="3108" y="1092"/>
                        </a:lnTo>
                        <a:lnTo>
                          <a:pt x="3096" y="1122"/>
                        </a:lnTo>
                        <a:lnTo>
                          <a:pt x="3120" y="1122"/>
                        </a:lnTo>
                        <a:lnTo>
                          <a:pt x="3126" y="1116"/>
                        </a:lnTo>
                        <a:lnTo>
                          <a:pt x="3138" y="1116"/>
                        </a:lnTo>
                        <a:lnTo>
                          <a:pt x="3150" y="1110"/>
                        </a:lnTo>
                        <a:lnTo>
                          <a:pt x="3162" y="1110"/>
                        </a:lnTo>
                        <a:lnTo>
                          <a:pt x="3168" y="1104"/>
                        </a:lnTo>
                        <a:lnTo>
                          <a:pt x="3174" y="1104"/>
                        </a:lnTo>
                        <a:lnTo>
                          <a:pt x="3174" y="1134"/>
                        </a:lnTo>
                        <a:lnTo>
                          <a:pt x="3234" y="1194"/>
                        </a:lnTo>
                        <a:lnTo>
                          <a:pt x="3240" y="1194"/>
                        </a:lnTo>
                        <a:lnTo>
                          <a:pt x="3240" y="1146"/>
                        </a:lnTo>
                        <a:lnTo>
                          <a:pt x="3234" y="1122"/>
                        </a:lnTo>
                        <a:lnTo>
                          <a:pt x="3234" y="1116"/>
                        </a:lnTo>
                        <a:lnTo>
                          <a:pt x="3240" y="1110"/>
                        </a:lnTo>
                        <a:lnTo>
                          <a:pt x="3240" y="1098"/>
                        </a:lnTo>
                        <a:lnTo>
                          <a:pt x="3246" y="1086"/>
                        </a:lnTo>
                        <a:lnTo>
                          <a:pt x="3246" y="1062"/>
                        </a:lnTo>
                        <a:lnTo>
                          <a:pt x="3252" y="1050"/>
                        </a:lnTo>
                        <a:lnTo>
                          <a:pt x="3252" y="1020"/>
                        </a:lnTo>
                        <a:lnTo>
                          <a:pt x="3240" y="1020"/>
                        </a:lnTo>
                        <a:lnTo>
                          <a:pt x="3228" y="1014"/>
                        </a:lnTo>
                        <a:lnTo>
                          <a:pt x="3222" y="1008"/>
                        </a:lnTo>
                        <a:lnTo>
                          <a:pt x="3222" y="1002"/>
                        </a:lnTo>
                        <a:lnTo>
                          <a:pt x="3234" y="990"/>
                        </a:lnTo>
                        <a:lnTo>
                          <a:pt x="3246" y="984"/>
                        </a:lnTo>
                        <a:lnTo>
                          <a:pt x="3252" y="978"/>
                        </a:lnTo>
                        <a:lnTo>
                          <a:pt x="3252" y="864"/>
                        </a:lnTo>
                        <a:lnTo>
                          <a:pt x="3258" y="846"/>
                        </a:lnTo>
                        <a:lnTo>
                          <a:pt x="3258" y="708"/>
                        </a:lnTo>
                        <a:lnTo>
                          <a:pt x="3264" y="678"/>
                        </a:lnTo>
                        <a:close/>
                        <a:moveTo>
                          <a:pt x="336" y="666"/>
                        </a:moveTo>
                        <a:lnTo>
                          <a:pt x="330" y="672"/>
                        </a:lnTo>
                        <a:lnTo>
                          <a:pt x="354" y="696"/>
                        </a:lnTo>
                        <a:lnTo>
                          <a:pt x="360" y="708"/>
                        </a:lnTo>
                        <a:lnTo>
                          <a:pt x="366" y="714"/>
                        </a:lnTo>
                        <a:lnTo>
                          <a:pt x="378" y="714"/>
                        </a:lnTo>
                        <a:lnTo>
                          <a:pt x="378" y="696"/>
                        </a:lnTo>
                        <a:lnTo>
                          <a:pt x="366" y="690"/>
                        </a:lnTo>
                        <a:lnTo>
                          <a:pt x="360" y="678"/>
                        </a:lnTo>
                        <a:lnTo>
                          <a:pt x="348" y="672"/>
                        </a:lnTo>
                        <a:lnTo>
                          <a:pt x="342" y="666"/>
                        </a:lnTo>
                        <a:lnTo>
                          <a:pt x="336" y="666"/>
                        </a:lnTo>
                        <a:close/>
                        <a:moveTo>
                          <a:pt x="2526" y="1104"/>
                        </a:moveTo>
                        <a:lnTo>
                          <a:pt x="2544" y="1116"/>
                        </a:lnTo>
                        <a:lnTo>
                          <a:pt x="2574" y="1092"/>
                        </a:lnTo>
                        <a:lnTo>
                          <a:pt x="2592" y="1092"/>
                        </a:lnTo>
                        <a:lnTo>
                          <a:pt x="2604" y="1080"/>
                        </a:lnTo>
                        <a:lnTo>
                          <a:pt x="2604" y="1062"/>
                        </a:lnTo>
                        <a:lnTo>
                          <a:pt x="2592" y="1056"/>
                        </a:lnTo>
                        <a:lnTo>
                          <a:pt x="2586" y="1056"/>
                        </a:lnTo>
                        <a:lnTo>
                          <a:pt x="2574" y="1062"/>
                        </a:lnTo>
                        <a:lnTo>
                          <a:pt x="2556" y="1068"/>
                        </a:lnTo>
                        <a:lnTo>
                          <a:pt x="2526" y="1098"/>
                        </a:lnTo>
                        <a:lnTo>
                          <a:pt x="2526" y="1104"/>
                        </a:lnTo>
                        <a:close/>
                        <a:moveTo>
                          <a:pt x="3096" y="1068"/>
                        </a:moveTo>
                        <a:lnTo>
                          <a:pt x="3090" y="1068"/>
                        </a:lnTo>
                        <a:lnTo>
                          <a:pt x="3090" y="1062"/>
                        </a:lnTo>
                        <a:lnTo>
                          <a:pt x="3084" y="1062"/>
                        </a:lnTo>
                        <a:lnTo>
                          <a:pt x="3078" y="1056"/>
                        </a:lnTo>
                        <a:lnTo>
                          <a:pt x="3066" y="1056"/>
                        </a:lnTo>
                        <a:lnTo>
                          <a:pt x="3048" y="1062"/>
                        </a:lnTo>
                        <a:lnTo>
                          <a:pt x="3024" y="1086"/>
                        </a:lnTo>
                        <a:lnTo>
                          <a:pt x="3012" y="1122"/>
                        </a:lnTo>
                        <a:lnTo>
                          <a:pt x="3012" y="1134"/>
                        </a:lnTo>
                        <a:lnTo>
                          <a:pt x="3072" y="1128"/>
                        </a:lnTo>
                        <a:lnTo>
                          <a:pt x="3084" y="1128"/>
                        </a:lnTo>
                        <a:lnTo>
                          <a:pt x="3090" y="1122"/>
                        </a:lnTo>
                        <a:lnTo>
                          <a:pt x="3102" y="1092"/>
                        </a:lnTo>
                        <a:lnTo>
                          <a:pt x="3096" y="1068"/>
                        </a:lnTo>
                        <a:close/>
                        <a:moveTo>
                          <a:pt x="2778" y="942"/>
                        </a:moveTo>
                        <a:lnTo>
                          <a:pt x="2766" y="960"/>
                        </a:lnTo>
                        <a:lnTo>
                          <a:pt x="2766" y="1014"/>
                        </a:lnTo>
                        <a:lnTo>
                          <a:pt x="2784" y="1014"/>
                        </a:lnTo>
                        <a:lnTo>
                          <a:pt x="2778" y="996"/>
                        </a:lnTo>
                        <a:lnTo>
                          <a:pt x="2790" y="990"/>
                        </a:lnTo>
                        <a:lnTo>
                          <a:pt x="2790" y="972"/>
                        </a:lnTo>
                        <a:lnTo>
                          <a:pt x="2778" y="972"/>
                        </a:lnTo>
                        <a:lnTo>
                          <a:pt x="2796" y="936"/>
                        </a:lnTo>
                        <a:lnTo>
                          <a:pt x="2814" y="906"/>
                        </a:lnTo>
                        <a:lnTo>
                          <a:pt x="2784" y="912"/>
                        </a:lnTo>
                        <a:lnTo>
                          <a:pt x="2778" y="942"/>
                        </a:lnTo>
                        <a:close/>
                        <a:moveTo>
                          <a:pt x="2136" y="600"/>
                        </a:moveTo>
                        <a:lnTo>
                          <a:pt x="2124" y="594"/>
                        </a:lnTo>
                        <a:lnTo>
                          <a:pt x="2118" y="594"/>
                        </a:lnTo>
                        <a:lnTo>
                          <a:pt x="2106" y="588"/>
                        </a:lnTo>
                        <a:lnTo>
                          <a:pt x="2088" y="588"/>
                        </a:lnTo>
                        <a:lnTo>
                          <a:pt x="2082" y="594"/>
                        </a:lnTo>
                        <a:lnTo>
                          <a:pt x="2082" y="600"/>
                        </a:lnTo>
                        <a:lnTo>
                          <a:pt x="2076" y="606"/>
                        </a:lnTo>
                        <a:lnTo>
                          <a:pt x="2082" y="612"/>
                        </a:lnTo>
                        <a:lnTo>
                          <a:pt x="2094" y="618"/>
                        </a:lnTo>
                        <a:lnTo>
                          <a:pt x="2136" y="618"/>
                        </a:lnTo>
                        <a:lnTo>
                          <a:pt x="2214" y="606"/>
                        </a:lnTo>
                        <a:lnTo>
                          <a:pt x="2136" y="600"/>
                        </a:lnTo>
                        <a:close/>
                        <a:moveTo>
                          <a:pt x="1308" y="1038"/>
                        </a:moveTo>
                        <a:lnTo>
                          <a:pt x="1368" y="1002"/>
                        </a:lnTo>
                        <a:lnTo>
                          <a:pt x="1362" y="990"/>
                        </a:lnTo>
                        <a:lnTo>
                          <a:pt x="1350" y="990"/>
                        </a:lnTo>
                        <a:lnTo>
                          <a:pt x="1332" y="996"/>
                        </a:lnTo>
                        <a:lnTo>
                          <a:pt x="1320" y="996"/>
                        </a:lnTo>
                        <a:lnTo>
                          <a:pt x="1302" y="1002"/>
                        </a:lnTo>
                        <a:lnTo>
                          <a:pt x="1290" y="1008"/>
                        </a:lnTo>
                        <a:lnTo>
                          <a:pt x="1284" y="1014"/>
                        </a:lnTo>
                        <a:lnTo>
                          <a:pt x="1284" y="1032"/>
                        </a:lnTo>
                        <a:lnTo>
                          <a:pt x="1290" y="1038"/>
                        </a:lnTo>
                        <a:lnTo>
                          <a:pt x="1308" y="1038"/>
                        </a:lnTo>
                        <a:close/>
                        <a:moveTo>
                          <a:pt x="1428" y="1116"/>
                        </a:moveTo>
                        <a:lnTo>
                          <a:pt x="1392" y="1116"/>
                        </a:lnTo>
                        <a:lnTo>
                          <a:pt x="1386" y="1146"/>
                        </a:lnTo>
                        <a:lnTo>
                          <a:pt x="1386" y="1152"/>
                        </a:lnTo>
                        <a:lnTo>
                          <a:pt x="1404" y="1170"/>
                        </a:lnTo>
                        <a:lnTo>
                          <a:pt x="1416" y="1176"/>
                        </a:lnTo>
                        <a:lnTo>
                          <a:pt x="1428" y="1164"/>
                        </a:lnTo>
                        <a:lnTo>
                          <a:pt x="1440" y="1140"/>
                        </a:lnTo>
                        <a:lnTo>
                          <a:pt x="1440" y="1128"/>
                        </a:lnTo>
                        <a:lnTo>
                          <a:pt x="1428" y="1116"/>
                        </a:lnTo>
                        <a:close/>
                        <a:moveTo>
                          <a:pt x="708" y="930"/>
                        </a:moveTo>
                        <a:lnTo>
                          <a:pt x="714" y="924"/>
                        </a:lnTo>
                        <a:lnTo>
                          <a:pt x="714" y="900"/>
                        </a:lnTo>
                        <a:lnTo>
                          <a:pt x="744" y="924"/>
                        </a:lnTo>
                        <a:lnTo>
                          <a:pt x="744" y="918"/>
                        </a:lnTo>
                        <a:lnTo>
                          <a:pt x="750" y="912"/>
                        </a:lnTo>
                        <a:lnTo>
                          <a:pt x="750" y="900"/>
                        </a:lnTo>
                        <a:lnTo>
                          <a:pt x="756" y="882"/>
                        </a:lnTo>
                        <a:lnTo>
                          <a:pt x="756" y="840"/>
                        </a:lnTo>
                        <a:lnTo>
                          <a:pt x="762" y="822"/>
                        </a:lnTo>
                        <a:lnTo>
                          <a:pt x="762" y="810"/>
                        </a:lnTo>
                        <a:lnTo>
                          <a:pt x="768" y="792"/>
                        </a:lnTo>
                        <a:lnTo>
                          <a:pt x="768" y="780"/>
                        </a:lnTo>
                        <a:lnTo>
                          <a:pt x="762" y="774"/>
                        </a:lnTo>
                        <a:lnTo>
                          <a:pt x="756" y="762"/>
                        </a:lnTo>
                        <a:lnTo>
                          <a:pt x="756" y="750"/>
                        </a:lnTo>
                        <a:lnTo>
                          <a:pt x="768" y="726"/>
                        </a:lnTo>
                        <a:lnTo>
                          <a:pt x="774" y="720"/>
                        </a:lnTo>
                        <a:lnTo>
                          <a:pt x="774" y="714"/>
                        </a:lnTo>
                        <a:lnTo>
                          <a:pt x="756" y="696"/>
                        </a:lnTo>
                        <a:lnTo>
                          <a:pt x="744" y="654"/>
                        </a:lnTo>
                        <a:lnTo>
                          <a:pt x="702" y="654"/>
                        </a:lnTo>
                        <a:lnTo>
                          <a:pt x="702" y="618"/>
                        </a:lnTo>
                        <a:lnTo>
                          <a:pt x="666" y="618"/>
                        </a:lnTo>
                        <a:lnTo>
                          <a:pt x="660" y="546"/>
                        </a:lnTo>
                        <a:lnTo>
                          <a:pt x="606" y="546"/>
                        </a:lnTo>
                        <a:lnTo>
                          <a:pt x="594" y="534"/>
                        </a:lnTo>
                        <a:lnTo>
                          <a:pt x="594" y="504"/>
                        </a:lnTo>
                        <a:lnTo>
                          <a:pt x="600" y="498"/>
                        </a:lnTo>
                        <a:lnTo>
                          <a:pt x="606" y="486"/>
                        </a:lnTo>
                        <a:lnTo>
                          <a:pt x="582" y="486"/>
                        </a:lnTo>
                        <a:lnTo>
                          <a:pt x="600" y="468"/>
                        </a:lnTo>
                        <a:lnTo>
                          <a:pt x="606" y="456"/>
                        </a:lnTo>
                        <a:lnTo>
                          <a:pt x="612" y="450"/>
                        </a:lnTo>
                        <a:lnTo>
                          <a:pt x="612" y="438"/>
                        </a:lnTo>
                        <a:lnTo>
                          <a:pt x="600" y="426"/>
                        </a:lnTo>
                        <a:lnTo>
                          <a:pt x="588" y="432"/>
                        </a:lnTo>
                        <a:lnTo>
                          <a:pt x="570" y="432"/>
                        </a:lnTo>
                        <a:lnTo>
                          <a:pt x="552" y="438"/>
                        </a:lnTo>
                        <a:lnTo>
                          <a:pt x="540" y="438"/>
                        </a:lnTo>
                        <a:lnTo>
                          <a:pt x="534" y="444"/>
                        </a:lnTo>
                        <a:lnTo>
                          <a:pt x="528" y="444"/>
                        </a:lnTo>
                        <a:lnTo>
                          <a:pt x="534" y="438"/>
                        </a:lnTo>
                        <a:lnTo>
                          <a:pt x="546" y="432"/>
                        </a:lnTo>
                        <a:lnTo>
                          <a:pt x="552" y="420"/>
                        </a:lnTo>
                        <a:lnTo>
                          <a:pt x="558" y="414"/>
                        </a:lnTo>
                        <a:lnTo>
                          <a:pt x="558" y="402"/>
                        </a:lnTo>
                        <a:lnTo>
                          <a:pt x="546" y="396"/>
                        </a:lnTo>
                        <a:lnTo>
                          <a:pt x="534" y="396"/>
                        </a:lnTo>
                        <a:lnTo>
                          <a:pt x="522" y="390"/>
                        </a:lnTo>
                        <a:lnTo>
                          <a:pt x="510" y="390"/>
                        </a:lnTo>
                        <a:lnTo>
                          <a:pt x="516" y="384"/>
                        </a:lnTo>
                        <a:lnTo>
                          <a:pt x="516" y="378"/>
                        </a:lnTo>
                        <a:lnTo>
                          <a:pt x="504" y="354"/>
                        </a:lnTo>
                        <a:lnTo>
                          <a:pt x="492" y="342"/>
                        </a:lnTo>
                        <a:lnTo>
                          <a:pt x="480" y="336"/>
                        </a:lnTo>
                        <a:lnTo>
                          <a:pt x="462" y="330"/>
                        </a:lnTo>
                        <a:lnTo>
                          <a:pt x="456" y="324"/>
                        </a:lnTo>
                        <a:lnTo>
                          <a:pt x="450" y="324"/>
                        </a:lnTo>
                        <a:lnTo>
                          <a:pt x="450" y="318"/>
                        </a:lnTo>
                        <a:lnTo>
                          <a:pt x="444" y="312"/>
                        </a:lnTo>
                        <a:lnTo>
                          <a:pt x="438" y="300"/>
                        </a:lnTo>
                        <a:lnTo>
                          <a:pt x="438" y="288"/>
                        </a:lnTo>
                        <a:lnTo>
                          <a:pt x="426" y="276"/>
                        </a:lnTo>
                        <a:lnTo>
                          <a:pt x="414" y="276"/>
                        </a:lnTo>
                        <a:lnTo>
                          <a:pt x="408" y="282"/>
                        </a:lnTo>
                        <a:lnTo>
                          <a:pt x="414" y="306"/>
                        </a:lnTo>
                        <a:lnTo>
                          <a:pt x="408" y="300"/>
                        </a:lnTo>
                        <a:lnTo>
                          <a:pt x="396" y="294"/>
                        </a:lnTo>
                        <a:lnTo>
                          <a:pt x="360" y="258"/>
                        </a:lnTo>
                        <a:lnTo>
                          <a:pt x="360" y="246"/>
                        </a:lnTo>
                        <a:lnTo>
                          <a:pt x="354" y="240"/>
                        </a:lnTo>
                        <a:lnTo>
                          <a:pt x="348" y="228"/>
                        </a:lnTo>
                        <a:lnTo>
                          <a:pt x="342" y="222"/>
                        </a:lnTo>
                        <a:lnTo>
                          <a:pt x="342" y="216"/>
                        </a:lnTo>
                        <a:lnTo>
                          <a:pt x="330" y="210"/>
                        </a:lnTo>
                        <a:lnTo>
                          <a:pt x="312" y="192"/>
                        </a:lnTo>
                        <a:lnTo>
                          <a:pt x="294" y="186"/>
                        </a:lnTo>
                        <a:lnTo>
                          <a:pt x="288" y="174"/>
                        </a:lnTo>
                        <a:lnTo>
                          <a:pt x="276" y="168"/>
                        </a:lnTo>
                        <a:lnTo>
                          <a:pt x="264" y="156"/>
                        </a:lnTo>
                        <a:lnTo>
                          <a:pt x="252" y="150"/>
                        </a:lnTo>
                        <a:lnTo>
                          <a:pt x="240" y="138"/>
                        </a:lnTo>
                        <a:lnTo>
                          <a:pt x="234" y="126"/>
                        </a:lnTo>
                        <a:lnTo>
                          <a:pt x="222" y="120"/>
                        </a:lnTo>
                        <a:lnTo>
                          <a:pt x="222" y="102"/>
                        </a:lnTo>
                        <a:lnTo>
                          <a:pt x="204" y="84"/>
                        </a:lnTo>
                        <a:lnTo>
                          <a:pt x="198" y="72"/>
                        </a:lnTo>
                        <a:lnTo>
                          <a:pt x="168" y="42"/>
                        </a:lnTo>
                        <a:lnTo>
                          <a:pt x="150" y="42"/>
                        </a:lnTo>
                        <a:lnTo>
                          <a:pt x="66" y="36"/>
                        </a:lnTo>
                        <a:lnTo>
                          <a:pt x="42" y="12"/>
                        </a:lnTo>
                        <a:lnTo>
                          <a:pt x="30" y="6"/>
                        </a:lnTo>
                        <a:lnTo>
                          <a:pt x="24" y="0"/>
                        </a:lnTo>
                        <a:lnTo>
                          <a:pt x="18" y="0"/>
                        </a:lnTo>
                        <a:lnTo>
                          <a:pt x="6" y="6"/>
                        </a:lnTo>
                        <a:lnTo>
                          <a:pt x="0" y="18"/>
                        </a:lnTo>
                        <a:lnTo>
                          <a:pt x="0" y="48"/>
                        </a:lnTo>
                        <a:lnTo>
                          <a:pt x="6" y="60"/>
                        </a:lnTo>
                        <a:lnTo>
                          <a:pt x="18" y="78"/>
                        </a:lnTo>
                        <a:lnTo>
                          <a:pt x="66" y="126"/>
                        </a:lnTo>
                        <a:lnTo>
                          <a:pt x="96" y="150"/>
                        </a:lnTo>
                        <a:lnTo>
                          <a:pt x="126" y="180"/>
                        </a:lnTo>
                        <a:lnTo>
                          <a:pt x="162" y="234"/>
                        </a:lnTo>
                        <a:lnTo>
                          <a:pt x="174" y="228"/>
                        </a:lnTo>
                        <a:lnTo>
                          <a:pt x="174" y="252"/>
                        </a:lnTo>
                        <a:lnTo>
                          <a:pt x="180" y="264"/>
                        </a:lnTo>
                        <a:lnTo>
                          <a:pt x="186" y="270"/>
                        </a:lnTo>
                        <a:lnTo>
                          <a:pt x="198" y="276"/>
                        </a:lnTo>
                        <a:lnTo>
                          <a:pt x="216" y="288"/>
                        </a:lnTo>
                        <a:lnTo>
                          <a:pt x="228" y="300"/>
                        </a:lnTo>
                        <a:lnTo>
                          <a:pt x="246" y="312"/>
                        </a:lnTo>
                        <a:lnTo>
                          <a:pt x="258" y="324"/>
                        </a:lnTo>
                        <a:lnTo>
                          <a:pt x="264" y="336"/>
                        </a:lnTo>
                        <a:lnTo>
                          <a:pt x="276" y="372"/>
                        </a:lnTo>
                        <a:lnTo>
                          <a:pt x="276" y="384"/>
                        </a:lnTo>
                        <a:lnTo>
                          <a:pt x="282" y="390"/>
                        </a:lnTo>
                        <a:lnTo>
                          <a:pt x="282" y="426"/>
                        </a:lnTo>
                        <a:lnTo>
                          <a:pt x="288" y="438"/>
                        </a:lnTo>
                        <a:lnTo>
                          <a:pt x="288" y="444"/>
                        </a:lnTo>
                        <a:lnTo>
                          <a:pt x="294" y="450"/>
                        </a:lnTo>
                        <a:lnTo>
                          <a:pt x="300" y="450"/>
                        </a:lnTo>
                        <a:lnTo>
                          <a:pt x="312" y="444"/>
                        </a:lnTo>
                        <a:lnTo>
                          <a:pt x="324" y="444"/>
                        </a:lnTo>
                        <a:lnTo>
                          <a:pt x="324" y="450"/>
                        </a:lnTo>
                        <a:lnTo>
                          <a:pt x="330" y="462"/>
                        </a:lnTo>
                        <a:lnTo>
                          <a:pt x="330" y="474"/>
                        </a:lnTo>
                        <a:lnTo>
                          <a:pt x="336" y="480"/>
                        </a:lnTo>
                        <a:lnTo>
                          <a:pt x="336" y="486"/>
                        </a:lnTo>
                        <a:lnTo>
                          <a:pt x="378" y="522"/>
                        </a:lnTo>
                        <a:lnTo>
                          <a:pt x="372" y="546"/>
                        </a:lnTo>
                        <a:lnTo>
                          <a:pt x="408" y="606"/>
                        </a:lnTo>
                        <a:lnTo>
                          <a:pt x="402" y="618"/>
                        </a:lnTo>
                        <a:lnTo>
                          <a:pt x="402" y="636"/>
                        </a:lnTo>
                        <a:lnTo>
                          <a:pt x="408" y="648"/>
                        </a:lnTo>
                        <a:lnTo>
                          <a:pt x="438" y="678"/>
                        </a:lnTo>
                        <a:lnTo>
                          <a:pt x="438" y="684"/>
                        </a:lnTo>
                        <a:lnTo>
                          <a:pt x="444" y="690"/>
                        </a:lnTo>
                        <a:lnTo>
                          <a:pt x="462" y="726"/>
                        </a:lnTo>
                        <a:lnTo>
                          <a:pt x="498" y="744"/>
                        </a:lnTo>
                        <a:lnTo>
                          <a:pt x="504" y="750"/>
                        </a:lnTo>
                        <a:lnTo>
                          <a:pt x="510" y="750"/>
                        </a:lnTo>
                        <a:lnTo>
                          <a:pt x="510" y="786"/>
                        </a:lnTo>
                        <a:lnTo>
                          <a:pt x="522" y="792"/>
                        </a:lnTo>
                        <a:lnTo>
                          <a:pt x="528" y="804"/>
                        </a:lnTo>
                        <a:lnTo>
                          <a:pt x="540" y="810"/>
                        </a:lnTo>
                        <a:lnTo>
                          <a:pt x="564" y="834"/>
                        </a:lnTo>
                        <a:lnTo>
                          <a:pt x="576" y="840"/>
                        </a:lnTo>
                        <a:lnTo>
                          <a:pt x="594" y="858"/>
                        </a:lnTo>
                        <a:lnTo>
                          <a:pt x="600" y="858"/>
                        </a:lnTo>
                        <a:lnTo>
                          <a:pt x="606" y="864"/>
                        </a:lnTo>
                        <a:lnTo>
                          <a:pt x="612" y="864"/>
                        </a:lnTo>
                        <a:lnTo>
                          <a:pt x="612" y="870"/>
                        </a:lnTo>
                        <a:lnTo>
                          <a:pt x="618" y="876"/>
                        </a:lnTo>
                        <a:lnTo>
                          <a:pt x="630" y="900"/>
                        </a:lnTo>
                        <a:lnTo>
                          <a:pt x="642" y="912"/>
                        </a:lnTo>
                        <a:lnTo>
                          <a:pt x="654" y="936"/>
                        </a:lnTo>
                        <a:lnTo>
                          <a:pt x="660" y="942"/>
                        </a:lnTo>
                        <a:lnTo>
                          <a:pt x="660" y="906"/>
                        </a:lnTo>
                        <a:lnTo>
                          <a:pt x="672" y="906"/>
                        </a:lnTo>
                        <a:lnTo>
                          <a:pt x="684" y="918"/>
                        </a:lnTo>
                        <a:lnTo>
                          <a:pt x="696" y="924"/>
                        </a:lnTo>
                        <a:lnTo>
                          <a:pt x="702" y="930"/>
                        </a:lnTo>
                        <a:lnTo>
                          <a:pt x="708" y="930"/>
                        </a:lnTo>
                        <a:close/>
                        <a:moveTo>
                          <a:pt x="2118" y="1194"/>
                        </a:moveTo>
                        <a:lnTo>
                          <a:pt x="2106" y="1176"/>
                        </a:lnTo>
                        <a:lnTo>
                          <a:pt x="2088" y="1176"/>
                        </a:lnTo>
                        <a:lnTo>
                          <a:pt x="2064" y="1200"/>
                        </a:lnTo>
                        <a:lnTo>
                          <a:pt x="2064" y="1212"/>
                        </a:lnTo>
                        <a:lnTo>
                          <a:pt x="2052" y="1212"/>
                        </a:lnTo>
                        <a:lnTo>
                          <a:pt x="2040" y="1218"/>
                        </a:lnTo>
                        <a:lnTo>
                          <a:pt x="2010" y="1248"/>
                        </a:lnTo>
                        <a:lnTo>
                          <a:pt x="1998" y="1272"/>
                        </a:lnTo>
                        <a:lnTo>
                          <a:pt x="1992" y="1278"/>
                        </a:lnTo>
                        <a:lnTo>
                          <a:pt x="1992" y="1290"/>
                        </a:lnTo>
                        <a:lnTo>
                          <a:pt x="2004" y="1302"/>
                        </a:lnTo>
                        <a:lnTo>
                          <a:pt x="2022" y="1302"/>
                        </a:lnTo>
                        <a:lnTo>
                          <a:pt x="2052" y="1284"/>
                        </a:lnTo>
                        <a:lnTo>
                          <a:pt x="2082" y="1260"/>
                        </a:lnTo>
                        <a:lnTo>
                          <a:pt x="2106" y="1242"/>
                        </a:lnTo>
                        <a:lnTo>
                          <a:pt x="2100" y="1236"/>
                        </a:lnTo>
                        <a:lnTo>
                          <a:pt x="2100" y="1224"/>
                        </a:lnTo>
                        <a:lnTo>
                          <a:pt x="2112" y="1200"/>
                        </a:lnTo>
                        <a:lnTo>
                          <a:pt x="2118" y="1194"/>
                        </a:lnTo>
                        <a:close/>
                        <a:moveTo>
                          <a:pt x="1374" y="1128"/>
                        </a:moveTo>
                        <a:lnTo>
                          <a:pt x="1374" y="1116"/>
                        </a:lnTo>
                        <a:lnTo>
                          <a:pt x="1368" y="1110"/>
                        </a:lnTo>
                        <a:lnTo>
                          <a:pt x="1344" y="1098"/>
                        </a:lnTo>
                        <a:lnTo>
                          <a:pt x="1332" y="1098"/>
                        </a:lnTo>
                        <a:lnTo>
                          <a:pt x="1320" y="1092"/>
                        </a:lnTo>
                        <a:lnTo>
                          <a:pt x="1314" y="1092"/>
                        </a:lnTo>
                        <a:lnTo>
                          <a:pt x="1302" y="1098"/>
                        </a:lnTo>
                        <a:lnTo>
                          <a:pt x="1296" y="1104"/>
                        </a:lnTo>
                        <a:lnTo>
                          <a:pt x="1296" y="1116"/>
                        </a:lnTo>
                        <a:lnTo>
                          <a:pt x="1290" y="1122"/>
                        </a:lnTo>
                        <a:lnTo>
                          <a:pt x="1290" y="1134"/>
                        </a:lnTo>
                        <a:lnTo>
                          <a:pt x="1254" y="1104"/>
                        </a:lnTo>
                        <a:lnTo>
                          <a:pt x="1260" y="1092"/>
                        </a:lnTo>
                        <a:lnTo>
                          <a:pt x="1260" y="1080"/>
                        </a:lnTo>
                        <a:lnTo>
                          <a:pt x="1266" y="1068"/>
                        </a:lnTo>
                        <a:lnTo>
                          <a:pt x="1266" y="1050"/>
                        </a:lnTo>
                        <a:lnTo>
                          <a:pt x="1260" y="1038"/>
                        </a:lnTo>
                        <a:lnTo>
                          <a:pt x="1254" y="1032"/>
                        </a:lnTo>
                        <a:lnTo>
                          <a:pt x="1242" y="1026"/>
                        </a:lnTo>
                        <a:lnTo>
                          <a:pt x="1188" y="1026"/>
                        </a:lnTo>
                        <a:lnTo>
                          <a:pt x="1158" y="1008"/>
                        </a:lnTo>
                        <a:lnTo>
                          <a:pt x="1158" y="984"/>
                        </a:lnTo>
                        <a:lnTo>
                          <a:pt x="1116" y="984"/>
                        </a:lnTo>
                        <a:lnTo>
                          <a:pt x="1116" y="996"/>
                        </a:lnTo>
                        <a:lnTo>
                          <a:pt x="1110" y="1008"/>
                        </a:lnTo>
                        <a:lnTo>
                          <a:pt x="1110" y="1026"/>
                        </a:lnTo>
                        <a:lnTo>
                          <a:pt x="1086" y="1026"/>
                        </a:lnTo>
                        <a:lnTo>
                          <a:pt x="1074" y="1020"/>
                        </a:lnTo>
                        <a:lnTo>
                          <a:pt x="1056" y="1014"/>
                        </a:lnTo>
                        <a:lnTo>
                          <a:pt x="1044" y="1014"/>
                        </a:lnTo>
                        <a:lnTo>
                          <a:pt x="1032" y="1008"/>
                        </a:lnTo>
                        <a:lnTo>
                          <a:pt x="966" y="1008"/>
                        </a:lnTo>
                        <a:lnTo>
                          <a:pt x="960" y="996"/>
                        </a:lnTo>
                        <a:lnTo>
                          <a:pt x="948" y="990"/>
                        </a:lnTo>
                        <a:lnTo>
                          <a:pt x="942" y="978"/>
                        </a:lnTo>
                        <a:lnTo>
                          <a:pt x="918" y="954"/>
                        </a:lnTo>
                        <a:lnTo>
                          <a:pt x="900" y="954"/>
                        </a:lnTo>
                        <a:lnTo>
                          <a:pt x="888" y="960"/>
                        </a:lnTo>
                        <a:lnTo>
                          <a:pt x="876" y="954"/>
                        </a:lnTo>
                        <a:lnTo>
                          <a:pt x="870" y="948"/>
                        </a:lnTo>
                        <a:lnTo>
                          <a:pt x="858" y="942"/>
                        </a:lnTo>
                        <a:lnTo>
                          <a:pt x="846" y="942"/>
                        </a:lnTo>
                        <a:lnTo>
                          <a:pt x="840" y="936"/>
                        </a:lnTo>
                        <a:lnTo>
                          <a:pt x="822" y="936"/>
                        </a:lnTo>
                        <a:lnTo>
                          <a:pt x="810" y="930"/>
                        </a:lnTo>
                        <a:lnTo>
                          <a:pt x="792" y="930"/>
                        </a:lnTo>
                        <a:lnTo>
                          <a:pt x="786" y="924"/>
                        </a:lnTo>
                        <a:lnTo>
                          <a:pt x="762" y="924"/>
                        </a:lnTo>
                        <a:lnTo>
                          <a:pt x="750" y="930"/>
                        </a:lnTo>
                        <a:lnTo>
                          <a:pt x="738" y="954"/>
                        </a:lnTo>
                        <a:lnTo>
                          <a:pt x="738" y="966"/>
                        </a:lnTo>
                        <a:lnTo>
                          <a:pt x="732" y="978"/>
                        </a:lnTo>
                        <a:lnTo>
                          <a:pt x="720" y="990"/>
                        </a:lnTo>
                        <a:lnTo>
                          <a:pt x="714" y="990"/>
                        </a:lnTo>
                        <a:lnTo>
                          <a:pt x="702" y="1002"/>
                        </a:lnTo>
                        <a:lnTo>
                          <a:pt x="702" y="1014"/>
                        </a:lnTo>
                        <a:lnTo>
                          <a:pt x="738" y="1008"/>
                        </a:lnTo>
                        <a:lnTo>
                          <a:pt x="786" y="1008"/>
                        </a:lnTo>
                        <a:lnTo>
                          <a:pt x="780" y="1014"/>
                        </a:lnTo>
                        <a:lnTo>
                          <a:pt x="768" y="1020"/>
                        </a:lnTo>
                        <a:lnTo>
                          <a:pt x="762" y="1032"/>
                        </a:lnTo>
                        <a:lnTo>
                          <a:pt x="762" y="1044"/>
                        </a:lnTo>
                        <a:lnTo>
                          <a:pt x="774" y="1050"/>
                        </a:lnTo>
                        <a:lnTo>
                          <a:pt x="780" y="1050"/>
                        </a:lnTo>
                        <a:lnTo>
                          <a:pt x="798" y="1044"/>
                        </a:lnTo>
                        <a:lnTo>
                          <a:pt x="810" y="1044"/>
                        </a:lnTo>
                        <a:lnTo>
                          <a:pt x="816" y="1038"/>
                        </a:lnTo>
                        <a:lnTo>
                          <a:pt x="828" y="1032"/>
                        </a:lnTo>
                        <a:lnTo>
                          <a:pt x="840" y="1038"/>
                        </a:lnTo>
                        <a:lnTo>
                          <a:pt x="870" y="1056"/>
                        </a:lnTo>
                        <a:lnTo>
                          <a:pt x="900" y="1068"/>
                        </a:lnTo>
                        <a:lnTo>
                          <a:pt x="924" y="1080"/>
                        </a:lnTo>
                        <a:lnTo>
                          <a:pt x="960" y="1086"/>
                        </a:lnTo>
                        <a:lnTo>
                          <a:pt x="1014" y="1092"/>
                        </a:lnTo>
                        <a:lnTo>
                          <a:pt x="1062" y="1092"/>
                        </a:lnTo>
                        <a:lnTo>
                          <a:pt x="1080" y="1110"/>
                        </a:lnTo>
                        <a:lnTo>
                          <a:pt x="1086" y="1122"/>
                        </a:lnTo>
                        <a:lnTo>
                          <a:pt x="1098" y="1128"/>
                        </a:lnTo>
                        <a:lnTo>
                          <a:pt x="1110" y="1140"/>
                        </a:lnTo>
                        <a:lnTo>
                          <a:pt x="1128" y="1146"/>
                        </a:lnTo>
                        <a:lnTo>
                          <a:pt x="1152" y="1152"/>
                        </a:lnTo>
                        <a:lnTo>
                          <a:pt x="1170" y="1152"/>
                        </a:lnTo>
                        <a:lnTo>
                          <a:pt x="1182" y="1158"/>
                        </a:lnTo>
                        <a:lnTo>
                          <a:pt x="1248" y="1158"/>
                        </a:lnTo>
                        <a:lnTo>
                          <a:pt x="1260" y="1164"/>
                        </a:lnTo>
                        <a:lnTo>
                          <a:pt x="1278" y="1170"/>
                        </a:lnTo>
                        <a:lnTo>
                          <a:pt x="1290" y="1182"/>
                        </a:lnTo>
                        <a:lnTo>
                          <a:pt x="1302" y="1188"/>
                        </a:lnTo>
                        <a:lnTo>
                          <a:pt x="1320" y="1206"/>
                        </a:lnTo>
                        <a:lnTo>
                          <a:pt x="1338" y="1206"/>
                        </a:lnTo>
                        <a:lnTo>
                          <a:pt x="1350" y="1200"/>
                        </a:lnTo>
                        <a:lnTo>
                          <a:pt x="1356" y="1206"/>
                        </a:lnTo>
                        <a:lnTo>
                          <a:pt x="1374" y="1206"/>
                        </a:lnTo>
                        <a:lnTo>
                          <a:pt x="1374" y="1194"/>
                        </a:lnTo>
                        <a:lnTo>
                          <a:pt x="1368" y="1182"/>
                        </a:lnTo>
                        <a:lnTo>
                          <a:pt x="1362" y="1176"/>
                        </a:lnTo>
                        <a:lnTo>
                          <a:pt x="1356" y="1164"/>
                        </a:lnTo>
                        <a:lnTo>
                          <a:pt x="1374" y="1146"/>
                        </a:lnTo>
                        <a:lnTo>
                          <a:pt x="1374" y="1128"/>
                        </a:lnTo>
                        <a:close/>
                        <a:moveTo>
                          <a:pt x="1500" y="726"/>
                        </a:moveTo>
                        <a:lnTo>
                          <a:pt x="1542" y="684"/>
                        </a:lnTo>
                        <a:lnTo>
                          <a:pt x="1548" y="672"/>
                        </a:lnTo>
                        <a:lnTo>
                          <a:pt x="1554" y="654"/>
                        </a:lnTo>
                        <a:lnTo>
                          <a:pt x="1560" y="642"/>
                        </a:lnTo>
                        <a:lnTo>
                          <a:pt x="1566" y="624"/>
                        </a:lnTo>
                        <a:lnTo>
                          <a:pt x="1566" y="612"/>
                        </a:lnTo>
                        <a:lnTo>
                          <a:pt x="1572" y="606"/>
                        </a:lnTo>
                        <a:lnTo>
                          <a:pt x="1572" y="600"/>
                        </a:lnTo>
                        <a:lnTo>
                          <a:pt x="1566" y="600"/>
                        </a:lnTo>
                        <a:lnTo>
                          <a:pt x="1554" y="594"/>
                        </a:lnTo>
                        <a:lnTo>
                          <a:pt x="1542" y="582"/>
                        </a:lnTo>
                        <a:lnTo>
                          <a:pt x="1542" y="564"/>
                        </a:lnTo>
                        <a:lnTo>
                          <a:pt x="1554" y="516"/>
                        </a:lnTo>
                        <a:lnTo>
                          <a:pt x="1590" y="498"/>
                        </a:lnTo>
                        <a:lnTo>
                          <a:pt x="1626" y="498"/>
                        </a:lnTo>
                        <a:lnTo>
                          <a:pt x="1632" y="486"/>
                        </a:lnTo>
                        <a:lnTo>
                          <a:pt x="1638" y="480"/>
                        </a:lnTo>
                        <a:lnTo>
                          <a:pt x="1644" y="468"/>
                        </a:lnTo>
                        <a:lnTo>
                          <a:pt x="1644" y="444"/>
                        </a:lnTo>
                        <a:lnTo>
                          <a:pt x="1626" y="444"/>
                        </a:lnTo>
                        <a:lnTo>
                          <a:pt x="1620" y="450"/>
                        </a:lnTo>
                        <a:lnTo>
                          <a:pt x="1608" y="450"/>
                        </a:lnTo>
                        <a:lnTo>
                          <a:pt x="1608" y="438"/>
                        </a:lnTo>
                        <a:lnTo>
                          <a:pt x="1614" y="420"/>
                        </a:lnTo>
                        <a:lnTo>
                          <a:pt x="1626" y="408"/>
                        </a:lnTo>
                        <a:lnTo>
                          <a:pt x="1650" y="396"/>
                        </a:lnTo>
                        <a:lnTo>
                          <a:pt x="1662" y="396"/>
                        </a:lnTo>
                        <a:lnTo>
                          <a:pt x="1680" y="402"/>
                        </a:lnTo>
                        <a:lnTo>
                          <a:pt x="1704" y="402"/>
                        </a:lnTo>
                        <a:lnTo>
                          <a:pt x="1716" y="390"/>
                        </a:lnTo>
                        <a:lnTo>
                          <a:pt x="1716" y="384"/>
                        </a:lnTo>
                        <a:lnTo>
                          <a:pt x="1680" y="348"/>
                        </a:lnTo>
                        <a:lnTo>
                          <a:pt x="1680" y="312"/>
                        </a:lnTo>
                        <a:lnTo>
                          <a:pt x="1668" y="312"/>
                        </a:lnTo>
                        <a:lnTo>
                          <a:pt x="1650" y="294"/>
                        </a:lnTo>
                        <a:lnTo>
                          <a:pt x="1650" y="282"/>
                        </a:lnTo>
                        <a:lnTo>
                          <a:pt x="1662" y="270"/>
                        </a:lnTo>
                        <a:lnTo>
                          <a:pt x="1668" y="258"/>
                        </a:lnTo>
                        <a:lnTo>
                          <a:pt x="1668" y="246"/>
                        </a:lnTo>
                        <a:lnTo>
                          <a:pt x="1662" y="240"/>
                        </a:lnTo>
                        <a:lnTo>
                          <a:pt x="1638" y="228"/>
                        </a:lnTo>
                        <a:lnTo>
                          <a:pt x="1614" y="228"/>
                        </a:lnTo>
                        <a:lnTo>
                          <a:pt x="1632" y="198"/>
                        </a:lnTo>
                        <a:lnTo>
                          <a:pt x="1614" y="192"/>
                        </a:lnTo>
                        <a:lnTo>
                          <a:pt x="1620" y="162"/>
                        </a:lnTo>
                        <a:lnTo>
                          <a:pt x="1608" y="144"/>
                        </a:lnTo>
                        <a:lnTo>
                          <a:pt x="1602" y="138"/>
                        </a:lnTo>
                        <a:lnTo>
                          <a:pt x="1590" y="132"/>
                        </a:lnTo>
                        <a:lnTo>
                          <a:pt x="1566" y="108"/>
                        </a:lnTo>
                        <a:lnTo>
                          <a:pt x="1470" y="108"/>
                        </a:lnTo>
                        <a:lnTo>
                          <a:pt x="1464" y="114"/>
                        </a:lnTo>
                        <a:lnTo>
                          <a:pt x="1458" y="126"/>
                        </a:lnTo>
                        <a:lnTo>
                          <a:pt x="1458" y="180"/>
                        </a:lnTo>
                        <a:lnTo>
                          <a:pt x="1452" y="198"/>
                        </a:lnTo>
                        <a:lnTo>
                          <a:pt x="1452" y="204"/>
                        </a:lnTo>
                        <a:lnTo>
                          <a:pt x="1446" y="216"/>
                        </a:lnTo>
                        <a:lnTo>
                          <a:pt x="1428" y="216"/>
                        </a:lnTo>
                        <a:lnTo>
                          <a:pt x="1422" y="222"/>
                        </a:lnTo>
                        <a:lnTo>
                          <a:pt x="1422" y="246"/>
                        </a:lnTo>
                        <a:lnTo>
                          <a:pt x="1428" y="252"/>
                        </a:lnTo>
                        <a:lnTo>
                          <a:pt x="1434" y="264"/>
                        </a:lnTo>
                        <a:lnTo>
                          <a:pt x="1398" y="294"/>
                        </a:lnTo>
                        <a:lnTo>
                          <a:pt x="1404" y="306"/>
                        </a:lnTo>
                        <a:lnTo>
                          <a:pt x="1374" y="342"/>
                        </a:lnTo>
                        <a:lnTo>
                          <a:pt x="1350" y="342"/>
                        </a:lnTo>
                        <a:lnTo>
                          <a:pt x="1344" y="348"/>
                        </a:lnTo>
                        <a:lnTo>
                          <a:pt x="1332" y="354"/>
                        </a:lnTo>
                        <a:lnTo>
                          <a:pt x="1320" y="366"/>
                        </a:lnTo>
                        <a:lnTo>
                          <a:pt x="1314" y="366"/>
                        </a:lnTo>
                        <a:lnTo>
                          <a:pt x="1308" y="360"/>
                        </a:lnTo>
                        <a:lnTo>
                          <a:pt x="1284" y="348"/>
                        </a:lnTo>
                        <a:lnTo>
                          <a:pt x="1272" y="336"/>
                        </a:lnTo>
                        <a:lnTo>
                          <a:pt x="1230" y="336"/>
                        </a:lnTo>
                        <a:lnTo>
                          <a:pt x="1224" y="348"/>
                        </a:lnTo>
                        <a:lnTo>
                          <a:pt x="1194" y="378"/>
                        </a:lnTo>
                        <a:lnTo>
                          <a:pt x="1170" y="378"/>
                        </a:lnTo>
                        <a:lnTo>
                          <a:pt x="1152" y="372"/>
                        </a:lnTo>
                        <a:lnTo>
                          <a:pt x="1128" y="372"/>
                        </a:lnTo>
                        <a:lnTo>
                          <a:pt x="1110" y="390"/>
                        </a:lnTo>
                        <a:lnTo>
                          <a:pt x="1104" y="390"/>
                        </a:lnTo>
                        <a:lnTo>
                          <a:pt x="1080" y="378"/>
                        </a:lnTo>
                        <a:lnTo>
                          <a:pt x="1074" y="372"/>
                        </a:lnTo>
                        <a:lnTo>
                          <a:pt x="1062" y="366"/>
                        </a:lnTo>
                        <a:lnTo>
                          <a:pt x="1050" y="354"/>
                        </a:lnTo>
                        <a:lnTo>
                          <a:pt x="1050" y="342"/>
                        </a:lnTo>
                        <a:lnTo>
                          <a:pt x="1044" y="336"/>
                        </a:lnTo>
                        <a:lnTo>
                          <a:pt x="1032" y="330"/>
                        </a:lnTo>
                        <a:lnTo>
                          <a:pt x="1008" y="330"/>
                        </a:lnTo>
                        <a:lnTo>
                          <a:pt x="996" y="336"/>
                        </a:lnTo>
                        <a:lnTo>
                          <a:pt x="990" y="348"/>
                        </a:lnTo>
                        <a:lnTo>
                          <a:pt x="978" y="366"/>
                        </a:lnTo>
                        <a:lnTo>
                          <a:pt x="972" y="384"/>
                        </a:lnTo>
                        <a:lnTo>
                          <a:pt x="972" y="402"/>
                        </a:lnTo>
                        <a:lnTo>
                          <a:pt x="966" y="408"/>
                        </a:lnTo>
                        <a:lnTo>
                          <a:pt x="966" y="414"/>
                        </a:lnTo>
                        <a:lnTo>
                          <a:pt x="990" y="444"/>
                        </a:lnTo>
                        <a:lnTo>
                          <a:pt x="1002" y="498"/>
                        </a:lnTo>
                        <a:lnTo>
                          <a:pt x="1050" y="528"/>
                        </a:lnTo>
                        <a:lnTo>
                          <a:pt x="1038" y="564"/>
                        </a:lnTo>
                        <a:lnTo>
                          <a:pt x="1068" y="582"/>
                        </a:lnTo>
                        <a:lnTo>
                          <a:pt x="1050" y="606"/>
                        </a:lnTo>
                        <a:lnTo>
                          <a:pt x="1068" y="636"/>
                        </a:lnTo>
                        <a:lnTo>
                          <a:pt x="1056" y="648"/>
                        </a:lnTo>
                        <a:lnTo>
                          <a:pt x="1068" y="702"/>
                        </a:lnTo>
                        <a:lnTo>
                          <a:pt x="1110" y="696"/>
                        </a:lnTo>
                        <a:lnTo>
                          <a:pt x="1140" y="708"/>
                        </a:lnTo>
                        <a:lnTo>
                          <a:pt x="1146" y="696"/>
                        </a:lnTo>
                        <a:lnTo>
                          <a:pt x="1170" y="672"/>
                        </a:lnTo>
                        <a:lnTo>
                          <a:pt x="1182" y="672"/>
                        </a:lnTo>
                        <a:lnTo>
                          <a:pt x="1182" y="690"/>
                        </a:lnTo>
                        <a:lnTo>
                          <a:pt x="1188" y="702"/>
                        </a:lnTo>
                        <a:lnTo>
                          <a:pt x="1188" y="726"/>
                        </a:lnTo>
                        <a:lnTo>
                          <a:pt x="1194" y="738"/>
                        </a:lnTo>
                        <a:lnTo>
                          <a:pt x="1212" y="738"/>
                        </a:lnTo>
                        <a:lnTo>
                          <a:pt x="1218" y="726"/>
                        </a:lnTo>
                        <a:lnTo>
                          <a:pt x="1218" y="720"/>
                        </a:lnTo>
                        <a:lnTo>
                          <a:pt x="1224" y="714"/>
                        </a:lnTo>
                        <a:lnTo>
                          <a:pt x="1224" y="708"/>
                        </a:lnTo>
                        <a:lnTo>
                          <a:pt x="1254" y="726"/>
                        </a:lnTo>
                        <a:lnTo>
                          <a:pt x="1266" y="720"/>
                        </a:lnTo>
                        <a:lnTo>
                          <a:pt x="1272" y="708"/>
                        </a:lnTo>
                        <a:lnTo>
                          <a:pt x="1284" y="702"/>
                        </a:lnTo>
                        <a:lnTo>
                          <a:pt x="1296" y="702"/>
                        </a:lnTo>
                        <a:lnTo>
                          <a:pt x="1296" y="714"/>
                        </a:lnTo>
                        <a:lnTo>
                          <a:pt x="1302" y="720"/>
                        </a:lnTo>
                        <a:lnTo>
                          <a:pt x="1302" y="738"/>
                        </a:lnTo>
                        <a:lnTo>
                          <a:pt x="1308" y="744"/>
                        </a:lnTo>
                        <a:lnTo>
                          <a:pt x="1332" y="744"/>
                        </a:lnTo>
                        <a:lnTo>
                          <a:pt x="1350" y="738"/>
                        </a:lnTo>
                        <a:lnTo>
                          <a:pt x="1362" y="732"/>
                        </a:lnTo>
                        <a:lnTo>
                          <a:pt x="1392" y="732"/>
                        </a:lnTo>
                        <a:lnTo>
                          <a:pt x="1404" y="744"/>
                        </a:lnTo>
                        <a:lnTo>
                          <a:pt x="1404" y="786"/>
                        </a:lnTo>
                        <a:lnTo>
                          <a:pt x="1398" y="798"/>
                        </a:lnTo>
                        <a:lnTo>
                          <a:pt x="1398" y="810"/>
                        </a:lnTo>
                        <a:lnTo>
                          <a:pt x="1404" y="810"/>
                        </a:lnTo>
                        <a:lnTo>
                          <a:pt x="1410" y="804"/>
                        </a:lnTo>
                        <a:lnTo>
                          <a:pt x="1422" y="798"/>
                        </a:lnTo>
                        <a:lnTo>
                          <a:pt x="1440" y="792"/>
                        </a:lnTo>
                        <a:lnTo>
                          <a:pt x="1452" y="786"/>
                        </a:lnTo>
                        <a:lnTo>
                          <a:pt x="1476" y="762"/>
                        </a:lnTo>
                        <a:lnTo>
                          <a:pt x="1482" y="750"/>
                        </a:lnTo>
                        <a:lnTo>
                          <a:pt x="1500" y="732"/>
                        </a:lnTo>
                        <a:lnTo>
                          <a:pt x="1500" y="726"/>
                        </a:lnTo>
                        <a:close/>
                        <a:moveTo>
                          <a:pt x="1476" y="1116"/>
                        </a:moveTo>
                        <a:lnTo>
                          <a:pt x="1470" y="1116"/>
                        </a:lnTo>
                        <a:lnTo>
                          <a:pt x="1458" y="1122"/>
                        </a:lnTo>
                        <a:lnTo>
                          <a:pt x="1452" y="1128"/>
                        </a:lnTo>
                        <a:lnTo>
                          <a:pt x="1458" y="1134"/>
                        </a:lnTo>
                        <a:lnTo>
                          <a:pt x="1470" y="1140"/>
                        </a:lnTo>
                        <a:lnTo>
                          <a:pt x="1476" y="1140"/>
                        </a:lnTo>
                        <a:lnTo>
                          <a:pt x="1488" y="1146"/>
                        </a:lnTo>
                        <a:lnTo>
                          <a:pt x="1500" y="1134"/>
                        </a:lnTo>
                        <a:lnTo>
                          <a:pt x="1500" y="1128"/>
                        </a:lnTo>
                        <a:lnTo>
                          <a:pt x="1488" y="1116"/>
                        </a:lnTo>
                        <a:lnTo>
                          <a:pt x="1476" y="1116"/>
                        </a:lnTo>
                        <a:close/>
                        <a:moveTo>
                          <a:pt x="1716" y="1230"/>
                        </a:moveTo>
                        <a:lnTo>
                          <a:pt x="1680" y="1218"/>
                        </a:lnTo>
                        <a:lnTo>
                          <a:pt x="1674" y="1224"/>
                        </a:lnTo>
                        <a:lnTo>
                          <a:pt x="1674" y="1230"/>
                        </a:lnTo>
                        <a:lnTo>
                          <a:pt x="1686" y="1254"/>
                        </a:lnTo>
                        <a:lnTo>
                          <a:pt x="1692" y="1260"/>
                        </a:lnTo>
                        <a:lnTo>
                          <a:pt x="1704" y="1266"/>
                        </a:lnTo>
                        <a:lnTo>
                          <a:pt x="1716" y="1266"/>
                        </a:lnTo>
                        <a:lnTo>
                          <a:pt x="1722" y="1260"/>
                        </a:lnTo>
                        <a:lnTo>
                          <a:pt x="1740" y="1260"/>
                        </a:lnTo>
                        <a:lnTo>
                          <a:pt x="1746" y="1266"/>
                        </a:lnTo>
                        <a:lnTo>
                          <a:pt x="1746" y="1278"/>
                        </a:lnTo>
                        <a:lnTo>
                          <a:pt x="1752" y="1290"/>
                        </a:lnTo>
                        <a:lnTo>
                          <a:pt x="1764" y="1296"/>
                        </a:lnTo>
                        <a:lnTo>
                          <a:pt x="1788" y="1296"/>
                        </a:lnTo>
                        <a:lnTo>
                          <a:pt x="1794" y="1290"/>
                        </a:lnTo>
                        <a:lnTo>
                          <a:pt x="1800" y="1290"/>
                        </a:lnTo>
                        <a:lnTo>
                          <a:pt x="1800" y="1284"/>
                        </a:lnTo>
                        <a:lnTo>
                          <a:pt x="1794" y="1272"/>
                        </a:lnTo>
                        <a:lnTo>
                          <a:pt x="1782" y="1260"/>
                        </a:lnTo>
                        <a:lnTo>
                          <a:pt x="1770" y="1236"/>
                        </a:lnTo>
                        <a:lnTo>
                          <a:pt x="1746" y="1224"/>
                        </a:lnTo>
                        <a:lnTo>
                          <a:pt x="1728" y="1224"/>
                        </a:lnTo>
                        <a:lnTo>
                          <a:pt x="1716" y="1230"/>
                        </a:lnTo>
                        <a:close/>
                        <a:moveTo>
                          <a:pt x="1962" y="1122"/>
                        </a:moveTo>
                        <a:lnTo>
                          <a:pt x="1932" y="1146"/>
                        </a:lnTo>
                        <a:lnTo>
                          <a:pt x="1920" y="1134"/>
                        </a:lnTo>
                        <a:lnTo>
                          <a:pt x="1890" y="1134"/>
                        </a:lnTo>
                        <a:lnTo>
                          <a:pt x="1884" y="1140"/>
                        </a:lnTo>
                        <a:lnTo>
                          <a:pt x="1872" y="1146"/>
                        </a:lnTo>
                        <a:lnTo>
                          <a:pt x="1866" y="1152"/>
                        </a:lnTo>
                        <a:lnTo>
                          <a:pt x="1860" y="1140"/>
                        </a:lnTo>
                        <a:lnTo>
                          <a:pt x="1836" y="1116"/>
                        </a:lnTo>
                        <a:lnTo>
                          <a:pt x="1824" y="1116"/>
                        </a:lnTo>
                        <a:lnTo>
                          <a:pt x="1800" y="1128"/>
                        </a:lnTo>
                        <a:lnTo>
                          <a:pt x="1764" y="1164"/>
                        </a:lnTo>
                        <a:lnTo>
                          <a:pt x="1728" y="1158"/>
                        </a:lnTo>
                        <a:lnTo>
                          <a:pt x="1716" y="1176"/>
                        </a:lnTo>
                        <a:lnTo>
                          <a:pt x="1746" y="1176"/>
                        </a:lnTo>
                        <a:lnTo>
                          <a:pt x="1752" y="1182"/>
                        </a:lnTo>
                        <a:lnTo>
                          <a:pt x="1764" y="1182"/>
                        </a:lnTo>
                        <a:lnTo>
                          <a:pt x="1776" y="1188"/>
                        </a:lnTo>
                        <a:lnTo>
                          <a:pt x="1788" y="1188"/>
                        </a:lnTo>
                        <a:lnTo>
                          <a:pt x="1794" y="1182"/>
                        </a:lnTo>
                        <a:lnTo>
                          <a:pt x="1806" y="1176"/>
                        </a:lnTo>
                        <a:lnTo>
                          <a:pt x="1812" y="1170"/>
                        </a:lnTo>
                        <a:lnTo>
                          <a:pt x="1908" y="1164"/>
                        </a:lnTo>
                        <a:lnTo>
                          <a:pt x="1956" y="1158"/>
                        </a:lnTo>
                        <a:lnTo>
                          <a:pt x="1992" y="1128"/>
                        </a:lnTo>
                        <a:lnTo>
                          <a:pt x="1992" y="1110"/>
                        </a:lnTo>
                        <a:lnTo>
                          <a:pt x="1962" y="1122"/>
                        </a:lnTo>
                        <a:close/>
                        <a:moveTo>
                          <a:pt x="1578" y="1158"/>
                        </a:moveTo>
                        <a:lnTo>
                          <a:pt x="1566" y="1152"/>
                        </a:lnTo>
                        <a:lnTo>
                          <a:pt x="1560" y="1146"/>
                        </a:lnTo>
                        <a:lnTo>
                          <a:pt x="1548" y="1140"/>
                        </a:lnTo>
                        <a:lnTo>
                          <a:pt x="1536" y="1140"/>
                        </a:lnTo>
                        <a:lnTo>
                          <a:pt x="1512" y="1164"/>
                        </a:lnTo>
                        <a:lnTo>
                          <a:pt x="1506" y="1176"/>
                        </a:lnTo>
                        <a:lnTo>
                          <a:pt x="1500" y="1182"/>
                        </a:lnTo>
                        <a:lnTo>
                          <a:pt x="1554" y="1188"/>
                        </a:lnTo>
                        <a:lnTo>
                          <a:pt x="1554" y="1212"/>
                        </a:lnTo>
                        <a:lnTo>
                          <a:pt x="1578" y="1206"/>
                        </a:lnTo>
                        <a:lnTo>
                          <a:pt x="1590" y="1188"/>
                        </a:lnTo>
                        <a:lnTo>
                          <a:pt x="1614" y="1206"/>
                        </a:lnTo>
                        <a:lnTo>
                          <a:pt x="1644" y="1170"/>
                        </a:lnTo>
                        <a:lnTo>
                          <a:pt x="1596" y="1152"/>
                        </a:lnTo>
                        <a:lnTo>
                          <a:pt x="1578" y="1158"/>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22" name="India"/>
                  <p:cNvSpPr>
                    <a:spLocks noEditPoints="1"/>
                  </p:cNvSpPr>
                  <p:nvPr/>
                </p:nvSpPr>
                <p:spPr bwMode="gray">
                  <a:xfrm>
                    <a:off x="3872" y="1568"/>
                    <a:ext cx="500" cy="603"/>
                  </a:xfrm>
                  <a:custGeom>
                    <a:avLst/>
                    <a:gdLst>
                      <a:gd name="T0" fmla="*/ 2147483647 w 1956"/>
                      <a:gd name="T1" fmla="*/ 2147483647 h 2358"/>
                      <a:gd name="T2" fmla="*/ 2147483647 w 1956"/>
                      <a:gd name="T3" fmla="*/ 2147483647 h 2358"/>
                      <a:gd name="T4" fmla="*/ 2147483647 w 1956"/>
                      <a:gd name="T5" fmla="*/ 2147483647 h 2358"/>
                      <a:gd name="T6" fmla="*/ 2147483647 w 1956"/>
                      <a:gd name="T7" fmla="*/ 2147483647 h 2358"/>
                      <a:gd name="T8" fmla="*/ 2147483647 w 1956"/>
                      <a:gd name="T9" fmla="*/ 2147483647 h 2358"/>
                      <a:gd name="T10" fmla="*/ 2147483647 w 1956"/>
                      <a:gd name="T11" fmla="*/ 2147483647 h 2358"/>
                      <a:gd name="T12" fmla="*/ 2147483647 w 1956"/>
                      <a:gd name="T13" fmla="*/ 2147483647 h 2358"/>
                      <a:gd name="T14" fmla="*/ 2147483647 w 1956"/>
                      <a:gd name="T15" fmla="*/ 2147483647 h 2358"/>
                      <a:gd name="T16" fmla="*/ 2147483647 w 1956"/>
                      <a:gd name="T17" fmla="*/ 2147483647 h 2358"/>
                      <a:gd name="T18" fmla="*/ 2147483647 w 1956"/>
                      <a:gd name="T19" fmla="*/ 2147483647 h 2358"/>
                      <a:gd name="T20" fmla="*/ 2147483647 w 1956"/>
                      <a:gd name="T21" fmla="*/ 2147483647 h 2358"/>
                      <a:gd name="T22" fmla="*/ 2147483647 w 1956"/>
                      <a:gd name="T23" fmla="*/ 2147483647 h 2358"/>
                      <a:gd name="T24" fmla="*/ 2147483647 w 1956"/>
                      <a:gd name="T25" fmla="*/ 2147483647 h 2358"/>
                      <a:gd name="T26" fmla="*/ 2147483647 w 1956"/>
                      <a:gd name="T27" fmla="*/ 2147483647 h 2358"/>
                      <a:gd name="T28" fmla="*/ 2147483647 w 1956"/>
                      <a:gd name="T29" fmla="*/ 2147483647 h 2358"/>
                      <a:gd name="T30" fmla="*/ 2147483647 w 1956"/>
                      <a:gd name="T31" fmla="*/ 2147483647 h 2358"/>
                      <a:gd name="T32" fmla="*/ 2147483647 w 1956"/>
                      <a:gd name="T33" fmla="*/ 2147483647 h 2358"/>
                      <a:gd name="T34" fmla="*/ 2147483647 w 1956"/>
                      <a:gd name="T35" fmla="*/ 2147483647 h 2358"/>
                      <a:gd name="T36" fmla="*/ 2147483647 w 1956"/>
                      <a:gd name="T37" fmla="*/ 2147483647 h 2358"/>
                      <a:gd name="T38" fmla="*/ 2147483647 w 1956"/>
                      <a:gd name="T39" fmla="*/ 2147483647 h 2358"/>
                      <a:gd name="T40" fmla="*/ 2147483647 w 1956"/>
                      <a:gd name="T41" fmla="*/ 2147483647 h 2358"/>
                      <a:gd name="T42" fmla="*/ 2147483647 w 1956"/>
                      <a:gd name="T43" fmla="*/ 2147483647 h 2358"/>
                      <a:gd name="T44" fmla="*/ 2147483647 w 1956"/>
                      <a:gd name="T45" fmla="*/ 2147483647 h 2358"/>
                      <a:gd name="T46" fmla="*/ 2147483647 w 1956"/>
                      <a:gd name="T47" fmla="*/ 2147483647 h 2358"/>
                      <a:gd name="T48" fmla="*/ 2147483647 w 1956"/>
                      <a:gd name="T49" fmla="*/ 2147483647 h 2358"/>
                      <a:gd name="T50" fmla="*/ 2147483647 w 1956"/>
                      <a:gd name="T51" fmla="*/ 2147483647 h 2358"/>
                      <a:gd name="T52" fmla="*/ 2147483647 w 1956"/>
                      <a:gd name="T53" fmla="*/ 2147483647 h 2358"/>
                      <a:gd name="T54" fmla="*/ 2147483647 w 1956"/>
                      <a:gd name="T55" fmla="*/ 2147483647 h 2358"/>
                      <a:gd name="T56" fmla="*/ 2147483647 w 1956"/>
                      <a:gd name="T57" fmla="*/ 2147483647 h 2358"/>
                      <a:gd name="T58" fmla="*/ 2147483647 w 1956"/>
                      <a:gd name="T59" fmla="*/ 2147483647 h 2358"/>
                      <a:gd name="T60" fmla="*/ 2147483647 w 1956"/>
                      <a:gd name="T61" fmla="*/ 2147483647 h 2358"/>
                      <a:gd name="T62" fmla="*/ 2147483647 w 1956"/>
                      <a:gd name="T63" fmla="*/ 2147483647 h 2358"/>
                      <a:gd name="T64" fmla="*/ 2147483647 w 1956"/>
                      <a:gd name="T65" fmla="*/ 2147483647 h 2358"/>
                      <a:gd name="T66" fmla="*/ 2147483647 w 1956"/>
                      <a:gd name="T67" fmla="*/ 2147483647 h 2358"/>
                      <a:gd name="T68" fmla="*/ 2147483647 w 1956"/>
                      <a:gd name="T69" fmla="*/ 2147483647 h 2358"/>
                      <a:gd name="T70" fmla="*/ 2147483647 w 1956"/>
                      <a:gd name="T71" fmla="*/ 2147483647 h 2358"/>
                      <a:gd name="T72" fmla="*/ 2147483647 w 1956"/>
                      <a:gd name="T73" fmla="*/ 2147483647 h 2358"/>
                      <a:gd name="T74" fmla="*/ 2147483647 w 1956"/>
                      <a:gd name="T75" fmla="*/ 2147483647 h 2358"/>
                      <a:gd name="T76" fmla="*/ 2147483647 w 1956"/>
                      <a:gd name="T77" fmla="*/ 2147483647 h 2358"/>
                      <a:gd name="T78" fmla="*/ 2147483647 w 1956"/>
                      <a:gd name="T79" fmla="*/ 2147483647 h 2358"/>
                      <a:gd name="T80" fmla="*/ 2147483647 w 1956"/>
                      <a:gd name="T81" fmla="*/ 2147483647 h 2358"/>
                      <a:gd name="T82" fmla="*/ 2147483647 w 1956"/>
                      <a:gd name="T83" fmla="*/ 2147483647 h 2358"/>
                      <a:gd name="T84" fmla="*/ 2147483647 w 1956"/>
                      <a:gd name="T85" fmla="*/ 2147483647 h 2358"/>
                      <a:gd name="T86" fmla="*/ 2147483647 w 1956"/>
                      <a:gd name="T87" fmla="*/ 2147483647 h 2358"/>
                      <a:gd name="T88" fmla="*/ 2147483647 w 1956"/>
                      <a:gd name="T89" fmla="*/ 2147483647 h 2358"/>
                      <a:gd name="T90" fmla="*/ 2147483647 w 1956"/>
                      <a:gd name="T91" fmla="*/ 2147483647 h 2358"/>
                      <a:gd name="T92" fmla="*/ 2147483647 w 1956"/>
                      <a:gd name="T93" fmla="*/ 2147483647 h 2358"/>
                      <a:gd name="T94" fmla="*/ 2147483647 w 1956"/>
                      <a:gd name="T95" fmla="*/ 2147483647 h 2358"/>
                      <a:gd name="T96" fmla="*/ 2147483647 w 1956"/>
                      <a:gd name="T97" fmla="*/ 2147483647 h 2358"/>
                      <a:gd name="T98" fmla="*/ 2147483647 w 1956"/>
                      <a:gd name="T99" fmla="*/ 2147483647 h 2358"/>
                      <a:gd name="T100" fmla="*/ 2147483647 w 1956"/>
                      <a:gd name="T101" fmla="*/ 2147483647 h 2358"/>
                      <a:gd name="T102" fmla="*/ 2147483647 w 1956"/>
                      <a:gd name="T103" fmla="*/ 2147483647 h 2358"/>
                      <a:gd name="T104" fmla="*/ 2147483647 w 1956"/>
                      <a:gd name="T105" fmla="*/ 2147483647 h 2358"/>
                      <a:gd name="T106" fmla="*/ 2147483647 w 1956"/>
                      <a:gd name="T107" fmla="*/ 2147483647 h 2358"/>
                      <a:gd name="T108" fmla="*/ 2147483647 w 1956"/>
                      <a:gd name="T109" fmla="*/ 2147483647 h 2358"/>
                      <a:gd name="T110" fmla="*/ 2147483647 w 1956"/>
                      <a:gd name="T111" fmla="*/ 2147483647 h 2358"/>
                      <a:gd name="T112" fmla="*/ 2147483647 w 1956"/>
                      <a:gd name="T113" fmla="*/ 2147483647 h 2358"/>
                      <a:gd name="T114" fmla="*/ 2147483647 w 1956"/>
                      <a:gd name="T115" fmla="*/ 2147483647 h 2358"/>
                      <a:gd name="T116" fmla="*/ 2147483647 w 1956"/>
                      <a:gd name="T117" fmla="*/ 2147483647 h 2358"/>
                      <a:gd name="T118" fmla="*/ 2147483647 w 1956"/>
                      <a:gd name="T119" fmla="*/ 2147483647 h 235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956"/>
                      <a:gd name="T181" fmla="*/ 0 h 2358"/>
                      <a:gd name="T182" fmla="*/ 1956 w 1956"/>
                      <a:gd name="T183" fmla="*/ 2358 h 2358"/>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956" h="2358">
                        <a:moveTo>
                          <a:pt x="1806" y="1788"/>
                        </a:moveTo>
                        <a:lnTo>
                          <a:pt x="1794" y="1800"/>
                        </a:lnTo>
                        <a:lnTo>
                          <a:pt x="1782" y="1824"/>
                        </a:lnTo>
                        <a:lnTo>
                          <a:pt x="1782" y="1884"/>
                        </a:lnTo>
                        <a:lnTo>
                          <a:pt x="1788" y="1980"/>
                        </a:lnTo>
                        <a:lnTo>
                          <a:pt x="1800" y="1950"/>
                        </a:lnTo>
                        <a:lnTo>
                          <a:pt x="1800" y="1848"/>
                        </a:lnTo>
                        <a:lnTo>
                          <a:pt x="1806" y="1836"/>
                        </a:lnTo>
                        <a:lnTo>
                          <a:pt x="1806" y="1830"/>
                        </a:lnTo>
                        <a:lnTo>
                          <a:pt x="1812" y="1818"/>
                        </a:lnTo>
                        <a:lnTo>
                          <a:pt x="1812" y="1806"/>
                        </a:lnTo>
                        <a:lnTo>
                          <a:pt x="1818" y="1800"/>
                        </a:lnTo>
                        <a:lnTo>
                          <a:pt x="1812" y="1788"/>
                        </a:lnTo>
                        <a:lnTo>
                          <a:pt x="1806" y="1788"/>
                        </a:lnTo>
                        <a:close/>
                        <a:moveTo>
                          <a:pt x="1794" y="2028"/>
                        </a:moveTo>
                        <a:lnTo>
                          <a:pt x="1788" y="2028"/>
                        </a:lnTo>
                        <a:lnTo>
                          <a:pt x="1782" y="2040"/>
                        </a:lnTo>
                        <a:lnTo>
                          <a:pt x="1782" y="2046"/>
                        </a:lnTo>
                        <a:lnTo>
                          <a:pt x="1788" y="2058"/>
                        </a:lnTo>
                        <a:lnTo>
                          <a:pt x="1788" y="2064"/>
                        </a:lnTo>
                        <a:lnTo>
                          <a:pt x="1794" y="2076"/>
                        </a:lnTo>
                        <a:lnTo>
                          <a:pt x="1800" y="2064"/>
                        </a:lnTo>
                        <a:lnTo>
                          <a:pt x="1800" y="2028"/>
                        </a:lnTo>
                        <a:lnTo>
                          <a:pt x="1794" y="2028"/>
                        </a:lnTo>
                        <a:close/>
                        <a:moveTo>
                          <a:pt x="1890" y="2310"/>
                        </a:moveTo>
                        <a:lnTo>
                          <a:pt x="1884" y="2316"/>
                        </a:lnTo>
                        <a:lnTo>
                          <a:pt x="1884" y="2334"/>
                        </a:lnTo>
                        <a:lnTo>
                          <a:pt x="1890" y="2346"/>
                        </a:lnTo>
                        <a:lnTo>
                          <a:pt x="1896" y="2352"/>
                        </a:lnTo>
                        <a:lnTo>
                          <a:pt x="1908" y="2358"/>
                        </a:lnTo>
                        <a:lnTo>
                          <a:pt x="1908" y="2346"/>
                        </a:lnTo>
                        <a:lnTo>
                          <a:pt x="1902" y="2334"/>
                        </a:lnTo>
                        <a:lnTo>
                          <a:pt x="1902" y="2322"/>
                        </a:lnTo>
                        <a:lnTo>
                          <a:pt x="1896" y="2310"/>
                        </a:lnTo>
                        <a:lnTo>
                          <a:pt x="1890" y="2310"/>
                        </a:lnTo>
                        <a:close/>
                        <a:moveTo>
                          <a:pt x="1920" y="672"/>
                        </a:moveTo>
                        <a:lnTo>
                          <a:pt x="1932" y="660"/>
                        </a:lnTo>
                        <a:lnTo>
                          <a:pt x="1944" y="654"/>
                        </a:lnTo>
                        <a:lnTo>
                          <a:pt x="1950" y="648"/>
                        </a:lnTo>
                        <a:lnTo>
                          <a:pt x="1956" y="648"/>
                        </a:lnTo>
                        <a:lnTo>
                          <a:pt x="1956" y="618"/>
                        </a:lnTo>
                        <a:lnTo>
                          <a:pt x="1950" y="618"/>
                        </a:lnTo>
                        <a:lnTo>
                          <a:pt x="1944" y="612"/>
                        </a:lnTo>
                        <a:lnTo>
                          <a:pt x="1878" y="612"/>
                        </a:lnTo>
                        <a:lnTo>
                          <a:pt x="1878" y="606"/>
                        </a:lnTo>
                        <a:lnTo>
                          <a:pt x="1890" y="594"/>
                        </a:lnTo>
                        <a:lnTo>
                          <a:pt x="1896" y="594"/>
                        </a:lnTo>
                        <a:lnTo>
                          <a:pt x="1878" y="564"/>
                        </a:lnTo>
                        <a:lnTo>
                          <a:pt x="1848" y="564"/>
                        </a:lnTo>
                        <a:lnTo>
                          <a:pt x="1842" y="558"/>
                        </a:lnTo>
                        <a:lnTo>
                          <a:pt x="1848" y="558"/>
                        </a:lnTo>
                        <a:lnTo>
                          <a:pt x="1860" y="546"/>
                        </a:lnTo>
                        <a:lnTo>
                          <a:pt x="1854" y="540"/>
                        </a:lnTo>
                        <a:lnTo>
                          <a:pt x="1818" y="522"/>
                        </a:lnTo>
                        <a:lnTo>
                          <a:pt x="1806" y="534"/>
                        </a:lnTo>
                        <a:lnTo>
                          <a:pt x="1806" y="558"/>
                        </a:lnTo>
                        <a:lnTo>
                          <a:pt x="1788" y="558"/>
                        </a:lnTo>
                        <a:lnTo>
                          <a:pt x="1770" y="546"/>
                        </a:lnTo>
                        <a:lnTo>
                          <a:pt x="1758" y="540"/>
                        </a:lnTo>
                        <a:lnTo>
                          <a:pt x="1740" y="540"/>
                        </a:lnTo>
                        <a:lnTo>
                          <a:pt x="1728" y="552"/>
                        </a:lnTo>
                        <a:lnTo>
                          <a:pt x="1716" y="558"/>
                        </a:lnTo>
                        <a:lnTo>
                          <a:pt x="1692" y="582"/>
                        </a:lnTo>
                        <a:lnTo>
                          <a:pt x="1656" y="582"/>
                        </a:lnTo>
                        <a:lnTo>
                          <a:pt x="1656" y="588"/>
                        </a:lnTo>
                        <a:lnTo>
                          <a:pt x="1662" y="594"/>
                        </a:lnTo>
                        <a:lnTo>
                          <a:pt x="1662" y="618"/>
                        </a:lnTo>
                        <a:lnTo>
                          <a:pt x="1656" y="624"/>
                        </a:lnTo>
                        <a:lnTo>
                          <a:pt x="1626" y="624"/>
                        </a:lnTo>
                        <a:lnTo>
                          <a:pt x="1632" y="636"/>
                        </a:lnTo>
                        <a:lnTo>
                          <a:pt x="1632" y="654"/>
                        </a:lnTo>
                        <a:lnTo>
                          <a:pt x="1620" y="666"/>
                        </a:lnTo>
                        <a:lnTo>
                          <a:pt x="1566" y="666"/>
                        </a:lnTo>
                        <a:lnTo>
                          <a:pt x="1566" y="684"/>
                        </a:lnTo>
                        <a:lnTo>
                          <a:pt x="1572" y="690"/>
                        </a:lnTo>
                        <a:lnTo>
                          <a:pt x="1596" y="690"/>
                        </a:lnTo>
                        <a:lnTo>
                          <a:pt x="1596" y="714"/>
                        </a:lnTo>
                        <a:lnTo>
                          <a:pt x="1608" y="726"/>
                        </a:lnTo>
                        <a:lnTo>
                          <a:pt x="1608" y="732"/>
                        </a:lnTo>
                        <a:lnTo>
                          <a:pt x="1584" y="744"/>
                        </a:lnTo>
                        <a:lnTo>
                          <a:pt x="1572" y="744"/>
                        </a:lnTo>
                        <a:lnTo>
                          <a:pt x="1566" y="738"/>
                        </a:lnTo>
                        <a:lnTo>
                          <a:pt x="1554" y="738"/>
                        </a:lnTo>
                        <a:lnTo>
                          <a:pt x="1542" y="744"/>
                        </a:lnTo>
                        <a:lnTo>
                          <a:pt x="1512" y="744"/>
                        </a:lnTo>
                        <a:lnTo>
                          <a:pt x="1500" y="738"/>
                        </a:lnTo>
                        <a:lnTo>
                          <a:pt x="1482" y="738"/>
                        </a:lnTo>
                        <a:lnTo>
                          <a:pt x="1476" y="744"/>
                        </a:lnTo>
                        <a:lnTo>
                          <a:pt x="1464" y="750"/>
                        </a:lnTo>
                        <a:lnTo>
                          <a:pt x="1440" y="750"/>
                        </a:lnTo>
                        <a:lnTo>
                          <a:pt x="1428" y="738"/>
                        </a:lnTo>
                        <a:lnTo>
                          <a:pt x="1428" y="732"/>
                        </a:lnTo>
                        <a:lnTo>
                          <a:pt x="1428" y="738"/>
                        </a:lnTo>
                        <a:lnTo>
                          <a:pt x="1416" y="738"/>
                        </a:lnTo>
                        <a:lnTo>
                          <a:pt x="1392" y="726"/>
                        </a:lnTo>
                        <a:lnTo>
                          <a:pt x="1374" y="708"/>
                        </a:lnTo>
                        <a:lnTo>
                          <a:pt x="1374" y="696"/>
                        </a:lnTo>
                        <a:lnTo>
                          <a:pt x="1380" y="696"/>
                        </a:lnTo>
                        <a:lnTo>
                          <a:pt x="1374" y="696"/>
                        </a:lnTo>
                        <a:lnTo>
                          <a:pt x="1368" y="690"/>
                        </a:lnTo>
                        <a:lnTo>
                          <a:pt x="1368" y="642"/>
                        </a:lnTo>
                        <a:lnTo>
                          <a:pt x="1362" y="636"/>
                        </a:lnTo>
                        <a:lnTo>
                          <a:pt x="1350" y="630"/>
                        </a:lnTo>
                        <a:lnTo>
                          <a:pt x="1338" y="630"/>
                        </a:lnTo>
                        <a:lnTo>
                          <a:pt x="1326" y="642"/>
                        </a:lnTo>
                        <a:lnTo>
                          <a:pt x="1314" y="648"/>
                        </a:lnTo>
                        <a:lnTo>
                          <a:pt x="1326" y="666"/>
                        </a:lnTo>
                        <a:lnTo>
                          <a:pt x="1326" y="714"/>
                        </a:lnTo>
                        <a:lnTo>
                          <a:pt x="1338" y="738"/>
                        </a:lnTo>
                        <a:lnTo>
                          <a:pt x="1338" y="774"/>
                        </a:lnTo>
                        <a:lnTo>
                          <a:pt x="1272" y="774"/>
                        </a:lnTo>
                        <a:lnTo>
                          <a:pt x="1272" y="762"/>
                        </a:lnTo>
                        <a:lnTo>
                          <a:pt x="1266" y="756"/>
                        </a:lnTo>
                        <a:lnTo>
                          <a:pt x="1260" y="756"/>
                        </a:lnTo>
                        <a:lnTo>
                          <a:pt x="1248" y="762"/>
                        </a:lnTo>
                        <a:lnTo>
                          <a:pt x="1242" y="774"/>
                        </a:lnTo>
                        <a:lnTo>
                          <a:pt x="1236" y="762"/>
                        </a:lnTo>
                        <a:lnTo>
                          <a:pt x="1224" y="756"/>
                        </a:lnTo>
                        <a:lnTo>
                          <a:pt x="1206" y="750"/>
                        </a:lnTo>
                        <a:lnTo>
                          <a:pt x="1188" y="750"/>
                        </a:lnTo>
                        <a:lnTo>
                          <a:pt x="1182" y="756"/>
                        </a:lnTo>
                        <a:lnTo>
                          <a:pt x="1152" y="738"/>
                        </a:lnTo>
                        <a:lnTo>
                          <a:pt x="1134" y="750"/>
                        </a:lnTo>
                        <a:lnTo>
                          <a:pt x="1080" y="696"/>
                        </a:lnTo>
                        <a:lnTo>
                          <a:pt x="1056" y="696"/>
                        </a:lnTo>
                        <a:lnTo>
                          <a:pt x="1056" y="690"/>
                        </a:lnTo>
                        <a:lnTo>
                          <a:pt x="1044" y="678"/>
                        </a:lnTo>
                        <a:lnTo>
                          <a:pt x="1038" y="678"/>
                        </a:lnTo>
                        <a:lnTo>
                          <a:pt x="1032" y="684"/>
                        </a:lnTo>
                        <a:lnTo>
                          <a:pt x="1032" y="702"/>
                        </a:lnTo>
                        <a:lnTo>
                          <a:pt x="1032" y="696"/>
                        </a:lnTo>
                        <a:lnTo>
                          <a:pt x="1026" y="690"/>
                        </a:lnTo>
                        <a:lnTo>
                          <a:pt x="1008" y="690"/>
                        </a:lnTo>
                        <a:lnTo>
                          <a:pt x="996" y="702"/>
                        </a:lnTo>
                        <a:lnTo>
                          <a:pt x="990" y="690"/>
                        </a:lnTo>
                        <a:lnTo>
                          <a:pt x="984" y="684"/>
                        </a:lnTo>
                        <a:lnTo>
                          <a:pt x="960" y="684"/>
                        </a:lnTo>
                        <a:lnTo>
                          <a:pt x="954" y="678"/>
                        </a:lnTo>
                        <a:lnTo>
                          <a:pt x="954" y="666"/>
                        </a:lnTo>
                        <a:lnTo>
                          <a:pt x="942" y="666"/>
                        </a:lnTo>
                        <a:lnTo>
                          <a:pt x="936" y="672"/>
                        </a:lnTo>
                        <a:lnTo>
                          <a:pt x="918" y="672"/>
                        </a:lnTo>
                        <a:lnTo>
                          <a:pt x="912" y="666"/>
                        </a:lnTo>
                        <a:lnTo>
                          <a:pt x="906" y="654"/>
                        </a:lnTo>
                        <a:lnTo>
                          <a:pt x="900" y="648"/>
                        </a:lnTo>
                        <a:lnTo>
                          <a:pt x="888" y="648"/>
                        </a:lnTo>
                        <a:lnTo>
                          <a:pt x="846" y="630"/>
                        </a:lnTo>
                        <a:lnTo>
                          <a:pt x="834" y="612"/>
                        </a:lnTo>
                        <a:lnTo>
                          <a:pt x="810" y="612"/>
                        </a:lnTo>
                        <a:lnTo>
                          <a:pt x="792" y="588"/>
                        </a:lnTo>
                        <a:lnTo>
                          <a:pt x="780" y="594"/>
                        </a:lnTo>
                        <a:lnTo>
                          <a:pt x="750" y="564"/>
                        </a:lnTo>
                        <a:lnTo>
                          <a:pt x="750" y="552"/>
                        </a:lnTo>
                        <a:lnTo>
                          <a:pt x="762" y="540"/>
                        </a:lnTo>
                        <a:lnTo>
                          <a:pt x="768" y="540"/>
                        </a:lnTo>
                        <a:lnTo>
                          <a:pt x="756" y="528"/>
                        </a:lnTo>
                        <a:lnTo>
                          <a:pt x="756" y="522"/>
                        </a:lnTo>
                        <a:lnTo>
                          <a:pt x="762" y="516"/>
                        </a:lnTo>
                        <a:lnTo>
                          <a:pt x="756" y="504"/>
                        </a:lnTo>
                        <a:lnTo>
                          <a:pt x="780" y="480"/>
                        </a:lnTo>
                        <a:lnTo>
                          <a:pt x="786" y="456"/>
                        </a:lnTo>
                        <a:lnTo>
                          <a:pt x="762" y="438"/>
                        </a:lnTo>
                        <a:lnTo>
                          <a:pt x="750" y="438"/>
                        </a:lnTo>
                        <a:lnTo>
                          <a:pt x="738" y="432"/>
                        </a:lnTo>
                        <a:lnTo>
                          <a:pt x="738" y="414"/>
                        </a:lnTo>
                        <a:lnTo>
                          <a:pt x="720" y="420"/>
                        </a:lnTo>
                        <a:lnTo>
                          <a:pt x="702" y="402"/>
                        </a:lnTo>
                        <a:lnTo>
                          <a:pt x="696" y="402"/>
                        </a:lnTo>
                        <a:lnTo>
                          <a:pt x="690" y="396"/>
                        </a:lnTo>
                        <a:lnTo>
                          <a:pt x="678" y="396"/>
                        </a:lnTo>
                        <a:lnTo>
                          <a:pt x="666" y="390"/>
                        </a:lnTo>
                        <a:lnTo>
                          <a:pt x="654" y="378"/>
                        </a:lnTo>
                        <a:lnTo>
                          <a:pt x="648" y="366"/>
                        </a:lnTo>
                        <a:lnTo>
                          <a:pt x="618" y="366"/>
                        </a:lnTo>
                        <a:lnTo>
                          <a:pt x="612" y="360"/>
                        </a:lnTo>
                        <a:lnTo>
                          <a:pt x="612" y="342"/>
                        </a:lnTo>
                        <a:lnTo>
                          <a:pt x="618" y="336"/>
                        </a:lnTo>
                        <a:lnTo>
                          <a:pt x="618" y="324"/>
                        </a:lnTo>
                        <a:lnTo>
                          <a:pt x="612" y="324"/>
                        </a:lnTo>
                        <a:lnTo>
                          <a:pt x="600" y="312"/>
                        </a:lnTo>
                        <a:lnTo>
                          <a:pt x="594" y="300"/>
                        </a:lnTo>
                        <a:lnTo>
                          <a:pt x="588" y="294"/>
                        </a:lnTo>
                        <a:lnTo>
                          <a:pt x="588" y="276"/>
                        </a:lnTo>
                        <a:lnTo>
                          <a:pt x="594" y="276"/>
                        </a:lnTo>
                        <a:lnTo>
                          <a:pt x="600" y="270"/>
                        </a:lnTo>
                        <a:lnTo>
                          <a:pt x="612" y="270"/>
                        </a:lnTo>
                        <a:lnTo>
                          <a:pt x="612" y="288"/>
                        </a:lnTo>
                        <a:lnTo>
                          <a:pt x="624" y="300"/>
                        </a:lnTo>
                        <a:lnTo>
                          <a:pt x="636" y="282"/>
                        </a:lnTo>
                        <a:lnTo>
                          <a:pt x="642" y="282"/>
                        </a:lnTo>
                        <a:lnTo>
                          <a:pt x="648" y="276"/>
                        </a:lnTo>
                        <a:lnTo>
                          <a:pt x="660" y="270"/>
                        </a:lnTo>
                        <a:lnTo>
                          <a:pt x="660" y="258"/>
                        </a:lnTo>
                        <a:lnTo>
                          <a:pt x="642" y="240"/>
                        </a:lnTo>
                        <a:lnTo>
                          <a:pt x="636" y="228"/>
                        </a:lnTo>
                        <a:lnTo>
                          <a:pt x="630" y="222"/>
                        </a:lnTo>
                        <a:lnTo>
                          <a:pt x="618" y="222"/>
                        </a:lnTo>
                        <a:lnTo>
                          <a:pt x="594" y="210"/>
                        </a:lnTo>
                        <a:lnTo>
                          <a:pt x="594" y="186"/>
                        </a:lnTo>
                        <a:lnTo>
                          <a:pt x="612" y="180"/>
                        </a:lnTo>
                        <a:lnTo>
                          <a:pt x="594" y="156"/>
                        </a:lnTo>
                        <a:lnTo>
                          <a:pt x="624" y="156"/>
                        </a:lnTo>
                        <a:lnTo>
                          <a:pt x="636" y="150"/>
                        </a:lnTo>
                        <a:lnTo>
                          <a:pt x="642" y="138"/>
                        </a:lnTo>
                        <a:lnTo>
                          <a:pt x="642" y="114"/>
                        </a:lnTo>
                        <a:lnTo>
                          <a:pt x="636" y="108"/>
                        </a:lnTo>
                        <a:lnTo>
                          <a:pt x="636" y="102"/>
                        </a:lnTo>
                        <a:lnTo>
                          <a:pt x="654" y="102"/>
                        </a:lnTo>
                        <a:lnTo>
                          <a:pt x="660" y="96"/>
                        </a:lnTo>
                        <a:lnTo>
                          <a:pt x="660" y="36"/>
                        </a:lnTo>
                        <a:lnTo>
                          <a:pt x="618" y="36"/>
                        </a:lnTo>
                        <a:lnTo>
                          <a:pt x="594" y="12"/>
                        </a:lnTo>
                        <a:lnTo>
                          <a:pt x="576" y="0"/>
                        </a:lnTo>
                        <a:lnTo>
                          <a:pt x="564" y="0"/>
                        </a:lnTo>
                        <a:lnTo>
                          <a:pt x="540" y="12"/>
                        </a:lnTo>
                        <a:lnTo>
                          <a:pt x="522" y="18"/>
                        </a:lnTo>
                        <a:lnTo>
                          <a:pt x="516" y="30"/>
                        </a:lnTo>
                        <a:lnTo>
                          <a:pt x="504" y="36"/>
                        </a:lnTo>
                        <a:lnTo>
                          <a:pt x="480" y="36"/>
                        </a:lnTo>
                        <a:lnTo>
                          <a:pt x="456" y="72"/>
                        </a:lnTo>
                        <a:lnTo>
                          <a:pt x="432" y="78"/>
                        </a:lnTo>
                        <a:lnTo>
                          <a:pt x="432" y="96"/>
                        </a:lnTo>
                        <a:lnTo>
                          <a:pt x="408" y="96"/>
                        </a:lnTo>
                        <a:lnTo>
                          <a:pt x="402" y="102"/>
                        </a:lnTo>
                        <a:lnTo>
                          <a:pt x="396" y="96"/>
                        </a:lnTo>
                        <a:lnTo>
                          <a:pt x="390" y="102"/>
                        </a:lnTo>
                        <a:lnTo>
                          <a:pt x="378" y="108"/>
                        </a:lnTo>
                        <a:lnTo>
                          <a:pt x="372" y="114"/>
                        </a:lnTo>
                        <a:lnTo>
                          <a:pt x="360" y="120"/>
                        </a:lnTo>
                        <a:lnTo>
                          <a:pt x="348" y="120"/>
                        </a:lnTo>
                        <a:lnTo>
                          <a:pt x="348" y="108"/>
                        </a:lnTo>
                        <a:lnTo>
                          <a:pt x="342" y="102"/>
                        </a:lnTo>
                        <a:lnTo>
                          <a:pt x="324" y="102"/>
                        </a:lnTo>
                        <a:lnTo>
                          <a:pt x="306" y="96"/>
                        </a:lnTo>
                        <a:lnTo>
                          <a:pt x="264" y="96"/>
                        </a:lnTo>
                        <a:lnTo>
                          <a:pt x="240" y="108"/>
                        </a:lnTo>
                        <a:lnTo>
                          <a:pt x="234" y="120"/>
                        </a:lnTo>
                        <a:lnTo>
                          <a:pt x="234" y="126"/>
                        </a:lnTo>
                        <a:lnTo>
                          <a:pt x="258" y="144"/>
                        </a:lnTo>
                        <a:lnTo>
                          <a:pt x="252" y="156"/>
                        </a:lnTo>
                        <a:lnTo>
                          <a:pt x="282" y="162"/>
                        </a:lnTo>
                        <a:lnTo>
                          <a:pt x="276" y="168"/>
                        </a:lnTo>
                        <a:lnTo>
                          <a:pt x="270" y="180"/>
                        </a:lnTo>
                        <a:lnTo>
                          <a:pt x="264" y="186"/>
                        </a:lnTo>
                        <a:lnTo>
                          <a:pt x="264" y="192"/>
                        </a:lnTo>
                        <a:lnTo>
                          <a:pt x="276" y="204"/>
                        </a:lnTo>
                        <a:lnTo>
                          <a:pt x="282" y="204"/>
                        </a:lnTo>
                        <a:lnTo>
                          <a:pt x="282" y="210"/>
                        </a:lnTo>
                        <a:lnTo>
                          <a:pt x="276" y="222"/>
                        </a:lnTo>
                        <a:lnTo>
                          <a:pt x="276" y="234"/>
                        </a:lnTo>
                        <a:lnTo>
                          <a:pt x="294" y="234"/>
                        </a:lnTo>
                        <a:lnTo>
                          <a:pt x="306" y="252"/>
                        </a:lnTo>
                        <a:lnTo>
                          <a:pt x="324" y="252"/>
                        </a:lnTo>
                        <a:lnTo>
                          <a:pt x="330" y="288"/>
                        </a:lnTo>
                        <a:lnTo>
                          <a:pt x="366" y="288"/>
                        </a:lnTo>
                        <a:lnTo>
                          <a:pt x="378" y="294"/>
                        </a:lnTo>
                        <a:lnTo>
                          <a:pt x="384" y="300"/>
                        </a:lnTo>
                        <a:lnTo>
                          <a:pt x="384" y="306"/>
                        </a:lnTo>
                        <a:lnTo>
                          <a:pt x="378" y="312"/>
                        </a:lnTo>
                        <a:lnTo>
                          <a:pt x="354" y="324"/>
                        </a:lnTo>
                        <a:lnTo>
                          <a:pt x="342" y="324"/>
                        </a:lnTo>
                        <a:lnTo>
                          <a:pt x="336" y="330"/>
                        </a:lnTo>
                        <a:lnTo>
                          <a:pt x="336" y="366"/>
                        </a:lnTo>
                        <a:lnTo>
                          <a:pt x="342" y="378"/>
                        </a:lnTo>
                        <a:lnTo>
                          <a:pt x="354" y="390"/>
                        </a:lnTo>
                        <a:lnTo>
                          <a:pt x="354" y="396"/>
                        </a:lnTo>
                        <a:lnTo>
                          <a:pt x="324" y="414"/>
                        </a:lnTo>
                        <a:lnTo>
                          <a:pt x="300" y="450"/>
                        </a:lnTo>
                        <a:lnTo>
                          <a:pt x="318" y="474"/>
                        </a:lnTo>
                        <a:lnTo>
                          <a:pt x="306" y="474"/>
                        </a:lnTo>
                        <a:lnTo>
                          <a:pt x="300" y="480"/>
                        </a:lnTo>
                        <a:lnTo>
                          <a:pt x="288" y="486"/>
                        </a:lnTo>
                        <a:lnTo>
                          <a:pt x="282" y="492"/>
                        </a:lnTo>
                        <a:lnTo>
                          <a:pt x="282" y="504"/>
                        </a:lnTo>
                        <a:lnTo>
                          <a:pt x="276" y="522"/>
                        </a:lnTo>
                        <a:lnTo>
                          <a:pt x="276" y="534"/>
                        </a:lnTo>
                        <a:lnTo>
                          <a:pt x="270" y="552"/>
                        </a:lnTo>
                        <a:lnTo>
                          <a:pt x="258" y="564"/>
                        </a:lnTo>
                        <a:lnTo>
                          <a:pt x="234" y="576"/>
                        </a:lnTo>
                        <a:lnTo>
                          <a:pt x="228" y="582"/>
                        </a:lnTo>
                        <a:lnTo>
                          <a:pt x="228" y="588"/>
                        </a:lnTo>
                        <a:lnTo>
                          <a:pt x="222" y="594"/>
                        </a:lnTo>
                        <a:lnTo>
                          <a:pt x="222" y="612"/>
                        </a:lnTo>
                        <a:lnTo>
                          <a:pt x="204" y="624"/>
                        </a:lnTo>
                        <a:lnTo>
                          <a:pt x="204" y="630"/>
                        </a:lnTo>
                        <a:lnTo>
                          <a:pt x="198" y="636"/>
                        </a:lnTo>
                        <a:lnTo>
                          <a:pt x="192" y="648"/>
                        </a:lnTo>
                        <a:lnTo>
                          <a:pt x="186" y="654"/>
                        </a:lnTo>
                        <a:lnTo>
                          <a:pt x="168" y="654"/>
                        </a:lnTo>
                        <a:lnTo>
                          <a:pt x="162" y="648"/>
                        </a:lnTo>
                        <a:lnTo>
                          <a:pt x="156" y="654"/>
                        </a:lnTo>
                        <a:lnTo>
                          <a:pt x="132" y="666"/>
                        </a:lnTo>
                        <a:lnTo>
                          <a:pt x="126" y="666"/>
                        </a:lnTo>
                        <a:lnTo>
                          <a:pt x="120" y="660"/>
                        </a:lnTo>
                        <a:lnTo>
                          <a:pt x="120" y="648"/>
                        </a:lnTo>
                        <a:lnTo>
                          <a:pt x="114" y="642"/>
                        </a:lnTo>
                        <a:lnTo>
                          <a:pt x="108" y="642"/>
                        </a:lnTo>
                        <a:lnTo>
                          <a:pt x="96" y="648"/>
                        </a:lnTo>
                        <a:lnTo>
                          <a:pt x="84" y="660"/>
                        </a:lnTo>
                        <a:lnTo>
                          <a:pt x="84" y="666"/>
                        </a:lnTo>
                        <a:lnTo>
                          <a:pt x="78" y="678"/>
                        </a:lnTo>
                        <a:lnTo>
                          <a:pt x="72" y="684"/>
                        </a:lnTo>
                        <a:lnTo>
                          <a:pt x="66" y="696"/>
                        </a:lnTo>
                        <a:lnTo>
                          <a:pt x="54" y="708"/>
                        </a:lnTo>
                        <a:lnTo>
                          <a:pt x="48" y="720"/>
                        </a:lnTo>
                        <a:lnTo>
                          <a:pt x="48" y="744"/>
                        </a:lnTo>
                        <a:lnTo>
                          <a:pt x="54" y="750"/>
                        </a:lnTo>
                        <a:lnTo>
                          <a:pt x="66" y="756"/>
                        </a:lnTo>
                        <a:lnTo>
                          <a:pt x="72" y="756"/>
                        </a:lnTo>
                        <a:lnTo>
                          <a:pt x="102" y="750"/>
                        </a:lnTo>
                        <a:lnTo>
                          <a:pt x="102" y="768"/>
                        </a:lnTo>
                        <a:lnTo>
                          <a:pt x="96" y="798"/>
                        </a:lnTo>
                        <a:lnTo>
                          <a:pt x="102" y="804"/>
                        </a:lnTo>
                        <a:lnTo>
                          <a:pt x="108" y="816"/>
                        </a:lnTo>
                        <a:lnTo>
                          <a:pt x="120" y="828"/>
                        </a:lnTo>
                        <a:lnTo>
                          <a:pt x="144" y="828"/>
                        </a:lnTo>
                        <a:lnTo>
                          <a:pt x="144" y="852"/>
                        </a:lnTo>
                        <a:lnTo>
                          <a:pt x="168" y="894"/>
                        </a:lnTo>
                        <a:lnTo>
                          <a:pt x="174" y="906"/>
                        </a:lnTo>
                        <a:lnTo>
                          <a:pt x="180" y="912"/>
                        </a:lnTo>
                        <a:lnTo>
                          <a:pt x="180" y="936"/>
                        </a:lnTo>
                        <a:lnTo>
                          <a:pt x="168" y="942"/>
                        </a:lnTo>
                        <a:lnTo>
                          <a:pt x="162" y="948"/>
                        </a:lnTo>
                        <a:lnTo>
                          <a:pt x="144" y="948"/>
                        </a:lnTo>
                        <a:lnTo>
                          <a:pt x="138" y="942"/>
                        </a:lnTo>
                        <a:lnTo>
                          <a:pt x="138" y="930"/>
                        </a:lnTo>
                        <a:lnTo>
                          <a:pt x="132" y="930"/>
                        </a:lnTo>
                        <a:lnTo>
                          <a:pt x="120" y="936"/>
                        </a:lnTo>
                        <a:lnTo>
                          <a:pt x="108" y="948"/>
                        </a:lnTo>
                        <a:lnTo>
                          <a:pt x="84" y="948"/>
                        </a:lnTo>
                        <a:lnTo>
                          <a:pt x="78" y="942"/>
                        </a:lnTo>
                        <a:lnTo>
                          <a:pt x="78" y="936"/>
                        </a:lnTo>
                        <a:lnTo>
                          <a:pt x="54" y="948"/>
                        </a:lnTo>
                        <a:lnTo>
                          <a:pt x="48" y="942"/>
                        </a:lnTo>
                        <a:lnTo>
                          <a:pt x="36" y="936"/>
                        </a:lnTo>
                        <a:lnTo>
                          <a:pt x="24" y="936"/>
                        </a:lnTo>
                        <a:lnTo>
                          <a:pt x="12" y="948"/>
                        </a:lnTo>
                        <a:lnTo>
                          <a:pt x="12" y="960"/>
                        </a:lnTo>
                        <a:lnTo>
                          <a:pt x="18" y="966"/>
                        </a:lnTo>
                        <a:lnTo>
                          <a:pt x="0" y="972"/>
                        </a:lnTo>
                        <a:lnTo>
                          <a:pt x="36" y="972"/>
                        </a:lnTo>
                        <a:lnTo>
                          <a:pt x="30" y="984"/>
                        </a:lnTo>
                        <a:lnTo>
                          <a:pt x="30" y="1014"/>
                        </a:lnTo>
                        <a:lnTo>
                          <a:pt x="36" y="1026"/>
                        </a:lnTo>
                        <a:lnTo>
                          <a:pt x="48" y="1032"/>
                        </a:lnTo>
                        <a:lnTo>
                          <a:pt x="66" y="1038"/>
                        </a:lnTo>
                        <a:lnTo>
                          <a:pt x="120" y="1038"/>
                        </a:lnTo>
                        <a:lnTo>
                          <a:pt x="132" y="1032"/>
                        </a:lnTo>
                        <a:lnTo>
                          <a:pt x="150" y="1014"/>
                        </a:lnTo>
                        <a:lnTo>
                          <a:pt x="162" y="1008"/>
                        </a:lnTo>
                        <a:lnTo>
                          <a:pt x="168" y="1020"/>
                        </a:lnTo>
                        <a:lnTo>
                          <a:pt x="168" y="1026"/>
                        </a:lnTo>
                        <a:lnTo>
                          <a:pt x="162" y="1038"/>
                        </a:lnTo>
                        <a:lnTo>
                          <a:pt x="144" y="1056"/>
                        </a:lnTo>
                        <a:lnTo>
                          <a:pt x="120" y="1068"/>
                        </a:lnTo>
                        <a:lnTo>
                          <a:pt x="114" y="1074"/>
                        </a:lnTo>
                        <a:lnTo>
                          <a:pt x="90" y="1074"/>
                        </a:lnTo>
                        <a:lnTo>
                          <a:pt x="78" y="1080"/>
                        </a:lnTo>
                        <a:lnTo>
                          <a:pt x="60" y="1086"/>
                        </a:lnTo>
                        <a:lnTo>
                          <a:pt x="48" y="1092"/>
                        </a:lnTo>
                        <a:lnTo>
                          <a:pt x="42" y="1098"/>
                        </a:lnTo>
                        <a:lnTo>
                          <a:pt x="54" y="1122"/>
                        </a:lnTo>
                        <a:lnTo>
                          <a:pt x="66" y="1128"/>
                        </a:lnTo>
                        <a:lnTo>
                          <a:pt x="78" y="1140"/>
                        </a:lnTo>
                        <a:lnTo>
                          <a:pt x="96" y="1152"/>
                        </a:lnTo>
                        <a:lnTo>
                          <a:pt x="108" y="1164"/>
                        </a:lnTo>
                        <a:lnTo>
                          <a:pt x="132" y="1182"/>
                        </a:lnTo>
                        <a:lnTo>
                          <a:pt x="162" y="1206"/>
                        </a:lnTo>
                        <a:lnTo>
                          <a:pt x="204" y="1224"/>
                        </a:lnTo>
                        <a:lnTo>
                          <a:pt x="240" y="1218"/>
                        </a:lnTo>
                        <a:lnTo>
                          <a:pt x="270" y="1200"/>
                        </a:lnTo>
                        <a:lnTo>
                          <a:pt x="294" y="1176"/>
                        </a:lnTo>
                        <a:lnTo>
                          <a:pt x="300" y="1158"/>
                        </a:lnTo>
                        <a:lnTo>
                          <a:pt x="300" y="1128"/>
                        </a:lnTo>
                        <a:lnTo>
                          <a:pt x="306" y="1116"/>
                        </a:lnTo>
                        <a:lnTo>
                          <a:pt x="318" y="1104"/>
                        </a:lnTo>
                        <a:lnTo>
                          <a:pt x="324" y="1092"/>
                        </a:lnTo>
                        <a:lnTo>
                          <a:pt x="330" y="1086"/>
                        </a:lnTo>
                        <a:lnTo>
                          <a:pt x="342" y="1086"/>
                        </a:lnTo>
                        <a:lnTo>
                          <a:pt x="348" y="1080"/>
                        </a:lnTo>
                        <a:lnTo>
                          <a:pt x="354" y="1080"/>
                        </a:lnTo>
                        <a:lnTo>
                          <a:pt x="360" y="1086"/>
                        </a:lnTo>
                        <a:lnTo>
                          <a:pt x="360" y="1098"/>
                        </a:lnTo>
                        <a:lnTo>
                          <a:pt x="348" y="1110"/>
                        </a:lnTo>
                        <a:lnTo>
                          <a:pt x="336" y="1128"/>
                        </a:lnTo>
                        <a:lnTo>
                          <a:pt x="324" y="1140"/>
                        </a:lnTo>
                        <a:lnTo>
                          <a:pt x="318" y="1152"/>
                        </a:lnTo>
                        <a:lnTo>
                          <a:pt x="318" y="1164"/>
                        </a:lnTo>
                        <a:lnTo>
                          <a:pt x="324" y="1176"/>
                        </a:lnTo>
                        <a:lnTo>
                          <a:pt x="336" y="1182"/>
                        </a:lnTo>
                        <a:lnTo>
                          <a:pt x="342" y="1182"/>
                        </a:lnTo>
                        <a:lnTo>
                          <a:pt x="354" y="1194"/>
                        </a:lnTo>
                        <a:lnTo>
                          <a:pt x="354" y="1206"/>
                        </a:lnTo>
                        <a:lnTo>
                          <a:pt x="348" y="1242"/>
                        </a:lnTo>
                        <a:lnTo>
                          <a:pt x="342" y="1284"/>
                        </a:lnTo>
                        <a:lnTo>
                          <a:pt x="336" y="1338"/>
                        </a:lnTo>
                        <a:lnTo>
                          <a:pt x="342" y="1398"/>
                        </a:lnTo>
                        <a:lnTo>
                          <a:pt x="354" y="1446"/>
                        </a:lnTo>
                        <a:lnTo>
                          <a:pt x="384" y="1536"/>
                        </a:lnTo>
                        <a:lnTo>
                          <a:pt x="402" y="1554"/>
                        </a:lnTo>
                        <a:lnTo>
                          <a:pt x="402" y="1596"/>
                        </a:lnTo>
                        <a:lnTo>
                          <a:pt x="414" y="1620"/>
                        </a:lnTo>
                        <a:lnTo>
                          <a:pt x="426" y="1626"/>
                        </a:lnTo>
                        <a:lnTo>
                          <a:pt x="438" y="1626"/>
                        </a:lnTo>
                        <a:lnTo>
                          <a:pt x="444" y="1632"/>
                        </a:lnTo>
                        <a:lnTo>
                          <a:pt x="450" y="1632"/>
                        </a:lnTo>
                        <a:lnTo>
                          <a:pt x="450" y="1644"/>
                        </a:lnTo>
                        <a:lnTo>
                          <a:pt x="456" y="1656"/>
                        </a:lnTo>
                        <a:lnTo>
                          <a:pt x="456" y="1674"/>
                        </a:lnTo>
                        <a:lnTo>
                          <a:pt x="474" y="1710"/>
                        </a:lnTo>
                        <a:lnTo>
                          <a:pt x="498" y="1722"/>
                        </a:lnTo>
                        <a:lnTo>
                          <a:pt x="504" y="1728"/>
                        </a:lnTo>
                        <a:lnTo>
                          <a:pt x="510" y="1728"/>
                        </a:lnTo>
                        <a:lnTo>
                          <a:pt x="510" y="1746"/>
                        </a:lnTo>
                        <a:lnTo>
                          <a:pt x="516" y="1782"/>
                        </a:lnTo>
                        <a:lnTo>
                          <a:pt x="522" y="1830"/>
                        </a:lnTo>
                        <a:lnTo>
                          <a:pt x="534" y="1872"/>
                        </a:lnTo>
                        <a:lnTo>
                          <a:pt x="552" y="1908"/>
                        </a:lnTo>
                        <a:lnTo>
                          <a:pt x="576" y="1944"/>
                        </a:lnTo>
                        <a:lnTo>
                          <a:pt x="600" y="1974"/>
                        </a:lnTo>
                        <a:lnTo>
                          <a:pt x="612" y="1998"/>
                        </a:lnTo>
                        <a:lnTo>
                          <a:pt x="618" y="2016"/>
                        </a:lnTo>
                        <a:lnTo>
                          <a:pt x="618" y="2070"/>
                        </a:lnTo>
                        <a:lnTo>
                          <a:pt x="624" y="2094"/>
                        </a:lnTo>
                        <a:lnTo>
                          <a:pt x="642" y="2124"/>
                        </a:lnTo>
                        <a:lnTo>
                          <a:pt x="672" y="2166"/>
                        </a:lnTo>
                        <a:lnTo>
                          <a:pt x="696" y="2202"/>
                        </a:lnTo>
                        <a:lnTo>
                          <a:pt x="714" y="2232"/>
                        </a:lnTo>
                        <a:lnTo>
                          <a:pt x="720" y="2244"/>
                        </a:lnTo>
                        <a:lnTo>
                          <a:pt x="726" y="2244"/>
                        </a:lnTo>
                        <a:lnTo>
                          <a:pt x="732" y="2238"/>
                        </a:lnTo>
                        <a:lnTo>
                          <a:pt x="744" y="2238"/>
                        </a:lnTo>
                        <a:lnTo>
                          <a:pt x="768" y="2226"/>
                        </a:lnTo>
                        <a:lnTo>
                          <a:pt x="774" y="2220"/>
                        </a:lnTo>
                        <a:lnTo>
                          <a:pt x="780" y="2208"/>
                        </a:lnTo>
                        <a:lnTo>
                          <a:pt x="780" y="2172"/>
                        </a:lnTo>
                        <a:lnTo>
                          <a:pt x="786" y="2160"/>
                        </a:lnTo>
                        <a:lnTo>
                          <a:pt x="798" y="2154"/>
                        </a:lnTo>
                        <a:lnTo>
                          <a:pt x="804" y="2154"/>
                        </a:lnTo>
                        <a:lnTo>
                          <a:pt x="810" y="2160"/>
                        </a:lnTo>
                        <a:lnTo>
                          <a:pt x="828" y="2160"/>
                        </a:lnTo>
                        <a:lnTo>
                          <a:pt x="834" y="2154"/>
                        </a:lnTo>
                        <a:lnTo>
                          <a:pt x="846" y="2148"/>
                        </a:lnTo>
                        <a:lnTo>
                          <a:pt x="852" y="2142"/>
                        </a:lnTo>
                        <a:lnTo>
                          <a:pt x="864" y="2136"/>
                        </a:lnTo>
                        <a:lnTo>
                          <a:pt x="852" y="2136"/>
                        </a:lnTo>
                        <a:lnTo>
                          <a:pt x="846" y="2130"/>
                        </a:lnTo>
                        <a:lnTo>
                          <a:pt x="846" y="2118"/>
                        </a:lnTo>
                        <a:lnTo>
                          <a:pt x="852" y="2100"/>
                        </a:lnTo>
                        <a:lnTo>
                          <a:pt x="858" y="2088"/>
                        </a:lnTo>
                        <a:lnTo>
                          <a:pt x="906" y="2064"/>
                        </a:lnTo>
                        <a:lnTo>
                          <a:pt x="918" y="2052"/>
                        </a:lnTo>
                        <a:lnTo>
                          <a:pt x="918" y="2040"/>
                        </a:lnTo>
                        <a:lnTo>
                          <a:pt x="912" y="2028"/>
                        </a:lnTo>
                        <a:lnTo>
                          <a:pt x="912" y="2010"/>
                        </a:lnTo>
                        <a:lnTo>
                          <a:pt x="900" y="1974"/>
                        </a:lnTo>
                        <a:lnTo>
                          <a:pt x="900" y="1908"/>
                        </a:lnTo>
                        <a:lnTo>
                          <a:pt x="906" y="1890"/>
                        </a:lnTo>
                        <a:lnTo>
                          <a:pt x="906" y="1884"/>
                        </a:lnTo>
                        <a:lnTo>
                          <a:pt x="912" y="1878"/>
                        </a:lnTo>
                        <a:lnTo>
                          <a:pt x="912" y="1860"/>
                        </a:lnTo>
                        <a:lnTo>
                          <a:pt x="918" y="1842"/>
                        </a:lnTo>
                        <a:lnTo>
                          <a:pt x="918" y="1800"/>
                        </a:lnTo>
                        <a:lnTo>
                          <a:pt x="906" y="1776"/>
                        </a:lnTo>
                        <a:lnTo>
                          <a:pt x="888" y="1758"/>
                        </a:lnTo>
                        <a:lnTo>
                          <a:pt x="888" y="1728"/>
                        </a:lnTo>
                        <a:lnTo>
                          <a:pt x="894" y="1722"/>
                        </a:lnTo>
                        <a:lnTo>
                          <a:pt x="900" y="1710"/>
                        </a:lnTo>
                        <a:lnTo>
                          <a:pt x="900" y="1698"/>
                        </a:lnTo>
                        <a:lnTo>
                          <a:pt x="894" y="1686"/>
                        </a:lnTo>
                        <a:lnTo>
                          <a:pt x="894" y="1644"/>
                        </a:lnTo>
                        <a:lnTo>
                          <a:pt x="918" y="1632"/>
                        </a:lnTo>
                        <a:lnTo>
                          <a:pt x="924" y="1632"/>
                        </a:lnTo>
                        <a:lnTo>
                          <a:pt x="948" y="1620"/>
                        </a:lnTo>
                        <a:lnTo>
                          <a:pt x="948" y="1596"/>
                        </a:lnTo>
                        <a:lnTo>
                          <a:pt x="954" y="1584"/>
                        </a:lnTo>
                        <a:lnTo>
                          <a:pt x="960" y="1578"/>
                        </a:lnTo>
                        <a:lnTo>
                          <a:pt x="972" y="1572"/>
                        </a:lnTo>
                        <a:lnTo>
                          <a:pt x="990" y="1572"/>
                        </a:lnTo>
                        <a:lnTo>
                          <a:pt x="996" y="1560"/>
                        </a:lnTo>
                        <a:lnTo>
                          <a:pt x="1002" y="1566"/>
                        </a:lnTo>
                        <a:lnTo>
                          <a:pt x="1032" y="1566"/>
                        </a:lnTo>
                        <a:lnTo>
                          <a:pt x="1032" y="1548"/>
                        </a:lnTo>
                        <a:lnTo>
                          <a:pt x="1038" y="1530"/>
                        </a:lnTo>
                        <a:lnTo>
                          <a:pt x="1050" y="1518"/>
                        </a:lnTo>
                        <a:lnTo>
                          <a:pt x="1056" y="1500"/>
                        </a:lnTo>
                        <a:lnTo>
                          <a:pt x="1068" y="1488"/>
                        </a:lnTo>
                        <a:lnTo>
                          <a:pt x="1074" y="1476"/>
                        </a:lnTo>
                        <a:lnTo>
                          <a:pt x="1086" y="1470"/>
                        </a:lnTo>
                        <a:lnTo>
                          <a:pt x="1092" y="1464"/>
                        </a:lnTo>
                        <a:lnTo>
                          <a:pt x="1110" y="1458"/>
                        </a:lnTo>
                        <a:lnTo>
                          <a:pt x="1116" y="1452"/>
                        </a:lnTo>
                        <a:lnTo>
                          <a:pt x="1128" y="1446"/>
                        </a:lnTo>
                        <a:lnTo>
                          <a:pt x="1134" y="1428"/>
                        </a:lnTo>
                        <a:lnTo>
                          <a:pt x="1158" y="1380"/>
                        </a:lnTo>
                        <a:lnTo>
                          <a:pt x="1176" y="1362"/>
                        </a:lnTo>
                        <a:lnTo>
                          <a:pt x="1188" y="1356"/>
                        </a:lnTo>
                        <a:lnTo>
                          <a:pt x="1206" y="1344"/>
                        </a:lnTo>
                        <a:lnTo>
                          <a:pt x="1218" y="1338"/>
                        </a:lnTo>
                        <a:lnTo>
                          <a:pt x="1236" y="1320"/>
                        </a:lnTo>
                        <a:lnTo>
                          <a:pt x="1242" y="1320"/>
                        </a:lnTo>
                        <a:lnTo>
                          <a:pt x="1230" y="1290"/>
                        </a:lnTo>
                        <a:lnTo>
                          <a:pt x="1236" y="1284"/>
                        </a:lnTo>
                        <a:lnTo>
                          <a:pt x="1260" y="1314"/>
                        </a:lnTo>
                        <a:lnTo>
                          <a:pt x="1320" y="1254"/>
                        </a:lnTo>
                        <a:lnTo>
                          <a:pt x="1332" y="1230"/>
                        </a:lnTo>
                        <a:lnTo>
                          <a:pt x="1326" y="1224"/>
                        </a:lnTo>
                        <a:lnTo>
                          <a:pt x="1320" y="1212"/>
                        </a:lnTo>
                        <a:lnTo>
                          <a:pt x="1314" y="1206"/>
                        </a:lnTo>
                        <a:lnTo>
                          <a:pt x="1308" y="1194"/>
                        </a:lnTo>
                        <a:lnTo>
                          <a:pt x="1308" y="1182"/>
                        </a:lnTo>
                        <a:lnTo>
                          <a:pt x="1320" y="1176"/>
                        </a:lnTo>
                        <a:lnTo>
                          <a:pt x="1326" y="1170"/>
                        </a:lnTo>
                        <a:lnTo>
                          <a:pt x="1338" y="1170"/>
                        </a:lnTo>
                        <a:lnTo>
                          <a:pt x="1350" y="1164"/>
                        </a:lnTo>
                        <a:lnTo>
                          <a:pt x="1362" y="1152"/>
                        </a:lnTo>
                        <a:lnTo>
                          <a:pt x="1374" y="1134"/>
                        </a:lnTo>
                        <a:lnTo>
                          <a:pt x="1374" y="1110"/>
                        </a:lnTo>
                        <a:lnTo>
                          <a:pt x="1392" y="1116"/>
                        </a:lnTo>
                        <a:lnTo>
                          <a:pt x="1398" y="1146"/>
                        </a:lnTo>
                        <a:lnTo>
                          <a:pt x="1416" y="1110"/>
                        </a:lnTo>
                        <a:lnTo>
                          <a:pt x="1416" y="1128"/>
                        </a:lnTo>
                        <a:lnTo>
                          <a:pt x="1422" y="1140"/>
                        </a:lnTo>
                        <a:lnTo>
                          <a:pt x="1422" y="1158"/>
                        </a:lnTo>
                        <a:lnTo>
                          <a:pt x="1428" y="1170"/>
                        </a:lnTo>
                        <a:lnTo>
                          <a:pt x="1434" y="1176"/>
                        </a:lnTo>
                        <a:lnTo>
                          <a:pt x="1440" y="1176"/>
                        </a:lnTo>
                        <a:lnTo>
                          <a:pt x="1446" y="1170"/>
                        </a:lnTo>
                        <a:lnTo>
                          <a:pt x="1446" y="1158"/>
                        </a:lnTo>
                        <a:lnTo>
                          <a:pt x="1452" y="1152"/>
                        </a:lnTo>
                        <a:lnTo>
                          <a:pt x="1452" y="1140"/>
                        </a:lnTo>
                        <a:lnTo>
                          <a:pt x="1458" y="1110"/>
                        </a:lnTo>
                        <a:lnTo>
                          <a:pt x="1440" y="1068"/>
                        </a:lnTo>
                        <a:lnTo>
                          <a:pt x="1440" y="1038"/>
                        </a:lnTo>
                        <a:lnTo>
                          <a:pt x="1410" y="1014"/>
                        </a:lnTo>
                        <a:lnTo>
                          <a:pt x="1398" y="984"/>
                        </a:lnTo>
                        <a:lnTo>
                          <a:pt x="1404" y="972"/>
                        </a:lnTo>
                        <a:lnTo>
                          <a:pt x="1410" y="966"/>
                        </a:lnTo>
                        <a:lnTo>
                          <a:pt x="1416" y="948"/>
                        </a:lnTo>
                        <a:lnTo>
                          <a:pt x="1416" y="942"/>
                        </a:lnTo>
                        <a:lnTo>
                          <a:pt x="1410" y="936"/>
                        </a:lnTo>
                        <a:lnTo>
                          <a:pt x="1398" y="930"/>
                        </a:lnTo>
                        <a:lnTo>
                          <a:pt x="1380" y="930"/>
                        </a:lnTo>
                        <a:lnTo>
                          <a:pt x="1368" y="924"/>
                        </a:lnTo>
                        <a:lnTo>
                          <a:pt x="1356" y="912"/>
                        </a:lnTo>
                        <a:lnTo>
                          <a:pt x="1368" y="900"/>
                        </a:lnTo>
                        <a:lnTo>
                          <a:pt x="1374" y="900"/>
                        </a:lnTo>
                        <a:lnTo>
                          <a:pt x="1374" y="870"/>
                        </a:lnTo>
                        <a:lnTo>
                          <a:pt x="1410" y="870"/>
                        </a:lnTo>
                        <a:lnTo>
                          <a:pt x="1410" y="858"/>
                        </a:lnTo>
                        <a:lnTo>
                          <a:pt x="1380" y="840"/>
                        </a:lnTo>
                        <a:lnTo>
                          <a:pt x="1374" y="840"/>
                        </a:lnTo>
                        <a:lnTo>
                          <a:pt x="1362" y="828"/>
                        </a:lnTo>
                        <a:lnTo>
                          <a:pt x="1350" y="822"/>
                        </a:lnTo>
                        <a:lnTo>
                          <a:pt x="1344" y="810"/>
                        </a:lnTo>
                        <a:lnTo>
                          <a:pt x="1344" y="804"/>
                        </a:lnTo>
                        <a:lnTo>
                          <a:pt x="1350" y="792"/>
                        </a:lnTo>
                        <a:lnTo>
                          <a:pt x="1362" y="780"/>
                        </a:lnTo>
                        <a:lnTo>
                          <a:pt x="1350" y="762"/>
                        </a:lnTo>
                        <a:lnTo>
                          <a:pt x="1368" y="762"/>
                        </a:lnTo>
                        <a:lnTo>
                          <a:pt x="1392" y="774"/>
                        </a:lnTo>
                        <a:lnTo>
                          <a:pt x="1386" y="768"/>
                        </a:lnTo>
                        <a:lnTo>
                          <a:pt x="1404" y="762"/>
                        </a:lnTo>
                        <a:lnTo>
                          <a:pt x="1410" y="774"/>
                        </a:lnTo>
                        <a:lnTo>
                          <a:pt x="1410" y="780"/>
                        </a:lnTo>
                        <a:lnTo>
                          <a:pt x="1416" y="792"/>
                        </a:lnTo>
                        <a:lnTo>
                          <a:pt x="1422" y="798"/>
                        </a:lnTo>
                        <a:lnTo>
                          <a:pt x="1434" y="798"/>
                        </a:lnTo>
                        <a:lnTo>
                          <a:pt x="1440" y="804"/>
                        </a:lnTo>
                        <a:lnTo>
                          <a:pt x="1446" y="786"/>
                        </a:lnTo>
                        <a:lnTo>
                          <a:pt x="1452" y="792"/>
                        </a:lnTo>
                        <a:lnTo>
                          <a:pt x="1458" y="792"/>
                        </a:lnTo>
                        <a:lnTo>
                          <a:pt x="1464" y="798"/>
                        </a:lnTo>
                        <a:lnTo>
                          <a:pt x="1464" y="828"/>
                        </a:lnTo>
                        <a:lnTo>
                          <a:pt x="1470" y="828"/>
                        </a:lnTo>
                        <a:lnTo>
                          <a:pt x="1470" y="864"/>
                        </a:lnTo>
                        <a:lnTo>
                          <a:pt x="1476" y="864"/>
                        </a:lnTo>
                        <a:lnTo>
                          <a:pt x="1482" y="870"/>
                        </a:lnTo>
                        <a:lnTo>
                          <a:pt x="1542" y="870"/>
                        </a:lnTo>
                        <a:lnTo>
                          <a:pt x="1554" y="876"/>
                        </a:lnTo>
                        <a:lnTo>
                          <a:pt x="1572" y="876"/>
                        </a:lnTo>
                        <a:lnTo>
                          <a:pt x="1620" y="864"/>
                        </a:lnTo>
                        <a:lnTo>
                          <a:pt x="1626" y="864"/>
                        </a:lnTo>
                        <a:lnTo>
                          <a:pt x="1650" y="888"/>
                        </a:lnTo>
                        <a:lnTo>
                          <a:pt x="1650" y="894"/>
                        </a:lnTo>
                        <a:lnTo>
                          <a:pt x="1644" y="900"/>
                        </a:lnTo>
                        <a:lnTo>
                          <a:pt x="1638" y="900"/>
                        </a:lnTo>
                        <a:lnTo>
                          <a:pt x="1638" y="912"/>
                        </a:lnTo>
                        <a:lnTo>
                          <a:pt x="1632" y="930"/>
                        </a:lnTo>
                        <a:lnTo>
                          <a:pt x="1626" y="942"/>
                        </a:lnTo>
                        <a:lnTo>
                          <a:pt x="1620" y="948"/>
                        </a:lnTo>
                        <a:lnTo>
                          <a:pt x="1614" y="948"/>
                        </a:lnTo>
                        <a:lnTo>
                          <a:pt x="1602" y="954"/>
                        </a:lnTo>
                        <a:lnTo>
                          <a:pt x="1596" y="954"/>
                        </a:lnTo>
                        <a:lnTo>
                          <a:pt x="1584" y="966"/>
                        </a:lnTo>
                        <a:lnTo>
                          <a:pt x="1578" y="978"/>
                        </a:lnTo>
                        <a:lnTo>
                          <a:pt x="1578" y="996"/>
                        </a:lnTo>
                        <a:lnTo>
                          <a:pt x="1584" y="1008"/>
                        </a:lnTo>
                        <a:lnTo>
                          <a:pt x="1602" y="1026"/>
                        </a:lnTo>
                        <a:lnTo>
                          <a:pt x="1608" y="1026"/>
                        </a:lnTo>
                        <a:lnTo>
                          <a:pt x="1626" y="1050"/>
                        </a:lnTo>
                        <a:lnTo>
                          <a:pt x="1632" y="1014"/>
                        </a:lnTo>
                        <a:lnTo>
                          <a:pt x="1632" y="990"/>
                        </a:lnTo>
                        <a:lnTo>
                          <a:pt x="1650" y="990"/>
                        </a:lnTo>
                        <a:lnTo>
                          <a:pt x="1662" y="996"/>
                        </a:lnTo>
                        <a:lnTo>
                          <a:pt x="1668" y="1002"/>
                        </a:lnTo>
                        <a:lnTo>
                          <a:pt x="1668" y="1020"/>
                        </a:lnTo>
                        <a:lnTo>
                          <a:pt x="1674" y="1032"/>
                        </a:lnTo>
                        <a:lnTo>
                          <a:pt x="1674" y="1038"/>
                        </a:lnTo>
                        <a:lnTo>
                          <a:pt x="1680" y="1050"/>
                        </a:lnTo>
                        <a:lnTo>
                          <a:pt x="1680" y="1062"/>
                        </a:lnTo>
                        <a:lnTo>
                          <a:pt x="1686" y="1074"/>
                        </a:lnTo>
                        <a:lnTo>
                          <a:pt x="1692" y="1092"/>
                        </a:lnTo>
                        <a:lnTo>
                          <a:pt x="1698" y="1104"/>
                        </a:lnTo>
                        <a:lnTo>
                          <a:pt x="1704" y="1110"/>
                        </a:lnTo>
                        <a:lnTo>
                          <a:pt x="1704" y="1116"/>
                        </a:lnTo>
                        <a:lnTo>
                          <a:pt x="1722" y="1134"/>
                        </a:lnTo>
                        <a:lnTo>
                          <a:pt x="1722" y="1110"/>
                        </a:lnTo>
                        <a:lnTo>
                          <a:pt x="1728" y="1110"/>
                        </a:lnTo>
                        <a:lnTo>
                          <a:pt x="1734" y="1116"/>
                        </a:lnTo>
                        <a:lnTo>
                          <a:pt x="1746" y="1116"/>
                        </a:lnTo>
                        <a:lnTo>
                          <a:pt x="1746" y="1104"/>
                        </a:lnTo>
                        <a:lnTo>
                          <a:pt x="1728" y="1086"/>
                        </a:lnTo>
                        <a:lnTo>
                          <a:pt x="1728" y="1062"/>
                        </a:lnTo>
                        <a:lnTo>
                          <a:pt x="1722" y="1050"/>
                        </a:lnTo>
                        <a:lnTo>
                          <a:pt x="1740" y="1032"/>
                        </a:lnTo>
                        <a:lnTo>
                          <a:pt x="1746" y="1032"/>
                        </a:lnTo>
                        <a:lnTo>
                          <a:pt x="1740" y="984"/>
                        </a:lnTo>
                        <a:lnTo>
                          <a:pt x="1722" y="966"/>
                        </a:lnTo>
                        <a:lnTo>
                          <a:pt x="1716" y="966"/>
                        </a:lnTo>
                        <a:lnTo>
                          <a:pt x="1770" y="966"/>
                        </a:lnTo>
                        <a:lnTo>
                          <a:pt x="1782" y="972"/>
                        </a:lnTo>
                        <a:lnTo>
                          <a:pt x="1794" y="972"/>
                        </a:lnTo>
                        <a:lnTo>
                          <a:pt x="1794" y="936"/>
                        </a:lnTo>
                        <a:lnTo>
                          <a:pt x="1812" y="882"/>
                        </a:lnTo>
                        <a:lnTo>
                          <a:pt x="1806" y="876"/>
                        </a:lnTo>
                        <a:lnTo>
                          <a:pt x="1800" y="864"/>
                        </a:lnTo>
                        <a:lnTo>
                          <a:pt x="1800" y="846"/>
                        </a:lnTo>
                        <a:lnTo>
                          <a:pt x="1812" y="840"/>
                        </a:lnTo>
                        <a:lnTo>
                          <a:pt x="1818" y="834"/>
                        </a:lnTo>
                        <a:lnTo>
                          <a:pt x="1836" y="804"/>
                        </a:lnTo>
                        <a:lnTo>
                          <a:pt x="1836" y="792"/>
                        </a:lnTo>
                        <a:lnTo>
                          <a:pt x="1830" y="786"/>
                        </a:lnTo>
                        <a:lnTo>
                          <a:pt x="1830" y="780"/>
                        </a:lnTo>
                        <a:lnTo>
                          <a:pt x="1824" y="774"/>
                        </a:lnTo>
                        <a:lnTo>
                          <a:pt x="1824" y="750"/>
                        </a:lnTo>
                        <a:lnTo>
                          <a:pt x="1830" y="750"/>
                        </a:lnTo>
                        <a:lnTo>
                          <a:pt x="1836" y="744"/>
                        </a:lnTo>
                        <a:lnTo>
                          <a:pt x="1848" y="744"/>
                        </a:lnTo>
                        <a:lnTo>
                          <a:pt x="1860" y="738"/>
                        </a:lnTo>
                        <a:lnTo>
                          <a:pt x="1872" y="726"/>
                        </a:lnTo>
                        <a:lnTo>
                          <a:pt x="1872" y="708"/>
                        </a:lnTo>
                        <a:lnTo>
                          <a:pt x="1878" y="708"/>
                        </a:lnTo>
                        <a:lnTo>
                          <a:pt x="1890" y="702"/>
                        </a:lnTo>
                        <a:lnTo>
                          <a:pt x="1926" y="702"/>
                        </a:lnTo>
                        <a:lnTo>
                          <a:pt x="1932" y="708"/>
                        </a:lnTo>
                        <a:lnTo>
                          <a:pt x="1950" y="708"/>
                        </a:lnTo>
                        <a:lnTo>
                          <a:pt x="1950" y="702"/>
                        </a:lnTo>
                        <a:lnTo>
                          <a:pt x="1944" y="696"/>
                        </a:lnTo>
                        <a:lnTo>
                          <a:pt x="1932" y="690"/>
                        </a:lnTo>
                        <a:lnTo>
                          <a:pt x="1926" y="684"/>
                        </a:lnTo>
                        <a:lnTo>
                          <a:pt x="1920" y="67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23" name="Iceland"/>
                  <p:cNvSpPr>
                    <a:spLocks/>
                  </p:cNvSpPr>
                  <p:nvPr/>
                </p:nvSpPr>
                <p:spPr bwMode="gray">
                  <a:xfrm>
                    <a:off x="2363" y="968"/>
                    <a:ext cx="146" cy="57"/>
                  </a:xfrm>
                  <a:custGeom>
                    <a:avLst/>
                    <a:gdLst>
                      <a:gd name="T0" fmla="*/ 2147483647 w 570"/>
                      <a:gd name="T1" fmla="*/ 2147483647 h 222"/>
                      <a:gd name="T2" fmla="*/ 2147483647 w 570"/>
                      <a:gd name="T3" fmla="*/ 2147483647 h 222"/>
                      <a:gd name="T4" fmla="*/ 2147483647 w 570"/>
                      <a:gd name="T5" fmla="*/ 2147483647 h 222"/>
                      <a:gd name="T6" fmla="*/ 2147483647 w 570"/>
                      <a:gd name="T7" fmla="*/ 2147483647 h 222"/>
                      <a:gd name="T8" fmla="*/ 2147483647 w 570"/>
                      <a:gd name="T9" fmla="*/ 2147483647 h 222"/>
                      <a:gd name="T10" fmla="*/ 2147483647 w 570"/>
                      <a:gd name="T11" fmla="*/ 2147483647 h 222"/>
                      <a:gd name="T12" fmla="*/ 2147483647 w 570"/>
                      <a:gd name="T13" fmla="*/ 2147483647 h 222"/>
                      <a:gd name="T14" fmla="*/ 2147483647 w 570"/>
                      <a:gd name="T15" fmla="*/ 2147483647 h 222"/>
                      <a:gd name="T16" fmla="*/ 2147483647 w 570"/>
                      <a:gd name="T17" fmla="*/ 2147483647 h 222"/>
                      <a:gd name="T18" fmla="*/ 2147483647 w 570"/>
                      <a:gd name="T19" fmla="*/ 2147483647 h 222"/>
                      <a:gd name="T20" fmla="*/ 2147483647 w 570"/>
                      <a:gd name="T21" fmla="*/ 2147483647 h 222"/>
                      <a:gd name="T22" fmla="*/ 2147483647 w 570"/>
                      <a:gd name="T23" fmla="*/ 2147483647 h 222"/>
                      <a:gd name="T24" fmla="*/ 2147483647 w 570"/>
                      <a:gd name="T25" fmla="*/ 2147483647 h 222"/>
                      <a:gd name="T26" fmla="*/ 2147483647 w 570"/>
                      <a:gd name="T27" fmla="*/ 2147483647 h 222"/>
                      <a:gd name="T28" fmla="*/ 2147483647 w 570"/>
                      <a:gd name="T29" fmla="*/ 2147483647 h 222"/>
                      <a:gd name="T30" fmla="*/ 2147483647 w 570"/>
                      <a:gd name="T31" fmla="*/ 2147483647 h 222"/>
                      <a:gd name="T32" fmla="*/ 2147483647 w 570"/>
                      <a:gd name="T33" fmla="*/ 2147483647 h 222"/>
                      <a:gd name="T34" fmla="*/ 2147483647 w 570"/>
                      <a:gd name="T35" fmla="*/ 2147483647 h 222"/>
                      <a:gd name="T36" fmla="*/ 2147483647 w 570"/>
                      <a:gd name="T37" fmla="*/ 2147483647 h 222"/>
                      <a:gd name="T38" fmla="*/ 2147483647 w 570"/>
                      <a:gd name="T39" fmla="*/ 2147483647 h 222"/>
                      <a:gd name="T40" fmla="*/ 2147483647 w 570"/>
                      <a:gd name="T41" fmla="*/ 2147483647 h 222"/>
                      <a:gd name="T42" fmla="*/ 2147483647 w 570"/>
                      <a:gd name="T43" fmla="*/ 2147483647 h 222"/>
                      <a:gd name="T44" fmla="*/ 2147483647 w 570"/>
                      <a:gd name="T45" fmla="*/ 2147483647 h 222"/>
                      <a:gd name="T46" fmla="*/ 2147483647 w 570"/>
                      <a:gd name="T47" fmla="*/ 2147483647 h 222"/>
                      <a:gd name="T48" fmla="*/ 2147483647 w 570"/>
                      <a:gd name="T49" fmla="*/ 2147483647 h 222"/>
                      <a:gd name="T50" fmla="*/ 2147483647 w 570"/>
                      <a:gd name="T51" fmla="*/ 2147483647 h 222"/>
                      <a:gd name="T52" fmla="*/ 2147483647 w 570"/>
                      <a:gd name="T53" fmla="*/ 2147483647 h 222"/>
                      <a:gd name="T54" fmla="*/ 2147483647 w 570"/>
                      <a:gd name="T55" fmla="*/ 2147483647 h 222"/>
                      <a:gd name="T56" fmla="*/ 2147483647 w 570"/>
                      <a:gd name="T57" fmla="*/ 2147483647 h 222"/>
                      <a:gd name="T58" fmla="*/ 2147483647 w 570"/>
                      <a:gd name="T59" fmla="*/ 2147483647 h 222"/>
                      <a:gd name="T60" fmla="*/ 2147483647 w 570"/>
                      <a:gd name="T61" fmla="*/ 2147483647 h 222"/>
                      <a:gd name="T62" fmla="*/ 2147483647 w 570"/>
                      <a:gd name="T63" fmla="*/ 2147483647 h 222"/>
                      <a:gd name="T64" fmla="*/ 2147483647 w 570"/>
                      <a:gd name="T65" fmla="*/ 2147483647 h 222"/>
                      <a:gd name="T66" fmla="*/ 0 w 570"/>
                      <a:gd name="T67" fmla="*/ 2147483647 h 222"/>
                      <a:gd name="T68" fmla="*/ 2147483647 w 570"/>
                      <a:gd name="T69" fmla="*/ 2147483647 h 222"/>
                      <a:gd name="T70" fmla="*/ 2147483647 w 570"/>
                      <a:gd name="T71" fmla="*/ 2147483647 h 222"/>
                      <a:gd name="T72" fmla="*/ 2147483647 w 570"/>
                      <a:gd name="T73" fmla="*/ 2147483647 h 222"/>
                      <a:gd name="T74" fmla="*/ 2147483647 w 570"/>
                      <a:gd name="T75" fmla="*/ 2147483647 h 222"/>
                      <a:gd name="T76" fmla="*/ 2147483647 w 570"/>
                      <a:gd name="T77" fmla="*/ 2147483647 h 222"/>
                      <a:gd name="T78" fmla="*/ 2147483647 w 570"/>
                      <a:gd name="T79" fmla="*/ 2147483647 h 222"/>
                      <a:gd name="T80" fmla="*/ 2147483647 w 570"/>
                      <a:gd name="T81" fmla="*/ 2147483647 h 222"/>
                      <a:gd name="T82" fmla="*/ 2147483647 w 570"/>
                      <a:gd name="T83" fmla="*/ 2147483647 h 222"/>
                      <a:gd name="T84" fmla="*/ 2147483647 w 570"/>
                      <a:gd name="T85" fmla="*/ 2147483647 h 222"/>
                      <a:gd name="T86" fmla="*/ 2147483647 w 570"/>
                      <a:gd name="T87" fmla="*/ 2147483647 h 222"/>
                      <a:gd name="T88" fmla="*/ 2147483647 w 570"/>
                      <a:gd name="T89" fmla="*/ 2147483647 h 222"/>
                      <a:gd name="T90" fmla="*/ 2147483647 w 570"/>
                      <a:gd name="T91" fmla="*/ 2147483647 h 222"/>
                      <a:gd name="T92" fmla="*/ 2147483647 w 570"/>
                      <a:gd name="T93" fmla="*/ 2147483647 h 22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70"/>
                      <a:gd name="T142" fmla="*/ 0 h 222"/>
                      <a:gd name="T143" fmla="*/ 570 w 570"/>
                      <a:gd name="T144" fmla="*/ 222 h 22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70" h="222">
                        <a:moveTo>
                          <a:pt x="252" y="222"/>
                        </a:moveTo>
                        <a:lnTo>
                          <a:pt x="270" y="216"/>
                        </a:lnTo>
                        <a:lnTo>
                          <a:pt x="306" y="216"/>
                        </a:lnTo>
                        <a:lnTo>
                          <a:pt x="312" y="204"/>
                        </a:lnTo>
                        <a:lnTo>
                          <a:pt x="312" y="192"/>
                        </a:lnTo>
                        <a:lnTo>
                          <a:pt x="324" y="198"/>
                        </a:lnTo>
                        <a:lnTo>
                          <a:pt x="330" y="198"/>
                        </a:lnTo>
                        <a:lnTo>
                          <a:pt x="342" y="204"/>
                        </a:lnTo>
                        <a:lnTo>
                          <a:pt x="348" y="204"/>
                        </a:lnTo>
                        <a:lnTo>
                          <a:pt x="360" y="192"/>
                        </a:lnTo>
                        <a:lnTo>
                          <a:pt x="360" y="186"/>
                        </a:lnTo>
                        <a:lnTo>
                          <a:pt x="372" y="186"/>
                        </a:lnTo>
                        <a:lnTo>
                          <a:pt x="378" y="192"/>
                        </a:lnTo>
                        <a:lnTo>
                          <a:pt x="390" y="192"/>
                        </a:lnTo>
                        <a:lnTo>
                          <a:pt x="414" y="180"/>
                        </a:lnTo>
                        <a:lnTo>
                          <a:pt x="432" y="168"/>
                        </a:lnTo>
                        <a:lnTo>
                          <a:pt x="456" y="156"/>
                        </a:lnTo>
                        <a:lnTo>
                          <a:pt x="474" y="156"/>
                        </a:lnTo>
                        <a:lnTo>
                          <a:pt x="480" y="162"/>
                        </a:lnTo>
                        <a:lnTo>
                          <a:pt x="492" y="162"/>
                        </a:lnTo>
                        <a:lnTo>
                          <a:pt x="504" y="156"/>
                        </a:lnTo>
                        <a:lnTo>
                          <a:pt x="510" y="144"/>
                        </a:lnTo>
                        <a:lnTo>
                          <a:pt x="510" y="138"/>
                        </a:lnTo>
                        <a:lnTo>
                          <a:pt x="516" y="126"/>
                        </a:lnTo>
                        <a:lnTo>
                          <a:pt x="528" y="126"/>
                        </a:lnTo>
                        <a:lnTo>
                          <a:pt x="552" y="114"/>
                        </a:lnTo>
                        <a:lnTo>
                          <a:pt x="564" y="102"/>
                        </a:lnTo>
                        <a:lnTo>
                          <a:pt x="570" y="102"/>
                        </a:lnTo>
                        <a:lnTo>
                          <a:pt x="552" y="102"/>
                        </a:lnTo>
                        <a:lnTo>
                          <a:pt x="570" y="84"/>
                        </a:lnTo>
                        <a:lnTo>
                          <a:pt x="570" y="78"/>
                        </a:lnTo>
                        <a:lnTo>
                          <a:pt x="564" y="72"/>
                        </a:lnTo>
                        <a:lnTo>
                          <a:pt x="552" y="66"/>
                        </a:lnTo>
                        <a:lnTo>
                          <a:pt x="540" y="66"/>
                        </a:lnTo>
                        <a:lnTo>
                          <a:pt x="534" y="72"/>
                        </a:lnTo>
                        <a:lnTo>
                          <a:pt x="528" y="72"/>
                        </a:lnTo>
                        <a:lnTo>
                          <a:pt x="534" y="60"/>
                        </a:lnTo>
                        <a:lnTo>
                          <a:pt x="504" y="60"/>
                        </a:lnTo>
                        <a:lnTo>
                          <a:pt x="522" y="36"/>
                        </a:lnTo>
                        <a:lnTo>
                          <a:pt x="504" y="36"/>
                        </a:lnTo>
                        <a:lnTo>
                          <a:pt x="510" y="18"/>
                        </a:lnTo>
                        <a:lnTo>
                          <a:pt x="480" y="24"/>
                        </a:lnTo>
                        <a:lnTo>
                          <a:pt x="474" y="18"/>
                        </a:lnTo>
                        <a:lnTo>
                          <a:pt x="462" y="12"/>
                        </a:lnTo>
                        <a:lnTo>
                          <a:pt x="456" y="6"/>
                        </a:lnTo>
                        <a:lnTo>
                          <a:pt x="444" y="0"/>
                        </a:lnTo>
                        <a:lnTo>
                          <a:pt x="432" y="0"/>
                        </a:lnTo>
                        <a:lnTo>
                          <a:pt x="432" y="24"/>
                        </a:lnTo>
                        <a:lnTo>
                          <a:pt x="414" y="30"/>
                        </a:lnTo>
                        <a:lnTo>
                          <a:pt x="408" y="30"/>
                        </a:lnTo>
                        <a:lnTo>
                          <a:pt x="402" y="24"/>
                        </a:lnTo>
                        <a:lnTo>
                          <a:pt x="378" y="24"/>
                        </a:lnTo>
                        <a:lnTo>
                          <a:pt x="372" y="30"/>
                        </a:lnTo>
                        <a:lnTo>
                          <a:pt x="366" y="42"/>
                        </a:lnTo>
                        <a:lnTo>
                          <a:pt x="360" y="36"/>
                        </a:lnTo>
                        <a:lnTo>
                          <a:pt x="348" y="30"/>
                        </a:lnTo>
                        <a:lnTo>
                          <a:pt x="342" y="24"/>
                        </a:lnTo>
                        <a:lnTo>
                          <a:pt x="336" y="24"/>
                        </a:lnTo>
                        <a:lnTo>
                          <a:pt x="330" y="30"/>
                        </a:lnTo>
                        <a:lnTo>
                          <a:pt x="330" y="60"/>
                        </a:lnTo>
                        <a:lnTo>
                          <a:pt x="324" y="48"/>
                        </a:lnTo>
                        <a:lnTo>
                          <a:pt x="318" y="42"/>
                        </a:lnTo>
                        <a:lnTo>
                          <a:pt x="306" y="36"/>
                        </a:lnTo>
                        <a:lnTo>
                          <a:pt x="300" y="24"/>
                        </a:lnTo>
                        <a:lnTo>
                          <a:pt x="288" y="24"/>
                        </a:lnTo>
                        <a:lnTo>
                          <a:pt x="288" y="30"/>
                        </a:lnTo>
                        <a:lnTo>
                          <a:pt x="270" y="30"/>
                        </a:lnTo>
                        <a:lnTo>
                          <a:pt x="264" y="36"/>
                        </a:lnTo>
                        <a:lnTo>
                          <a:pt x="264" y="54"/>
                        </a:lnTo>
                        <a:lnTo>
                          <a:pt x="252" y="54"/>
                        </a:lnTo>
                        <a:lnTo>
                          <a:pt x="240" y="42"/>
                        </a:lnTo>
                        <a:lnTo>
                          <a:pt x="228" y="36"/>
                        </a:lnTo>
                        <a:lnTo>
                          <a:pt x="222" y="30"/>
                        </a:lnTo>
                        <a:lnTo>
                          <a:pt x="216" y="30"/>
                        </a:lnTo>
                        <a:lnTo>
                          <a:pt x="216" y="48"/>
                        </a:lnTo>
                        <a:lnTo>
                          <a:pt x="210" y="60"/>
                        </a:lnTo>
                        <a:lnTo>
                          <a:pt x="210" y="72"/>
                        </a:lnTo>
                        <a:lnTo>
                          <a:pt x="204" y="72"/>
                        </a:lnTo>
                        <a:lnTo>
                          <a:pt x="192" y="60"/>
                        </a:lnTo>
                        <a:lnTo>
                          <a:pt x="186" y="60"/>
                        </a:lnTo>
                        <a:lnTo>
                          <a:pt x="162" y="84"/>
                        </a:lnTo>
                        <a:lnTo>
                          <a:pt x="162" y="90"/>
                        </a:lnTo>
                        <a:lnTo>
                          <a:pt x="156" y="84"/>
                        </a:lnTo>
                        <a:lnTo>
                          <a:pt x="144" y="60"/>
                        </a:lnTo>
                        <a:lnTo>
                          <a:pt x="162" y="42"/>
                        </a:lnTo>
                        <a:lnTo>
                          <a:pt x="162" y="36"/>
                        </a:lnTo>
                        <a:lnTo>
                          <a:pt x="156" y="30"/>
                        </a:lnTo>
                        <a:lnTo>
                          <a:pt x="108" y="6"/>
                        </a:lnTo>
                        <a:lnTo>
                          <a:pt x="96" y="6"/>
                        </a:lnTo>
                        <a:lnTo>
                          <a:pt x="96" y="36"/>
                        </a:lnTo>
                        <a:lnTo>
                          <a:pt x="90" y="36"/>
                        </a:lnTo>
                        <a:lnTo>
                          <a:pt x="84" y="30"/>
                        </a:lnTo>
                        <a:lnTo>
                          <a:pt x="78" y="30"/>
                        </a:lnTo>
                        <a:lnTo>
                          <a:pt x="66" y="24"/>
                        </a:lnTo>
                        <a:lnTo>
                          <a:pt x="54" y="24"/>
                        </a:lnTo>
                        <a:lnTo>
                          <a:pt x="42" y="30"/>
                        </a:lnTo>
                        <a:lnTo>
                          <a:pt x="30" y="42"/>
                        </a:lnTo>
                        <a:lnTo>
                          <a:pt x="48" y="54"/>
                        </a:lnTo>
                        <a:lnTo>
                          <a:pt x="30" y="54"/>
                        </a:lnTo>
                        <a:lnTo>
                          <a:pt x="18" y="60"/>
                        </a:lnTo>
                        <a:lnTo>
                          <a:pt x="12" y="66"/>
                        </a:lnTo>
                        <a:lnTo>
                          <a:pt x="0" y="66"/>
                        </a:lnTo>
                        <a:lnTo>
                          <a:pt x="6" y="72"/>
                        </a:lnTo>
                        <a:lnTo>
                          <a:pt x="18" y="78"/>
                        </a:lnTo>
                        <a:lnTo>
                          <a:pt x="30" y="78"/>
                        </a:lnTo>
                        <a:lnTo>
                          <a:pt x="54" y="66"/>
                        </a:lnTo>
                        <a:lnTo>
                          <a:pt x="66" y="66"/>
                        </a:lnTo>
                        <a:lnTo>
                          <a:pt x="72" y="60"/>
                        </a:lnTo>
                        <a:lnTo>
                          <a:pt x="78" y="60"/>
                        </a:lnTo>
                        <a:lnTo>
                          <a:pt x="126" y="72"/>
                        </a:lnTo>
                        <a:lnTo>
                          <a:pt x="90" y="90"/>
                        </a:lnTo>
                        <a:lnTo>
                          <a:pt x="102" y="90"/>
                        </a:lnTo>
                        <a:lnTo>
                          <a:pt x="108" y="96"/>
                        </a:lnTo>
                        <a:lnTo>
                          <a:pt x="114" y="96"/>
                        </a:lnTo>
                        <a:lnTo>
                          <a:pt x="120" y="102"/>
                        </a:lnTo>
                        <a:lnTo>
                          <a:pt x="114" y="102"/>
                        </a:lnTo>
                        <a:lnTo>
                          <a:pt x="108" y="108"/>
                        </a:lnTo>
                        <a:lnTo>
                          <a:pt x="6" y="108"/>
                        </a:lnTo>
                        <a:lnTo>
                          <a:pt x="0" y="114"/>
                        </a:lnTo>
                        <a:lnTo>
                          <a:pt x="12" y="120"/>
                        </a:lnTo>
                        <a:lnTo>
                          <a:pt x="60" y="120"/>
                        </a:lnTo>
                        <a:lnTo>
                          <a:pt x="84" y="132"/>
                        </a:lnTo>
                        <a:lnTo>
                          <a:pt x="90" y="138"/>
                        </a:lnTo>
                        <a:lnTo>
                          <a:pt x="126" y="132"/>
                        </a:lnTo>
                        <a:lnTo>
                          <a:pt x="108" y="150"/>
                        </a:lnTo>
                        <a:lnTo>
                          <a:pt x="120" y="156"/>
                        </a:lnTo>
                        <a:lnTo>
                          <a:pt x="114" y="162"/>
                        </a:lnTo>
                        <a:lnTo>
                          <a:pt x="114" y="168"/>
                        </a:lnTo>
                        <a:lnTo>
                          <a:pt x="108" y="174"/>
                        </a:lnTo>
                        <a:lnTo>
                          <a:pt x="90" y="174"/>
                        </a:lnTo>
                        <a:lnTo>
                          <a:pt x="78" y="180"/>
                        </a:lnTo>
                        <a:lnTo>
                          <a:pt x="54" y="180"/>
                        </a:lnTo>
                        <a:lnTo>
                          <a:pt x="54" y="186"/>
                        </a:lnTo>
                        <a:lnTo>
                          <a:pt x="66" y="192"/>
                        </a:lnTo>
                        <a:lnTo>
                          <a:pt x="120" y="192"/>
                        </a:lnTo>
                        <a:lnTo>
                          <a:pt x="132" y="186"/>
                        </a:lnTo>
                        <a:lnTo>
                          <a:pt x="138" y="180"/>
                        </a:lnTo>
                        <a:lnTo>
                          <a:pt x="168" y="198"/>
                        </a:lnTo>
                        <a:lnTo>
                          <a:pt x="180" y="186"/>
                        </a:lnTo>
                        <a:lnTo>
                          <a:pt x="180" y="198"/>
                        </a:lnTo>
                        <a:lnTo>
                          <a:pt x="228" y="222"/>
                        </a:lnTo>
                        <a:lnTo>
                          <a:pt x="252" y="22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24" name="Hungary"/>
                  <p:cNvSpPr>
                    <a:spLocks/>
                  </p:cNvSpPr>
                  <p:nvPr/>
                </p:nvSpPr>
                <p:spPr bwMode="gray">
                  <a:xfrm>
                    <a:off x="2934" y="1312"/>
                    <a:ext cx="109" cy="57"/>
                  </a:xfrm>
                  <a:custGeom>
                    <a:avLst/>
                    <a:gdLst>
                      <a:gd name="T0" fmla="*/ 2147483647 w 426"/>
                      <a:gd name="T1" fmla="*/ 2147483647 h 222"/>
                      <a:gd name="T2" fmla="*/ 2147483647 w 426"/>
                      <a:gd name="T3" fmla="*/ 2147483647 h 222"/>
                      <a:gd name="T4" fmla="*/ 2147483647 w 426"/>
                      <a:gd name="T5" fmla="*/ 2147483647 h 222"/>
                      <a:gd name="T6" fmla="*/ 0 w 426"/>
                      <a:gd name="T7" fmla="*/ 2147483647 h 222"/>
                      <a:gd name="T8" fmla="*/ 2147483647 w 426"/>
                      <a:gd name="T9" fmla="*/ 2147483647 h 222"/>
                      <a:gd name="T10" fmla="*/ 2147483647 w 426"/>
                      <a:gd name="T11" fmla="*/ 2147483647 h 222"/>
                      <a:gd name="T12" fmla="*/ 2147483647 w 426"/>
                      <a:gd name="T13" fmla="*/ 2147483647 h 222"/>
                      <a:gd name="T14" fmla="*/ 2147483647 w 426"/>
                      <a:gd name="T15" fmla="*/ 2147483647 h 222"/>
                      <a:gd name="T16" fmla="*/ 2147483647 w 426"/>
                      <a:gd name="T17" fmla="*/ 2147483647 h 222"/>
                      <a:gd name="T18" fmla="*/ 2147483647 w 426"/>
                      <a:gd name="T19" fmla="*/ 2147483647 h 222"/>
                      <a:gd name="T20" fmla="*/ 2147483647 w 426"/>
                      <a:gd name="T21" fmla="*/ 2147483647 h 222"/>
                      <a:gd name="T22" fmla="*/ 2147483647 w 426"/>
                      <a:gd name="T23" fmla="*/ 2147483647 h 222"/>
                      <a:gd name="T24" fmla="*/ 2147483647 w 426"/>
                      <a:gd name="T25" fmla="*/ 2147483647 h 222"/>
                      <a:gd name="T26" fmla="*/ 2147483647 w 426"/>
                      <a:gd name="T27" fmla="*/ 2147483647 h 222"/>
                      <a:gd name="T28" fmla="*/ 2147483647 w 426"/>
                      <a:gd name="T29" fmla="*/ 2147483647 h 222"/>
                      <a:gd name="T30" fmla="*/ 2147483647 w 426"/>
                      <a:gd name="T31" fmla="*/ 2147483647 h 222"/>
                      <a:gd name="T32" fmla="*/ 2147483647 w 426"/>
                      <a:gd name="T33" fmla="*/ 2147483647 h 222"/>
                      <a:gd name="T34" fmla="*/ 2147483647 w 426"/>
                      <a:gd name="T35" fmla="*/ 2147483647 h 222"/>
                      <a:gd name="T36" fmla="*/ 2147483647 w 426"/>
                      <a:gd name="T37" fmla="*/ 2147483647 h 222"/>
                      <a:gd name="T38" fmla="*/ 2147483647 w 426"/>
                      <a:gd name="T39" fmla="*/ 2147483647 h 222"/>
                      <a:gd name="T40" fmla="*/ 2147483647 w 426"/>
                      <a:gd name="T41" fmla="*/ 2147483647 h 222"/>
                      <a:gd name="T42" fmla="*/ 2147483647 w 426"/>
                      <a:gd name="T43" fmla="*/ 2147483647 h 222"/>
                      <a:gd name="T44" fmla="*/ 2147483647 w 426"/>
                      <a:gd name="T45" fmla="*/ 2147483647 h 222"/>
                      <a:gd name="T46" fmla="*/ 2147483647 w 426"/>
                      <a:gd name="T47" fmla="*/ 2147483647 h 222"/>
                      <a:gd name="T48" fmla="*/ 2147483647 w 426"/>
                      <a:gd name="T49" fmla="*/ 0 h 222"/>
                      <a:gd name="T50" fmla="*/ 2147483647 w 426"/>
                      <a:gd name="T51" fmla="*/ 2147483647 h 222"/>
                      <a:gd name="T52" fmla="*/ 2147483647 w 426"/>
                      <a:gd name="T53" fmla="*/ 0 h 222"/>
                      <a:gd name="T54" fmla="*/ 2147483647 w 426"/>
                      <a:gd name="T55" fmla="*/ 2147483647 h 222"/>
                      <a:gd name="T56" fmla="*/ 2147483647 w 426"/>
                      <a:gd name="T57" fmla="*/ 2147483647 h 222"/>
                      <a:gd name="T58" fmla="*/ 2147483647 w 426"/>
                      <a:gd name="T59" fmla="*/ 2147483647 h 222"/>
                      <a:gd name="T60" fmla="*/ 2147483647 w 426"/>
                      <a:gd name="T61" fmla="*/ 2147483647 h 222"/>
                      <a:gd name="T62" fmla="*/ 2147483647 w 426"/>
                      <a:gd name="T63" fmla="*/ 2147483647 h 222"/>
                      <a:gd name="T64" fmla="*/ 2147483647 w 426"/>
                      <a:gd name="T65" fmla="*/ 2147483647 h 222"/>
                      <a:gd name="T66" fmla="*/ 2147483647 w 426"/>
                      <a:gd name="T67" fmla="*/ 2147483647 h 222"/>
                      <a:gd name="T68" fmla="*/ 2147483647 w 426"/>
                      <a:gd name="T69" fmla="*/ 2147483647 h 222"/>
                      <a:gd name="T70" fmla="*/ 2147483647 w 426"/>
                      <a:gd name="T71" fmla="*/ 2147483647 h 22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26"/>
                      <a:gd name="T109" fmla="*/ 0 h 222"/>
                      <a:gd name="T110" fmla="*/ 426 w 426"/>
                      <a:gd name="T111" fmla="*/ 222 h 222"/>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26" h="222">
                        <a:moveTo>
                          <a:pt x="42" y="66"/>
                        </a:moveTo>
                        <a:lnTo>
                          <a:pt x="24" y="66"/>
                        </a:lnTo>
                        <a:lnTo>
                          <a:pt x="18" y="78"/>
                        </a:lnTo>
                        <a:lnTo>
                          <a:pt x="30" y="78"/>
                        </a:lnTo>
                        <a:lnTo>
                          <a:pt x="18" y="96"/>
                        </a:lnTo>
                        <a:lnTo>
                          <a:pt x="18" y="120"/>
                        </a:lnTo>
                        <a:lnTo>
                          <a:pt x="0" y="120"/>
                        </a:lnTo>
                        <a:lnTo>
                          <a:pt x="0" y="126"/>
                        </a:lnTo>
                        <a:lnTo>
                          <a:pt x="6" y="132"/>
                        </a:lnTo>
                        <a:lnTo>
                          <a:pt x="12" y="150"/>
                        </a:lnTo>
                        <a:lnTo>
                          <a:pt x="30" y="162"/>
                        </a:lnTo>
                        <a:lnTo>
                          <a:pt x="42" y="168"/>
                        </a:lnTo>
                        <a:lnTo>
                          <a:pt x="48" y="174"/>
                        </a:lnTo>
                        <a:lnTo>
                          <a:pt x="48" y="180"/>
                        </a:lnTo>
                        <a:lnTo>
                          <a:pt x="60" y="192"/>
                        </a:lnTo>
                        <a:lnTo>
                          <a:pt x="72" y="198"/>
                        </a:lnTo>
                        <a:lnTo>
                          <a:pt x="78" y="204"/>
                        </a:lnTo>
                        <a:lnTo>
                          <a:pt x="90" y="210"/>
                        </a:lnTo>
                        <a:lnTo>
                          <a:pt x="108" y="210"/>
                        </a:lnTo>
                        <a:lnTo>
                          <a:pt x="114" y="222"/>
                        </a:lnTo>
                        <a:lnTo>
                          <a:pt x="156" y="216"/>
                        </a:lnTo>
                        <a:lnTo>
                          <a:pt x="168" y="210"/>
                        </a:lnTo>
                        <a:lnTo>
                          <a:pt x="174" y="204"/>
                        </a:lnTo>
                        <a:lnTo>
                          <a:pt x="198" y="204"/>
                        </a:lnTo>
                        <a:lnTo>
                          <a:pt x="216" y="186"/>
                        </a:lnTo>
                        <a:lnTo>
                          <a:pt x="240" y="186"/>
                        </a:lnTo>
                        <a:lnTo>
                          <a:pt x="258" y="198"/>
                        </a:lnTo>
                        <a:lnTo>
                          <a:pt x="288" y="192"/>
                        </a:lnTo>
                        <a:lnTo>
                          <a:pt x="288" y="174"/>
                        </a:lnTo>
                        <a:lnTo>
                          <a:pt x="306" y="180"/>
                        </a:lnTo>
                        <a:lnTo>
                          <a:pt x="312" y="174"/>
                        </a:lnTo>
                        <a:lnTo>
                          <a:pt x="324" y="168"/>
                        </a:lnTo>
                        <a:lnTo>
                          <a:pt x="330" y="162"/>
                        </a:lnTo>
                        <a:lnTo>
                          <a:pt x="330" y="144"/>
                        </a:lnTo>
                        <a:lnTo>
                          <a:pt x="336" y="138"/>
                        </a:lnTo>
                        <a:lnTo>
                          <a:pt x="348" y="132"/>
                        </a:lnTo>
                        <a:lnTo>
                          <a:pt x="366" y="114"/>
                        </a:lnTo>
                        <a:lnTo>
                          <a:pt x="366" y="72"/>
                        </a:lnTo>
                        <a:lnTo>
                          <a:pt x="378" y="60"/>
                        </a:lnTo>
                        <a:lnTo>
                          <a:pt x="408" y="60"/>
                        </a:lnTo>
                        <a:lnTo>
                          <a:pt x="426" y="42"/>
                        </a:lnTo>
                        <a:lnTo>
                          <a:pt x="420" y="36"/>
                        </a:lnTo>
                        <a:lnTo>
                          <a:pt x="408" y="36"/>
                        </a:lnTo>
                        <a:lnTo>
                          <a:pt x="402" y="30"/>
                        </a:lnTo>
                        <a:lnTo>
                          <a:pt x="396" y="30"/>
                        </a:lnTo>
                        <a:lnTo>
                          <a:pt x="372" y="6"/>
                        </a:lnTo>
                        <a:lnTo>
                          <a:pt x="348" y="6"/>
                        </a:lnTo>
                        <a:lnTo>
                          <a:pt x="336" y="12"/>
                        </a:lnTo>
                        <a:lnTo>
                          <a:pt x="324" y="12"/>
                        </a:lnTo>
                        <a:lnTo>
                          <a:pt x="324" y="0"/>
                        </a:lnTo>
                        <a:lnTo>
                          <a:pt x="312" y="0"/>
                        </a:lnTo>
                        <a:lnTo>
                          <a:pt x="312" y="18"/>
                        </a:lnTo>
                        <a:lnTo>
                          <a:pt x="294" y="12"/>
                        </a:lnTo>
                        <a:lnTo>
                          <a:pt x="294" y="0"/>
                        </a:lnTo>
                        <a:lnTo>
                          <a:pt x="270" y="0"/>
                        </a:lnTo>
                        <a:lnTo>
                          <a:pt x="264" y="12"/>
                        </a:lnTo>
                        <a:lnTo>
                          <a:pt x="252" y="24"/>
                        </a:lnTo>
                        <a:lnTo>
                          <a:pt x="246" y="24"/>
                        </a:lnTo>
                        <a:lnTo>
                          <a:pt x="234" y="30"/>
                        </a:lnTo>
                        <a:lnTo>
                          <a:pt x="210" y="30"/>
                        </a:lnTo>
                        <a:lnTo>
                          <a:pt x="204" y="42"/>
                        </a:lnTo>
                        <a:lnTo>
                          <a:pt x="168" y="36"/>
                        </a:lnTo>
                        <a:lnTo>
                          <a:pt x="156" y="60"/>
                        </a:lnTo>
                        <a:lnTo>
                          <a:pt x="144" y="60"/>
                        </a:lnTo>
                        <a:lnTo>
                          <a:pt x="126" y="66"/>
                        </a:lnTo>
                        <a:lnTo>
                          <a:pt x="84" y="66"/>
                        </a:lnTo>
                        <a:lnTo>
                          <a:pt x="78" y="60"/>
                        </a:lnTo>
                        <a:lnTo>
                          <a:pt x="72" y="48"/>
                        </a:lnTo>
                        <a:lnTo>
                          <a:pt x="66" y="42"/>
                        </a:lnTo>
                        <a:lnTo>
                          <a:pt x="54" y="60"/>
                        </a:lnTo>
                        <a:lnTo>
                          <a:pt x="42" y="54"/>
                        </a:lnTo>
                        <a:lnTo>
                          <a:pt x="42" y="6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25" name="Honduras"/>
                  <p:cNvSpPr>
                    <a:spLocks/>
                  </p:cNvSpPr>
                  <p:nvPr/>
                </p:nvSpPr>
                <p:spPr bwMode="gray">
                  <a:xfrm>
                    <a:off x="1042" y="1980"/>
                    <a:ext cx="114" cy="63"/>
                  </a:xfrm>
                  <a:custGeom>
                    <a:avLst/>
                    <a:gdLst>
                      <a:gd name="T0" fmla="*/ 2147483647 w 444"/>
                      <a:gd name="T1" fmla="*/ 2147483647 h 246"/>
                      <a:gd name="T2" fmla="*/ 2147483647 w 444"/>
                      <a:gd name="T3" fmla="*/ 2147483647 h 246"/>
                      <a:gd name="T4" fmla="*/ 2147483647 w 444"/>
                      <a:gd name="T5" fmla="*/ 2147483647 h 246"/>
                      <a:gd name="T6" fmla="*/ 2147483647 w 444"/>
                      <a:gd name="T7" fmla="*/ 2147483647 h 246"/>
                      <a:gd name="T8" fmla="*/ 2147483647 w 444"/>
                      <a:gd name="T9" fmla="*/ 2147483647 h 246"/>
                      <a:gd name="T10" fmla="*/ 2147483647 w 444"/>
                      <a:gd name="T11" fmla="*/ 2147483647 h 246"/>
                      <a:gd name="T12" fmla="*/ 2147483647 w 444"/>
                      <a:gd name="T13" fmla="*/ 2147483647 h 246"/>
                      <a:gd name="T14" fmla="*/ 2147483647 w 444"/>
                      <a:gd name="T15" fmla="*/ 2147483647 h 246"/>
                      <a:gd name="T16" fmla="*/ 2147483647 w 444"/>
                      <a:gd name="T17" fmla="*/ 2147483647 h 246"/>
                      <a:gd name="T18" fmla="*/ 2147483647 w 444"/>
                      <a:gd name="T19" fmla="*/ 2147483647 h 246"/>
                      <a:gd name="T20" fmla="*/ 2147483647 w 444"/>
                      <a:gd name="T21" fmla="*/ 2147483647 h 246"/>
                      <a:gd name="T22" fmla="*/ 2147483647 w 444"/>
                      <a:gd name="T23" fmla="*/ 2147483647 h 246"/>
                      <a:gd name="T24" fmla="*/ 2147483647 w 444"/>
                      <a:gd name="T25" fmla="*/ 2147483647 h 246"/>
                      <a:gd name="T26" fmla="*/ 2147483647 w 444"/>
                      <a:gd name="T27" fmla="*/ 2147483647 h 246"/>
                      <a:gd name="T28" fmla="*/ 2147483647 w 444"/>
                      <a:gd name="T29" fmla="*/ 2147483647 h 246"/>
                      <a:gd name="T30" fmla="*/ 2147483647 w 444"/>
                      <a:gd name="T31" fmla="*/ 2147483647 h 246"/>
                      <a:gd name="T32" fmla="*/ 2147483647 w 444"/>
                      <a:gd name="T33" fmla="*/ 2147483647 h 246"/>
                      <a:gd name="T34" fmla="*/ 2147483647 w 444"/>
                      <a:gd name="T35" fmla="*/ 2147483647 h 246"/>
                      <a:gd name="T36" fmla="*/ 2147483647 w 444"/>
                      <a:gd name="T37" fmla="*/ 2147483647 h 246"/>
                      <a:gd name="T38" fmla="*/ 2147483647 w 444"/>
                      <a:gd name="T39" fmla="*/ 0 h 246"/>
                      <a:gd name="T40" fmla="*/ 2147483647 w 444"/>
                      <a:gd name="T41" fmla="*/ 2147483647 h 246"/>
                      <a:gd name="T42" fmla="*/ 2147483647 w 444"/>
                      <a:gd name="T43" fmla="*/ 2147483647 h 246"/>
                      <a:gd name="T44" fmla="*/ 2147483647 w 444"/>
                      <a:gd name="T45" fmla="*/ 0 h 246"/>
                      <a:gd name="T46" fmla="*/ 2147483647 w 444"/>
                      <a:gd name="T47" fmla="*/ 2147483647 h 246"/>
                      <a:gd name="T48" fmla="*/ 2147483647 w 444"/>
                      <a:gd name="T49" fmla="*/ 2147483647 h 246"/>
                      <a:gd name="T50" fmla="*/ 2147483647 w 444"/>
                      <a:gd name="T51" fmla="*/ 2147483647 h 246"/>
                      <a:gd name="T52" fmla="*/ 2147483647 w 444"/>
                      <a:gd name="T53" fmla="*/ 2147483647 h 246"/>
                      <a:gd name="T54" fmla="*/ 2147483647 w 444"/>
                      <a:gd name="T55" fmla="*/ 2147483647 h 246"/>
                      <a:gd name="T56" fmla="*/ 2147483647 w 444"/>
                      <a:gd name="T57" fmla="*/ 2147483647 h 246"/>
                      <a:gd name="T58" fmla="*/ 2147483647 w 444"/>
                      <a:gd name="T59" fmla="*/ 2147483647 h 246"/>
                      <a:gd name="T60" fmla="*/ 2147483647 w 444"/>
                      <a:gd name="T61" fmla="*/ 0 h 246"/>
                      <a:gd name="T62" fmla="*/ 2147483647 w 444"/>
                      <a:gd name="T63" fmla="*/ 2147483647 h 246"/>
                      <a:gd name="T64" fmla="*/ 2147483647 w 444"/>
                      <a:gd name="T65" fmla="*/ 2147483647 h 246"/>
                      <a:gd name="T66" fmla="*/ 2147483647 w 444"/>
                      <a:gd name="T67" fmla="*/ 2147483647 h 246"/>
                      <a:gd name="T68" fmla="*/ 2147483647 w 444"/>
                      <a:gd name="T69" fmla="*/ 2147483647 h 246"/>
                      <a:gd name="T70" fmla="*/ 2147483647 w 444"/>
                      <a:gd name="T71" fmla="*/ 2147483647 h 246"/>
                      <a:gd name="T72" fmla="*/ 0 w 444"/>
                      <a:gd name="T73" fmla="*/ 2147483647 h 246"/>
                      <a:gd name="T74" fmla="*/ 2147483647 w 444"/>
                      <a:gd name="T75" fmla="*/ 2147483647 h 246"/>
                      <a:gd name="T76" fmla="*/ 2147483647 w 444"/>
                      <a:gd name="T77" fmla="*/ 2147483647 h 246"/>
                      <a:gd name="T78" fmla="*/ 2147483647 w 444"/>
                      <a:gd name="T79" fmla="*/ 2147483647 h 246"/>
                      <a:gd name="T80" fmla="*/ 2147483647 w 444"/>
                      <a:gd name="T81" fmla="*/ 2147483647 h 246"/>
                      <a:gd name="T82" fmla="*/ 2147483647 w 444"/>
                      <a:gd name="T83" fmla="*/ 2147483647 h 246"/>
                      <a:gd name="T84" fmla="*/ 2147483647 w 444"/>
                      <a:gd name="T85" fmla="*/ 2147483647 h 246"/>
                      <a:gd name="T86" fmla="*/ 2147483647 w 444"/>
                      <a:gd name="T87" fmla="*/ 2147483647 h 24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44"/>
                      <a:gd name="T133" fmla="*/ 0 h 246"/>
                      <a:gd name="T134" fmla="*/ 444 w 444"/>
                      <a:gd name="T135" fmla="*/ 246 h 24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44" h="246">
                        <a:moveTo>
                          <a:pt x="156" y="240"/>
                        </a:moveTo>
                        <a:lnTo>
                          <a:pt x="156" y="222"/>
                        </a:lnTo>
                        <a:lnTo>
                          <a:pt x="174" y="222"/>
                        </a:lnTo>
                        <a:lnTo>
                          <a:pt x="168" y="216"/>
                        </a:lnTo>
                        <a:lnTo>
                          <a:pt x="168" y="204"/>
                        </a:lnTo>
                        <a:lnTo>
                          <a:pt x="162" y="198"/>
                        </a:lnTo>
                        <a:lnTo>
                          <a:pt x="162" y="186"/>
                        </a:lnTo>
                        <a:lnTo>
                          <a:pt x="168" y="180"/>
                        </a:lnTo>
                        <a:lnTo>
                          <a:pt x="204" y="180"/>
                        </a:lnTo>
                        <a:lnTo>
                          <a:pt x="210" y="168"/>
                        </a:lnTo>
                        <a:lnTo>
                          <a:pt x="216" y="162"/>
                        </a:lnTo>
                        <a:lnTo>
                          <a:pt x="228" y="162"/>
                        </a:lnTo>
                        <a:lnTo>
                          <a:pt x="228" y="168"/>
                        </a:lnTo>
                        <a:lnTo>
                          <a:pt x="234" y="174"/>
                        </a:lnTo>
                        <a:lnTo>
                          <a:pt x="252" y="174"/>
                        </a:lnTo>
                        <a:lnTo>
                          <a:pt x="276" y="150"/>
                        </a:lnTo>
                        <a:lnTo>
                          <a:pt x="288" y="126"/>
                        </a:lnTo>
                        <a:lnTo>
                          <a:pt x="306" y="126"/>
                        </a:lnTo>
                        <a:lnTo>
                          <a:pt x="306" y="108"/>
                        </a:lnTo>
                        <a:lnTo>
                          <a:pt x="318" y="96"/>
                        </a:lnTo>
                        <a:lnTo>
                          <a:pt x="330" y="96"/>
                        </a:lnTo>
                        <a:lnTo>
                          <a:pt x="348" y="114"/>
                        </a:lnTo>
                        <a:lnTo>
                          <a:pt x="360" y="114"/>
                        </a:lnTo>
                        <a:lnTo>
                          <a:pt x="372" y="102"/>
                        </a:lnTo>
                        <a:lnTo>
                          <a:pt x="372" y="96"/>
                        </a:lnTo>
                        <a:lnTo>
                          <a:pt x="420" y="96"/>
                        </a:lnTo>
                        <a:lnTo>
                          <a:pt x="426" y="90"/>
                        </a:lnTo>
                        <a:lnTo>
                          <a:pt x="432" y="90"/>
                        </a:lnTo>
                        <a:lnTo>
                          <a:pt x="444" y="84"/>
                        </a:lnTo>
                        <a:lnTo>
                          <a:pt x="444" y="78"/>
                        </a:lnTo>
                        <a:lnTo>
                          <a:pt x="426" y="60"/>
                        </a:lnTo>
                        <a:lnTo>
                          <a:pt x="402" y="48"/>
                        </a:lnTo>
                        <a:lnTo>
                          <a:pt x="396" y="48"/>
                        </a:lnTo>
                        <a:lnTo>
                          <a:pt x="390" y="42"/>
                        </a:lnTo>
                        <a:lnTo>
                          <a:pt x="384" y="30"/>
                        </a:lnTo>
                        <a:lnTo>
                          <a:pt x="372" y="24"/>
                        </a:lnTo>
                        <a:lnTo>
                          <a:pt x="366" y="18"/>
                        </a:lnTo>
                        <a:lnTo>
                          <a:pt x="348" y="18"/>
                        </a:lnTo>
                        <a:lnTo>
                          <a:pt x="342" y="6"/>
                        </a:lnTo>
                        <a:lnTo>
                          <a:pt x="336" y="0"/>
                        </a:lnTo>
                        <a:lnTo>
                          <a:pt x="312" y="0"/>
                        </a:lnTo>
                        <a:lnTo>
                          <a:pt x="300" y="6"/>
                        </a:lnTo>
                        <a:lnTo>
                          <a:pt x="294" y="12"/>
                        </a:lnTo>
                        <a:lnTo>
                          <a:pt x="282" y="12"/>
                        </a:lnTo>
                        <a:lnTo>
                          <a:pt x="270" y="0"/>
                        </a:lnTo>
                        <a:lnTo>
                          <a:pt x="252" y="0"/>
                        </a:lnTo>
                        <a:lnTo>
                          <a:pt x="240" y="6"/>
                        </a:lnTo>
                        <a:lnTo>
                          <a:pt x="234" y="18"/>
                        </a:lnTo>
                        <a:lnTo>
                          <a:pt x="222" y="24"/>
                        </a:lnTo>
                        <a:lnTo>
                          <a:pt x="186" y="24"/>
                        </a:lnTo>
                        <a:lnTo>
                          <a:pt x="174" y="18"/>
                        </a:lnTo>
                        <a:lnTo>
                          <a:pt x="168" y="12"/>
                        </a:lnTo>
                        <a:lnTo>
                          <a:pt x="156" y="12"/>
                        </a:lnTo>
                        <a:lnTo>
                          <a:pt x="150" y="18"/>
                        </a:lnTo>
                        <a:lnTo>
                          <a:pt x="144" y="18"/>
                        </a:lnTo>
                        <a:lnTo>
                          <a:pt x="138" y="24"/>
                        </a:lnTo>
                        <a:lnTo>
                          <a:pt x="132" y="24"/>
                        </a:lnTo>
                        <a:lnTo>
                          <a:pt x="132" y="18"/>
                        </a:lnTo>
                        <a:lnTo>
                          <a:pt x="126" y="12"/>
                        </a:lnTo>
                        <a:lnTo>
                          <a:pt x="126" y="6"/>
                        </a:lnTo>
                        <a:lnTo>
                          <a:pt x="120" y="0"/>
                        </a:lnTo>
                        <a:lnTo>
                          <a:pt x="114" y="0"/>
                        </a:lnTo>
                        <a:lnTo>
                          <a:pt x="96" y="18"/>
                        </a:lnTo>
                        <a:lnTo>
                          <a:pt x="90" y="18"/>
                        </a:lnTo>
                        <a:lnTo>
                          <a:pt x="84" y="30"/>
                        </a:lnTo>
                        <a:lnTo>
                          <a:pt x="72" y="36"/>
                        </a:lnTo>
                        <a:lnTo>
                          <a:pt x="60" y="48"/>
                        </a:lnTo>
                        <a:lnTo>
                          <a:pt x="48" y="54"/>
                        </a:lnTo>
                        <a:lnTo>
                          <a:pt x="36" y="66"/>
                        </a:lnTo>
                        <a:lnTo>
                          <a:pt x="24" y="72"/>
                        </a:lnTo>
                        <a:lnTo>
                          <a:pt x="18" y="84"/>
                        </a:lnTo>
                        <a:lnTo>
                          <a:pt x="18" y="102"/>
                        </a:lnTo>
                        <a:lnTo>
                          <a:pt x="12" y="114"/>
                        </a:lnTo>
                        <a:lnTo>
                          <a:pt x="0" y="126"/>
                        </a:lnTo>
                        <a:lnTo>
                          <a:pt x="6" y="138"/>
                        </a:lnTo>
                        <a:lnTo>
                          <a:pt x="18" y="150"/>
                        </a:lnTo>
                        <a:lnTo>
                          <a:pt x="42" y="150"/>
                        </a:lnTo>
                        <a:lnTo>
                          <a:pt x="42" y="168"/>
                        </a:lnTo>
                        <a:lnTo>
                          <a:pt x="48" y="174"/>
                        </a:lnTo>
                        <a:lnTo>
                          <a:pt x="60" y="174"/>
                        </a:lnTo>
                        <a:lnTo>
                          <a:pt x="66" y="168"/>
                        </a:lnTo>
                        <a:lnTo>
                          <a:pt x="102" y="168"/>
                        </a:lnTo>
                        <a:lnTo>
                          <a:pt x="102" y="210"/>
                        </a:lnTo>
                        <a:lnTo>
                          <a:pt x="126" y="222"/>
                        </a:lnTo>
                        <a:lnTo>
                          <a:pt x="132" y="228"/>
                        </a:lnTo>
                        <a:lnTo>
                          <a:pt x="132" y="246"/>
                        </a:lnTo>
                        <a:lnTo>
                          <a:pt x="144" y="246"/>
                        </a:lnTo>
                        <a:lnTo>
                          <a:pt x="156" y="2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26" name="Haiti"/>
                  <p:cNvSpPr>
                    <a:spLocks/>
                  </p:cNvSpPr>
                  <p:nvPr/>
                </p:nvSpPr>
                <p:spPr bwMode="gray">
                  <a:xfrm>
                    <a:off x="1322" y="1900"/>
                    <a:ext cx="50" cy="40"/>
                  </a:xfrm>
                  <a:custGeom>
                    <a:avLst/>
                    <a:gdLst>
                      <a:gd name="T0" fmla="*/ 2147483647 w 198"/>
                      <a:gd name="T1" fmla="*/ 2147483647 h 156"/>
                      <a:gd name="T2" fmla="*/ 2147483647 w 198"/>
                      <a:gd name="T3" fmla="*/ 2147483647 h 156"/>
                      <a:gd name="T4" fmla="*/ 2147483647 w 198"/>
                      <a:gd name="T5" fmla="*/ 2147483647 h 156"/>
                      <a:gd name="T6" fmla="*/ 2147483647 w 198"/>
                      <a:gd name="T7" fmla="*/ 2147483647 h 156"/>
                      <a:gd name="T8" fmla="*/ 2147483647 w 198"/>
                      <a:gd name="T9" fmla="*/ 2147483647 h 156"/>
                      <a:gd name="T10" fmla="*/ 2147483647 w 198"/>
                      <a:gd name="T11" fmla="*/ 2147483647 h 156"/>
                      <a:gd name="T12" fmla="*/ 2147483647 w 198"/>
                      <a:gd name="T13" fmla="*/ 2147483647 h 156"/>
                      <a:gd name="T14" fmla="*/ 2147483647 w 198"/>
                      <a:gd name="T15" fmla="*/ 2147483647 h 156"/>
                      <a:gd name="T16" fmla="*/ 2147483647 w 198"/>
                      <a:gd name="T17" fmla="*/ 2147483647 h 156"/>
                      <a:gd name="T18" fmla="*/ 2147483647 w 198"/>
                      <a:gd name="T19" fmla="*/ 2147483647 h 156"/>
                      <a:gd name="T20" fmla="*/ 2147483647 w 198"/>
                      <a:gd name="T21" fmla="*/ 2147483647 h 156"/>
                      <a:gd name="T22" fmla="*/ 2147483647 w 198"/>
                      <a:gd name="T23" fmla="*/ 2147483647 h 156"/>
                      <a:gd name="T24" fmla="*/ 2147483647 w 198"/>
                      <a:gd name="T25" fmla="*/ 2147483647 h 156"/>
                      <a:gd name="T26" fmla="*/ 2147483647 w 198"/>
                      <a:gd name="T27" fmla="*/ 2147483647 h 156"/>
                      <a:gd name="T28" fmla="*/ 2147483647 w 198"/>
                      <a:gd name="T29" fmla="*/ 2147483647 h 156"/>
                      <a:gd name="T30" fmla="*/ 2147483647 w 198"/>
                      <a:gd name="T31" fmla="*/ 2147483647 h 156"/>
                      <a:gd name="T32" fmla="*/ 2147483647 w 198"/>
                      <a:gd name="T33" fmla="*/ 2147483647 h 156"/>
                      <a:gd name="T34" fmla="*/ 2147483647 w 198"/>
                      <a:gd name="T35" fmla="*/ 0 h 156"/>
                      <a:gd name="T36" fmla="*/ 2147483647 w 198"/>
                      <a:gd name="T37" fmla="*/ 0 h 156"/>
                      <a:gd name="T38" fmla="*/ 2147483647 w 198"/>
                      <a:gd name="T39" fmla="*/ 2147483647 h 156"/>
                      <a:gd name="T40" fmla="*/ 2147483647 w 198"/>
                      <a:gd name="T41" fmla="*/ 2147483647 h 156"/>
                      <a:gd name="T42" fmla="*/ 2147483647 w 198"/>
                      <a:gd name="T43" fmla="*/ 2147483647 h 156"/>
                      <a:gd name="T44" fmla="*/ 2147483647 w 198"/>
                      <a:gd name="T45" fmla="*/ 2147483647 h 156"/>
                      <a:gd name="T46" fmla="*/ 2147483647 w 198"/>
                      <a:gd name="T47" fmla="*/ 2147483647 h 156"/>
                      <a:gd name="T48" fmla="*/ 2147483647 w 198"/>
                      <a:gd name="T49" fmla="*/ 2147483647 h 156"/>
                      <a:gd name="T50" fmla="*/ 2147483647 w 198"/>
                      <a:gd name="T51" fmla="*/ 2147483647 h 156"/>
                      <a:gd name="T52" fmla="*/ 2147483647 w 198"/>
                      <a:gd name="T53" fmla="*/ 2147483647 h 156"/>
                      <a:gd name="T54" fmla="*/ 2147483647 w 198"/>
                      <a:gd name="T55" fmla="*/ 2147483647 h 156"/>
                      <a:gd name="T56" fmla="*/ 2147483647 w 198"/>
                      <a:gd name="T57" fmla="*/ 2147483647 h 156"/>
                      <a:gd name="T58" fmla="*/ 2147483647 w 198"/>
                      <a:gd name="T59" fmla="*/ 2147483647 h 156"/>
                      <a:gd name="T60" fmla="*/ 2147483647 w 198"/>
                      <a:gd name="T61" fmla="*/ 2147483647 h 156"/>
                      <a:gd name="T62" fmla="*/ 2147483647 w 198"/>
                      <a:gd name="T63" fmla="*/ 2147483647 h 156"/>
                      <a:gd name="T64" fmla="*/ 2147483647 w 198"/>
                      <a:gd name="T65" fmla="*/ 2147483647 h 156"/>
                      <a:gd name="T66" fmla="*/ 2147483647 w 198"/>
                      <a:gd name="T67" fmla="*/ 2147483647 h 156"/>
                      <a:gd name="T68" fmla="*/ 2147483647 w 198"/>
                      <a:gd name="T69" fmla="*/ 2147483647 h 156"/>
                      <a:gd name="T70" fmla="*/ 2147483647 w 198"/>
                      <a:gd name="T71" fmla="*/ 2147483647 h 156"/>
                      <a:gd name="T72" fmla="*/ 2147483647 w 198"/>
                      <a:gd name="T73" fmla="*/ 2147483647 h 156"/>
                      <a:gd name="T74" fmla="*/ 2147483647 w 198"/>
                      <a:gd name="T75" fmla="*/ 2147483647 h 156"/>
                      <a:gd name="T76" fmla="*/ 2147483647 w 198"/>
                      <a:gd name="T77" fmla="*/ 2147483647 h 156"/>
                      <a:gd name="T78" fmla="*/ 2147483647 w 198"/>
                      <a:gd name="T79" fmla="*/ 2147483647 h 156"/>
                      <a:gd name="T80" fmla="*/ 2147483647 w 198"/>
                      <a:gd name="T81" fmla="*/ 2147483647 h 156"/>
                      <a:gd name="T82" fmla="*/ 0 w 198"/>
                      <a:gd name="T83" fmla="*/ 2147483647 h 156"/>
                      <a:gd name="T84" fmla="*/ 0 w 198"/>
                      <a:gd name="T85" fmla="*/ 2147483647 h 156"/>
                      <a:gd name="T86" fmla="*/ 2147483647 w 198"/>
                      <a:gd name="T87" fmla="*/ 2147483647 h 156"/>
                      <a:gd name="T88" fmla="*/ 2147483647 w 198"/>
                      <a:gd name="T89" fmla="*/ 2147483647 h 156"/>
                      <a:gd name="T90" fmla="*/ 2147483647 w 198"/>
                      <a:gd name="T91" fmla="*/ 2147483647 h 156"/>
                      <a:gd name="T92" fmla="*/ 2147483647 w 198"/>
                      <a:gd name="T93" fmla="*/ 2147483647 h 156"/>
                      <a:gd name="T94" fmla="*/ 2147483647 w 198"/>
                      <a:gd name="T95" fmla="*/ 2147483647 h 156"/>
                      <a:gd name="T96" fmla="*/ 2147483647 w 198"/>
                      <a:gd name="T97" fmla="*/ 2147483647 h 156"/>
                      <a:gd name="T98" fmla="*/ 2147483647 w 198"/>
                      <a:gd name="T99" fmla="*/ 2147483647 h 156"/>
                      <a:gd name="T100" fmla="*/ 2147483647 w 198"/>
                      <a:gd name="T101" fmla="*/ 2147483647 h 156"/>
                      <a:gd name="T102" fmla="*/ 2147483647 w 198"/>
                      <a:gd name="T103" fmla="*/ 2147483647 h 156"/>
                      <a:gd name="T104" fmla="*/ 2147483647 w 198"/>
                      <a:gd name="T105" fmla="*/ 2147483647 h 156"/>
                      <a:gd name="T106" fmla="*/ 2147483647 w 198"/>
                      <a:gd name="T107" fmla="*/ 2147483647 h 156"/>
                      <a:gd name="T108" fmla="*/ 2147483647 w 198"/>
                      <a:gd name="T109" fmla="*/ 2147483647 h 156"/>
                      <a:gd name="T110" fmla="*/ 2147483647 w 198"/>
                      <a:gd name="T111" fmla="*/ 2147483647 h 156"/>
                      <a:gd name="T112" fmla="*/ 2147483647 w 198"/>
                      <a:gd name="T113" fmla="*/ 2147483647 h 15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98"/>
                      <a:gd name="T172" fmla="*/ 0 h 156"/>
                      <a:gd name="T173" fmla="*/ 198 w 198"/>
                      <a:gd name="T174" fmla="*/ 156 h 15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98" h="156">
                        <a:moveTo>
                          <a:pt x="168" y="114"/>
                        </a:moveTo>
                        <a:lnTo>
                          <a:pt x="168" y="108"/>
                        </a:lnTo>
                        <a:lnTo>
                          <a:pt x="174" y="102"/>
                        </a:lnTo>
                        <a:lnTo>
                          <a:pt x="180" y="90"/>
                        </a:lnTo>
                        <a:lnTo>
                          <a:pt x="180" y="78"/>
                        </a:lnTo>
                        <a:lnTo>
                          <a:pt x="186" y="72"/>
                        </a:lnTo>
                        <a:lnTo>
                          <a:pt x="192" y="60"/>
                        </a:lnTo>
                        <a:lnTo>
                          <a:pt x="198" y="54"/>
                        </a:lnTo>
                        <a:lnTo>
                          <a:pt x="198" y="42"/>
                        </a:lnTo>
                        <a:lnTo>
                          <a:pt x="186" y="6"/>
                        </a:lnTo>
                        <a:lnTo>
                          <a:pt x="180" y="12"/>
                        </a:lnTo>
                        <a:lnTo>
                          <a:pt x="180" y="18"/>
                        </a:lnTo>
                        <a:lnTo>
                          <a:pt x="174" y="18"/>
                        </a:lnTo>
                        <a:lnTo>
                          <a:pt x="168" y="12"/>
                        </a:lnTo>
                        <a:lnTo>
                          <a:pt x="156" y="12"/>
                        </a:lnTo>
                        <a:lnTo>
                          <a:pt x="144" y="6"/>
                        </a:lnTo>
                        <a:lnTo>
                          <a:pt x="126" y="6"/>
                        </a:lnTo>
                        <a:lnTo>
                          <a:pt x="114" y="0"/>
                        </a:lnTo>
                        <a:lnTo>
                          <a:pt x="84" y="0"/>
                        </a:lnTo>
                        <a:lnTo>
                          <a:pt x="72" y="6"/>
                        </a:lnTo>
                        <a:lnTo>
                          <a:pt x="66" y="12"/>
                        </a:lnTo>
                        <a:lnTo>
                          <a:pt x="66" y="18"/>
                        </a:lnTo>
                        <a:lnTo>
                          <a:pt x="72" y="24"/>
                        </a:lnTo>
                        <a:lnTo>
                          <a:pt x="108" y="24"/>
                        </a:lnTo>
                        <a:lnTo>
                          <a:pt x="114" y="30"/>
                        </a:lnTo>
                        <a:lnTo>
                          <a:pt x="120" y="42"/>
                        </a:lnTo>
                        <a:lnTo>
                          <a:pt x="126" y="48"/>
                        </a:lnTo>
                        <a:lnTo>
                          <a:pt x="114" y="54"/>
                        </a:lnTo>
                        <a:lnTo>
                          <a:pt x="108" y="60"/>
                        </a:lnTo>
                        <a:lnTo>
                          <a:pt x="108" y="72"/>
                        </a:lnTo>
                        <a:lnTo>
                          <a:pt x="114" y="84"/>
                        </a:lnTo>
                        <a:lnTo>
                          <a:pt x="114" y="96"/>
                        </a:lnTo>
                        <a:lnTo>
                          <a:pt x="120" y="102"/>
                        </a:lnTo>
                        <a:lnTo>
                          <a:pt x="114" y="108"/>
                        </a:lnTo>
                        <a:lnTo>
                          <a:pt x="96" y="108"/>
                        </a:lnTo>
                        <a:lnTo>
                          <a:pt x="78" y="102"/>
                        </a:lnTo>
                        <a:lnTo>
                          <a:pt x="66" y="102"/>
                        </a:lnTo>
                        <a:lnTo>
                          <a:pt x="54" y="96"/>
                        </a:lnTo>
                        <a:lnTo>
                          <a:pt x="36" y="96"/>
                        </a:lnTo>
                        <a:lnTo>
                          <a:pt x="24" y="102"/>
                        </a:lnTo>
                        <a:lnTo>
                          <a:pt x="6" y="102"/>
                        </a:lnTo>
                        <a:lnTo>
                          <a:pt x="0" y="108"/>
                        </a:lnTo>
                        <a:lnTo>
                          <a:pt x="0" y="114"/>
                        </a:lnTo>
                        <a:lnTo>
                          <a:pt x="6" y="120"/>
                        </a:lnTo>
                        <a:lnTo>
                          <a:pt x="12" y="132"/>
                        </a:lnTo>
                        <a:lnTo>
                          <a:pt x="24" y="138"/>
                        </a:lnTo>
                        <a:lnTo>
                          <a:pt x="30" y="150"/>
                        </a:lnTo>
                        <a:lnTo>
                          <a:pt x="36" y="156"/>
                        </a:lnTo>
                        <a:lnTo>
                          <a:pt x="42" y="156"/>
                        </a:lnTo>
                        <a:lnTo>
                          <a:pt x="48" y="150"/>
                        </a:lnTo>
                        <a:lnTo>
                          <a:pt x="54" y="138"/>
                        </a:lnTo>
                        <a:lnTo>
                          <a:pt x="60" y="132"/>
                        </a:lnTo>
                        <a:lnTo>
                          <a:pt x="138" y="132"/>
                        </a:lnTo>
                        <a:lnTo>
                          <a:pt x="156" y="126"/>
                        </a:lnTo>
                        <a:lnTo>
                          <a:pt x="168" y="126"/>
                        </a:lnTo>
                        <a:lnTo>
                          <a:pt x="180" y="144"/>
                        </a:lnTo>
                        <a:lnTo>
                          <a:pt x="168" y="1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27" name="Guyane (French Guiana)"/>
                  <p:cNvSpPr>
                    <a:spLocks/>
                  </p:cNvSpPr>
                  <p:nvPr/>
                </p:nvSpPr>
                <p:spPr bwMode="gray">
                  <a:xfrm>
                    <a:off x="1658" y="2191"/>
                    <a:ext cx="52" cy="76"/>
                  </a:xfrm>
                  <a:custGeom>
                    <a:avLst/>
                    <a:gdLst>
                      <a:gd name="T0" fmla="*/ 2147483647 w 52"/>
                      <a:gd name="T1" fmla="*/ 2147483647 h 76"/>
                      <a:gd name="T2" fmla="*/ 2147483647 w 52"/>
                      <a:gd name="T3" fmla="*/ 2147483647 h 76"/>
                      <a:gd name="T4" fmla="*/ 2147483647 w 52"/>
                      <a:gd name="T5" fmla="*/ 2147483647 h 76"/>
                      <a:gd name="T6" fmla="*/ 2147483647 w 52"/>
                      <a:gd name="T7" fmla="*/ 2147483647 h 76"/>
                      <a:gd name="T8" fmla="*/ 2147483647 w 52"/>
                      <a:gd name="T9" fmla="*/ 2147483647 h 76"/>
                      <a:gd name="T10" fmla="*/ 2147483647 w 52"/>
                      <a:gd name="T11" fmla="*/ 2147483647 h 76"/>
                      <a:gd name="T12" fmla="*/ 2147483647 w 52"/>
                      <a:gd name="T13" fmla="*/ 2147483647 h 76"/>
                      <a:gd name="T14" fmla="*/ 2147483647 w 52"/>
                      <a:gd name="T15" fmla="*/ 2147483647 h 76"/>
                      <a:gd name="T16" fmla="*/ 2147483647 w 52"/>
                      <a:gd name="T17" fmla="*/ 2147483647 h 76"/>
                      <a:gd name="T18" fmla="*/ 2147483647 w 52"/>
                      <a:gd name="T19" fmla="*/ 2147483647 h 76"/>
                      <a:gd name="T20" fmla="*/ 2147483647 w 52"/>
                      <a:gd name="T21" fmla="*/ 2147483647 h 76"/>
                      <a:gd name="T22" fmla="*/ 2147483647 w 52"/>
                      <a:gd name="T23" fmla="*/ 0 h 76"/>
                      <a:gd name="T24" fmla="*/ 2147483647 w 52"/>
                      <a:gd name="T25" fmla="*/ 2147483647 h 76"/>
                      <a:gd name="T26" fmla="*/ 2147483647 w 52"/>
                      <a:gd name="T27" fmla="*/ 2147483647 h 76"/>
                      <a:gd name="T28" fmla="*/ 2147483647 w 52"/>
                      <a:gd name="T29" fmla="*/ 2147483647 h 76"/>
                      <a:gd name="T30" fmla="*/ 2147483647 w 52"/>
                      <a:gd name="T31" fmla="*/ 2147483647 h 76"/>
                      <a:gd name="T32" fmla="*/ 2147483647 w 52"/>
                      <a:gd name="T33" fmla="*/ 2147483647 h 76"/>
                      <a:gd name="T34" fmla="*/ 2147483647 w 52"/>
                      <a:gd name="T35" fmla="*/ 2147483647 h 76"/>
                      <a:gd name="T36" fmla="*/ 2147483647 w 52"/>
                      <a:gd name="T37" fmla="*/ 2147483647 h 76"/>
                      <a:gd name="T38" fmla="*/ 2147483647 w 52"/>
                      <a:gd name="T39" fmla="*/ 2147483647 h 76"/>
                      <a:gd name="T40" fmla="*/ 2147483647 w 52"/>
                      <a:gd name="T41" fmla="*/ 2147483647 h 76"/>
                      <a:gd name="T42" fmla="*/ 2147483647 w 52"/>
                      <a:gd name="T43" fmla="*/ 2147483647 h 76"/>
                      <a:gd name="T44" fmla="*/ 2147483647 w 52"/>
                      <a:gd name="T45" fmla="*/ 2147483647 h 76"/>
                      <a:gd name="T46" fmla="*/ 2147483647 w 52"/>
                      <a:gd name="T47" fmla="*/ 2147483647 h 76"/>
                      <a:gd name="T48" fmla="*/ 2147483647 w 52"/>
                      <a:gd name="T49" fmla="*/ 2147483647 h 76"/>
                      <a:gd name="T50" fmla="*/ 2147483647 w 52"/>
                      <a:gd name="T51" fmla="*/ 2147483647 h 76"/>
                      <a:gd name="T52" fmla="*/ 2147483647 w 52"/>
                      <a:gd name="T53" fmla="*/ 2147483647 h 76"/>
                      <a:gd name="T54" fmla="*/ 2147483647 w 52"/>
                      <a:gd name="T55" fmla="*/ 2147483647 h 76"/>
                      <a:gd name="T56" fmla="*/ 2147483647 w 52"/>
                      <a:gd name="T57" fmla="*/ 2147483647 h 76"/>
                      <a:gd name="T58" fmla="*/ 2147483647 w 52"/>
                      <a:gd name="T59" fmla="*/ 2147483647 h 76"/>
                      <a:gd name="T60" fmla="*/ 2147483647 w 52"/>
                      <a:gd name="T61" fmla="*/ 2147483647 h 76"/>
                      <a:gd name="T62" fmla="*/ 2147483647 w 52"/>
                      <a:gd name="T63" fmla="*/ 2147483647 h 76"/>
                      <a:gd name="T64" fmla="*/ 0 w 52"/>
                      <a:gd name="T65" fmla="*/ 2147483647 h 76"/>
                      <a:gd name="T66" fmla="*/ 0 w 52"/>
                      <a:gd name="T67" fmla="*/ 2147483647 h 76"/>
                      <a:gd name="T68" fmla="*/ 2147483647 w 52"/>
                      <a:gd name="T69" fmla="*/ 2147483647 h 76"/>
                      <a:gd name="T70" fmla="*/ 2147483647 w 52"/>
                      <a:gd name="T71" fmla="*/ 2147483647 h 76"/>
                      <a:gd name="T72" fmla="*/ 2147483647 w 52"/>
                      <a:gd name="T73" fmla="*/ 2147483647 h 76"/>
                      <a:gd name="T74" fmla="*/ 2147483647 w 52"/>
                      <a:gd name="T75" fmla="*/ 2147483647 h 76"/>
                      <a:gd name="T76" fmla="*/ 2147483647 w 52"/>
                      <a:gd name="T77" fmla="*/ 2147483647 h 76"/>
                      <a:gd name="T78" fmla="*/ 2147483647 w 52"/>
                      <a:gd name="T79" fmla="*/ 2147483647 h 76"/>
                      <a:gd name="T80" fmla="*/ 2147483647 w 52"/>
                      <a:gd name="T81" fmla="*/ 2147483647 h 76"/>
                      <a:gd name="T82" fmla="*/ 2147483647 w 52"/>
                      <a:gd name="T83" fmla="*/ 2147483647 h 76"/>
                      <a:gd name="T84" fmla="*/ 2147483647 w 52"/>
                      <a:gd name="T85" fmla="*/ 2147483647 h 76"/>
                      <a:gd name="T86" fmla="*/ 2147483647 w 52"/>
                      <a:gd name="T87" fmla="*/ 2147483647 h 76"/>
                      <a:gd name="T88" fmla="*/ 2147483647 w 52"/>
                      <a:gd name="T89" fmla="*/ 2147483647 h 76"/>
                      <a:gd name="T90" fmla="*/ 2147483647 w 52"/>
                      <a:gd name="T91" fmla="*/ 2147483647 h 76"/>
                      <a:gd name="T92" fmla="*/ 2147483647 w 52"/>
                      <a:gd name="T93" fmla="*/ 2147483647 h 76"/>
                      <a:gd name="T94" fmla="*/ 2147483647 w 52"/>
                      <a:gd name="T95" fmla="*/ 2147483647 h 76"/>
                      <a:gd name="T96" fmla="*/ 2147483647 w 52"/>
                      <a:gd name="T97" fmla="*/ 2147483647 h 76"/>
                      <a:gd name="T98" fmla="*/ 2147483647 w 52"/>
                      <a:gd name="T99" fmla="*/ 2147483647 h 76"/>
                      <a:gd name="T100" fmla="*/ 2147483647 w 52"/>
                      <a:gd name="T101" fmla="*/ 2147483647 h 76"/>
                      <a:gd name="T102" fmla="*/ 2147483647 w 52"/>
                      <a:gd name="T103" fmla="*/ 2147483647 h 76"/>
                      <a:gd name="T104" fmla="*/ 2147483647 w 52"/>
                      <a:gd name="T105" fmla="*/ 2147483647 h 76"/>
                      <a:gd name="T106" fmla="*/ 2147483647 w 52"/>
                      <a:gd name="T107" fmla="*/ 2147483647 h 76"/>
                      <a:gd name="T108" fmla="*/ 2147483647 w 52"/>
                      <a:gd name="T109" fmla="*/ 2147483647 h 76"/>
                      <a:gd name="T110" fmla="*/ 2147483647 w 52"/>
                      <a:gd name="T111" fmla="*/ 2147483647 h 76"/>
                      <a:gd name="T112" fmla="*/ 2147483647 w 52"/>
                      <a:gd name="T113" fmla="*/ 2147483647 h 76"/>
                      <a:gd name="T114" fmla="*/ 2147483647 w 52"/>
                      <a:gd name="T115" fmla="*/ 2147483647 h 7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2"/>
                      <a:gd name="T175" fmla="*/ 0 h 76"/>
                      <a:gd name="T176" fmla="*/ 52 w 52"/>
                      <a:gd name="T177" fmla="*/ 76 h 7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2" h="76">
                        <a:moveTo>
                          <a:pt x="52" y="32"/>
                        </a:moveTo>
                        <a:lnTo>
                          <a:pt x="50" y="26"/>
                        </a:lnTo>
                        <a:lnTo>
                          <a:pt x="48" y="24"/>
                        </a:lnTo>
                        <a:lnTo>
                          <a:pt x="46" y="22"/>
                        </a:lnTo>
                        <a:lnTo>
                          <a:pt x="46" y="20"/>
                        </a:lnTo>
                        <a:lnTo>
                          <a:pt x="40" y="20"/>
                        </a:lnTo>
                        <a:lnTo>
                          <a:pt x="32" y="6"/>
                        </a:lnTo>
                        <a:lnTo>
                          <a:pt x="24" y="6"/>
                        </a:lnTo>
                        <a:lnTo>
                          <a:pt x="22" y="4"/>
                        </a:lnTo>
                        <a:lnTo>
                          <a:pt x="20" y="4"/>
                        </a:lnTo>
                        <a:lnTo>
                          <a:pt x="16" y="2"/>
                        </a:lnTo>
                        <a:lnTo>
                          <a:pt x="14" y="0"/>
                        </a:lnTo>
                        <a:lnTo>
                          <a:pt x="12" y="4"/>
                        </a:lnTo>
                        <a:lnTo>
                          <a:pt x="12" y="10"/>
                        </a:lnTo>
                        <a:lnTo>
                          <a:pt x="10" y="10"/>
                        </a:lnTo>
                        <a:lnTo>
                          <a:pt x="8" y="12"/>
                        </a:lnTo>
                        <a:lnTo>
                          <a:pt x="6" y="14"/>
                        </a:lnTo>
                        <a:lnTo>
                          <a:pt x="4" y="16"/>
                        </a:lnTo>
                        <a:lnTo>
                          <a:pt x="2" y="20"/>
                        </a:lnTo>
                        <a:lnTo>
                          <a:pt x="2" y="28"/>
                        </a:lnTo>
                        <a:lnTo>
                          <a:pt x="4" y="32"/>
                        </a:lnTo>
                        <a:lnTo>
                          <a:pt x="4" y="36"/>
                        </a:lnTo>
                        <a:lnTo>
                          <a:pt x="6" y="40"/>
                        </a:lnTo>
                        <a:lnTo>
                          <a:pt x="10" y="44"/>
                        </a:lnTo>
                        <a:lnTo>
                          <a:pt x="12" y="46"/>
                        </a:lnTo>
                        <a:lnTo>
                          <a:pt x="12" y="48"/>
                        </a:lnTo>
                        <a:lnTo>
                          <a:pt x="6" y="54"/>
                        </a:lnTo>
                        <a:lnTo>
                          <a:pt x="8" y="62"/>
                        </a:lnTo>
                        <a:lnTo>
                          <a:pt x="6" y="64"/>
                        </a:lnTo>
                        <a:lnTo>
                          <a:pt x="4" y="64"/>
                        </a:lnTo>
                        <a:lnTo>
                          <a:pt x="4" y="66"/>
                        </a:lnTo>
                        <a:lnTo>
                          <a:pt x="2" y="68"/>
                        </a:lnTo>
                        <a:lnTo>
                          <a:pt x="0" y="72"/>
                        </a:lnTo>
                        <a:lnTo>
                          <a:pt x="4" y="76"/>
                        </a:lnTo>
                        <a:lnTo>
                          <a:pt x="10" y="76"/>
                        </a:lnTo>
                        <a:lnTo>
                          <a:pt x="12" y="74"/>
                        </a:lnTo>
                        <a:lnTo>
                          <a:pt x="12" y="72"/>
                        </a:lnTo>
                        <a:lnTo>
                          <a:pt x="14" y="72"/>
                        </a:lnTo>
                        <a:lnTo>
                          <a:pt x="16" y="72"/>
                        </a:lnTo>
                        <a:lnTo>
                          <a:pt x="18" y="72"/>
                        </a:lnTo>
                        <a:lnTo>
                          <a:pt x="20" y="72"/>
                        </a:lnTo>
                        <a:lnTo>
                          <a:pt x="22" y="72"/>
                        </a:lnTo>
                        <a:lnTo>
                          <a:pt x="26" y="74"/>
                        </a:lnTo>
                        <a:lnTo>
                          <a:pt x="30" y="74"/>
                        </a:lnTo>
                        <a:lnTo>
                          <a:pt x="32" y="72"/>
                        </a:lnTo>
                        <a:lnTo>
                          <a:pt x="40" y="64"/>
                        </a:lnTo>
                        <a:lnTo>
                          <a:pt x="40" y="60"/>
                        </a:lnTo>
                        <a:lnTo>
                          <a:pt x="44" y="50"/>
                        </a:lnTo>
                        <a:lnTo>
                          <a:pt x="46" y="46"/>
                        </a:lnTo>
                        <a:lnTo>
                          <a:pt x="48" y="44"/>
                        </a:lnTo>
                        <a:lnTo>
                          <a:pt x="50" y="42"/>
                        </a:lnTo>
                        <a:lnTo>
                          <a:pt x="50" y="40"/>
                        </a:lnTo>
                        <a:lnTo>
                          <a:pt x="52" y="38"/>
                        </a:lnTo>
                        <a:lnTo>
                          <a:pt x="52" y="36"/>
                        </a:lnTo>
                        <a:lnTo>
                          <a:pt x="52" y="34"/>
                        </a:lnTo>
                        <a:lnTo>
                          <a:pt x="52" y="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28" name="Guyana"/>
                  <p:cNvSpPr>
                    <a:spLocks/>
                  </p:cNvSpPr>
                  <p:nvPr/>
                </p:nvSpPr>
                <p:spPr bwMode="gray">
                  <a:xfrm>
                    <a:off x="1536" y="2136"/>
                    <a:ext cx="83" cy="149"/>
                  </a:xfrm>
                  <a:custGeom>
                    <a:avLst/>
                    <a:gdLst>
                      <a:gd name="T0" fmla="*/ 2147483647 w 324"/>
                      <a:gd name="T1" fmla="*/ 2147483647 h 582"/>
                      <a:gd name="T2" fmla="*/ 2147483647 w 324"/>
                      <a:gd name="T3" fmla="*/ 2147483647 h 582"/>
                      <a:gd name="T4" fmla="*/ 2147483647 w 324"/>
                      <a:gd name="T5" fmla="*/ 2147483647 h 582"/>
                      <a:gd name="T6" fmla="*/ 2147483647 w 324"/>
                      <a:gd name="T7" fmla="*/ 2147483647 h 582"/>
                      <a:gd name="T8" fmla="*/ 2147483647 w 324"/>
                      <a:gd name="T9" fmla="*/ 2147483647 h 582"/>
                      <a:gd name="T10" fmla="*/ 2147483647 w 324"/>
                      <a:gd name="T11" fmla="*/ 2147483647 h 582"/>
                      <a:gd name="T12" fmla="*/ 2147483647 w 324"/>
                      <a:gd name="T13" fmla="*/ 2147483647 h 582"/>
                      <a:gd name="T14" fmla="*/ 2147483647 w 324"/>
                      <a:gd name="T15" fmla="*/ 2147483647 h 582"/>
                      <a:gd name="T16" fmla="*/ 0 w 324"/>
                      <a:gd name="T17" fmla="*/ 2147483647 h 582"/>
                      <a:gd name="T18" fmla="*/ 2147483647 w 324"/>
                      <a:gd name="T19" fmla="*/ 2147483647 h 582"/>
                      <a:gd name="T20" fmla="*/ 2147483647 w 324"/>
                      <a:gd name="T21" fmla="*/ 2147483647 h 582"/>
                      <a:gd name="T22" fmla="*/ 2147483647 w 324"/>
                      <a:gd name="T23" fmla="*/ 2147483647 h 582"/>
                      <a:gd name="T24" fmla="*/ 2147483647 w 324"/>
                      <a:gd name="T25" fmla="*/ 2147483647 h 582"/>
                      <a:gd name="T26" fmla="*/ 2147483647 w 324"/>
                      <a:gd name="T27" fmla="*/ 2147483647 h 582"/>
                      <a:gd name="T28" fmla="*/ 2147483647 w 324"/>
                      <a:gd name="T29" fmla="*/ 2147483647 h 582"/>
                      <a:gd name="T30" fmla="*/ 2147483647 w 324"/>
                      <a:gd name="T31" fmla="*/ 2147483647 h 582"/>
                      <a:gd name="T32" fmla="*/ 2147483647 w 324"/>
                      <a:gd name="T33" fmla="*/ 2147483647 h 582"/>
                      <a:gd name="T34" fmla="*/ 2147483647 w 324"/>
                      <a:gd name="T35" fmla="*/ 2147483647 h 582"/>
                      <a:gd name="T36" fmla="*/ 2147483647 w 324"/>
                      <a:gd name="T37" fmla="*/ 2147483647 h 582"/>
                      <a:gd name="T38" fmla="*/ 2147483647 w 324"/>
                      <a:gd name="T39" fmla="*/ 2147483647 h 582"/>
                      <a:gd name="T40" fmla="*/ 2147483647 w 324"/>
                      <a:gd name="T41" fmla="*/ 2147483647 h 582"/>
                      <a:gd name="T42" fmla="*/ 2147483647 w 324"/>
                      <a:gd name="T43" fmla="*/ 2147483647 h 582"/>
                      <a:gd name="T44" fmla="*/ 2147483647 w 324"/>
                      <a:gd name="T45" fmla="*/ 2147483647 h 582"/>
                      <a:gd name="T46" fmla="*/ 2147483647 w 324"/>
                      <a:gd name="T47" fmla="*/ 2147483647 h 582"/>
                      <a:gd name="T48" fmla="*/ 2147483647 w 324"/>
                      <a:gd name="T49" fmla="*/ 2147483647 h 582"/>
                      <a:gd name="T50" fmla="*/ 2147483647 w 324"/>
                      <a:gd name="T51" fmla="*/ 2147483647 h 582"/>
                      <a:gd name="T52" fmla="*/ 2147483647 w 324"/>
                      <a:gd name="T53" fmla="*/ 2147483647 h 582"/>
                      <a:gd name="T54" fmla="*/ 2147483647 w 324"/>
                      <a:gd name="T55" fmla="*/ 2147483647 h 582"/>
                      <a:gd name="T56" fmla="*/ 2147483647 w 324"/>
                      <a:gd name="T57" fmla="*/ 2147483647 h 582"/>
                      <a:gd name="T58" fmla="*/ 2147483647 w 324"/>
                      <a:gd name="T59" fmla="*/ 2147483647 h 582"/>
                      <a:gd name="T60" fmla="*/ 2147483647 w 324"/>
                      <a:gd name="T61" fmla="*/ 2147483647 h 582"/>
                      <a:gd name="T62" fmla="*/ 2147483647 w 324"/>
                      <a:gd name="T63" fmla="*/ 2147483647 h 582"/>
                      <a:gd name="T64" fmla="*/ 2147483647 w 324"/>
                      <a:gd name="T65" fmla="*/ 2147483647 h 582"/>
                      <a:gd name="T66" fmla="*/ 2147483647 w 324"/>
                      <a:gd name="T67" fmla="*/ 2147483647 h 582"/>
                      <a:gd name="T68" fmla="*/ 2147483647 w 324"/>
                      <a:gd name="T69" fmla="*/ 2147483647 h 582"/>
                      <a:gd name="T70" fmla="*/ 2147483647 w 324"/>
                      <a:gd name="T71" fmla="*/ 2147483647 h 582"/>
                      <a:gd name="T72" fmla="*/ 2147483647 w 324"/>
                      <a:gd name="T73" fmla="*/ 2147483647 h 582"/>
                      <a:gd name="T74" fmla="*/ 2147483647 w 324"/>
                      <a:gd name="T75" fmla="*/ 2147483647 h 582"/>
                      <a:gd name="T76" fmla="*/ 2147483647 w 324"/>
                      <a:gd name="T77" fmla="*/ 2147483647 h 582"/>
                      <a:gd name="T78" fmla="*/ 2147483647 w 324"/>
                      <a:gd name="T79" fmla="*/ 2147483647 h 582"/>
                      <a:gd name="T80" fmla="*/ 2147483647 w 324"/>
                      <a:gd name="T81" fmla="*/ 2147483647 h 582"/>
                      <a:gd name="T82" fmla="*/ 2147483647 w 324"/>
                      <a:gd name="T83" fmla="*/ 2147483647 h 582"/>
                      <a:gd name="T84" fmla="*/ 2147483647 w 324"/>
                      <a:gd name="T85" fmla="*/ 2147483647 h 582"/>
                      <a:gd name="T86" fmla="*/ 2147483647 w 324"/>
                      <a:gd name="T87" fmla="*/ 2147483647 h 582"/>
                      <a:gd name="T88" fmla="*/ 2147483647 w 324"/>
                      <a:gd name="T89" fmla="*/ 2147483647 h 582"/>
                      <a:gd name="T90" fmla="*/ 2147483647 w 324"/>
                      <a:gd name="T91" fmla="*/ 2147483647 h 582"/>
                      <a:gd name="T92" fmla="*/ 2147483647 w 324"/>
                      <a:gd name="T93" fmla="*/ 2147483647 h 582"/>
                      <a:gd name="T94" fmla="*/ 2147483647 w 324"/>
                      <a:gd name="T95" fmla="*/ 2147483647 h 582"/>
                      <a:gd name="T96" fmla="*/ 2147483647 w 324"/>
                      <a:gd name="T97" fmla="*/ 2147483647 h 582"/>
                      <a:gd name="T98" fmla="*/ 2147483647 w 324"/>
                      <a:gd name="T99" fmla="*/ 2147483647 h 582"/>
                      <a:gd name="T100" fmla="*/ 2147483647 w 324"/>
                      <a:gd name="T101" fmla="*/ 2147483647 h 582"/>
                      <a:gd name="T102" fmla="*/ 2147483647 w 324"/>
                      <a:gd name="T103" fmla="*/ 2147483647 h 582"/>
                      <a:gd name="T104" fmla="*/ 2147483647 w 324"/>
                      <a:gd name="T105" fmla="*/ 2147483647 h 582"/>
                      <a:gd name="T106" fmla="*/ 2147483647 w 324"/>
                      <a:gd name="T107" fmla="*/ 2147483647 h 582"/>
                      <a:gd name="T108" fmla="*/ 2147483647 w 324"/>
                      <a:gd name="T109" fmla="*/ 2147483647 h 582"/>
                      <a:gd name="T110" fmla="*/ 2147483647 w 324"/>
                      <a:gd name="T111" fmla="*/ 2147483647 h 582"/>
                      <a:gd name="T112" fmla="*/ 2147483647 w 324"/>
                      <a:gd name="T113" fmla="*/ 2147483647 h 582"/>
                      <a:gd name="T114" fmla="*/ 2147483647 w 324"/>
                      <a:gd name="T115" fmla="*/ 2147483647 h 582"/>
                      <a:gd name="T116" fmla="*/ 2147483647 w 324"/>
                      <a:gd name="T117" fmla="*/ 2147483647 h 582"/>
                      <a:gd name="T118" fmla="*/ 2147483647 w 324"/>
                      <a:gd name="T119" fmla="*/ 2147483647 h 582"/>
                      <a:gd name="T120" fmla="*/ 2147483647 w 324"/>
                      <a:gd name="T121" fmla="*/ 2147483647 h 582"/>
                      <a:gd name="T122" fmla="*/ 2147483647 w 324"/>
                      <a:gd name="T123" fmla="*/ 0 h 582"/>
                      <a:gd name="T124" fmla="*/ 2147483647 w 324"/>
                      <a:gd name="T125" fmla="*/ 2147483647 h 58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324"/>
                      <a:gd name="T190" fmla="*/ 0 h 582"/>
                      <a:gd name="T191" fmla="*/ 324 w 324"/>
                      <a:gd name="T192" fmla="*/ 582 h 582"/>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324" h="582">
                        <a:moveTo>
                          <a:pt x="90" y="42"/>
                        </a:moveTo>
                        <a:lnTo>
                          <a:pt x="84" y="48"/>
                        </a:lnTo>
                        <a:lnTo>
                          <a:pt x="72" y="48"/>
                        </a:lnTo>
                        <a:lnTo>
                          <a:pt x="60" y="60"/>
                        </a:lnTo>
                        <a:lnTo>
                          <a:pt x="60" y="102"/>
                        </a:lnTo>
                        <a:lnTo>
                          <a:pt x="84" y="102"/>
                        </a:lnTo>
                        <a:lnTo>
                          <a:pt x="84" y="120"/>
                        </a:lnTo>
                        <a:lnTo>
                          <a:pt x="78" y="126"/>
                        </a:lnTo>
                        <a:lnTo>
                          <a:pt x="66" y="132"/>
                        </a:lnTo>
                        <a:lnTo>
                          <a:pt x="54" y="132"/>
                        </a:lnTo>
                        <a:lnTo>
                          <a:pt x="42" y="138"/>
                        </a:lnTo>
                        <a:lnTo>
                          <a:pt x="12" y="138"/>
                        </a:lnTo>
                        <a:lnTo>
                          <a:pt x="12" y="144"/>
                        </a:lnTo>
                        <a:lnTo>
                          <a:pt x="30" y="162"/>
                        </a:lnTo>
                        <a:lnTo>
                          <a:pt x="30" y="180"/>
                        </a:lnTo>
                        <a:lnTo>
                          <a:pt x="18" y="186"/>
                        </a:lnTo>
                        <a:lnTo>
                          <a:pt x="12" y="186"/>
                        </a:lnTo>
                        <a:lnTo>
                          <a:pt x="0" y="192"/>
                        </a:lnTo>
                        <a:lnTo>
                          <a:pt x="0" y="204"/>
                        </a:lnTo>
                        <a:lnTo>
                          <a:pt x="6" y="210"/>
                        </a:lnTo>
                        <a:lnTo>
                          <a:pt x="12" y="222"/>
                        </a:lnTo>
                        <a:lnTo>
                          <a:pt x="48" y="258"/>
                        </a:lnTo>
                        <a:lnTo>
                          <a:pt x="72" y="264"/>
                        </a:lnTo>
                        <a:lnTo>
                          <a:pt x="78" y="252"/>
                        </a:lnTo>
                        <a:lnTo>
                          <a:pt x="90" y="264"/>
                        </a:lnTo>
                        <a:lnTo>
                          <a:pt x="96" y="276"/>
                        </a:lnTo>
                        <a:lnTo>
                          <a:pt x="96" y="294"/>
                        </a:lnTo>
                        <a:lnTo>
                          <a:pt x="90" y="306"/>
                        </a:lnTo>
                        <a:lnTo>
                          <a:pt x="84" y="312"/>
                        </a:lnTo>
                        <a:lnTo>
                          <a:pt x="84" y="318"/>
                        </a:lnTo>
                        <a:lnTo>
                          <a:pt x="90" y="324"/>
                        </a:lnTo>
                        <a:lnTo>
                          <a:pt x="96" y="324"/>
                        </a:lnTo>
                        <a:lnTo>
                          <a:pt x="108" y="318"/>
                        </a:lnTo>
                        <a:lnTo>
                          <a:pt x="114" y="318"/>
                        </a:lnTo>
                        <a:lnTo>
                          <a:pt x="114" y="348"/>
                        </a:lnTo>
                        <a:lnTo>
                          <a:pt x="120" y="354"/>
                        </a:lnTo>
                        <a:lnTo>
                          <a:pt x="126" y="354"/>
                        </a:lnTo>
                        <a:lnTo>
                          <a:pt x="126" y="366"/>
                        </a:lnTo>
                        <a:lnTo>
                          <a:pt x="120" y="378"/>
                        </a:lnTo>
                        <a:lnTo>
                          <a:pt x="108" y="390"/>
                        </a:lnTo>
                        <a:lnTo>
                          <a:pt x="96" y="432"/>
                        </a:lnTo>
                        <a:lnTo>
                          <a:pt x="90" y="444"/>
                        </a:lnTo>
                        <a:lnTo>
                          <a:pt x="90" y="450"/>
                        </a:lnTo>
                        <a:lnTo>
                          <a:pt x="84" y="462"/>
                        </a:lnTo>
                        <a:lnTo>
                          <a:pt x="84" y="468"/>
                        </a:lnTo>
                        <a:lnTo>
                          <a:pt x="90" y="480"/>
                        </a:lnTo>
                        <a:lnTo>
                          <a:pt x="114" y="504"/>
                        </a:lnTo>
                        <a:lnTo>
                          <a:pt x="114" y="534"/>
                        </a:lnTo>
                        <a:lnTo>
                          <a:pt x="144" y="570"/>
                        </a:lnTo>
                        <a:lnTo>
                          <a:pt x="156" y="570"/>
                        </a:lnTo>
                        <a:lnTo>
                          <a:pt x="162" y="582"/>
                        </a:lnTo>
                        <a:lnTo>
                          <a:pt x="198" y="582"/>
                        </a:lnTo>
                        <a:lnTo>
                          <a:pt x="204" y="576"/>
                        </a:lnTo>
                        <a:lnTo>
                          <a:pt x="204" y="564"/>
                        </a:lnTo>
                        <a:lnTo>
                          <a:pt x="216" y="552"/>
                        </a:lnTo>
                        <a:lnTo>
                          <a:pt x="234" y="552"/>
                        </a:lnTo>
                        <a:lnTo>
                          <a:pt x="240" y="540"/>
                        </a:lnTo>
                        <a:lnTo>
                          <a:pt x="270" y="540"/>
                        </a:lnTo>
                        <a:lnTo>
                          <a:pt x="270" y="534"/>
                        </a:lnTo>
                        <a:lnTo>
                          <a:pt x="288" y="516"/>
                        </a:lnTo>
                        <a:lnTo>
                          <a:pt x="300" y="516"/>
                        </a:lnTo>
                        <a:lnTo>
                          <a:pt x="312" y="528"/>
                        </a:lnTo>
                        <a:lnTo>
                          <a:pt x="318" y="528"/>
                        </a:lnTo>
                        <a:lnTo>
                          <a:pt x="324" y="522"/>
                        </a:lnTo>
                        <a:lnTo>
                          <a:pt x="324" y="510"/>
                        </a:lnTo>
                        <a:lnTo>
                          <a:pt x="318" y="504"/>
                        </a:lnTo>
                        <a:lnTo>
                          <a:pt x="312" y="492"/>
                        </a:lnTo>
                        <a:lnTo>
                          <a:pt x="306" y="474"/>
                        </a:lnTo>
                        <a:lnTo>
                          <a:pt x="288" y="456"/>
                        </a:lnTo>
                        <a:lnTo>
                          <a:pt x="282" y="444"/>
                        </a:lnTo>
                        <a:lnTo>
                          <a:pt x="282" y="420"/>
                        </a:lnTo>
                        <a:lnTo>
                          <a:pt x="288" y="414"/>
                        </a:lnTo>
                        <a:lnTo>
                          <a:pt x="288" y="396"/>
                        </a:lnTo>
                        <a:lnTo>
                          <a:pt x="276" y="408"/>
                        </a:lnTo>
                        <a:lnTo>
                          <a:pt x="276" y="414"/>
                        </a:lnTo>
                        <a:lnTo>
                          <a:pt x="264" y="414"/>
                        </a:lnTo>
                        <a:lnTo>
                          <a:pt x="258" y="402"/>
                        </a:lnTo>
                        <a:lnTo>
                          <a:pt x="252" y="396"/>
                        </a:lnTo>
                        <a:lnTo>
                          <a:pt x="246" y="384"/>
                        </a:lnTo>
                        <a:lnTo>
                          <a:pt x="246" y="372"/>
                        </a:lnTo>
                        <a:lnTo>
                          <a:pt x="240" y="372"/>
                        </a:lnTo>
                        <a:lnTo>
                          <a:pt x="240" y="366"/>
                        </a:lnTo>
                        <a:lnTo>
                          <a:pt x="234" y="360"/>
                        </a:lnTo>
                        <a:lnTo>
                          <a:pt x="234" y="348"/>
                        </a:lnTo>
                        <a:lnTo>
                          <a:pt x="240" y="336"/>
                        </a:lnTo>
                        <a:lnTo>
                          <a:pt x="246" y="330"/>
                        </a:lnTo>
                        <a:lnTo>
                          <a:pt x="246" y="288"/>
                        </a:lnTo>
                        <a:lnTo>
                          <a:pt x="252" y="282"/>
                        </a:lnTo>
                        <a:lnTo>
                          <a:pt x="264" y="276"/>
                        </a:lnTo>
                        <a:lnTo>
                          <a:pt x="294" y="276"/>
                        </a:lnTo>
                        <a:lnTo>
                          <a:pt x="300" y="270"/>
                        </a:lnTo>
                        <a:lnTo>
                          <a:pt x="300" y="258"/>
                        </a:lnTo>
                        <a:lnTo>
                          <a:pt x="288" y="246"/>
                        </a:lnTo>
                        <a:lnTo>
                          <a:pt x="288" y="234"/>
                        </a:lnTo>
                        <a:lnTo>
                          <a:pt x="294" y="222"/>
                        </a:lnTo>
                        <a:lnTo>
                          <a:pt x="300" y="216"/>
                        </a:lnTo>
                        <a:lnTo>
                          <a:pt x="306" y="204"/>
                        </a:lnTo>
                        <a:lnTo>
                          <a:pt x="306" y="192"/>
                        </a:lnTo>
                        <a:lnTo>
                          <a:pt x="300" y="180"/>
                        </a:lnTo>
                        <a:lnTo>
                          <a:pt x="294" y="174"/>
                        </a:lnTo>
                        <a:lnTo>
                          <a:pt x="276" y="174"/>
                        </a:lnTo>
                        <a:lnTo>
                          <a:pt x="270" y="180"/>
                        </a:lnTo>
                        <a:lnTo>
                          <a:pt x="270" y="156"/>
                        </a:lnTo>
                        <a:lnTo>
                          <a:pt x="258" y="150"/>
                        </a:lnTo>
                        <a:lnTo>
                          <a:pt x="252" y="138"/>
                        </a:lnTo>
                        <a:lnTo>
                          <a:pt x="234" y="132"/>
                        </a:lnTo>
                        <a:lnTo>
                          <a:pt x="216" y="132"/>
                        </a:lnTo>
                        <a:lnTo>
                          <a:pt x="204" y="138"/>
                        </a:lnTo>
                        <a:lnTo>
                          <a:pt x="198" y="150"/>
                        </a:lnTo>
                        <a:lnTo>
                          <a:pt x="198" y="156"/>
                        </a:lnTo>
                        <a:lnTo>
                          <a:pt x="192" y="162"/>
                        </a:lnTo>
                        <a:lnTo>
                          <a:pt x="192" y="168"/>
                        </a:lnTo>
                        <a:lnTo>
                          <a:pt x="192" y="162"/>
                        </a:lnTo>
                        <a:lnTo>
                          <a:pt x="198" y="156"/>
                        </a:lnTo>
                        <a:lnTo>
                          <a:pt x="198" y="144"/>
                        </a:lnTo>
                        <a:lnTo>
                          <a:pt x="204" y="132"/>
                        </a:lnTo>
                        <a:lnTo>
                          <a:pt x="204" y="114"/>
                        </a:lnTo>
                        <a:lnTo>
                          <a:pt x="210" y="102"/>
                        </a:lnTo>
                        <a:lnTo>
                          <a:pt x="210" y="78"/>
                        </a:lnTo>
                        <a:lnTo>
                          <a:pt x="192" y="42"/>
                        </a:lnTo>
                        <a:lnTo>
                          <a:pt x="180" y="30"/>
                        </a:lnTo>
                        <a:lnTo>
                          <a:pt x="132" y="6"/>
                        </a:lnTo>
                        <a:lnTo>
                          <a:pt x="126" y="0"/>
                        </a:lnTo>
                        <a:lnTo>
                          <a:pt x="120" y="0"/>
                        </a:lnTo>
                        <a:lnTo>
                          <a:pt x="102" y="36"/>
                        </a:lnTo>
                        <a:lnTo>
                          <a:pt x="96" y="42"/>
                        </a:lnTo>
                        <a:lnTo>
                          <a:pt x="90"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29" name="Guinea-Bissau"/>
                  <p:cNvSpPr>
                    <a:spLocks/>
                  </p:cNvSpPr>
                  <p:nvPr/>
                </p:nvSpPr>
                <p:spPr bwMode="gray">
                  <a:xfrm>
                    <a:off x="2359" y="2047"/>
                    <a:ext cx="47" cy="40"/>
                  </a:xfrm>
                  <a:custGeom>
                    <a:avLst/>
                    <a:gdLst>
                      <a:gd name="T0" fmla="*/ 2147483647 w 186"/>
                      <a:gd name="T1" fmla="*/ 2147483647 h 156"/>
                      <a:gd name="T2" fmla="*/ 2147483647 w 186"/>
                      <a:gd name="T3" fmla="*/ 2147483647 h 156"/>
                      <a:gd name="T4" fmla="*/ 2147483647 w 186"/>
                      <a:gd name="T5" fmla="*/ 2147483647 h 156"/>
                      <a:gd name="T6" fmla="*/ 2147483647 w 186"/>
                      <a:gd name="T7" fmla="*/ 2147483647 h 156"/>
                      <a:gd name="T8" fmla="*/ 2147483647 w 186"/>
                      <a:gd name="T9" fmla="*/ 2147483647 h 156"/>
                      <a:gd name="T10" fmla="*/ 2147483647 w 186"/>
                      <a:gd name="T11" fmla="*/ 2147483647 h 156"/>
                      <a:gd name="T12" fmla="*/ 2147483647 w 186"/>
                      <a:gd name="T13" fmla="*/ 2147483647 h 156"/>
                      <a:gd name="T14" fmla="*/ 2147483647 w 186"/>
                      <a:gd name="T15" fmla="*/ 2147483647 h 156"/>
                      <a:gd name="T16" fmla="*/ 2147483647 w 186"/>
                      <a:gd name="T17" fmla="*/ 2147483647 h 156"/>
                      <a:gd name="T18" fmla="*/ 2147483647 w 186"/>
                      <a:gd name="T19" fmla="*/ 2147483647 h 156"/>
                      <a:gd name="T20" fmla="*/ 2147483647 w 186"/>
                      <a:gd name="T21" fmla="*/ 2147483647 h 156"/>
                      <a:gd name="T22" fmla="*/ 2147483647 w 186"/>
                      <a:gd name="T23" fmla="*/ 2147483647 h 156"/>
                      <a:gd name="T24" fmla="*/ 2147483647 w 186"/>
                      <a:gd name="T25" fmla="*/ 2147483647 h 156"/>
                      <a:gd name="T26" fmla="*/ 2147483647 w 186"/>
                      <a:gd name="T27" fmla="*/ 2147483647 h 156"/>
                      <a:gd name="T28" fmla="*/ 2147483647 w 186"/>
                      <a:gd name="T29" fmla="*/ 0 h 156"/>
                      <a:gd name="T30" fmla="*/ 2147483647 w 186"/>
                      <a:gd name="T31" fmla="*/ 2147483647 h 156"/>
                      <a:gd name="T32" fmla="*/ 2147483647 w 186"/>
                      <a:gd name="T33" fmla="*/ 2147483647 h 156"/>
                      <a:gd name="T34" fmla="*/ 2147483647 w 186"/>
                      <a:gd name="T35" fmla="*/ 2147483647 h 156"/>
                      <a:gd name="T36" fmla="*/ 0 w 186"/>
                      <a:gd name="T37" fmla="*/ 2147483647 h 156"/>
                      <a:gd name="T38" fmla="*/ 2147483647 w 186"/>
                      <a:gd name="T39" fmla="*/ 2147483647 h 156"/>
                      <a:gd name="T40" fmla="*/ 2147483647 w 186"/>
                      <a:gd name="T41" fmla="*/ 2147483647 h 156"/>
                      <a:gd name="T42" fmla="*/ 2147483647 w 186"/>
                      <a:gd name="T43" fmla="*/ 2147483647 h 156"/>
                      <a:gd name="T44" fmla="*/ 2147483647 w 186"/>
                      <a:gd name="T45" fmla="*/ 2147483647 h 156"/>
                      <a:gd name="T46" fmla="*/ 2147483647 w 186"/>
                      <a:gd name="T47" fmla="*/ 2147483647 h 156"/>
                      <a:gd name="T48" fmla="*/ 2147483647 w 186"/>
                      <a:gd name="T49" fmla="*/ 2147483647 h 156"/>
                      <a:gd name="T50" fmla="*/ 2147483647 w 186"/>
                      <a:gd name="T51" fmla="*/ 2147483647 h 156"/>
                      <a:gd name="T52" fmla="*/ 2147483647 w 186"/>
                      <a:gd name="T53" fmla="*/ 2147483647 h 156"/>
                      <a:gd name="T54" fmla="*/ 2147483647 w 186"/>
                      <a:gd name="T55" fmla="*/ 2147483647 h 156"/>
                      <a:gd name="T56" fmla="*/ 2147483647 w 186"/>
                      <a:gd name="T57" fmla="*/ 2147483647 h 156"/>
                      <a:gd name="T58" fmla="*/ 2147483647 w 186"/>
                      <a:gd name="T59" fmla="*/ 2147483647 h 156"/>
                      <a:gd name="T60" fmla="*/ 2147483647 w 186"/>
                      <a:gd name="T61" fmla="*/ 2147483647 h 156"/>
                      <a:gd name="T62" fmla="*/ 2147483647 w 186"/>
                      <a:gd name="T63" fmla="*/ 2147483647 h 156"/>
                      <a:gd name="T64" fmla="*/ 2147483647 w 186"/>
                      <a:gd name="T65" fmla="*/ 2147483647 h 156"/>
                      <a:gd name="T66" fmla="*/ 2147483647 w 186"/>
                      <a:gd name="T67" fmla="*/ 2147483647 h 156"/>
                      <a:gd name="T68" fmla="*/ 2147483647 w 186"/>
                      <a:gd name="T69" fmla="*/ 2147483647 h 156"/>
                      <a:gd name="T70" fmla="*/ 2147483647 w 186"/>
                      <a:gd name="T71" fmla="*/ 2147483647 h 156"/>
                      <a:gd name="T72" fmla="*/ 2147483647 w 186"/>
                      <a:gd name="T73" fmla="*/ 2147483647 h 1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186"/>
                      <a:gd name="T112" fmla="*/ 0 h 156"/>
                      <a:gd name="T113" fmla="*/ 186 w 186"/>
                      <a:gd name="T114" fmla="*/ 156 h 15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186" h="156">
                        <a:moveTo>
                          <a:pt x="126" y="102"/>
                        </a:moveTo>
                        <a:lnTo>
                          <a:pt x="132" y="96"/>
                        </a:lnTo>
                        <a:lnTo>
                          <a:pt x="144" y="90"/>
                        </a:lnTo>
                        <a:lnTo>
                          <a:pt x="174" y="90"/>
                        </a:lnTo>
                        <a:lnTo>
                          <a:pt x="180" y="84"/>
                        </a:lnTo>
                        <a:lnTo>
                          <a:pt x="186" y="72"/>
                        </a:lnTo>
                        <a:lnTo>
                          <a:pt x="186" y="66"/>
                        </a:lnTo>
                        <a:lnTo>
                          <a:pt x="180" y="60"/>
                        </a:lnTo>
                        <a:lnTo>
                          <a:pt x="168" y="54"/>
                        </a:lnTo>
                        <a:lnTo>
                          <a:pt x="162" y="48"/>
                        </a:lnTo>
                        <a:lnTo>
                          <a:pt x="162" y="36"/>
                        </a:lnTo>
                        <a:lnTo>
                          <a:pt x="168" y="30"/>
                        </a:lnTo>
                        <a:lnTo>
                          <a:pt x="186" y="30"/>
                        </a:lnTo>
                        <a:lnTo>
                          <a:pt x="186" y="6"/>
                        </a:lnTo>
                        <a:lnTo>
                          <a:pt x="84" y="0"/>
                        </a:lnTo>
                        <a:lnTo>
                          <a:pt x="54" y="24"/>
                        </a:lnTo>
                        <a:lnTo>
                          <a:pt x="18" y="24"/>
                        </a:lnTo>
                        <a:lnTo>
                          <a:pt x="6" y="36"/>
                        </a:lnTo>
                        <a:lnTo>
                          <a:pt x="0" y="72"/>
                        </a:lnTo>
                        <a:lnTo>
                          <a:pt x="6" y="78"/>
                        </a:lnTo>
                        <a:lnTo>
                          <a:pt x="18" y="78"/>
                        </a:lnTo>
                        <a:lnTo>
                          <a:pt x="42" y="66"/>
                        </a:lnTo>
                        <a:lnTo>
                          <a:pt x="66" y="66"/>
                        </a:lnTo>
                        <a:lnTo>
                          <a:pt x="90" y="60"/>
                        </a:lnTo>
                        <a:lnTo>
                          <a:pt x="90" y="84"/>
                        </a:lnTo>
                        <a:lnTo>
                          <a:pt x="78" y="78"/>
                        </a:lnTo>
                        <a:lnTo>
                          <a:pt x="72" y="78"/>
                        </a:lnTo>
                        <a:lnTo>
                          <a:pt x="66" y="72"/>
                        </a:lnTo>
                        <a:lnTo>
                          <a:pt x="54" y="72"/>
                        </a:lnTo>
                        <a:lnTo>
                          <a:pt x="54" y="96"/>
                        </a:lnTo>
                        <a:lnTo>
                          <a:pt x="60" y="102"/>
                        </a:lnTo>
                        <a:lnTo>
                          <a:pt x="90" y="96"/>
                        </a:lnTo>
                        <a:lnTo>
                          <a:pt x="54" y="114"/>
                        </a:lnTo>
                        <a:lnTo>
                          <a:pt x="84" y="156"/>
                        </a:lnTo>
                        <a:lnTo>
                          <a:pt x="90" y="132"/>
                        </a:lnTo>
                        <a:lnTo>
                          <a:pt x="108" y="102"/>
                        </a:lnTo>
                        <a:lnTo>
                          <a:pt x="126" y="10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30" name="Guinea"/>
                  <p:cNvSpPr>
                    <a:spLocks/>
                  </p:cNvSpPr>
                  <p:nvPr/>
                </p:nvSpPr>
                <p:spPr bwMode="gray">
                  <a:xfrm>
                    <a:off x="2382" y="2049"/>
                    <a:ext cx="133" cy="113"/>
                  </a:xfrm>
                  <a:custGeom>
                    <a:avLst/>
                    <a:gdLst>
                      <a:gd name="T0" fmla="*/ 2147483647 w 522"/>
                      <a:gd name="T1" fmla="*/ 2147483647 h 444"/>
                      <a:gd name="T2" fmla="*/ 2147483647 w 522"/>
                      <a:gd name="T3" fmla="*/ 2147483647 h 444"/>
                      <a:gd name="T4" fmla="*/ 2147483647 w 522"/>
                      <a:gd name="T5" fmla="*/ 2147483647 h 444"/>
                      <a:gd name="T6" fmla="*/ 2147483647 w 522"/>
                      <a:gd name="T7" fmla="*/ 2147483647 h 444"/>
                      <a:gd name="T8" fmla="*/ 2147483647 w 522"/>
                      <a:gd name="T9" fmla="*/ 2147483647 h 444"/>
                      <a:gd name="T10" fmla="*/ 2147483647 w 522"/>
                      <a:gd name="T11" fmla="*/ 2147483647 h 444"/>
                      <a:gd name="T12" fmla="*/ 2147483647 w 522"/>
                      <a:gd name="T13" fmla="*/ 2147483647 h 444"/>
                      <a:gd name="T14" fmla="*/ 2147483647 w 522"/>
                      <a:gd name="T15" fmla="*/ 2147483647 h 444"/>
                      <a:gd name="T16" fmla="*/ 2147483647 w 522"/>
                      <a:gd name="T17" fmla="*/ 2147483647 h 444"/>
                      <a:gd name="T18" fmla="*/ 2147483647 w 522"/>
                      <a:gd name="T19" fmla="*/ 2147483647 h 444"/>
                      <a:gd name="T20" fmla="*/ 2147483647 w 522"/>
                      <a:gd name="T21" fmla="*/ 2147483647 h 444"/>
                      <a:gd name="T22" fmla="*/ 2147483647 w 522"/>
                      <a:gd name="T23" fmla="*/ 2147483647 h 444"/>
                      <a:gd name="T24" fmla="*/ 2147483647 w 522"/>
                      <a:gd name="T25" fmla="*/ 2147483647 h 444"/>
                      <a:gd name="T26" fmla="*/ 2147483647 w 522"/>
                      <a:gd name="T27" fmla="*/ 2147483647 h 444"/>
                      <a:gd name="T28" fmla="*/ 2147483647 w 522"/>
                      <a:gd name="T29" fmla="*/ 2147483647 h 444"/>
                      <a:gd name="T30" fmla="*/ 2147483647 w 522"/>
                      <a:gd name="T31" fmla="*/ 2147483647 h 444"/>
                      <a:gd name="T32" fmla="*/ 2147483647 w 522"/>
                      <a:gd name="T33" fmla="*/ 2147483647 h 444"/>
                      <a:gd name="T34" fmla="*/ 2147483647 w 522"/>
                      <a:gd name="T35" fmla="*/ 2147483647 h 444"/>
                      <a:gd name="T36" fmla="*/ 2147483647 w 522"/>
                      <a:gd name="T37" fmla="*/ 2147483647 h 444"/>
                      <a:gd name="T38" fmla="*/ 2147483647 w 522"/>
                      <a:gd name="T39" fmla="*/ 2147483647 h 444"/>
                      <a:gd name="T40" fmla="*/ 2147483647 w 522"/>
                      <a:gd name="T41" fmla="*/ 2147483647 h 444"/>
                      <a:gd name="T42" fmla="*/ 2147483647 w 522"/>
                      <a:gd name="T43" fmla="*/ 2147483647 h 444"/>
                      <a:gd name="T44" fmla="*/ 2147483647 w 522"/>
                      <a:gd name="T45" fmla="*/ 2147483647 h 444"/>
                      <a:gd name="T46" fmla="*/ 2147483647 w 522"/>
                      <a:gd name="T47" fmla="*/ 2147483647 h 444"/>
                      <a:gd name="T48" fmla="*/ 2147483647 w 522"/>
                      <a:gd name="T49" fmla="*/ 2147483647 h 444"/>
                      <a:gd name="T50" fmla="*/ 2147483647 w 522"/>
                      <a:gd name="T51" fmla="*/ 2147483647 h 444"/>
                      <a:gd name="T52" fmla="*/ 2147483647 w 522"/>
                      <a:gd name="T53" fmla="*/ 2147483647 h 444"/>
                      <a:gd name="T54" fmla="*/ 2147483647 w 522"/>
                      <a:gd name="T55" fmla="*/ 2147483647 h 444"/>
                      <a:gd name="T56" fmla="*/ 2147483647 w 522"/>
                      <a:gd name="T57" fmla="*/ 2147483647 h 444"/>
                      <a:gd name="T58" fmla="*/ 2147483647 w 522"/>
                      <a:gd name="T59" fmla="*/ 2147483647 h 444"/>
                      <a:gd name="T60" fmla="*/ 2147483647 w 522"/>
                      <a:gd name="T61" fmla="*/ 2147483647 h 444"/>
                      <a:gd name="T62" fmla="*/ 2147483647 w 522"/>
                      <a:gd name="T63" fmla="*/ 2147483647 h 444"/>
                      <a:gd name="T64" fmla="*/ 2147483647 w 522"/>
                      <a:gd name="T65" fmla="*/ 2147483647 h 444"/>
                      <a:gd name="T66" fmla="*/ 2147483647 w 522"/>
                      <a:gd name="T67" fmla="*/ 2147483647 h 444"/>
                      <a:gd name="T68" fmla="*/ 2147483647 w 522"/>
                      <a:gd name="T69" fmla="*/ 2147483647 h 444"/>
                      <a:gd name="T70" fmla="*/ 2147483647 w 522"/>
                      <a:gd name="T71" fmla="*/ 2147483647 h 444"/>
                      <a:gd name="T72" fmla="*/ 2147483647 w 522"/>
                      <a:gd name="T73" fmla="*/ 2147483647 h 444"/>
                      <a:gd name="T74" fmla="*/ 2147483647 w 522"/>
                      <a:gd name="T75" fmla="*/ 2147483647 h 444"/>
                      <a:gd name="T76" fmla="*/ 2147483647 w 522"/>
                      <a:gd name="T77" fmla="*/ 2147483647 h 444"/>
                      <a:gd name="T78" fmla="*/ 2147483647 w 522"/>
                      <a:gd name="T79" fmla="*/ 2147483647 h 444"/>
                      <a:gd name="T80" fmla="*/ 2147483647 w 522"/>
                      <a:gd name="T81" fmla="*/ 2147483647 h 444"/>
                      <a:gd name="T82" fmla="*/ 2147483647 w 522"/>
                      <a:gd name="T83" fmla="*/ 2147483647 h 444"/>
                      <a:gd name="T84" fmla="*/ 2147483647 w 522"/>
                      <a:gd name="T85" fmla="*/ 2147483647 h 444"/>
                      <a:gd name="T86" fmla="*/ 2147483647 w 522"/>
                      <a:gd name="T87" fmla="*/ 2147483647 h 444"/>
                      <a:gd name="T88" fmla="*/ 2147483647 w 522"/>
                      <a:gd name="T89" fmla="*/ 2147483647 h 444"/>
                      <a:gd name="T90" fmla="*/ 2147483647 w 522"/>
                      <a:gd name="T91" fmla="*/ 2147483647 h 444"/>
                      <a:gd name="T92" fmla="*/ 2147483647 w 522"/>
                      <a:gd name="T93" fmla="*/ 2147483647 h 44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2"/>
                      <a:gd name="T142" fmla="*/ 0 h 444"/>
                      <a:gd name="T143" fmla="*/ 522 w 522"/>
                      <a:gd name="T144" fmla="*/ 444 h 444"/>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2" h="444">
                        <a:moveTo>
                          <a:pt x="96" y="0"/>
                        </a:moveTo>
                        <a:lnTo>
                          <a:pt x="96" y="24"/>
                        </a:lnTo>
                        <a:lnTo>
                          <a:pt x="78" y="24"/>
                        </a:lnTo>
                        <a:lnTo>
                          <a:pt x="72" y="30"/>
                        </a:lnTo>
                        <a:lnTo>
                          <a:pt x="72" y="42"/>
                        </a:lnTo>
                        <a:lnTo>
                          <a:pt x="78" y="48"/>
                        </a:lnTo>
                        <a:lnTo>
                          <a:pt x="90" y="54"/>
                        </a:lnTo>
                        <a:lnTo>
                          <a:pt x="96" y="60"/>
                        </a:lnTo>
                        <a:lnTo>
                          <a:pt x="96" y="66"/>
                        </a:lnTo>
                        <a:lnTo>
                          <a:pt x="90" y="78"/>
                        </a:lnTo>
                        <a:lnTo>
                          <a:pt x="84" y="84"/>
                        </a:lnTo>
                        <a:lnTo>
                          <a:pt x="54" y="84"/>
                        </a:lnTo>
                        <a:lnTo>
                          <a:pt x="42" y="90"/>
                        </a:lnTo>
                        <a:lnTo>
                          <a:pt x="36" y="96"/>
                        </a:lnTo>
                        <a:lnTo>
                          <a:pt x="18" y="96"/>
                        </a:lnTo>
                        <a:lnTo>
                          <a:pt x="0" y="126"/>
                        </a:lnTo>
                        <a:lnTo>
                          <a:pt x="0" y="132"/>
                        </a:lnTo>
                        <a:lnTo>
                          <a:pt x="18" y="150"/>
                        </a:lnTo>
                        <a:lnTo>
                          <a:pt x="30" y="150"/>
                        </a:lnTo>
                        <a:lnTo>
                          <a:pt x="30" y="162"/>
                        </a:lnTo>
                        <a:lnTo>
                          <a:pt x="24" y="168"/>
                        </a:lnTo>
                        <a:lnTo>
                          <a:pt x="30" y="180"/>
                        </a:lnTo>
                        <a:lnTo>
                          <a:pt x="30" y="192"/>
                        </a:lnTo>
                        <a:lnTo>
                          <a:pt x="54" y="204"/>
                        </a:lnTo>
                        <a:lnTo>
                          <a:pt x="72" y="204"/>
                        </a:lnTo>
                        <a:lnTo>
                          <a:pt x="72" y="228"/>
                        </a:lnTo>
                        <a:lnTo>
                          <a:pt x="84" y="228"/>
                        </a:lnTo>
                        <a:lnTo>
                          <a:pt x="90" y="222"/>
                        </a:lnTo>
                        <a:lnTo>
                          <a:pt x="90" y="234"/>
                        </a:lnTo>
                        <a:lnTo>
                          <a:pt x="96" y="246"/>
                        </a:lnTo>
                        <a:lnTo>
                          <a:pt x="96" y="258"/>
                        </a:lnTo>
                        <a:lnTo>
                          <a:pt x="114" y="276"/>
                        </a:lnTo>
                        <a:lnTo>
                          <a:pt x="126" y="282"/>
                        </a:lnTo>
                        <a:lnTo>
                          <a:pt x="132" y="288"/>
                        </a:lnTo>
                        <a:lnTo>
                          <a:pt x="138" y="282"/>
                        </a:lnTo>
                        <a:lnTo>
                          <a:pt x="150" y="276"/>
                        </a:lnTo>
                        <a:lnTo>
                          <a:pt x="156" y="264"/>
                        </a:lnTo>
                        <a:lnTo>
                          <a:pt x="168" y="252"/>
                        </a:lnTo>
                        <a:lnTo>
                          <a:pt x="174" y="240"/>
                        </a:lnTo>
                        <a:lnTo>
                          <a:pt x="180" y="234"/>
                        </a:lnTo>
                        <a:lnTo>
                          <a:pt x="180" y="228"/>
                        </a:lnTo>
                        <a:lnTo>
                          <a:pt x="216" y="228"/>
                        </a:lnTo>
                        <a:lnTo>
                          <a:pt x="222" y="210"/>
                        </a:lnTo>
                        <a:lnTo>
                          <a:pt x="258" y="210"/>
                        </a:lnTo>
                        <a:lnTo>
                          <a:pt x="300" y="270"/>
                        </a:lnTo>
                        <a:lnTo>
                          <a:pt x="300" y="288"/>
                        </a:lnTo>
                        <a:lnTo>
                          <a:pt x="312" y="300"/>
                        </a:lnTo>
                        <a:lnTo>
                          <a:pt x="312" y="318"/>
                        </a:lnTo>
                        <a:lnTo>
                          <a:pt x="306" y="330"/>
                        </a:lnTo>
                        <a:lnTo>
                          <a:pt x="300" y="336"/>
                        </a:lnTo>
                        <a:lnTo>
                          <a:pt x="294" y="354"/>
                        </a:lnTo>
                        <a:lnTo>
                          <a:pt x="324" y="342"/>
                        </a:lnTo>
                        <a:lnTo>
                          <a:pt x="348" y="348"/>
                        </a:lnTo>
                        <a:lnTo>
                          <a:pt x="348" y="336"/>
                        </a:lnTo>
                        <a:lnTo>
                          <a:pt x="354" y="330"/>
                        </a:lnTo>
                        <a:lnTo>
                          <a:pt x="360" y="330"/>
                        </a:lnTo>
                        <a:lnTo>
                          <a:pt x="372" y="336"/>
                        </a:lnTo>
                        <a:lnTo>
                          <a:pt x="384" y="348"/>
                        </a:lnTo>
                        <a:lnTo>
                          <a:pt x="390" y="366"/>
                        </a:lnTo>
                        <a:lnTo>
                          <a:pt x="390" y="426"/>
                        </a:lnTo>
                        <a:lnTo>
                          <a:pt x="402" y="426"/>
                        </a:lnTo>
                        <a:lnTo>
                          <a:pt x="402" y="432"/>
                        </a:lnTo>
                        <a:lnTo>
                          <a:pt x="414" y="444"/>
                        </a:lnTo>
                        <a:lnTo>
                          <a:pt x="420" y="444"/>
                        </a:lnTo>
                        <a:lnTo>
                          <a:pt x="432" y="432"/>
                        </a:lnTo>
                        <a:lnTo>
                          <a:pt x="432" y="420"/>
                        </a:lnTo>
                        <a:lnTo>
                          <a:pt x="438" y="408"/>
                        </a:lnTo>
                        <a:lnTo>
                          <a:pt x="444" y="402"/>
                        </a:lnTo>
                        <a:lnTo>
                          <a:pt x="456" y="402"/>
                        </a:lnTo>
                        <a:lnTo>
                          <a:pt x="468" y="408"/>
                        </a:lnTo>
                        <a:lnTo>
                          <a:pt x="474" y="414"/>
                        </a:lnTo>
                        <a:lnTo>
                          <a:pt x="480" y="414"/>
                        </a:lnTo>
                        <a:lnTo>
                          <a:pt x="486" y="408"/>
                        </a:lnTo>
                        <a:lnTo>
                          <a:pt x="486" y="390"/>
                        </a:lnTo>
                        <a:lnTo>
                          <a:pt x="480" y="384"/>
                        </a:lnTo>
                        <a:lnTo>
                          <a:pt x="480" y="378"/>
                        </a:lnTo>
                        <a:lnTo>
                          <a:pt x="498" y="378"/>
                        </a:lnTo>
                        <a:lnTo>
                          <a:pt x="492" y="366"/>
                        </a:lnTo>
                        <a:lnTo>
                          <a:pt x="480" y="360"/>
                        </a:lnTo>
                        <a:lnTo>
                          <a:pt x="474" y="348"/>
                        </a:lnTo>
                        <a:lnTo>
                          <a:pt x="474" y="336"/>
                        </a:lnTo>
                        <a:lnTo>
                          <a:pt x="492" y="336"/>
                        </a:lnTo>
                        <a:lnTo>
                          <a:pt x="498" y="342"/>
                        </a:lnTo>
                        <a:lnTo>
                          <a:pt x="510" y="342"/>
                        </a:lnTo>
                        <a:lnTo>
                          <a:pt x="516" y="348"/>
                        </a:lnTo>
                        <a:lnTo>
                          <a:pt x="516" y="342"/>
                        </a:lnTo>
                        <a:lnTo>
                          <a:pt x="522" y="336"/>
                        </a:lnTo>
                        <a:lnTo>
                          <a:pt x="522" y="324"/>
                        </a:lnTo>
                        <a:lnTo>
                          <a:pt x="516" y="324"/>
                        </a:lnTo>
                        <a:lnTo>
                          <a:pt x="504" y="318"/>
                        </a:lnTo>
                        <a:lnTo>
                          <a:pt x="498" y="318"/>
                        </a:lnTo>
                        <a:lnTo>
                          <a:pt x="498" y="306"/>
                        </a:lnTo>
                        <a:lnTo>
                          <a:pt x="504" y="294"/>
                        </a:lnTo>
                        <a:lnTo>
                          <a:pt x="510" y="288"/>
                        </a:lnTo>
                        <a:lnTo>
                          <a:pt x="492" y="282"/>
                        </a:lnTo>
                        <a:lnTo>
                          <a:pt x="504" y="264"/>
                        </a:lnTo>
                        <a:lnTo>
                          <a:pt x="486" y="258"/>
                        </a:lnTo>
                        <a:lnTo>
                          <a:pt x="480" y="222"/>
                        </a:lnTo>
                        <a:lnTo>
                          <a:pt x="498" y="198"/>
                        </a:lnTo>
                        <a:lnTo>
                          <a:pt x="468" y="168"/>
                        </a:lnTo>
                        <a:lnTo>
                          <a:pt x="468" y="132"/>
                        </a:lnTo>
                        <a:lnTo>
                          <a:pt x="444" y="132"/>
                        </a:lnTo>
                        <a:lnTo>
                          <a:pt x="468" y="96"/>
                        </a:lnTo>
                        <a:lnTo>
                          <a:pt x="432" y="78"/>
                        </a:lnTo>
                        <a:lnTo>
                          <a:pt x="444" y="48"/>
                        </a:lnTo>
                        <a:lnTo>
                          <a:pt x="426" y="36"/>
                        </a:lnTo>
                        <a:lnTo>
                          <a:pt x="426" y="18"/>
                        </a:lnTo>
                        <a:lnTo>
                          <a:pt x="414" y="12"/>
                        </a:lnTo>
                        <a:lnTo>
                          <a:pt x="402" y="12"/>
                        </a:lnTo>
                        <a:lnTo>
                          <a:pt x="396" y="18"/>
                        </a:lnTo>
                        <a:lnTo>
                          <a:pt x="396" y="36"/>
                        </a:lnTo>
                        <a:lnTo>
                          <a:pt x="378" y="54"/>
                        </a:lnTo>
                        <a:lnTo>
                          <a:pt x="366" y="48"/>
                        </a:lnTo>
                        <a:lnTo>
                          <a:pt x="360" y="42"/>
                        </a:lnTo>
                        <a:lnTo>
                          <a:pt x="348" y="36"/>
                        </a:lnTo>
                        <a:lnTo>
                          <a:pt x="342" y="36"/>
                        </a:lnTo>
                        <a:lnTo>
                          <a:pt x="336" y="30"/>
                        </a:lnTo>
                        <a:lnTo>
                          <a:pt x="330" y="30"/>
                        </a:lnTo>
                        <a:lnTo>
                          <a:pt x="324" y="42"/>
                        </a:lnTo>
                        <a:lnTo>
                          <a:pt x="312" y="54"/>
                        </a:lnTo>
                        <a:lnTo>
                          <a:pt x="306" y="66"/>
                        </a:lnTo>
                        <a:lnTo>
                          <a:pt x="306" y="54"/>
                        </a:lnTo>
                        <a:lnTo>
                          <a:pt x="300" y="42"/>
                        </a:lnTo>
                        <a:lnTo>
                          <a:pt x="288" y="30"/>
                        </a:lnTo>
                        <a:lnTo>
                          <a:pt x="276" y="42"/>
                        </a:lnTo>
                        <a:lnTo>
                          <a:pt x="270" y="54"/>
                        </a:lnTo>
                        <a:lnTo>
                          <a:pt x="264" y="60"/>
                        </a:lnTo>
                        <a:lnTo>
                          <a:pt x="258" y="54"/>
                        </a:lnTo>
                        <a:lnTo>
                          <a:pt x="258" y="48"/>
                        </a:lnTo>
                        <a:lnTo>
                          <a:pt x="252" y="36"/>
                        </a:lnTo>
                        <a:lnTo>
                          <a:pt x="252" y="24"/>
                        </a:lnTo>
                        <a:lnTo>
                          <a:pt x="210" y="24"/>
                        </a:lnTo>
                        <a:lnTo>
                          <a:pt x="204" y="30"/>
                        </a:lnTo>
                        <a:lnTo>
                          <a:pt x="192" y="36"/>
                        </a:lnTo>
                        <a:lnTo>
                          <a:pt x="180" y="36"/>
                        </a:lnTo>
                        <a:lnTo>
                          <a:pt x="174" y="30"/>
                        </a:lnTo>
                        <a:lnTo>
                          <a:pt x="168" y="18"/>
                        </a:lnTo>
                        <a:lnTo>
                          <a:pt x="162" y="12"/>
                        </a:lnTo>
                        <a:lnTo>
                          <a:pt x="156" y="18"/>
                        </a:lnTo>
                        <a:lnTo>
                          <a:pt x="138" y="18"/>
                        </a:lnTo>
                        <a:lnTo>
                          <a:pt x="132" y="6"/>
                        </a:lnTo>
                        <a:lnTo>
                          <a:pt x="132" y="0"/>
                        </a:lnTo>
                        <a:lnTo>
                          <a:pt x="96"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31" name="Guatemala"/>
                  <p:cNvSpPr>
                    <a:spLocks/>
                  </p:cNvSpPr>
                  <p:nvPr/>
                </p:nvSpPr>
                <p:spPr bwMode="gray">
                  <a:xfrm>
                    <a:off x="989" y="1941"/>
                    <a:ext cx="76" cy="86"/>
                  </a:xfrm>
                  <a:custGeom>
                    <a:avLst/>
                    <a:gdLst>
                      <a:gd name="T0" fmla="*/ 2147483647 w 300"/>
                      <a:gd name="T1" fmla="*/ 2147483647 h 336"/>
                      <a:gd name="T2" fmla="*/ 2147483647 w 300"/>
                      <a:gd name="T3" fmla="*/ 2147483647 h 336"/>
                      <a:gd name="T4" fmla="*/ 2147483647 w 300"/>
                      <a:gd name="T5" fmla="*/ 2147483647 h 336"/>
                      <a:gd name="T6" fmla="*/ 2147483647 w 300"/>
                      <a:gd name="T7" fmla="*/ 2147483647 h 336"/>
                      <a:gd name="T8" fmla="*/ 2147483647 w 300"/>
                      <a:gd name="T9" fmla="*/ 2147483647 h 336"/>
                      <a:gd name="T10" fmla="*/ 2147483647 w 300"/>
                      <a:gd name="T11" fmla="*/ 0 h 336"/>
                      <a:gd name="T12" fmla="*/ 2147483647 w 300"/>
                      <a:gd name="T13" fmla="*/ 2147483647 h 336"/>
                      <a:gd name="T14" fmla="*/ 2147483647 w 300"/>
                      <a:gd name="T15" fmla="*/ 2147483647 h 336"/>
                      <a:gd name="T16" fmla="*/ 2147483647 w 300"/>
                      <a:gd name="T17" fmla="*/ 2147483647 h 336"/>
                      <a:gd name="T18" fmla="*/ 2147483647 w 300"/>
                      <a:gd name="T19" fmla="*/ 2147483647 h 336"/>
                      <a:gd name="T20" fmla="*/ 2147483647 w 300"/>
                      <a:gd name="T21" fmla="*/ 2147483647 h 336"/>
                      <a:gd name="T22" fmla="*/ 2147483647 w 300"/>
                      <a:gd name="T23" fmla="*/ 2147483647 h 336"/>
                      <a:gd name="T24" fmla="*/ 2147483647 w 300"/>
                      <a:gd name="T25" fmla="*/ 2147483647 h 336"/>
                      <a:gd name="T26" fmla="*/ 2147483647 w 300"/>
                      <a:gd name="T27" fmla="*/ 2147483647 h 336"/>
                      <a:gd name="T28" fmla="*/ 2147483647 w 300"/>
                      <a:gd name="T29" fmla="*/ 2147483647 h 336"/>
                      <a:gd name="T30" fmla="*/ 2147483647 w 300"/>
                      <a:gd name="T31" fmla="*/ 2147483647 h 336"/>
                      <a:gd name="T32" fmla="*/ 2147483647 w 300"/>
                      <a:gd name="T33" fmla="*/ 2147483647 h 336"/>
                      <a:gd name="T34" fmla="*/ 2147483647 w 300"/>
                      <a:gd name="T35" fmla="*/ 2147483647 h 336"/>
                      <a:gd name="T36" fmla="*/ 2147483647 w 300"/>
                      <a:gd name="T37" fmla="*/ 2147483647 h 336"/>
                      <a:gd name="T38" fmla="*/ 2147483647 w 300"/>
                      <a:gd name="T39" fmla="*/ 2147483647 h 336"/>
                      <a:gd name="T40" fmla="*/ 2147483647 w 300"/>
                      <a:gd name="T41" fmla="*/ 2147483647 h 336"/>
                      <a:gd name="T42" fmla="*/ 2147483647 w 300"/>
                      <a:gd name="T43" fmla="*/ 2147483647 h 336"/>
                      <a:gd name="T44" fmla="*/ 2147483647 w 300"/>
                      <a:gd name="T45" fmla="*/ 2147483647 h 336"/>
                      <a:gd name="T46" fmla="*/ 2147483647 w 300"/>
                      <a:gd name="T47" fmla="*/ 2147483647 h 336"/>
                      <a:gd name="T48" fmla="*/ 2147483647 w 300"/>
                      <a:gd name="T49" fmla="*/ 2147483647 h 336"/>
                      <a:gd name="T50" fmla="*/ 2147483647 w 300"/>
                      <a:gd name="T51" fmla="*/ 2147483647 h 336"/>
                      <a:gd name="T52" fmla="*/ 2147483647 w 300"/>
                      <a:gd name="T53" fmla="*/ 2147483647 h 336"/>
                      <a:gd name="T54" fmla="*/ 2147483647 w 300"/>
                      <a:gd name="T55" fmla="*/ 2147483647 h 336"/>
                      <a:gd name="T56" fmla="*/ 2147483647 w 300"/>
                      <a:gd name="T57" fmla="*/ 2147483647 h 336"/>
                      <a:gd name="T58" fmla="*/ 0 w 300"/>
                      <a:gd name="T59" fmla="*/ 2147483647 h 336"/>
                      <a:gd name="T60" fmla="*/ 2147483647 w 300"/>
                      <a:gd name="T61" fmla="*/ 2147483647 h 336"/>
                      <a:gd name="T62" fmla="*/ 2147483647 w 300"/>
                      <a:gd name="T63" fmla="*/ 2147483647 h 336"/>
                      <a:gd name="T64" fmla="*/ 2147483647 w 300"/>
                      <a:gd name="T65" fmla="*/ 2147483647 h 336"/>
                      <a:gd name="T66" fmla="*/ 2147483647 w 300"/>
                      <a:gd name="T67" fmla="*/ 2147483647 h 336"/>
                      <a:gd name="T68" fmla="*/ 2147483647 w 300"/>
                      <a:gd name="T69" fmla="*/ 2147483647 h 336"/>
                      <a:gd name="T70" fmla="*/ 2147483647 w 300"/>
                      <a:gd name="T71" fmla="*/ 2147483647 h 336"/>
                      <a:gd name="T72" fmla="*/ 2147483647 w 300"/>
                      <a:gd name="T73" fmla="*/ 2147483647 h 336"/>
                      <a:gd name="T74" fmla="*/ 2147483647 w 300"/>
                      <a:gd name="T75" fmla="*/ 2147483647 h 336"/>
                      <a:gd name="T76" fmla="*/ 2147483647 w 300"/>
                      <a:gd name="T77" fmla="*/ 2147483647 h 336"/>
                      <a:gd name="T78" fmla="*/ 2147483647 w 300"/>
                      <a:gd name="T79" fmla="*/ 2147483647 h 336"/>
                      <a:gd name="T80" fmla="*/ 2147483647 w 300"/>
                      <a:gd name="T81" fmla="*/ 2147483647 h 336"/>
                      <a:gd name="T82" fmla="*/ 2147483647 w 300"/>
                      <a:gd name="T83" fmla="*/ 2147483647 h 336"/>
                      <a:gd name="T84" fmla="*/ 2147483647 w 300"/>
                      <a:gd name="T85" fmla="*/ 2147483647 h 336"/>
                      <a:gd name="T86" fmla="*/ 2147483647 w 300"/>
                      <a:gd name="T87" fmla="*/ 2147483647 h 336"/>
                      <a:gd name="T88" fmla="*/ 2147483647 w 300"/>
                      <a:gd name="T89" fmla="*/ 2147483647 h 336"/>
                      <a:gd name="T90" fmla="*/ 2147483647 w 300"/>
                      <a:gd name="T91" fmla="*/ 2147483647 h 336"/>
                      <a:gd name="T92" fmla="*/ 2147483647 w 300"/>
                      <a:gd name="T93" fmla="*/ 2147483647 h 336"/>
                      <a:gd name="T94" fmla="*/ 2147483647 w 300"/>
                      <a:gd name="T95" fmla="*/ 2147483647 h 336"/>
                      <a:gd name="T96" fmla="*/ 2147483647 w 300"/>
                      <a:gd name="T97" fmla="*/ 2147483647 h 336"/>
                      <a:gd name="T98" fmla="*/ 2147483647 w 300"/>
                      <a:gd name="T99" fmla="*/ 2147483647 h 336"/>
                      <a:gd name="T100" fmla="*/ 2147483647 w 300"/>
                      <a:gd name="T101" fmla="*/ 2147483647 h 336"/>
                      <a:gd name="T102" fmla="*/ 2147483647 w 300"/>
                      <a:gd name="T103" fmla="*/ 2147483647 h 336"/>
                      <a:gd name="T104" fmla="*/ 2147483647 w 300"/>
                      <a:gd name="T105" fmla="*/ 2147483647 h 336"/>
                      <a:gd name="T106" fmla="*/ 2147483647 w 300"/>
                      <a:gd name="T107" fmla="*/ 2147483647 h 336"/>
                      <a:gd name="T108" fmla="*/ 2147483647 w 300"/>
                      <a:gd name="T109" fmla="*/ 2147483647 h 336"/>
                      <a:gd name="T110" fmla="*/ 2147483647 w 300"/>
                      <a:gd name="T111" fmla="*/ 2147483647 h 336"/>
                      <a:gd name="T112" fmla="*/ 2147483647 w 300"/>
                      <a:gd name="T113" fmla="*/ 2147483647 h 336"/>
                      <a:gd name="T114" fmla="*/ 2147483647 w 300"/>
                      <a:gd name="T115" fmla="*/ 2147483647 h 336"/>
                      <a:gd name="T116" fmla="*/ 2147483647 w 300"/>
                      <a:gd name="T117" fmla="*/ 2147483647 h 336"/>
                      <a:gd name="T118" fmla="*/ 2147483647 w 300"/>
                      <a:gd name="T119" fmla="*/ 2147483647 h 336"/>
                      <a:gd name="T120" fmla="*/ 2147483647 w 300"/>
                      <a:gd name="T121" fmla="*/ 2147483647 h 3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00"/>
                      <a:gd name="T184" fmla="*/ 0 h 336"/>
                      <a:gd name="T185" fmla="*/ 300 w 300"/>
                      <a:gd name="T186" fmla="*/ 336 h 3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00" h="336">
                        <a:moveTo>
                          <a:pt x="288" y="156"/>
                        </a:moveTo>
                        <a:lnTo>
                          <a:pt x="270" y="168"/>
                        </a:lnTo>
                        <a:lnTo>
                          <a:pt x="258" y="162"/>
                        </a:lnTo>
                        <a:lnTo>
                          <a:pt x="228" y="162"/>
                        </a:lnTo>
                        <a:lnTo>
                          <a:pt x="252" y="6"/>
                        </a:lnTo>
                        <a:lnTo>
                          <a:pt x="120" y="0"/>
                        </a:lnTo>
                        <a:lnTo>
                          <a:pt x="120" y="12"/>
                        </a:lnTo>
                        <a:lnTo>
                          <a:pt x="126" y="24"/>
                        </a:lnTo>
                        <a:lnTo>
                          <a:pt x="126" y="48"/>
                        </a:lnTo>
                        <a:lnTo>
                          <a:pt x="120" y="48"/>
                        </a:lnTo>
                        <a:lnTo>
                          <a:pt x="108" y="54"/>
                        </a:lnTo>
                        <a:lnTo>
                          <a:pt x="84" y="54"/>
                        </a:lnTo>
                        <a:lnTo>
                          <a:pt x="96" y="60"/>
                        </a:lnTo>
                        <a:lnTo>
                          <a:pt x="96" y="66"/>
                        </a:lnTo>
                        <a:lnTo>
                          <a:pt x="102" y="78"/>
                        </a:lnTo>
                        <a:lnTo>
                          <a:pt x="108" y="84"/>
                        </a:lnTo>
                        <a:lnTo>
                          <a:pt x="114" y="84"/>
                        </a:lnTo>
                        <a:lnTo>
                          <a:pt x="126" y="90"/>
                        </a:lnTo>
                        <a:lnTo>
                          <a:pt x="132" y="90"/>
                        </a:lnTo>
                        <a:lnTo>
                          <a:pt x="138" y="114"/>
                        </a:lnTo>
                        <a:lnTo>
                          <a:pt x="156" y="114"/>
                        </a:lnTo>
                        <a:lnTo>
                          <a:pt x="156" y="126"/>
                        </a:lnTo>
                        <a:lnTo>
                          <a:pt x="150" y="132"/>
                        </a:lnTo>
                        <a:lnTo>
                          <a:pt x="144" y="132"/>
                        </a:lnTo>
                        <a:lnTo>
                          <a:pt x="144" y="150"/>
                        </a:lnTo>
                        <a:lnTo>
                          <a:pt x="54" y="144"/>
                        </a:lnTo>
                        <a:lnTo>
                          <a:pt x="24" y="192"/>
                        </a:lnTo>
                        <a:lnTo>
                          <a:pt x="24" y="264"/>
                        </a:lnTo>
                        <a:lnTo>
                          <a:pt x="18" y="270"/>
                        </a:lnTo>
                        <a:lnTo>
                          <a:pt x="0" y="270"/>
                        </a:lnTo>
                        <a:lnTo>
                          <a:pt x="6" y="282"/>
                        </a:lnTo>
                        <a:lnTo>
                          <a:pt x="12" y="288"/>
                        </a:lnTo>
                        <a:lnTo>
                          <a:pt x="24" y="288"/>
                        </a:lnTo>
                        <a:lnTo>
                          <a:pt x="42" y="300"/>
                        </a:lnTo>
                        <a:lnTo>
                          <a:pt x="60" y="318"/>
                        </a:lnTo>
                        <a:lnTo>
                          <a:pt x="72" y="324"/>
                        </a:lnTo>
                        <a:lnTo>
                          <a:pt x="120" y="324"/>
                        </a:lnTo>
                        <a:lnTo>
                          <a:pt x="126" y="330"/>
                        </a:lnTo>
                        <a:lnTo>
                          <a:pt x="132" y="330"/>
                        </a:lnTo>
                        <a:lnTo>
                          <a:pt x="138" y="336"/>
                        </a:lnTo>
                        <a:lnTo>
                          <a:pt x="150" y="324"/>
                        </a:lnTo>
                        <a:lnTo>
                          <a:pt x="162" y="318"/>
                        </a:lnTo>
                        <a:lnTo>
                          <a:pt x="168" y="312"/>
                        </a:lnTo>
                        <a:lnTo>
                          <a:pt x="174" y="312"/>
                        </a:lnTo>
                        <a:lnTo>
                          <a:pt x="180" y="300"/>
                        </a:lnTo>
                        <a:lnTo>
                          <a:pt x="186" y="294"/>
                        </a:lnTo>
                        <a:lnTo>
                          <a:pt x="186" y="282"/>
                        </a:lnTo>
                        <a:lnTo>
                          <a:pt x="204" y="282"/>
                        </a:lnTo>
                        <a:lnTo>
                          <a:pt x="210" y="276"/>
                        </a:lnTo>
                        <a:lnTo>
                          <a:pt x="222" y="270"/>
                        </a:lnTo>
                        <a:lnTo>
                          <a:pt x="222" y="264"/>
                        </a:lnTo>
                        <a:lnTo>
                          <a:pt x="228" y="252"/>
                        </a:lnTo>
                        <a:lnTo>
                          <a:pt x="228" y="234"/>
                        </a:lnTo>
                        <a:lnTo>
                          <a:pt x="234" y="222"/>
                        </a:lnTo>
                        <a:lnTo>
                          <a:pt x="246" y="216"/>
                        </a:lnTo>
                        <a:lnTo>
                          <a:pt x="258" y="204"/>
                        </a:lnTo>
                        <a:lnTo>
                          <a:pt x="270" y="198"/>
                        </a:lnTo>
                        <a:lnTo>
                          <a:pt x="282" y="186"/>
                        </a:lnTo>
                        <a:lnTo>
                          <a:pt x="294" y="180"/>
                        </a:lnTo>
                        <a:lnTo>
                          <a:pt x="300" y="168"/>
                        </a:lnTo>
                        <a:lnTo>
                          <a:pt x="288" y="15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32" name="Greenland"/>
                  <p:cNvSpPr>
                    <a:spLocks noEditPoints="1"/>
                  </p:cNvSpPr>
                  <p:nvPr/>
                </p:nvSpPr>
                <p:spPr bwMode="gray">
                  <a:xfrm>
                    <a:off x="1871" y="702"/>
                    <a:ext cx="717" cy="390"/>
                  </a:xfrm>
                  <a:custGeom>
                    <a:avLst/>
                    <a:gdLst>
                      <a:gd name="T0" fmla="*/ 2147483647 w 732"/>
                      <a:gd name="T1" fmla="*/ 2147483647 h 398"/>
                      <a:gd name="T2" fmla="*/ 2147483647 w 732"/>
                      <a:gd name="T3" fmla="*/ 2147483647 h 398"/>
                      <a:gd name="T4" fmla="*/ 2147483647 w 732"/>
                      <a:gd name="T5" fmla="*/ 2147483647 h 398"/>
                      <a:gd name="T6" fmla="*/ 2147483647 w 732"/>
                      <a:gd name="T7" fmla="*/ 2147483647 h 398"/>
                      <a:gd name="T8" fmla="*/ 2147483647 w 732"/>
                      <a:gd name="T9" fmla="*/ 2147483647 h 398"/>
                      <a:gd name="T10" fmla="*/ 2147483647 w 732"/>
                      <a:gd name="T11" fmla="*/ 2147483647 h 398"/>
                      <a:gd name="T12" fmla="*/ 2147483647 w 732"/>
                      <a:gd name="T13" fmla="*/ 2147483647 h 398"/>
                      <a:gd name="T14" fmla="*/ 2147483647 w 732"/>
                      <a:gd name="T15" fmla="*/ 2147483647 h 398"/>
                      <a:gd name="T16" fmla="*/ 2147483647 w 732"/>
                      <a:gd name="T17" fmla="*/ 2147483647 h 398"/>
                      <a:gd name="T18" fmla="*/ 2147483647 w 732"/>
                      <a:gd name="T19" fmla="*/ 2147483647 h 398"/>
                      <a:gd name="T20" fmla="*/ 2147483647 w 732"/>
                      <a:gd name="T21" fmla="*/ 2147483647 h 398"/>
                      <a:gd name="T22" fmla="*/ 2147483647 w 732"/>
                      <a:gd name="T23" fmla="*/ 2147483647 h 398"/>
                      <a:gd name="T24" fmla="*/ 2147483647 w 732"/>
                      <a:gd name="T25" fmla="*/ 2147483647 h 398"/>
                      <a:gd name="T26" fmla="*/ 2147483647 w 732"/>
                      <a:gd name="T27" fmla="*/ 2147483647 h 398"/>
                      <a:gd name="T28" fmla="*/ 2147483647 w 732"/>
                      <a:gd name="T29" fmla="*/ 2147483647 h 398"/>
                      <a:gd name="T30" fmla="*/ 2147483647 w 732"/>
                      <a:gd name="T31" fmla="*/ 2147483647 h 398"/>
                      <a:gd name="T32" fmla="*/ 2147483647 w 732"/>
                      <a:gd name="T33" fmla="*/ 2147483647 h 398"/>
                      <a:gd name="T34" fmla="*/ 2147483647 w 732"/>
                      <a:gd name="T35" fmla="*/ 2147483647 h 398"/>
                      <a:gd name="T36" fmla="*/ 2147483647 w 732"/>
                      <a:gd name="T37" fmla="*/ 2147483647 h 398"/>
                      <a:gd name="T38" fmla="*/ 2147483647 w 732"/>
                      <a:gd name="T39" fmla="*/ 2147483647 h 398"/>
                      <a:gd name="T40" fmla="*/ 2147483647 w 732"/>
                      <a:gd name="T41" fmla="*/ 2147483647 h 398"/>
                      <a:gd name="T42" fmla="*/ 2147483647 w 732"/>
                      <a:gd name="T43" fmla="*/ 2147483647 h 398"/>
                      <a:gd name="T44" fmla="*/ 2147483647 w 732"/>
                      <a:gd name="T45" fmla="*/ 2147483647 h 398"/>
                      <a:gd name="T46" fmla="*/ 2147483647 w 732"/>
                      <a:gd name="T47" fmla="*/ 2147483647 h 398"/>
                      <a:gd name="T48" fmla="*/ 2147483647 w 732"/>
                      <a:gd name="T49" fmla="*/ 2147483647 h 398"/>
                      <a:gd name="T50" fmla="*/ 2147483647 w 732"/>
                      <a:gd name="T51" fmla="*/ 2147483647 h 398"/>
                      <a:gd name="T52" fmla="*/ 2147483647 w 732"/>
                      <a:gd name="T53" fmla="*/ 2147483647 h 398"/>
                      <a:gd name="T54" fmla="*/ 2147483647 w 732"/>
                      <a:gd name="T55" fmla="*/ 2147483647 h 398"/>
                      <a:gd name="T56" fmla="*/ 2147483647 w 732"/>
                      <a:gd name="T57" fmla="*/ 2147483647 h 398"/>
                      <a:gd name="T58" fmla="*/ 2147483647 w 732"/>
                      <a:gd name="T59" fmla="*/ 2147483647 h 398"/>
                      <a:gd name="T60" fmla="*/ 2147483647 w 732"/>
                      <a:gd name="T61" fmla="*/ 2147483647 h 398"/>
                      <a:gd name="T62" fmla="*/ 2147483647 w 732"/>
                      <a:gd name="T63" fmla="*/ 2147483647 h 398"/>
                      <a:gd name="T64" fmla="*/ 2147483647 w 732"/>
                      <a:gd name="T65" fmla="*/ 2147483647 h 398"/>
                      <a:gd name="T66" fmla="*/ 2147483647 w 732"/>
                      <a:gd name="T67" fmla="*/ 2147483647 h 398"/>
                      <a:gd name="T68" fmla="*/ 2147483647 w 732"/>
                      <a:gd name="T69" fmla="*/ 2147483647 h 398"/>
                      <a:gd name="T70" fmla="*/ 2147483647 w 732"/>
                      <a:gd name="T71" fmla="*/ 2147483647 h 398"/>
                      <a:gd name="T72" fmla="*/ 2147483647 w 732"/>
                      <a:gd name="T73" fmla="*/ 2147483647 h 398"/>
                      <a:gd name="T74" fmla="*/ 2147483647 w 732"/>
                      <a:gd name="T75" fmla="*/ 2147483647 h 398"/>
                      <a:gd name="T76" fmla="*/ 2147483647 w 732"/>
                      <a:gd name="T77" fmla="*/ 2147483647 h 398"/>
                      <a:gd name="T78" fmla="*/ 2147483647 w 732"/>
                      <a:gd name="T79" fmla="*/ 2147483647 h 398"/>
                      <a:gd name="T80" fmla="*/ 2147483647 w 732"/>
                      <a:gd name="T81" fmla="*/ 2147483647 h 398"/>
                      <a:gd name="T82" fmla="*/ 2147483647 w 732"/>
                      <a:gd name="T83" fmla="*/ 2147483647 h 398"/>
                      <a:gd name="T84" fmla="*/ 2147483647 w 732"/>
                      <a:gd name="T85" fmla="*/ 2147483647 h 398"/>
                      <a:gd name="T86" fmla="*/ 2147483647 w 732"/>
                      <a:gd name="T87" fmla="*/ 2147483647 h 398"/>
                      <a:gd name="T88" fmla="*/ 2147483647 w 732"/>
                      <a:gd name="T89" fmla="*/ 2147483647 h 398"/>
                      <a:gd name="T90" fmla="*/ 2147483647 w 732"/>
                      <a:gd name="T91" fmla="*/ 2147483647 h 398"/>
                      <a:gd name="T92" fmla="*/ 2147483647 w 732"/>
                      <a:gd name="T93" fmla="*/ 2147483647 h 398"/>
                      <a:gd name="T94" fmla="*/ 2147483647 w 732"/>
                      <a:gd name="T95" fmla="*/ 2147483647 h 398"/>
                      <a:gd name="T96" fmla="*/ 2147483647 w 732"/>
                      <a:gd name="T97" fmla="*/ 2147483647 h 398"/>
                      <a:gd name="T98" fmla="*/ 2147483647 w 732"/>
                      <a:gd name="T99" fmla="*/ 2147483647 h 398"/>
                      <a:gd name="T100" fmla="*/ 2147483647 w 732"/>
                      <a:gd name="T101" fmla="*/ 2147483647 h 398"/>
                      <a:gd name="T102" fmla="*/ 2147483647 w 732"/>
                      <a:gd name="T103" fmla="*/ 2147483647 h 398"/>
                      <a:gd name="T104" fmla="*/ 2147483647 w 732"/>
                      <a:gd name="T105" fmla="*/ 2147483647 h 398"/>
                      <a:gd name="T106" fmla="*/ 2147483647 w 732"/>
                      <a:gd name="T107" fmla="*/ 2147483647 h 398"/>
                      <a:gd name="T108" fmla="*/ 2147483647 w 732"/>
                      <a:gd name="T109" fmla="*/ 2147483647 h 398"/>
                      <a:gd name="T110" fmla="*/ 2147483647 w 732"/>
                      <a:gd name="T111" fmla="*/ 2147483647 h 398"/>
                      <a:gd name="T112" fmla="*/ 2147483647 w 732"/>
                      <a:gd name="T113" fmla="*/ 2147483647 h 398"/>
                      <a:gd name="T114" fmla="*/ 2147483647 w 732"/>
                      <a:gd name="T115" fmla="*/ 2147483647 h 398"/>
                      <a:gd name="T116" fmla="*/ 2147483647 w 732"/>
                      <a:gd name="T117" fmla="*/ 2147483647 h 398"/>
                      <a:gd name="T118" fmla="*/ 2147483647 w 732"/>
                      <a:gd name="T119" fmla="*/ 2147483647 h 398"/>
                      <a:gd name="T120" fmla="*/ 2147483647 w 732"/>
                      <a:gd name="T121" fmla="*/ 2147483647 h 398"/>
                      <a:gd name="T122" fmla="*/ 2147483647 w 732"/>
                      <a:gd name="T123" fmla="*/ 2147483647 h 3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732"/>
                      <a:gd name="T187" fmla="*/ 0 h 398"/>
                      <a:gd name="T188" fmla="*/ 732 w 732"/>
                      <a:gd name="T189" fmla="*/ 398 h 3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732" h="398">
                        <a:moveTo>
                          <a:pt x="730" y="24"/>
                        </a:moveTo>
                        <a:lnTo>
                          <a:pt x="728" y="24"/>
                        </a:lnTo>
                        <a:lnTo>
                          <a:pt x="723" y="24"/>
                        </a:lnTo>
                        <a:lnTo>
                          <a:pt x="718" y="22"/>
                        </a:lnTo>
                        <a:lnTo>
                          <a:pt x="678" y="22"/>
                        </a:lnTo>
                        <a:lnTo>
                          <a:pt x="678" y="24"/>
                        </a:lnTo>
                        <a:lnTo>
                          <a:pt x="670" y="26"/>
                        </a:lnTo>
                        <a:lnTo>
                          <a:pt x="659" y="26"/>
                        </a:lnTo>
                        <a:lnTo>
                          <a:pt x="651" y="24"/>
                        </a:lnTo>
                        <a:lnTo>
                          <a:pt x="637" y="24"/>
                        </a:lnTo>
                        <a:lnTo>
                          <a:pt x="623" y="29"/>
                        </a:lnTo>
                        <a:lnTo>
                          <a:pt x="616" y="34"/>
                        </a:lnTo>
                        <a:lnTo>
                          <a:pt x="611" y="34"/>
                        </a:lnTo>
                        <a:lnTo>
                          <a:pt x="606" y="34"/>
                        </a:lnTo>
                        <a:lnTo>
                          <a:pt x="604" y="36"/>
                        </a:lnTo>
                        <a:lnTo>
                          <a:pt x="602" y="36"/>
                        </a:lnTo>
                        <a:lnTo>
                          <a:pt x="597" y="38"/>
                        </a:lnTo>
                        <a:lnTo>
                          <a:pt x="592" y="38"/>
                        </a:lnTo>
                        <a:lnTo>
                          <a:pt x="599" y="34"/>
                        </a:lnTo>
                        <a:lnTo>
                          <a:pt x="609" y="31"/>
                        </a:lnTo>
                        <a:lnTo>
                          <a:pt x="621" y="26"/>
                        </a:lnTo>
                        <a:lnTo>
                          <a:pt x="623" y="24"/>
                        </a:lnTo>
                        <a:lnTo>
                          <a:pt x="618" y="19"/>
                        </a:lnTo>
                        <a:lnTo>
                          <a:pt x="606" y="19"/>
                        </a:lnTo>
                        <a:lnTo>
                          <a:pt x="604" y="22"/>
                        </a:lnTo>
                        <a:lnTo>
                          <a:pt x="602" y="22"/>
                        </a:lnTo>
                        <a:lnTo>
                          <a:pt x="597" y="24"/>
                        </a:lnTo>
                        <a:lnTo>
                          <a:pt x="594" y="24"/>
                        </a:lnTo>
                        <a:lnTo>
                          <a:pt x="566" y="26"/>
                        </a:lnTo>
                        <a:lnTo>
                          <a:pt x="566" y="29"/>
                        </a:lnTo>
                        <a:lnTo>
                          <a:pt x="563" y="29"/>
                        </a:lnTo>
                        <a:lnTo>
                          <a:pt x="566" y="26"/>
                        </a:lnTo>
                        <a:lnTo>
                          <a:pt x="568" y="26"/>
                        </a:lnTo>
                        <a:lnTo>
                          <a:pt x="573" y="26"/>
                        </a:lnTo>
                        <a:lnTo>
                          <a:pt x="578" y="24"/>
                        </a:lnTo>
                        <a:lnTo>
                          <a:pt x="580" y="24"/>
                        </a:lnTo>
                        <a:lnTo>
                          <a:pt x="582" y="24"/>
                        </a:lnTo>
                        <a:lnTo>
                          <a:pt x="585" y="22"/>
                        </a:lnTo>
                        <a:lnTo>
                          <a:pt x="578" y="19"/>
                        </a:lnTo>
                        <a:lnTo>
                          <a:pt x="552" y="19"/>
                        </a:lnTo>
                        <a:lnTo>
                          <a:pt x="542" y="22"/>
                        </a:lnTo>
                        <a:lnTo>
                          <a:pt x="525" y="19"/>
                        </a:lnTo>
                        <a:lnTo>
                          <a:pt x="523" y="19"/>
                        </a:lnTo>
                        <a:lnTo>
                          <a:pt x="523" y="22"/>
                        </a:lnTo>
                        <a:lnTo>
                          <a:pt x="518" y="22"/>
                        </a:lnTo>
                        <a:lnTo>
                          <a:pt x="514" y="24"/>
                        </a:lnTo>
                        <a:lnTo>
                          <a:pt x="511" y="24"/>
                        </a:lnTo>
                        <a:lnTo>
                          <a:pt x="509" y="24"/>
                        </a:lnTo>
                        <a:lnTo>
                          <a:pt x="506" y="24"/>
                        </a:lnTo>
                        <a:lnTo>
                          <a:pt x="509" y="22"/>
                        </a:lnTo>
                        <a:lnTo>
                          <a:pt x="518" y="19"/>
                        </a:lnTo>
                        <a:lnTo>
                          <a:pt x="530" y="19"/>
                        </a:lnTo>
                        <a:lnTo>
                          <a:pt x="563" y="19"/>
                        </a:lnTo>
                        <a:lnTo>
                          <a:pt x="580" y="17"/>
                        </a:lnTo>
                        <a:lnTo>
                          <a:pt x="625" y="17"/>
                        </a:lnTo>
                        <a:lnTo>
                          <a:pt x="632" y="14"/>
                        </a:lnTo>
                        <a:lnTo>
                          <a:pt x="628" y="12"/>
                        </a:lnTo>
                        <a:lnTo>
                          <a:pt x="618" y="10"/>
                        </a:lnTo>
                        <a:lnTo>
                          <a:pt x="592" y="10"/>
                        </a:lnTo>
                        <a:lnTo>
                          <a:pt x="594" y="10"/>
                        </a:lnTo>
                        <a:lnTo>
                          <a:pt x="597" y="7"/>
                        </a:lnTo>
                        <a:lnTo>
                          <a:pt x="594" y="5"/>
                        </a:lnTo>
                        <a:lnTo>
                          <a:pt x="585" y="5"/>
                        </a:lnTo>
                        <a:lnTo>
                          <a:pt x="582" y="7"/>
                        </a:lnTo>
                        <a:lnTo>
                          <a:pt x="568" y="7"/>
                        </a:lnTo>
                        <a:lnTo>
                          <a:pt x="566" y="5"/>
                        </a:lnTo>
                        <a:lnTo>
                          <a:pt x="571" y="5"/>
                        </a:lnTo>
                        <a:lnTo>
                          <a:pt x="573" y="5"/>
                        </a:lnTo>
                        <a:lnTo>
                          <a:pt x="578" y="5"/>
                        </a:lnTo>
                        <a:lnTo>
                          <a:pt x="578" y="2"/>
                        </a:lnTo>
                        <a:lnTo>
                          <a:pt x="575" y="2"/>
                        </a:lnTo>
                        <a:lnTo>
                          <a:pt x="571" y="0"/>
                        </a:lnTo>
                        <a:lnTo>
                          <a:pt x="537" y="0"/>
                        </a:lnTo>
                        <a:lnTo>
                          <a:pt x="528" y="2"/>
                        </a:lnTo>
                        <a:lnTo>
                          <a:pt x="518" y="2"/>
                        </a:lnTo>
                        <a:lnTo>
                          <a:pt x="509" y="0"/>
                        </a:lnTo>
                        <a:lnTo>
                          <a:pt x="483" y="0"/>
                        </a:lnTo>
                        <a:lnTo>
                          <a:pt x="478" y="2"/>
                        </a:lnTo>
                        <a:lnTo>
                          <a:pt x="454" y="2"/>
                        </a:lnTo>
                        <a:lnTo>
                          <a:pt x="452" y="0"/>
                        </a:lnTo>
                        <a:lnTo>
                          <a:pt x="447" y="0"/>
                        </a:lnTo>
                        <a:lnTo>
                          <a:pt x="445" y="2"/>
                        </a:lnTo>
                        <a:lnTo>
                          <a:pt x="442" y="2"/>
                        </a:lnTo>
                        <a:lnTo>
                          <a:pt x="442" y="5"/>
                        </a:lnTo>
                        <a:lnTo>
                          <a:pt x="445" y="5"/>
                        </a:lnTo>
                        <a:lnTo>
                          <a:pt x="447" y="5"/>
                        </a:lnTo>
                        <a:lnTo>
                          <a:pt x="442" y="7"/>
                        </a:lnTo>
                        <a:lnTo>
                          <a:pt x="428" y="7"/>
                        </a:lnTo>
                        <a:lnTo>
                          <a:pt x="409" y="5"/>
                        </a:lnTo>
                        <a:lnTo>
                          <a:pt x="378" y="5"/>
                        </a:lnTo>
                        <a:lnTo>
                          <a:pt x="373" y="5"/>
                        </a:lnTo>
                        <a:lnTo>
                          <a:pt x="371" y="5"/>
                        </a:lnTo>
                        <a:lnTo>
                          <a:pt x="368" y="7"/>
                        </a:lnTo>
                        <a:lnTo>
                          <a:pt x="366" y="7"/>
                        </a:lnTo>
                        <a:lnTo>
                          <a:pt x="366" y="10"/>
                        </a:lnTo>
                        <a:lnTo>
                          <a:pt x="368" y="10"/>
                        </a:lnTo>
                        <a:lnTo>
                          <a:pt x="378" y="10"/>
                        </a:lnTo>
                        <a:lnTo>
                          <a:pt x="387" y="10"/>
                        </a:lnTo>
                        <a:lnTo>
                          <a:pt x="399" y="12"/>
                        </a:lnTo>
                        <a:lnTo>
                          <a:pt x="404" y="12"/>
                        </a:lnTo>
                        <a:lnTo>
                          <a:pt x="426" y="14"/>
                        </a:lnTo>
                        <a:lnTo>
                          <a:pt x="399" y="14"/>
                        </a:lnTo>
                        <a:lnTo>
                          <a:pt x="395" y="14"/>
                        </a:lnTo>
                        <a:lnTo>
                          <a:pt x="392" y="14"/>
                        </a:lnTo>
                        <a:lnTo>
                          <a:pt x="387" y="12"/>
                        </a:lnTo>
                        <a:lnTo>
                          <a:pt x="378" y="12"/>
                        </a:lnTo>
                        <a:lnTo>
                          <a:pt x="380" y="14"/>
                        </a:lnTo>
                        <a:lnTo>
                          <a:pt x="383" y="14"/>
                        </a:lnTo>
                        <a:lnTo>
                          <a:pt x="385" y="14"/>
                        </a:lnTo>
                        <a:lnTo>
                          <a:pt x="376" y="14"/>
                        </a:lnTo>
                        <a:lnTo>
                          <a:pt x="373" y="17"/>
                        </a:lnTo>
                        <a:lnTo>
                          <a:pt x="373" y="19"/>
                        </a:lnTo>
                        <a:lnTo>
                          <a:pt x="371" y="22"/>
                        </a:lnTo>
                        <a:lnTo>
                          <a:pt x="371" y="24"/>
                        </a:lnTo>
                        <a:lnTo>
                          <a:pt x="368" y="24"/>
                        </a:lnTo>
                        <a:lnTo>
                          <a:pt x="366" y="24"/>
                        </a:lnTo>
                        <a:lnTo>
                          <a:pt x="364" y="24"/>
                        </a:lnTo>
                        <a:lnTo>
                          <a:pt x="359" y="24"/>
                        </a:lnTo>
                        <a:lnTo>
                          <a:pt x="357" y="22"/>
                        </a:lnTo>
                        <a:lnTo>
                          <a:pt x="345" y="19"/>
                        </a:lnTo>
                        <a:lnTo>
                          <a:pt x="330" y="14"/>
                        </a:lnTo>
                        <a:lnTo>
                          <a:pt x="309" y="14"/>
                        </a:lnTo>
                        <a:lnTo>
                          <a:pt x="309" y="24"/>
                        </a:lnTo>
                        <a:lnTo>
                          <a:pt x="297" y="24"/>
                        </a:lnTo>
                        <a:lnTo>
                          <a:pt x="292" y="22"/>
                        </a:lnTo>
                        <a:lnTo>
                          <a:pt x="288" y="22"/>
                        </a:lnTo>
                        <a:lnTo>
                          <a:pt x="285" y="19"/>
                        </a:lnTo>
                        <a:lnTo>
                          <a:pt x="278" y="19"/>
                        </a:lnTo>
                        <a:lnTo>
                          <a:pt x="273" y="22"/>
                        </a:lnTo>
                        <a:lnTo>
                          <a:pt x="273" y="24"/>
                        </a:lnTo>
                        <a:lnTo>
                          <a:pt x="269" y="24"/>
                        </a:lnTo>
                        <a:lnTo>
                          <a:pt x="271" y="19"/>
                        </a:lnTo>
                        <a:lnTo>
                          <a:pt x="269" y="17"/>
                        </a:lnTo>
                        <a:lnTo>
                          <a:pt x="238" y="17"/>
                        </a:lnTo>
                        <a:lnTo>
                          <a:pt x="228" y="19"/>
                        </a:lnTo>
                        <a:lnTo>
                          <a:pt x="209" y="19"/>
                        </a:lnTo>
                        <a:lnTo>
                          <a:pt x="214" y="22"/>
                        </a:lnTo>
                        <a:lnTo>
                          <a:pt x="223" y="26"/>
                        </a:lnTo>
                        <a:lnTo>
                          <a:pt x="226" y="29"/>
                        </a:lnTo>
                        <a:lnTo>
                          <a:pt x="223" y="29"/>
                        </a:lnTo>
                        <a:lnTo>
                          <a:pt x="223" y="26"/>
                        </a:lnTo>
                        <a:lnTo>
                          <a:pt x="214" y="24"/>
                        </a:lnTo>
                        <a:lnTo>
                          <a:pt x="207" y="24"/>
                        </a:lnTo>
                        <a:lnTo>
                          <a:pt x="202" y="22"/>
                        </a:lnTo>
                        <a:lnTo>
                          <a:pt x="197" y="22"/>
                        </a:lnTo>
                        <a:lnTo>
                          <a:pt x="192" y="19"/>
                        </a:lnTo>
                        <a:lnTo>
                          <a:pt x="190" y="19"/>
                        </a:lnTo>
                        <a:lnTo>
                          <a:pt x="188" y="22"/>
                        </a:lnTo>
                        <a:lnTo>
                          <a:pt x="185" y="24"/>
                        </a:lnTo>
                        <a:lnTo>
                          <a:pt x="183" y="26"/>
                        </a:lnTo>
                        <a:lnTo>
                          <a:pt x="178" y="29"/>
                        </a:lnTo>
                        <a:lnTo>
                          <a:pt x="176" y="29"/>
                        </a:lnTo>
                        <a:lnTo>
                          <a:pt x="171" y="31"/>
                        </a:lnTo>
                        <a:lnTo>
                          <a:pt x="150" y="31"/>
                        </a:lnTo>
                        <a:lnTo>
                          <a:pt x="143" y="34"/>
                        </a:lnTo>
                        <a:lnTo>
                          <a:pt x="133" y="36"/>
                        </a:lnTo>
                        <a:lnTo>
                          <a:pt x="124" y="38"/>
                        </a:lnTo>
                        <a:lnTo>
                          <a:pt x="119" y="38"/>
                        </a:lnTo>
                        <a:lnTo>
                          <a:pt x="102" y="41"/>
                        </a:lnTo>
                        <a:lnTo>
                          <a:pt x="97" y="43"/>
                        </a:lnTo>
                        <a:lnTo>
                          <a:pt x="100" y="46"/>
                        </a:lnTo>
                        <a:lnTo>
                          <a:pt x="105" y="48"/>
                        </a:lnTo>
                        <a:lnTo>
                          <a:pt x="126" y="48"/>
                        </a:lnTo>
                        <a:lnTo>
                          <a:pt x="116" y="50"/>
                        </a:lnTo>
                        <a:lnTo>
                          <a:pt x="112" y="55"/>
                        </a:lnTo>
                        <a:lnTo>
                          <a:pt x="109" y="55"/>
                        </a:lnTo>
                        <a:lnTo>
                          <a:pt x="93" y="60"/>
                        </a:lnTo>
                        <a:lnTo>
                          <a:pt x="88" y="60"/>
                        </a:lnTo>
                        <a:lnTo>
                          <a:pt x="66" y="60"/>
                        </a:lnTo>
                        <a:lnTo>
                          <a:pt x="57" y="62"/>
                        </a:lnTo>
                        <a:lnTo>
                          <a:pt x="47" y="65"/>
                        </a:lnTo>
                        <a:lnTo>
                          <a:pt x="45" y="67"/>
                        </a:lnTo>
                        <a:lnTo>
                          <a:pt x="40" y="67"/>
                        </a:lnTo>
                        <a:lnTo>
                          <a:pt x="38" y="65"/>
                        </a:lnTo>
                        <a:lnTo>
                          <a:pt x="31" y="70"/>
                        </a:lnTo>
                        <a:lnTo>
                          <a:pt x="9" y="70"/>
                        </a:lnTo>
                        <a:lnTo>
                          <a:pt x="7" y="70"/>
                        </a:lnTo>
                        <a:lnTo>
                          <a:pt x="2" y="70"/>
                        </a:lnTo>
                        <a:lnTo>
                          <a:pt x="0" y="74"/>
                        </a:lnTo>
                        <a:lnTo>
                          <a:pt x="2" y="74"/>
                        </a:lnTo>
                        <a:lnTo>
                          <a:pt x="9" y="79"/>
                        </a:lnTo>
                        <a:lnTo>
                          <a:pt x="12" y="82"/>
                        </a:lnTo>
                        <a:lnTo>
                          <a:pt x="14" y="84"/>
                        </a:lnTo>
                        <a:lnTo>
                          <a:pt x="24" y="79"/>
                        </a:lnTo>
                        <a:lnTo>
                          <a:pt x="24" y="84"/>
                        </a:lnTo>
                        <a:lnTo>
                          <a:pt x="28" y="86"/>
                        </a:lnTo>
                        <a:lnTo>
                          <a:pt x="33" y="86"/>
                        </a:lnTo>
                        <a:lnTo>
                          <a:pt x="36" y="84"/>
                        </a:lnTo>
                        <a:lnTo>
                          <a:pt x="38" y="84"/>
                        </a:lnTo>
                        <a:lnTo>
                          <a:pt x="40" y="82"/>
                        </a:lnTo>
                        <a:lnTo>
                          <a:pt x="40" y="84"/>
                        </a:lnTo>
                        <a:lnTo>
                          <a:pt x="43" y="86"/>
                        </a:lnTo>
                        <a:lnTo>
                          <a:pt x="45" y="86"/>
                        </a:lnTo>
                        <a:lnTo>
                          <a:pt x="47" y="84"/>
                        </a:lnTo>
                        <a:lnTo>
                          <a:pt x="52" y="84"/>
                        </a:lnTo>
                        <a:lnTo>
                          <a:pt x="57" y="84"/>
                        </a:lnTo>
                        <a:lnTo>
                          <a:pt x="59" y="82"/>
                        </a:lnTo>
                        <a:lnTo>
                          <a:pt x="64" y="82"/>
                        </a:lnTo>
                        <a:lnTo>
                          <a:pt x="64" y="84"/>
                        </a:lnTo>
                        <a:lnTo>
                          <a:pt x="64" y="86"/>
                        </a:lnTo>
                        <a:lnTo>
                          <a:pt x="62" y="86"/>
                        </a:lnTo>
                        <a:lnTo>
                          <a:pt x="57" y="91"/>
                        </a:lnTo>
                        <a:lnTo>
                          <a:pt x="55" y="91"/>
                        </a:lnTo>
                        <a:lnTo>
                          <a:pt x="52" y="89"/>
                        </a:lnTo>
                        <a:lnTo>
                          <a:pt x="40" y="89"/>
                        </a:lnTo>
                        <a:lnTo>
                          <a:pt x="36" y="91"/>
                        </a:lnTo>
                        <a:lnTo>
                          <a:pt x="33" y="91"/>
                        </a:lnTo>
                        <a:lnTo>
                          <a:pt x="21" y="89"/>
                        </a:lnTo>
                        <a:lnTo>
                          <a:pt x="19" y="89"/>
                        </a:lnTo>
                        <a:lnTo>
                          <a:pt x="14" y="86"/>
                        </a:lnTo>
                        <a:lnTo>
                          <a:pt x="7" y="86"/>
                        </a:lnTo>
                        <a:lnTo>
                          <a:pt x="2" y="89"/>
                        </a:lnTo>
                        <a:lnTo>
                          <a:pt x="2" y="93"/>
                        </a:lnTo>
                        <a:lnTo>
                          <a:pt x="2" y="96"/>
                        </a:lnTo>
                        <a:lnTo>
                          <a:pt x="7" y="98"/>
                        </a:lnTo>
                        <a:lnTo>
                          <a:pt x="19" y="98"/>
                        </a:lnTo>
                        <a:lnTo>
                          <a:pt x="17" y="101"/>
                        </a:lnTo>
                        <a:lnTo>
                          <a:pt x="14" y="101"/>
                        </a:lnTo>
                        <a:lnTo>
                          <a:pt x="9" y="101"/>
                        </a:lnTo>
                        <a:lnTo>
                          <a:pt x="12" y="103"/>
                        </a:lnTo>
                        <a:lnTo>
                          <a:pt x="19" y="105"/>
                        </a:lnTo>
                        <a:lnTo>
                          <a:pt x="21" y="105"/>
                        </a:lnTo>
                        <a:lnTo>
                          <a:pt x="24" y="108"/>
                        </a:lnTo>
                        <a:lnTo>
                          <a:pt x="33" y="108"/>
                        </a:lnTo>
                        <a:lnTo>
                          <a:pt x="33" y="105"/>
                        </a:lnTo>
                        <a:lnTo>
                          <a:pt x="36" y="105"/>
                        </a:lnTo>
                        <a:lnTo>
                          <a:pt x="38" y="105"/>
                        </a:lnTo>
                        <a:lnTo>
                          <a:pt x="43" y="108"/>
                        </a:lnTo>
                        <a:lnTo>
                          <a:pt x="52" y="105"/>
                        </a:lnTo>
                        <a:lnTo>
                          <a:pt x="52" y="108"/>
                        </a:lnTo>
                        <a:lnTo>
                          <a:pt x="57" y="108"/>
                        </a:lnTo>
                        <a:lnTo>
                          <a:pt x="62" y="105"/>
                        </a:lnTo>
                        <a:lnTo>
                          <a:pt x="64" y="105"/>
                        </a:lnTo>
                        <a:lnTo>
                          <a:pt x="69" y="103"/>
                        </a:lnTo>
                        <a:lnTo>
                          <a:pt x="76" y="105"/>
                        </a:lnTo>
                        <a:lnTo>
                          <a:pt x="81" y="105"/>
                        </a:lnTo>
                        <a:lnTo>
                          <a:pt x="83" y="105"/>
                        </a:lnTo>
                        <a:lnTo>
                          <a:pt x="85" y="103"/>
                        </a:lnTo>
                        <a:lnTo>
                          <a:pt x="88" y="103"/>
                        </a:lnTo>
                        <a:lnTo>
                          <a:pt x="93" y="105"/>
                        </a:lnTo>
                        <a:lnTo>
                          <a:pt x="97" y="105"/>
                        </a:lnTo>
                        <a:lnTo>
                          <a:pt x="112" y="105"/>
                        </a:lnTo>
                        <a:lnTo>
                          <a:pt x="121" y="110"/>
                        </a:lnTo>
                        <a:lnTo>
                          <a:pt x="124" y="110"/>
                        </a:lnTo>
                        <a:lnTo>
                          <a:pt x="128" y="115"/>
                        </a:lnTo>
                        <a:lnTo>
                          <a:pt x="135" y="115"/>
                        </a:lnTo>
                        <a:lnTo>
                          <a:pt x="133" y="117"/>
                        </a:lnTo>
                        <a:lnTo>
                          <a:pt x="133" y="120"/>
                        </a:lnTo>
                        <a:lnTo>
                          <a:pt x="133" y="125"/>
                        </a:lnTo>
                        <a:lnTo>
                          <a:pt x="138" y="125"/>
                        </a:lnTo>
                        <a:lnTo>
                          <a:pt x="140" y="125"/>
                        </a:lnTo>
                        <a:lnTo>
                          <a:pt x="145" y="127"/>
                        </a:lnTo>
                        <a:lnTo>
                          <a:pt x="147" y="129"/>
                        </a:lnTo>
                        <a:lnTo>
                          <a:pt x="143" y="134"/>
                        </a:lnTo>
                        <a:lnTo>
                          <a:pt x="145" y="141"/>
                        </a:lnTo>
                        <a:lnTo>
                          <a:pt x="152" y="144"/>
                        </a:lnTo>
                        <a:lnTo>
                          <a:pt x="145" y="149"/>
                        </a:lnTo>
                        <a:lnTo>
                          <a:pt x="150" y="151"/>
                        </a:lnTo>
                        <a:lnTo>
                          <a:pt x="147" y="151"/>
                        </a:lnTo>
                        <a:lnTo>
                          <a:pt x="145" y="153"/>
                        </a:lnTo>
                        <a:lnTo>
                          <a:pt x="145" y="156"/>
                        </a:lnTo>
                        <a:lnTo>
                          <a:pt x="150" y="161"/>
                        </a:lnTo>
                        <a:lnTo>
                          <a:pt x="152" y="161"/>
                        </a:lnTo>
                        <a:lnTo>
                          <a:pt x="152" y="163"/>
                        </a:lnTo>
                        <a:lnTo>
                          <a:pt x="147" y="165"/>
                        </a:lnTo>
                        <a:lnTo>
                          <a:pt x="145" y="168"/>
                        </a:lnTo>
                        <a:lnTo>
                          <a:pt x="143" y="168"/>
                        </a:lnTo>
                        <a:lnTo>
                          <a:pt x="147" y="170"/>
                        </a:lnTo>
                        <a:lnTo>
                          <a:pt x="143" y="170"/>
                        </a:lnTo>
                        <a:lnTo>
                          <a:pt x="140" y="170"/>
                        </a:lnTo>
                        <a:lnTo>
                          <a:pt x="138" y="170"/>
                        </a:lnTo>
                        <a:lnTo>
                          <a:pt x="133" y="173"/>
                        </a:lnTo>
                        <a:lnTo>
                          <a:pt x="131" y="173"/>
                        </a:lnTo>
                        <a:lnTo>
                          <a:pt x="131" y="175"/>
                        </a:lnTo>
                        <a:lnTo>
                          <a:pt x="143" y="175"/>
                        </a:lnTo>
                        <a:lnTo>
                          <a:pt x="138" y="180"/>
                        </a:lnTo>
                        <a:lnTo>
                          <a:pt x="126" y="180"/>
                        </a:lnTo>
                        <a:lnTo>
                          <a:pt x="124" y="180"/>
                        </a:lnTo>
                        <a:lnTo>
                          <a:pt x="124" y="182"/>
                        </a:lnTo>
                        <a:lnTo>
                          <a:pt x="133" y="189"/>
                        </a:lnTo>
                        <a:lnTo>
                          <a:pt x="138" y="189"/>
                        </a:lnTo>
                        <a:lnTo>
                          <a:pt x="145" y="184"/>
                        </a:lnTo>
                        <a:lnTo>
                          <a:pt x="147" y="184"/>
                        </a:lnTo>
                        <a:lnTo>
                          <a:pt x="152" y="184"/>
                        </a:lnTo>
                        <a:lnTo>
                          <a:pt x="154" y="182"/>
                        </a:lnTo>
                        <a:lnTo>
                          <a:pt x="157" y="182"/>
                        </a:lnTo>
                        <a:lnTo>
                          <a:pt x="157" y="180"/>
                        </a:lnTo>
                        <a:lnTo>
                          <a:pt x="157" y="175"/>
                        </a:lnTo>
                        <a:lnTo>
                          <a:pt x="159" y="173"/>
                        </a:lnTo>
                        <a:lnTo>
                          <a:pt x="159" y="180"/>
                        </a:lnTo>
                        <a:lnTo>
                          <a:pt x="166" y="175"/>
                        </a:lnTo>
                        <a:lnTo>
                          <a:pt x="164" y="177"/>
                        </a:lnTo>
                        <a:lnTo>
                          <a:pt x="164" y="180"/>
                        </a:lnTo>
                        <a:lnTo>
                          <a:pt x="166" y="180"/>
                        </a:lnTo>
                        <a:lnTo>
                          <a:pt x="169" y="182"/>
                        </a:lnTo>
                        <a:lnTo>
                          <a:pt x="176" y="182"/>
                        </a:lnTo>
                        <a:lnTo>
                          <a:pt x="171" y="187"/>
                        </a:lnTo>
                        <a:lnTo>
                          <a:pt x="171" y="189"/>
                        </a:lnTo>
                        <a:lnTo>
                          <a:pt x="173" y="192"/>
                        </a:lnTo>
                        <a:lnTo>
                          <a:pt x="176" y="194"/>
                        </a:lnTo>
                        <a:lnTo>
                          <a:pt x="178" y="196"/>
                        </a:lnTo>
                        <a:lnTo>
                          <a:pt x="181" y="199"/>
                        </a:lnTo>
                        <a:lnTo>
                          <a:pt x="178" y="201"/>
                        </a:lnTo>
                        <a:lnTo>
                          <a:pt x="173" y="201"/>
                        </a:lnTo>
                        <a:lnTo>
                          <a:pt x="173" y="204"/>
                        </a:lnTo>
                        <a:lnTo>
                          <a:pt x="166" y="204"/>
                        </a:lnTo>
                        <a:lnTo>
                          <a:pt x="164" y="201"/>
                        </a:lnTo>
                        <a:lnTo>
                          <a:pt x="162" y="201"/>
                        </a:lnTo>
                        <a:lnTo>
                          <a:pt x="159" y="201"/>
                        </a:lnTo>
                        <a:lnTo>
                          <a:pt x="157" y="199"/>
                        </a:lnTo>
                        <a:lnTo>
                          <a:pt x="143" y="199"/>
                        </a:lnTo>
                        <a:lnTo>
                          <a:pt x="140" y="196"/>
                        </a:lnTo>
                        <a:lnTo>
                          <a:pt x="138" y="194"/>
                        </a:lnTo>
                        <a:lnTo>
                          <a:pt x="131" y="194"/>
                        </a:lnTo>
                        <a:lnTo>
                          <a:pt x="128" y="199"/>
                        </a:lnTo>
                        <a:lnTo>
                          <a:pt x="128" y="201"/>
                        </a:lnTo>
                        <a:lnTo>
                          <a:pt x="133" y="201"/>
                        </a:lnTo>
                        <a:lnTo>
                          <a:pt x="133" y="204"/>
                        </a:lnTo>
                        <a:lnTo>
                          <a:pt x="140" y="204"/>
                        </a:lnTo>
                        <a:lnTo>
                          <a:pt x="143" y="206"/>
                        </a:lnTo>
                        <a:lnTo>
                          <a:pt x="145" y="206"/>
                        </a:lnTo>
                        <a:lnTo>
                          <a:pt x="147" y="206"/>
                        </a:lnTo>
                        <a:lnTo>
                          <a:pt x="152" y="211"/>
                        </a:lnTo>
                        <a:lnTo>
                          <a:pt x="162" y="211"/>
                        </a:lnTo>
                        <a:lnTo>
                          <a:pt x="164" y="211"/>
                        </a:lnTo>
                        <a:lnTo>
                          <a:pt x="166" y="211"/>
                        </a:lnTo>
                        <a:lnTo>
                          <a:pt x="173" y="213"/>
                        </a:lnTo>
                        <a:lnTo>
                          <a:pt x="178" y="208"/>
                        </a:lnTo>
                        <a:lnTo>
                          <a:pt x="178" y="216"/>
                        </a:lnTo>
                        <a:lnTo>
                          <a:pt x="176" y="213"/>
                        </a:lnTo>
                        <a:lnTo>
                          <a:pt x="173" y="213"/>
                        </a:lnTo>
                        <a:lnTo>
                          <a:pt x="171" y="213"/>
                        </a:lnTo>
                        <a:lnTo>
                          <a:pt x="171" y="216"/>
                        </a:lnTo>
                        <a:lnTo>
                          <a:pt x="173" y="220"/>
                        </a:lnTo>
                        <a:lnTo>
                          <a:pt x="169" y="220"/>
                        </a:lnTo>
                        <a:lnTo>
                          <a:pt x="166" y="220"/>
                        </a:lnTo>
                        <a:lnTo>
                          <a:pt x="164" y="220"/>
                        </a:lnTo>
                        <a:lnTo>
                          <a:pt x="164" y="223"/>
                        </a:lnTo>
                        <a:lnTo>
                          <a:pt x="164" y="225"/>
                        </a:lnTo>
                        <a:lnTo>
                          <a:pt x="173" y="225"/>
                        </a:lnTo>
                        <a:lnTo>
                          <a:pt x="171" y="225"/>
                        </a:lnTo>
                        <a:lnTo>
                          <a:pt x="171" y="228"/>
                        </a:lnTo>
                        <a:lnTo>
                          <a:pt x="169" y="230"/>
                        </a:lnTo>
                        <a:lnTo>
                          <a:pt x="162" y="225"/>
                        </a:lnTo>
                        <a:lnTo>
                          <a:pt x="159" y="225"/>
                        </a:lnTo>
                        <a:lnTo>
                          <a:pt x="159" y="228"/>
                        </a:lnTo>
                        <a:lnTo>
                          <a:pt x="159" y="230"/>
                        </a:lnTo>
                        <a:lnTo>
                          <a:pt x="162" y="232"/>
                        </a:lnTo>
                        <a:lnTo>
                          <a:pt x="157" y="232"/>
                        </a:lnTo>
                        <a:lnTo>
                          <a:pt x="157" y="237"/>
                        </a:lnTo>
                        <a:lnTo>
                          <a:pt x="154" y="237"/>
                        </a:lnTo>
                        <a:lnTo>
                          <a:pt x="152" y="240"/>
                        </a:lnTo>
                        <a:lnTo>
                          <a:pt x="152" y="242"/>
                        </a:lnTo>
                        <a:lnTo>
                          <a:pt x="157" y="247"/>
                        </a:lnTo>
                        <a:lnTo>
                          <a:pt x="159" y="247"/>
                        </a:lnTo>
                        <a:lnTo>
                          <a:pt x="159" y="252"/>
                        </a:lnTo>
                        <a:lnTo>
                          <a:pt x="157" y="252"/>
                        </a:lnTo>
                        <a:lnTo>
                          <a:pt x="154" y="252"/>
                        </a:lnTo>
                        <a:lnTo>
                          <a:pt x="152" y="249"/>
                        </a:lnTo>
                        <a:lnTo>
                          <a:pt x="150" y="244"/>
                        </a:lnTo>
                        <a:lnTo>
                          <a:pt x="147" y="242"/>
                        </a:lnTo>
                        <a:lnTo>
                          <a:pt x="147" y="240"/>
                        </a:lnTo>
                        <a:lnTo>
                          <a:pt x="145" y="237"/>
                        </a:lnTo>
                        <a:lnTo>
                          <a:pt x="143" y="235"/>
                        </a:lnTo>
                        <a:lnTo>
                          <a:pt x="140" y="235"/>
                        </a:lnTo>
                        <a:lnTo>
                          <a:pt x="135" y="235"/>
                        </a:lnTo>
                        <a:lnTo>
                          <a:pt x="133" y="235"/>
                        </a:lnTo>
                        <a:lnTo>
                          <a:pt x="128" y="240"/>
                        </a:lnTo>
                        <a:lnTo>
                          <a:pt x="128" y="242"/>
                        </a:lnTo>
                        <a:lnTo>
                          <a:pt x="133" y="244"/>
                        </a:lnTo>
                        <a:lnTo>
                          <a:pt x="138" y="244"/>
                        </a:lnTo>
                        <a:lnTo>
                          <a:pt x="140" y="247"/>
                        </a:lnTo>
                        <a:lnTo>
                          <a:pt x="135" y="249"/>
                        </a:lnTo>
                        <a:lnTo>
                          <a:pt x="131" y="249"/>
                        </a:lnTo>
                        <a:lnTo>
                          <a:pt x="128" y="247"/>
                        </a:lnTo>
                        <a:lnTo>
                          <a:pt x="121" y="247"/>
                        </a:lnTo>
                        <a:lnTo>
                          <a:pt x="119" y="249"/>
                        </a:lnTo>
                        <a:lnTo>
                          <a:pt x="116" y="249"/>
                        </a:lnTo>
                        <a:lnTo>
                          <a:pt x="114" y="249"/>
                        </a:lnTo>
                        <a:lnTo>
                          <a:pt x="112" y="252"/>
                        </a:lnTo>
                        <a:lnTo>
                          <a:pt x="109" y="252"/>
                        </a:lnTo>
                        <a:lnTo>
                          <a:pt x="121" y="252"/>
                        </a:lnTo>
                        <a:lnTo>
                          <a:pt x="126" y="252"/>
                        </a:lnTo>
                        <a:lnTo>
                          <a:pt x="140" y="252"/>
                        </a:lnTo>
                        <a:lnTo>
                          <a:pt x="143" y="252"/>
                        </a:lnTo>
                        <a:lnTo>
                          <a:pt x="131" y="252"/>
                        </a:lnTo>
                        <a:lnTo>
                          <a:pt x="112" y="256"/>
                        </a:lnTo>
                        <a:lnTo>
                          <a:pt x="107" y="256"/>
                        </a:lnTo>
                        <a:lnTo>
                          <a:pt x="105" y="259"/>
                        </a:lnTo>
                        <a:lnTo>
                          <a:pt x="107" y="259"/>
                        </a:lnTo>
                        <a:lnTo>
                          <a:pt x="107" y="261"/>
                        </a:lnTo>
                        <a:lnTo>
                          <a:pt x="114" y="261"/>
                        </a:lnTo>
                        <a:lnTo>
                          <a:pt x="119" y="259"/>
                        </a:lnTo>
                        <a:lnTo>
                          <a:pt x="124" y="259"/>
                        </a:lnTo>
                        <a:lnTo>
                          <a:pt x="128" y="256"/>
                        </a:lnTo>
                        <a:lnTo>
                          <a:pt x="138" y="256"/>
                        </a:lnTo>
                        <a:lnTo>
                          <a:pt x="140" y="259"/>
                        </a:lnTo>
                        <a:lnTo>
                          <a:pt x="138" y="261"/>
                        </a:lnTo>
                        <a:lnTo>
                          <a:pt x="114" y="261"/>
                        </a:lnTo>
                        <a:lnTo>
                          <a:pt x="112" y="261"/>
                        </a:lnTo>
                        <a:lnTo>
                          <a:pt x="102" y="261"/>
                        </a:lnTo>
                        <a:lnTo>
                          <a:pt x="102" y="264"/>
                        </a:lnTo>
                        <a:lnTo>
                          <a:pt x="107" y="264"/>
                        </a:lnTo>
                        <a:lnTo>
                          <a:pt x="107" y="266"/>
                        </a:lnTo>
                        <a:lnTo>
                          <a:pt x="112" y="266"/>
                        </a:lnTo>
                        <a:lnTo>
                          <a:pt x="114" y="266"/>
                        </a:lnTo>
                        <a:lnTo>
                          <a:pt x="109" y="266"/>
                        </a:lnTo>
                        <a:lnTo>
                          <a:pt x="107" y="268"/>
                        </a:lnTo>
                        <a:lnTo>
                          <a:pt x="107" y="271"/>
                        </a:lnTo>
                        <a:lnTo>
                          <a:pt x="105" y="273"/>
                        </a:lnTo>
                        <a:lnTo>
                          <a:pt x="102" y="273"/>
                        </a:lnTo>
                        <a:lnTo>
                          <a:pt x="100" y="275"/>
                        </a:lnTo>
                        <a:lnTo>
                          <a:pt x="97" y="275"/>
                        </a:lnTo>
                        <a:lnTo>
                          <a:pt x="107" y="278"/>
                        </a:lnTo>
                        <a:lnTo>
                          <a:pt x="97" y="280"/>
                        </a:lnTo>
                        <a:lnTo>
                          <a:pt x="97" y="283"/>
                        </a:lnTo>
                        <a:lnTo>
                          <a:pt x="100" y="285"/>
                        </a:lnTo>
                        <a:lnTo>
                          <a:pt x="105" y="285"/>
                        </a:lnTo>
                        <a:lnTo>
                          <a:pt x="107" y="285"/>
                        </a:lnTo>
                        <a:lnTo>
                          <a:pt x="114" y="285"/>
                        </a:lnTo>
                        <a:lnTo>
                          <a:pt x="112" y="285"/>
                        </a:lnTo>
                        <a:lnTo>
                          <a:pt x="109" y="285"/>
                        </a:lnTo>
                        <a:lnTo>
                          <a:pt x="107" y="287"/>
                        </a:lnTo>
                        <a:lnTo>
                          <a:pt x="102" y="290"/>
                        </a:lnTo>
                        <a:lnTo>
                          <a:pt x="102" y="292"/>
                        </a:lnTo>
                        <a:lnTo>
                          <a:pt x="105" y="295"/>
                        </a:lnTo>
                        <a:lnTo>
                          <a:pt x="107" y="295"/>
                        </a:lnTo>
                        <a:lnTo>
                          <a:pt x="109" y="292"/>
                        </a:lnTo>
                        <a:lnTo>
                          <a:pt x="114" y="290"/>
                        </a:lnTo>
                        <a:lnTo>
                          <a:pt x="112" y="295"/>
                        </a:lnTo>
                        <a:lnTo>
                          <a:pt x="109" y="295"/>
                        </a:lnTo>
                        <a:lnTo>
                          <a:pt x="107" y="299"/>
                        </a:lnTo>
                        <a:lnTo>
                          <a:pt x="107" y="304"/>
                        </a:lnTo>
                        <a:lnTo>
                          <a:pt x="109" y="304"/>
                        </a:lnTo>
                        <a:lnTo>
                          <a:pt x="109" y="302"/>
                        </a:lnTo>
                        <a:lnTo>
                          <a:pt x="114" y="302"/>
                        </a:lnTo>
                        <a:lnTo>
                          <a:pt x="109" y="307"/>
                        </a:lnTo>
                        <a:lnTo>
                          <a:pt x="107" y="307"/>
                        </a:lnTo>
                        <a:lnTo>
                          <a:pt x="105" y="309"/>
                        </a:lnTo>
                        <a:lnTo>
                          <a:pt x="102" y="311"/>
                        </a:lnTo>
                        <a:lnTo>
                          <a:pt x="102" y="316"/>
                        </a:lnTo>
                        <a:lnTo>
                          <a:pt x="105" y="316"/>
                        </a:lnTo>
                        <a:lnTo>
                          <a:pt x="107" y="314"/>
                        </a:lnTo>
                        <a:lnTo>
                          <a:pt x="114" y="307"/>
                        </a:lnTo>
                        <a:lnTo>
                          <a:pt x="124" y="307"/>
                        </a:lnTo>
                        <a:lnTo>
                          <a:pt x="126" y="304"/>
                        </a:lnTo>
                        <a:lnTo>
                          <a:pt x="128" y="304"/>
                        </a:lnTo>
                        <a:lnTo>
                          <a:pt x="128" y="307"/>
                        </a:lnTo>
                        <a:lnTo>
                          <a:pt x="133" y="304"/>
                        </a:lnTo>
                        <a:lnTo>
                          <a:pt x="128" y="311"/>
                        </a:lnTo>
                        <a:lnTo>
                          <a:pt x="135" y="311"/>
                        </a:lnTo>
                        <a:lnTo>
                          <a:pt x="128" y="311"/>
                        </a:lnTo>
                        <a:lnTo>
                          <a:pt x="124" y="314"/>
                        </a:lnTo>
                        <a:lnTo>
                          <a:pt x="124" y="316"/>
                        </a:lnTo>
                        <a:lnTo>
                          <a:pt x="119" y="316"/>
                        </a:lnTo>
                        <a:lnTo>
                          <a:pt x="116" y="316"/>
                        </a:lnTo>
                        <a:lnTo>
                          <a:pt x="114" y="319"/>
                        </a:lnTo>
                        <a:lnTo>
                          <a:pt x="114" y="321"/>
                        </a:lnTo>
                        <a:lnTo>
                          <a:pt x="112" y="321"/>
                        </a:lnTo>
                        <a:lnTo>
                          <a:pt x="107" y="323"/>
                        </a:lnTo>
                        <a:lnTo>
                          <a:pt x="105" y="326"/>
                        </a:lnTo>
                        <a:lnTo>
                          <a:pt x="109" y="326"/>
                        </a:lnTo>
                        <a:lnTo>
                          <a:pt x="107" y="326"/>
                        </a:lnTo>
                        <a:lnTo>
                          <a:pt x="107" y="328"/>
                        </a:lnTo>
                        <a:lnTo>
                          <a:pt x="107" y="331"/>
                        </a:lnTo>
                        <a:lnTo>
                          <a:pt x="109" y="331"/>
                        </a:lnTo>
                        <a:lnTo>
                          <a:pt x="107" y="333"/>
                        </a:lnTo>
                        <a:lnTo>
                          <a:pt x="107" y="335"/>
                        </a:lnTo>
                        <a:lnTo>
                          <a:pt x="116" y="335"/>
                        </a:lnTo>
                        <a:lnTo>
                          <a:pt x="112" y="343"/>
                        </a:lnTo>
                        <a:lnTo>
                          <a:pt x="116" y="340"/>
                        </a:lnTo>
                        <a:lnTo>
                          <a:pt x="119" y="340"/>
                        </a:lnTo>
                        <a:lnTo>
                          <a:pt x="116" y="340"/>
                        </a:lnTo>
                        <a:lnTo>
                          <a:pt x="114" y="343"/>
                        </a:lnTo>
                        <a:lnTo>
                          <a:pt x="114" y="345"/>
                        </a:lnTo>
                        <a:lnTo>
                          <a:pt x="112" y="347"/>
                        </a:lnTo>
                        <a:lnTo>
                          <a:pt x="112" y="352"/>
                        </a:lnTo>
                        <a:lnTo>
                          <a:pt x="114" y="352"/>
                        </a:lnTo>
                        <a:lnTo>
                          <a:pt x="121" y="352"/>
                        </a:lnTo>
                        <a:lnTo>
                          <a:pt x="116" y="359"/>
                        </a:lnTo>
                        <a:lnTo>
                          <a:pt x="126" y="357"/>
                        </a:lnTo>
                        <a:lnTo>
                          <a:pt x="121" y="362"/>
                        </a:lnTo>
                        <a:lnTo>
                          <a:pt x="124" y="366"/>
                        </a:lnTo>
                        <a:lnTo>
                          <a:pt x="128" y="366"/>
                        </a:lnTo>
                        <a:lnTo>
                          <a:pt x="126" y="366"/>
                        </a:lnTo>
                        <a:lnTo>
                          <a:pt x="126" y="369"/>
                        </a:lnTo>
                        <a:lnTo>
                          <a:pt x="128" y="371"/>
                        </a:lnTo>
                        <a:lnTo>
                          <a:pt x="133" y="371"/>
                        </a:lnTo>
                        <a:lnTo>
                          <a:pt x="128" y="376"/>
                        </a:lnTo>
                        <a:lnTo>
                          <a:pt x="135" y="376"/>
                        </a:lnTo>
                        <a:lnTo>
                          <a:pt x="133" y="381"/>
                        </a:lnTo>
                        <a:lnTo>
                          <a:pt x="145" y="378"/>
                        </a:lnTo>
                        <a:lnTo>
                          <a:pt x="147" y="381"/>
                        </a:lnTo>
                        <a:lnTo>
                          <a:pt x="150" y="381"/>
                        </a:lnTo>
                        <a:lnTo>
                          <a:pt x="152" y="378"/>
                        </a:lnTo>
                        <a:lnTo>
                          <a:pt x="162" y="374"/>
                        </a:lnTo>
                        <a:lnTo>
                          <a:pt x="164" y="371"/>
                        </a:lnTo>
                        <a:lnTo>
                          <a:pt x="164" y="374"/>
                        </a:lnTo>
                        <a:lnTo>
                          <a:pt x="162" y="376"/>
                        </a:lnTo>
                        <a:lnTo>
                          <a:pt x="169" y="378"/>
                        </a:lnTo>
                        <a:lnTo>
                          <a:pt x="171" y="376"/>
                        </a:lnTo>
                        <a:lnTo>
                          <a:pt x="173" y="376"/>
                        </a:lnTo>
                        <a:lnTo>
                          <a:pt x="169" y="378"/>
                        </a:lnTo>
                        <a:lnTo>
                          <a:pt x="164" y="381"/>
                        </a:lnTo>
                        <a:lnTo>
                          <a:pt x="162" y="383"/>
                        </a:lnTo>
                        <a:lnTo>
                          <a:pt x="162" y="386"/>
                        </a:lnTo>
                        <a:lnTo>
                          <a:pt x="169" y="386"/>
                        </a:lnTo>
                        <a:lnTo>
                          <a:pt x="173" y="386"/>
                        </a:lnTo>
                        <a:lnTo>
                          <a:pt x="176" y="386"/>
                        </a:lnTo>
                        <a:lnTo>
                          <a:pt x="173" y="386"/>
                        </a:lnTo>
                        <a:lnTo>
                          <a:pt x="171" y="388"/>
                        </a:lnTo>
                        <a:lnTo>
                          <a:pt x="169" y="390"/>
                        </a:lnTo>
                        <a:lnTo>
                          <a:pt x="169" y="393"/>
                        </a:lnTo>
                        <a:lnTo>
                          <a:pt x="169" y="395"/>
                        </a:lnTo>
                        <a:lnTo>
                          <a:pt x="176" y="395"/>
                        </a:lnTo>
                        <a:lnTo>
                          <a:pt x="178" y="393"/>
                        </a:lnTo>
                        <a:lnTo>
                          <a:pt x="178" y="395"/>
                        </a:lnTo>
                        <a:lnTo>
                          <a:pt x="183" y="398"/>
                        </a:lnTo>
                        <a:lnTo>
                          <a:pt x="188" y="398"/>
                        </a:lnTo>
                        <a:lnTo>
                          <a:pt x="192" y="395"/>
                        </a:lnTo>
                        <a:lnTo>
                          <a:pt x="195" y="393"/>
                        </a:lnTo>
                        <a:lnTo>
                          <a:pt x="192" y="390"/>
                        </a:lnTo>
                        <a:lnTo>
                          <a:pt x="192" y="388"/>
                        </a:lnTo>
                        <a:lnTo>
                          <a:pt x="197" y="388"/>
                        </a:lnTo>
                        <a:lnTo>
                          <a:pt x="200" y="386"/>
                        </a:lnTo>
                        <a:lnTo>
                          <a:pt x="200" y="378"/>
                        </a:lnTo>
                        <a:lnTo>
                          <a:pt x="202" y="381"/>
                        </a:lnTo>
                        <a:lnTo>
                          <a:pt x="207" y="381"/>
                        </a:lnTo>
                        <a:lnTo>
                          <a:pt x="207" y="376"/>
                        </a:lnTo>
                        <a:lnTo>
                          <a:pt x="207" y="374"/>
                        </a:lnTo>
                        <a:lnTo>
                          <a:pt x="207" y="371"/>
                        </a:lnTo>
                        <a:lnTo>
                          <a:pt x="207" y="374"/>
                        </a:lnTo>
                        <a:lnTo>
                          <a:pt x="209" y="376"/>
                        </a:lnTo>
                        <a:lnTo>
                          <a:pt x="212" y="376"/>
                        </a:lnTo>
                        <a:lnTo>
                          <a:pt x="214" y="374"/>
                        </a:lnTo>
                        <a:lnTo>
                          <a:pt x="214" y="371"/>
                        </a:lnTo>
                        <a:lnTo>
                          <a:pt x="209" y="366"/>
                        </a:lnTo>
                        <a:lnTo>
                          <a:pt x="216" y="366"/>
                        </a:lnTo>
                        <a:lnTo>
                          <a:pt x="216" y="364"/>
                        </a:lnTo>
                        <a:lnTo>
                          <a:pt x="214" y="362"/>
                        </a:lnTo>
                        <a:lnTo>
                          <a:pt x="223" y="362"/>
                        </a:lnTo>
                        <a:lnTo>
                          <a:pt x="219" y="357"/>
                        </a:lnTo>
                        <a:lnTo>
                          <a:pt x="223" y="355"/>
                        </a:lnTo>
                        <a:lnTo>
                          <a:pt x="219" y="352"/>
                        </a:lnTo>
                        <a:lnTo>
                          <a:pt x="216" y="350"/>
                        </a:lnTo>
                        <a:lnTo>
                          <a:pt x="219" y="350"/>
                        </a:lnTo>
                        <a:lnTo>
                          <a:pt x="221" y="350"/>
                        </a:lnTo>
                        <a:lnTo>
                          <a:pt x="216" y="343"/>
                        </a:lnTo>
                        <a:lnTo>
                          <a:pt x="221" y="347"/>
                        </a:lnTo>
                        <a:lnTo>
                          <a:pt x="223" y="347"/>
                        </a:lnTo>
                        <a:lnTo>
                          <a:pt x="228" y="343"/>
                        </a:lnTo>
                        <a:lnTo>
                          <a:pt x="235" y="343"/>
                        </a:lnTo>
                        <a:lnTo>
                          <a:pt x="235" y="340"/>
                        </a:lnTo>
                        <a:lnTo>
                          <a:pt x="233" y="338"/>
                        </a:lnTo>
                        <a:lnTo>
                          <a:pt x="238" y="338"/>
                        </a:lnTo>
                        <a:lnTo>
                          <a:pt x="242" y="331"/>
                        </a:lnTo>
                        <a:lnTo>
                          <a:pt x="245" y="331"/>
                        </a:lnTo>
                        <a:lnTo>
                          <a:pt x="252" y="331"/>
                        </a:lnTo>
                        <a:lnTo>
                          <a:pt x="252" y="326"/>
                        </a:lnTo>
                        <a:lnTo>
                          <a:pt x="257" y="331"/>
                        </a:lnTo>
                        <a:lnTo>
                          <a:pt x="259" y="326"/>
                        </a:lnTo>
                        <a:lnTo>
                          <a:pt x="259" y="319"/>
                        </a:lnTo>
                        <a:lnTo>
                          <a:pt x="252" y="316"/>
                        </a:lnTo>
                        <a:lnTo>
                          <a:pt x="257" y="316"/>
                        </a:lnTo>
                        <a:lnTo>
                          <a:pt x="264" y="311"/>
                        </a:lnTo>
                        <a:lnTo>
                          <a:pt x="266" y="307"/>
                        </a:lnTo>
                        <a:lnTo>
                          <a:pt x="259" y="304"/>
                        </a:lnTo>
                        <a:lnTo>
                          <a:pt x="264" y="299"/>
                        </a:lnTo>
                        <a:lnTo>
                          <a:pt x="278" y="299"/>
                        </a:lnTo>
                        <a:lnTo>
                          <a:pt x="280" y="297"/>
                        </a:lnTo>
                        <a:lnTo>
                          <a:pt x="280" y="292"/>
                        </a:lnTo>
                        <a:lnTo>
                          <a:pt x="288" y="290"/>
                        </a:lnTo>
                        <a:lnTo>
                          <a:pt x="292" y="290"/>
                        </a:lnTo>
                        <a:lnTo>
                          <a:pt x="295" y="292"/>
                        </a:lnTo>
                        <a:lnTo>
                          <a:pt x="302" y="292"/>
                        </a:lnTo>
                        <a:lnTo>
                          <a:pt x="311" y="283"/>
                        </a:lnTo>
                        <a:lnTo>
                          <a:pt x="311" y="280"/>
                        </a:lnTo>
                        <a:lnTo>
                          <a:pt x="314" y="280"/>
                        </a:lnTo>
                        <a:lnTo>
                          <a:pt x="316" y="278"/>
                        </a:lnTo>
                        <a:lnTo>
                          <a:pt x="319" y="278"/>
                        </a:lnTo>
                        <a:lnTo>
                          <a:pt x="319" y="280"/>
                        </a:lnTo>
                        <a:lnTo>
                          <a:pt x="316" y="283"/>
                        </a:lnTo>
                        <a:lnTo>
                          <a:pt x="314" y="285"/>
                        </a:lnTo>
                        <a:lnTo>
                          <a:pt x="311" y="290"/>
                        </a:lnTo>
                        <a:lnTo>
                          <a:pt x="319" y="290"/>
                        </a:lnTo>
                        <a:lnTo>
                          <a:pt x="319" y="285"/>
                        </a:lnTo>
                        <a:lnTo>
                          <a:pt x="323" y="285"/>
                        </a:lnTo>
                        <a:lnTo>
                          <a:pt x="326" y="283"/>
                        </a:lnTo>
                        <a:lnTo>
                          <a:pt x="328" y="283"/>
                        </a:lnTo>
                        <a:lnTo>
                          <a:pt x="328" y="285"/>
                        </a:lnTo>
                        <a:lnTo>
                          <a:pt x="333" y="285"/>
                        </a:lnTo>
                        <a:lnTo>
                          <a:pt x="335" y="285"/>
                        </a:lnTo>
                        <a:lnTo>
                          <a:pt x="342" y="283"/>
                        </a:lnTo>
                        <a:lnTo>
                          <a:pt x="347" y="278"/>
                        </a:lnTo>
                        <a:lnTo>
                          <a:pt x="349" y="275"/>
                        </a:lnTo>
                        <a:lnTo>
                          <a:pt x="359" y="275"/>
                        </a:lnTo>
                        <a:lnTo>
                          <a:pt x="366" y="275"/>
                        </a:lnTo>
                        <a:lnTo>
                          <a:pt x="371" y="271"/>
                        </a:lnTo>
                        <a:lnTo>
                          <a:pt x="373" y="268"/>
                        </a:lnTo>
                        <a:lnTo>
                          <a:pt x="376" y="266"/>
                        </a:lnTo>
                        <a:lnTo>
                          <a:pt x="383" y="259"/>
                        </a:lnTo>
                        <a:lnTo>
                          <a:pt x="385" y="256"/>
                        </a:lnTo>
                        <a:lnTo>
                          <a:pt x="390" y="254"/>
                        </a:lnTo>
                        <a:lnTo>
                          <a:pt x="399" y="252"/>
                        </a:lnTo>
                        <a:lnTo>
                          <a:pt x="402" y="252"/>
                        </a:lnTo>
                        <a:lnTo>
                          <a:pt x="404" y="249"/>
                        </a:lnTo>
                        <a:lnTo>
                          <a:pt x="407" y="249"/>
                        </a:lnTo>
                        <a:lnTo>
                          <a:pt x="407" y="247"/>
                        </a:lnTo>
                        <a:lnTo>
                          <a:pt x="407" y="244"/>
                        </a:lnTo>
                        <a:lnTo>
                          <a:pt x="407" y="240"/>
                        </a:lnTo>
                        <a:lnTo>
                          <a:pt x="407" y="235"/>
                        </a:lnTo>
                        <a:lnTo>
                          <a:pt x="414" y="242"/>
                        </a:lnTo>
                        <a:lnTo>
                          <a:pt x="416" y="244"/>
                        </a:lnTo>
                        <a:lnTo>
                          <a:pt x="418" y="244"/>
                        </a:lnTo>
                        <a:lnTo>
                          <a:pt x="437" y="244"/>
                        </a:lnTo>
                        <a:lnTo>
                          <a:pt x="447" y="242"/>
                        </a:lnTo>
                        <a:lnTo>
                          <a:pt x="454" y="240"/>
                        </a:lnTo>
                        <a:lnTo>
                          <a:pt x="459" y="240"/>
                        </a:lnTo>
                        <a:lnTo>
                          <a:pt x="468" y="237"/>
                        </a:lnTo>
                        <a:lnTo>
                          <a:pt x="480" y="235"/>
                        </a:lnTo>
                        <a:lnTo>
                          <a:pt x="487" y="235"/>
                        </a:lnTo>
                        <a:lnTo>
                          <a:pt x="492" y="230"/>
                        </a:lnTo>
                        <a:lnTo>
                          <a:pt x="499" y="230"/>
                        </a:lnTo>
                        <a:lnTo>
                          <a:pt x="502" y="228"/>
                        </a:lnTo>
                        <a:lnTo>
                          <a:pt x="509" y="228"/>
                        </a:lnTo>
                        <a:lnTo>
                          <a:pt x="516" y="220"/>
                        </a:lnTo>
                        <a:lnTo>
                          <a:pt x="518" y="220"/>
                        </a:lnTo>
                        <a:lnTo>
                          <a:pt x="518" y="218"/>
                        </a:lnTo>
                        <a:lnTo>
                          <a:pt x="523" y="218"/>
                        </a:lnTo>
                        <a:lnTo>
                          <a:pt x="525" y="216"/>
                        </a:lnTo>
                        <a:lnTo>
                          <a:pt x="528" y="216"/>
                        </a:lnTo>
                        <a:lnTo>
                          <a:pt x="542" y="213"/>
                        </a:lnTo>
                        <a:lnTo>
                          <a:pt x="552" y="211"/>
                        </a:lnTo>
                        <a:lnTo>
                          <a:pt x="552" y="206"/>
                        </a:lnTo>
                        <a:lnTo>
                          <a:pt x="549" y="206"/>
                        </a:lnTo>
                        <a:lnTo>
                          <a:pt x="547" y="208"/>
                        </a:lnTo>
                        <a:lnTo>
                          <a:pt x="537" y="208"/>
                        </a:lnTo>
                        <a:lnTo>
                          <a:pt x="530" y="206"/>
                        </a:lnTo>
                        <a:lnTo>
                          <a:pt x="525" y="206"/>
                        </a:lnTo>
                        <a:lnTo>
                          <a:pt x="521" y="204"/>
                        </a:lnTo>
                        <a:lnTo>
                          <a:pt x="509" y="204"/>
                        </a:lnTo>
                        <a:lnTo>
                          <a:pt x="499" y="206"/>
                        </a:lnTo>
                        <a:lnTo>
                          <a:pt x="490" y="206"/>
                        </a:lnTo>
                        <a:lnTo>
                          <a:pt x="487" y="211"/>
                        </a:lnTo>
                        <a:lnTo>
                          <a:pt x="471" y="211"/>
                        </a:lnTo>
                        <a:lnTo>
                          <a:pt x="485" y="206"/>
                        </a:lnTo>
                        <a:lnTo>
                          <a:pt x="494" y="204"/>
                        </a:lnTo>
                        <a:lnTo>
                          <a:pt x="499" y="204"/>
                        </a:lnTo>
                        <a:lnTo>
                          <a:pt x="502" y="201"/>
                        </a:lnTo>
                        <a:lnTo>
                          <a:pt x="506" y="201"/>
                        </a:lnTo>
                        <a:lnTo>
                          <a:pt x="511" y="199"/>
                        </a:lnTo>
                        <a:lnTo>
                          <a:pt x="514" y="199"/>
                        </a:lnTo>
                        <a:lnTo>
                          <a:pt x="516" y="199"/>
                        </a:lnTo>
                        <a:lnTo>
                          <a:pt x="514" y="196"/>
                        </a:lnTo>
                        <a:lnTo>
                          <a:pt x="509" y="194"/>
                        </a:lnTo>
                        <a:lnTo>
                          <a:pt x="506" y="194"/>
                        </a:lnTo>
                        <a:lnTo>
                          <a:pt x="504" y="194"/>
                        </a:lnTo>
                        <a:lnTo>
                          <a:pt x="497" y="196"/>
                        </a:lnTo>
                        <a:lnTo>
                          <a:pt x="483" y="201"/>
                        </a:lnTo>
                        <a:lnTo>
                          <a:pt x="468" y="201"/>
                        </a:lnTo>
                        <a:lnTo>
                          <a:pt x="478" y="196"/>
                        </a:lnTo>
                        <a:lnTo>
                          <a:pt x="485" y="192"/>
                        </a:lnTo>
                        <a:lnTo>
                          <a:pt x="487" y="192"/>
                        </a:lnTo>
                        <a:lnTo>
                          <a:pt x="492" y="194"/>
                        </a:lnTo>
                        <a:lnTo>
                          <a:pt x="497" y="194"/>
                        </a:lnTo>
                        <a:lnTo>
                          <a:pt x="499" y="192"/>
                        </a:lnTo>
                        <a:lnTo>
                          <a:pt x="504" y="192"/>
                        </a:lnTo>
                        <a:lnTo>
                          <a:pt x="506" y="189"/>
                        </a:lnTo>
                        <a:lnTo>
                          <a:pt x="516" y="189"/>
                        </a:lnTo>
                        <a:lnTo>
                          <a:pt x="518" y="189"/>
                        </a:lnTo>
                        <a:lnTo>
                          <a:pt x="516" y="187"/>
                        </a:lnTo>
                        <a:lnTo>
                          <a:pt x="514" y="187"/>
                        </a:lnTo>
                        <a:lnTo>
                          <a:pt x="509" y="184"/>
                        </a:lnTo>
                        <a:lnTo>
                          <a:pt x="485" y="184"/>
                        </a:lnTo>
                        <a:lnTo>
                          <a:pt x="492" y="182"/>
                        </a:lnTo>
                        <a:lnTo>
                          <a:pt x="485" y="180"/>
                        </a:lnTo>
                        <a:lnTo>
                          <a:pt x="485" y="175"/>
                        </a:lnTo>
                        <a:lnTo>
                          <a:pt x="487" y="175"/>
                        </a:lnTo>
                        <a:lnTo>
                          <a:pt x="490" y="177"/>
                        </a:lnTo>
                        <a:lnTo>
                          <a:pt x="492" y="180"/>
                        </a:lnTo>
                        <a:lnTo>
                          <a:pt x="497" y="182"/>
                        </a:lnTo>
                        <a:lnTo>
                          <a:pt x="504" y="182"/>
                        </a:lnTo>
                        <a:lnTo>
                          <a:pt x="506" y="184"/>
                        </a:lnTo>
                        <a:lnTo>
                          <a:pt x="509" y="184"/>
                        </a:lnTo>
                        <a:lnTo>
                          <a:pt x="514" y="184"/>
                        </a:lnTo>
                        <a:lnTo>
                          <a:pt x="518" y="184"/>
                        </a:lnTo>
                        <a:lnTo>
                          <a:pt x="518" y="187"/>
                        </a:lnTo>
                        <a:lnTo>
                          <a:pt x="523" y="187"/>
                        </a:lnTo>
                        <a:lnTo>
                          <a:pt x="523" y="184"/>
                        </a:lnTo>
                        <a:lnTo>
                          <a:pt x="528" y="184"/>
                        </a:lnTo>
                        <a:lnTo>
                          <a:pt x="528" y="187"/>
                        </a:lnTo>
                        <a:lnTo>
                          <a:pt x="528" y="189"/>
                        </a:lnTo>
                        <a:lnTo>
                          <a:pt x="528" y="192"/>
                        </a:lnTo>
                        <a:lnTo>
                          <a:pt x="528" y="196"/>
                        </a:lnTo>
                        <a:lnTo>
                          <a:pt x="528" y="199"/>
                        </a:lnTo>
                        <a:lnTo>
                          <a:pt x="533" y="199"/>
                        </a:lnTo>
                        <a:lnTo>
                          <a:pt x="537" y="201"/>
                        </a:lnTo>
                        <a:lnTo>
                          <a:pt x="542" y="201"/>
                        </a:lnTo>
                        <a:lnTo>
                          <a:pt x="547" y="201"/>
                        </a:lnTo>
                        <a:lnTo>
                          <a:pt x="549" y="201"/>
                        </a:lnTo>
                        <a:lnTo>
                          <a:pt x="552" y="199"/>
                        </a:lnTo>
                        <a:lnTo>
                          <a:pt x="554" y="199"/>
                        </a:lnTo>
                        <a:lnTo>
                          <a:pt x="554" y="204"/>
                        </a:lnTo>
                        <a:lnTo>
                          <a:pt x="559" y="204"/>
                        </a:lnTo>
                        <a:lnTo>
                          <a:pt x="561" y="201"/>
                        </a:lnTo>
                        <a:lnTo>
                          <a:pt x="563" y="201"/>
                        </a:lnTo>
                        <a:lnTo>
                          <a:pt x="563" y="194"/>
                        </a:lnTo>
                        <a:lnTo>
                          <a:pt x="561" y="194"/>
                        </a:lnTo>
                        <a:lnTo>
                          <a:pt x="563" y="189"/>
                        </a:lnTo>
                        <a:lnTo>
                          <a:pt x="563" y="187"/>
                        </a:lnTo>
                        <a:lnTo>
                          <a:pt x="559" y="187"/>
                        </a:lnTo>
                        <a:lnTo>
                          <a:pt x="556" y="182"/>
                        </a:lnTo>
                        <a:lnTo>
                          <a:pt x="552" y="180"/>
                        </a:lnTo>
                        <a:lnTo>
                          <a:pt x="552" y="175"/>
                        </a:lnTo>
                        <a:lnTo>
                          <a:pt x="533" y="170"/>
                        </a:lnTo>
                        <a:lnTo>
                          <a:pt x="523" y="170"/>
                        </a:lnTo>
                        <a:lnTo>
                          <a:pt x="521" y="170"/>
                        </a:lnTo>
                        <a:lnTo>
                          <a:pt x="528" y="168"/>
                        </a:lnTo>
                        <a:lnTo>
                          <a:pt x="530" y="165"/>
                        </a:lnTo>
                        <a:lnTo>
                          <a:pt x="528" y="165"/>
                        </a:lnTo>
                        <a:lnTo>
                          <a:pt x="525" y="163"/>
                        </a:lnTo>
                        <a:lnTo>
                          <a:pt x="514" y="163"/>
                        </a:lnTo>
                        <a:lnTo>
                          <a:pt x="509" y="161"/>
                        </a:lnTo>
                        <a:lnTo>
                          <a:pt x="504" y="161"/>
                        </a:lnTo>
                        <a:lnTo>
                          <a:pt x="509" y="156"/>
                        </a:lnTo>
                        <a:lnTo>
                          <a:pt x="523" y="156"/>
                        </a:lnTo>
                        <a:lnTo>
                          <a:pt x="528" y="153"/>
                        </a:lnTo>
                        <a:lnTo>
                          <a:pt x="533" y="153"/>
                        </a:lnTo>
                        <a:lnTo>
                          <a:pt x="547" y="156"/>
                        </a:lnTo>
                        <a:lnTo>
                          <a:pt x="552" y="156"/>
                        </a:lnTo>
                        <a:lnTo>
                          <a:pt x="554" y="156"/>
                        </a:lnTo>
                        <a:lnTo>
                          <a:pt x="556" y="158"/>
                        </a:lnTo>
                        <a:lnTo>
                          <a:pt x="559" y="161"/>
                        </a:lnTo>
                        <a:lnTo>
                          <a:pt x="563" y="165"/>
                        </a:lnTo>
                        <a:lnTo>
                          <a:pt x="568" y="165"/>
                        </a:lnTo>
                        <a:lnTo>
                          <a:pt x="568" y="163"/>
                        </a:lnTo>
                        <a:lnTo>
                          <a:pt x="568" y="158"/>
                        </a:lnTo>
                        <a:lnTo>
                          <a:pt x="559" y="156"/>
                        </a:lnTo>
                        <a:lnTo>
                          <a:pt x="552" y="153"/>
                        </a:lnTo>
                        <a:lnTo>
                          <a:pt x="540" y="151"/>
                        </a:lnTo>
                        <a:lnTo>
                          <a:pt x="544" y="149"/>
                        </a:lnTo>
                        <a:lnTo>
                          <a:pt x="547" y="149"/>
                        </a:lnTo>
                        <a:lnTo>
                          <a:pt x="552" y="151"/>
                        </a:lnTo>
                        <a:lnTo>
                          <a:pt x="556" y="151"/>
                        </a:lnTo>
                        <a:lnTo>
                          <a:pt x="559" y="153"/>
                        </a:lnTo>
                        <a:lnTo>
                          <a:pt x="578" y="153"/>
                        </a:lnTo>
                        <a:lnTo>
                          <a:pt x="594" y="151"/>
                        </a:lnTo>
                        <a:lnTo>
                          <a:pt x="594" y="144"/>
                        </a:lnTo>
                        <a:lnTo>
                          <a:pt x="582" y="141"/>
                        </a:lnTo>
                        <a:lnTo>
                          <a:pt x="578" y="146"/>
                        </a:lnTo>
                        <a:lnTo>
                          <a:pt x="573" y="141"/>
                        </a:lnTo>
                        <a:lnTo>
                          <a:pt x="573" y="139"/>
                        </a:lnTo>
                        <a:lnTo>
                          <a:pt x="587" y="139"/>
                        </a:lnTo>
                        <a:lnTo>
                          <a:pt x="599" y="137"/>
                        </a:lnTo>
                        <a:lnTo>
                          <a:pt x="602" y="139"/>
                        </a:lnTo>
                        <a:lnTo>
                          <a:pt x="609" y="139"/>
                        </a:lnTo>
                        <a:lnTo>
                          <a:pt x="616" y="134"/>
                        </a:lnTo>
                        <a:lnTo>
                          <a:pt x="618" y="134"/>
                        </a:lnTo>
                        <a:lnTo>
                          <a:pt x="618" y="132"/>
                        </a:lnTo>
                        <a:lnTo>
                          <a:pt x="599" y="132"/>
                        </a:lnTo>
                        <a:lnTo>
                          <a:pt x="599" y="129"/>
                        </a:lnTo>
                        <a:lnTo>
                          <a:pt x="597" y="129"/>
                        </a:lnTo>
                        <a:lnTo>
                          <a:pt x="597" y="127"/>
                        </a:lnTo>
                        <a:lnTo>
                          <a:pt x="592" y="127"/>
                        </a:lnTo>
                        <a:lnTo>
                          <a:pt x="587" y="125"/>
                        </a:lnTo>
                        <a:lnTo>
                          <a:pt x="592" y="125"/>
                        </a:lnTo>
                        <a:lnTo>
                          <a:pt x="594" y="125"/>
                        </a:lnTo>
                        <a:lnTo>
                          <a:pt x="594" y="122"/>
                        </a:lnTo>
                        <a:lnTo>
                          <a:pt x="592" y="120"/>
                        </a:lnTo>
                        <a:lnTo>
                          <a:pt x="590" y="120"/>
                        </a:lnTo>
                        <a:lnTo>
                          <a:pt x="582" y="117"/>
                        </a:lnTo>
                        <a:lnTo>
                          <a:pt x="592" y="117"/>
                        </a:lnTo>
                        <a:lnTo>
                          <a:pt x="594" y="120"/>
                        </a:lnTo>
                        <a:lnTo>
                          <a:pt x="597" y="120"/>
                        </a:lnTo>
                        <a:lnTo>
                          <a:pt x="602" y="120"/>
                        </a:lnTo>
                        <a:lnTo>
                          <a:pt x="606" y="120"/>
                        </a:lnTo>
                        <a:lnTo>
                          <a:pt x="609" y="125"/>
                        </a:lnTo>
                        <a:lnTo>
                          <a:pt x="613" y="125"/>
                        </a:lnTo>
                        <a:lnTo>
                          <a:pt x="618" y="120"/>
                        </a:lnTo>
                        <a:lnTo>
                          <a:pt x="618" y="113"/>
                        </a:lnTo>
                        <a:lnTo>
                          <a:pt x="616" y="110"/>
                        </a:lnTo>
                        <a:lnTo>
                          <a:pt x="613" y="110"/>
                        </a:lnTo>
                        <a:lnTo>
                          <a:pt x="611" y="108"/>
                        </a:lnTo>
                        <a:lnTo>
                          <a:pt x="609" y="105"/>
                        </a:lnTo>
                        <a:lnTo>
                          <a:pt x="592" y="103"/>
                        </a:lnTo>
                        <a:lnTo>
                          <a:pt x="587" y="101"/>
                        </a:lnTo>
                        <a:lnTo>
                          <a:pt x="587" y="98"/>
                        </a:lnTo>
                        <a:lnTo>
                          <a:pt x="590" y="98"/>
                        </a:lnTo>
                        <a:lnTo>
                          <a:pt x="599" y="98"/>
                        </a:lnTo>
                        <a:lnTo>
                          <a:pt x="611" y="96"/>
                        </a:lnTo>
                        <a:lnTo>
                          <a:pt x="618" y="96"/>
                        </a:lnTo>
                        <a:lnTo>
                          <a:pt x="623" y="98"/>
                        </a:lnTo>
                        <a:lnTo>
                          <a:pt x="632" y="98"/>
                        </a:lnTo>
                        <a:lnTo>
                          <a:pt x="637" y="96"/>
                        </a:lnTo>
                        <a:lnTo>
                          <a:pt x="642" y="93"/>
                        </a:lnTo>
                        <a:lnTo>
                          <a:pt x="642" y="91"/>
                        </a:lnTo>
                        <a:lnTo>
                          <a:pt x="642" y="89"/>
                        </a:lnTo>
                        <a:lnTo>
                          <a:pt x="632" y="89"/>
                        </a:lnTo>
                        <a:lnTo>
                          <a:pt x="625" y="86"/>
                        </a:lnTo>
                        <a:lnTo>
                          <a:pt x="616" y="86"/>
                        </a:lnTo>
                        <a:lnTo>
                          <a:pt x="613" y="84"/>
                        </a:lnTo>
                        <a:lnTo>
                          <a:pt x="623" y="84"/>
                        </a:lnTo>
                        <a:lnTo>
                          <a:pt x="621" y="82"/>
                        </a:lnTo>
                        <a:lnTo>
                          <a:pt x="618" y="79"/>
                        </a:lnTo>
                        <a:lnTo>
                          <a:pt x="618" y="77"/>
                        </a:lnTo>
                        <a:lnTo>
                          <a:pt x="613" y="77"/>
                        </a:lnTo>
                        <a:lnTo>
                          <a:pt x="611" y="79"/>
                        </a:lnTo>
                        <a:lnTo>
                          <a:pt x="611" y="84"/>
                        </a:lnTo>
                        <a:lnTo>
                          <a:pt x="606" y="84"/>
                        </a:lnTo>
                        <a:lnTo>
                          <a:pt x="604" y="84"/>
                        </a:lnTo>
                        <a:lnTo>
                          <a:pt x="602" y="82"/>
                        </a:lnTo>
                        <a:lnTo>
                          <a:pt x="599" y="79"/>
                        </a:lnTo>
                        <a:lnTo>
                          <a:pt x="602" y="79"/>
                        </a:lnTo>
                        <a:lnTo>
                          <a:pt x="606" y="77"/>
                        </a:lnTo>
                        <a:lnTo>
                          <a:pt x="609" y="74"/>
                        </a:lnTo>
                        <a:lnTo>
                          <a:pt x="613" y="70"/>
                        </a:lnTo>
                        <a:lnTo>
                          <a:pt x="616" y="67"/>
                        </a:lnTo>
                        <a:lnTo>
                          <a:pt x="618" y="65"/>
                        </a:lnTo>
                        <a:lnTo>
                          <a:pt x="621" y="65"/>
                        </a:lnTo>
                        <a:lnTo>
                          <a:pt x="623" y="65"/>
                        </a:lnTo>
                        <a:lnTo>
                          <a:pt x="628" y="65"/>
                        </a:lnTo>
                        <a:lnTo>
                          <a:pt x="630" y="65"/>
                        </a:lnTo>
                        <a:lnTo>
                          <a:pt x="632" y="62"/>
                        </a:lnTo>
                        <a:lnTo>
                          <a:pt x="637" y="60"/>
                        </a:lnTo>
                        <a:lnTo>
                          <a:pt x="635" y="55"/>
                        </a:lnTo>
                        <a:lnTo>
                          <a:pt x="637" y="53"/>
                        </a:lnTo>
                        <a:lnTo>
                          <a:pt x="640" y="50"/>
                        </a:lnTo>
                        <a:lnTo>
                          <a:pt x="642" y="50"/>
                        </a:lnTo>
                        <a:lnTo>
                          <a:pt x="647" y="50"/>
                        </a:lnTo>
                        <a:lnTo>
                          <a:pt x="649" y="50"/>
                        </a:lnTo>
                        <a:lnTo>
                          <a:pt x="651" y="53"/>
                        </a:lnTo>
                        <a:lnTo>
                          <a:pt x="656" y="53"/>
                        </a:lnTo>
                        <a:lnTo>
                          <a:pt x="659" y="50"/>
                        </a:lnTo>
                        <a:lnTo>
                          <a:pt x="661" y="50"/>
                        </a:lnTo>
                        <a:lnTo>
                          <a:pt x="663" y="48"/>
                        </a:lnTo>
                        <a:lnTo>
                          <a:pt x="644" y="48"/>
                        </a:lnTo>
                        <a:lnTo>
                          <a:pt x="642" y="48"/>
                        </a:lnTo>
                        <a:lnTo>
                          <a:pt x="637" y="48"/>
                        </a:lnTo>
                        <a:lnTo>
                          <a:pt x="635" y="50"/>
                        </a:lnTo>
                        <a:lnTo>
                          <a:pt x="630" y="50"/>
                        </a:lnTo>
                        <a:lnTo>
                          <a:pt x="630" y="48"/>
                        </a:lnTo>
                        <a:lnTo>
                          <a:pt x="640" y="43"/>
                        </a:lnTo>
                        <a:lnTo>
                          <a:pt x="670" y="43"/>
                        </a:lnTo>
                        <a:lnTo>
                          <a:pt x="675" y="43"/>
                        </a:lnTo>
                        <a:lnTo>
                          <a:pt x="678" y="43"/>
                        </a:lnTo>
                        <a:lnTo>
                          <a:pt x="682" y="41"/>
                        </a:lnTo>
                        <a:lnTo>
                          <a:pt x="678" y="41"/>
                        </a:lnTo>
                        <a:lnTo>
                          <a:pt x="673" y="38"/>
                        </a:lnTo>
                        <a:lnTo>
                          <a:pt x="656" y="38"/>
                        </a:lnTo>
                        <a:lnTo>
                          <a:pt x="651" y="41"/>
                        </a:lnTo>
                        <a:lnTo>
                          <a:pt x="635" y="41"/>
                        </a:lnTo>
                        <a:lnTo>
                          <a:pt x="635" y="38"/>
                        </a:lnTo>
                        <a:lnTo>
                          <a:pt x="637" y="38"/>
                        </a:lnTo>
                        <a:lnTo>
                          <a:pt x="642" y="38"/>
                        </a:lnTo>
                        <a:lnTo>
                          <a:pt x="687" y="38"/>
                        </a:lnTo>
                        <a:lnTo>
                          <a:pt x="692" y="36"/>
                        </a:lnTo>
                        <a:lnTo>
                          <a:pt x="699" y="34"/>
                        </a:lnTo>
                        <a:lnTo>
                          <a:pt x="701" y="31"/>
                        </a:lnTo>
                        <a:lnTo>
                          <a:pt x="718" y="31"/>
                        </a:lnTo>
                        <a:lnTo>
                          <a:pt x="723" y="29"/>
                        </a:lnTo>
                        <a:lnTo>
                          <a:pt x="725" y="29"/>
                        </a:lnTo>
                        <a:lnTo>
                          <a:pt x="730" y="29"/>
                        </a:lnTo>
                        <a:lnTo>
                          <a:pt x="732" y="26"/>
                        </a:lnTo>
                        <a:lnTo>
                          <a:pt x="730" y="24"/>
                        </a:lnTo>
                        <a:close/>
                        <a:moveTo>
                          <a:pt x="119" y="268"/>
                        </a:moveTo>
                        <a:lnTo>
                          <a:pt x="116" y="266"/>
                        </a:lnTo>
                        <a:lnTo>
                          <a:pt x="119" y="268"/>
                        </a:lnTo>
                        <a:close/>
                        <a:moveTo>
                          <a:pt x="128" y="223"/>
                        </a:moveTo>
                        <a:lnTo>
                          <a:pt x="135" y="223"/>
                        </a:lnTo>
                        <a:lnTo>
                          <a:pt x="138" y="220"/>
                        </a:lnTo>
                        <a:lnTo>
                          <a:pt x="145" y="220"/>
                        </a:lnTo>
                        <a:lnTo>
                          <a:pt x="147" y="220"/>
                        </a:lnTo>
                        <a:lnTo>
                          <a:pt x="147" y="216"/>
                        </a:lnTo>
                        <a:lnTo>
                          <a:pt x="150" y="216"/>
                        </a:lnTo>
                        <a:lnTo>
                          <a:pt x="147" y="213"/>
                        </a:lnTo>
                        <a:lnTo>
                          <a:pt x="145" y="211"/>
                        </a:lnTo>
                        <a:lnTo>
                          <a:pt x="143" y="211"/>
                        </a:lnTo>
                        <a:lnTo>
                          <a:pt x="138" y="211"/>
                        </a:lnTo>
                        <a:lnTo>
                          <a:pt x="135" y="206"/>
                        </a:lnTo>
                        <a:lnTo>
                          <a:pt x="119" y="206"/>
                        </a:lnTo>
                        <a:lnTo>
                          <a:pt x="119" y="213"/>
                        </a:lnTo>
                        <a:lnTo>
                          <a:pt x="116" y="216"/>
                        </a:lnTo>
                        <a:lnTo>
                          <a:pt x="114" y="216"/>
                        </a:lnTo>
                        <a:lnTo>
                          <a:pt x="114" y="218"/>
                        </a:lnTo>
                        <a:lnTo>
                          <a:pt x="116" y="220"/>
                        </a:lnTo>
                        <a:lnTo>
                          <a:pt x="119" y="220"/>
                        </a:lnTo>
                        <a:lnTo>
                          <a:pt x="119" y="225"/>
                        </a:lnTo>
                        <a:lnTo>
                          <a:pt x="128" y="223"/>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33" name="Greece"/>
                  <p:cNvSpPr>
                    <a:spLocks noEditPoints="1"/>
                  </p:cNvSpPr>
                  <p:nvPr/>
                </p:nvSpPr>
                <p:spPr bwMode="gray">
                  <a:xfrm>
                    <a:off x="3008" y="1450"/>
                    <a:ext cx="136" cy="141"/>
                  </a:xfrm>
                  <a:custGeom>
                    <a:avLst/>
                    <a:gdLst>
                      <a:gd name="T0" fmla="*/ 0 w 534"/>
                      <a:gd name="T1" fmla="*/ 2147483647 h 552"/>
                      <a:gd name="T2" fmla="*/ 2147483647 w 534"/>
                      <a:gd name="T3" fmla="*/ 2147483647 h 552"/>
                      <a:gd name="T4" fmla="*/ 2147483647 w 534"/>
                      <a:gd name="T5" fmla="*/ 2147483647 h 552"/>
                      <a:gd name="T6" fmla="*/ 2147483647 w 534"/>
                      <a:gd name="T7" fmla="*/ 2147483647 h 552"/>
                      <a:gd name="T8" fmla="*/ 2147483647 w 534"/>
                      <a:gd name="T9" fmla="*/ 2147483647 h 552"/>
                      <a:gd name="T10" fmla="*/ 2147483647 w 534"/>
                      <a:gd name="T11" fmla="*/ 2147483647 h 552"/>
                      <a:gd name="T12" fmla="*/ 2147483647 w 534"/>
                      <a:gd name="T13" fmla="*/ 2147483647 h 552"/>
                      <a:gd name="T14" fmla="*/ 2147483647 w 534"/>
                      <a:gd name="T15" fmla="*/ 2147483647 h 552"/>
                      <a:gd name="T16" fmla="*/ 2147483647 w 534"/>
                      <a:gd name="T17" fmla="*/ 2147483647 h 552"/>
                      <a:gd name="T18" fmla="*/ 2147483647 w 534"/>
                      <a:gd name="T19" fmla="*/ 2147483647 h 552"/>
                      <a:gd name="T20" fmla="*/ 2147483647 w 534"/>
                      <a:gd name="T21" fmla="*/ 2147483647 h 552"/>
                      <a:gd name="T22" fmla="*/ 2147483647 w 534"/>
                      <a:gd name="T23" fmla="*/ 2147483647 h 552"/>
                      <a:gd name="T24" fmla="*/ 2147483647 w 534"/>
                      <a:gd name="T25" fmla="*/ 2147483647 h 552"/>
                      <a:gd name="T26" fmla="*/ 2147483647 w 534"/>
                      <a:gd name="T27" fmla="*/ 2147483647 h 552"/>
                      <a:gd name="T28" fmla="*/ 2147483647 w 534"/>
                      <a:gd name="T29" fmla="*/ 2147483647 h 552"/>
                      <a:gd name="T30" fmla="*/ 2147483647 w 534"/>
                      <a:gd name="T31" fmla="*/ 2147483647 h 552"/>
                      <a:gd name="T32" fmla="*/ 2147483647 w 534"/>
                      <a:gd name="T33" fmla="*/ 2147483647 h 552"/>
                      <a:gd name="T34" fmla="*/ 2147483647 w 534"/>
                      <a:gd name="T35" fmla="*/ 2147483647 h 552"/>
                      <a:gd name="T36" fmla="*/ 2147483647 w 534"/>
                      <a:gd name="T37" fmla="*/ 2147483647 h 552"/>
                      <a:gd name="T38" fmla="*/ 2147483647 w 534"/>
                      <a:gd name="T39" fmla="*/ 2147483647 h 552"/>
                      <a:gd name="T40" fmla="*/ 2147483647 w 534"/>
                      <a:gd name="T41" fmla="*/ 2147483647 h 552"/>
                      <a:gd name="T42" fmla="*/ 2147483647 w 534"/>
                      <a:gd name="T43" fmla="*/ 2147483647 h 552"/>
                      <a:gd name="T44" fmla="*/ 2147483647 w 534"/>
                      <a:gd name="T45" fmla="*/ 2147483647 h 552"/>
                      <a:gd name="T46" fmla="*/ 2147483647 w 534"/>
                      <a:gd name="T47" fmla="*/ 2147483647 h 552"/>
                      <a:gd name="T48" fmla="*/ 2147483647 w 534"/>
                      <a:gd name="T49" fmla="*/ 2147483647 h 552"/>
                      <a:gd name="T50" fmla="*/ 2147483647 w 534"/>
                      <a:gd name="T51" fmla="*/ 2147483647 h 552"/>
                      <a:gd name="T52" fmla="*/ 2147483647 w 534"/>
                      <a:gd name="T53" fmla="*/ 2147483647 h 552"/>
                      <a:gd name="T54" fmla="*/ 2147483647 w 534"/>
                      <a:gd name="T55" fmla="*/ 2147483647 h 552"/>
                      <a:gd name="T56" fmla="*/ 2147483647 w 534"/>
                      <a:gd name="T57" fmla="*/ 2147483647 h 552"/>
                      <a:gd name="T58" fmla="*/ 2147483647 w 534"/>
                      <a:gd name="T59" fmla="*/ 2147483647 h 552"/>
                      <a:gd name="T60" fmla="*/ 2147483647 w 534"/>
                      <a:gd name="T61" fmla="*/ 2147483647 h 552"/>
                      <a:gd name="T62" fmla="*/ 2147483647 w 534"/>
                      <a:gd name="T63" fmla="*/ 2147483647 h 552"/>
                      <a:gd name="T64" fmla="*/ 2147483647 w 534"/>
                      <a:gd name="T65" fmla="*/ 2147483647 h 552"/>
                      <a:gd name="T66" fmla="*/ 2147483647 w 534"/>
                      <a:gd name="T67" fmla="*/ 2147483647 h 552"/>
                      <a:gd name="T68" fmla="*/ 2147483647 w 534"/>
                      <a:gd name="T69" fmla="*/ 2147483647 h 552"/>
                      <a:gd name="T70" fmla="*/ 2147483647 w 534"/>
                      <a:gd name="T71" fmla="*/ 2147483647 h 552"/>
                      <a:gd name="T72" fmla="*/ 2147483647 w 534"/>
                      <a:gd name="T73" fmla="*/ 2147483647 h 552"/>
                      <a:gd name="T74" fmla="*/ 2147483647 w 534"/>
                      <a:gd name="T75" fmla="*/ 2147483647 h 552"/>
                      <a:gd name="T76" fmla="*/ 2147483647 w 534"/>
                      <a:gd name="T77" fmla="*/ 2147483647 h 552"/>
                      <a:gd name="T78" fmla="*/ 2147483647 w 534"/>
                      <a:gd name="T79" fmla="*/ 2147483647 h 552"/>
                      <a:gd name="T80" fmla="*/ 2147483647 w 534"/>
                      <a:gd name="T81" fmla="*/ 2147483647 h 552"/>
                      <a:gd name="T82" fmla="*/ 2147483647 w 534"/>
                      <a:gd name="T83" fmla="*/ 2147483647 h 552"/>
                      <a:gd name="T84" fmla="*/ 2147483647 w 534"/>
                      <a:gd name="T85" fmla="*/ 2147483647 h 552"/>
                      <a:gd name="T86" fmla="*/ 2147483647 w 534"/>
                      <a:gd name="T87" fmla="*/ 2147483647 h 552"/>
                      <a:gd name="T88" fmla="*/ 2147483647 w 534"/>
                      <a:gd name="T89" fmla="*/ 2147483647 h 552"/>
                      <a:gd name="T90" fmla="*/ 2147483647 w 534"/>
                      <a:gd name="T91" fmla="*/ 2147483647 h 552"/>
                      <a:gd name="T92" fmla="*/ 2147483647 w 534"/>
                      <a:gd name="T93" fmla="*/ 2147483647 h 552"/>
                      <a:gd name="T94" fmla="*/ 2147483647 w 534"/>
                      <a:gd name="T95" fmla="*/ 2147483647 h 552"/>
                      <a:gd name="T96" fmla="*/ 2147483647 w 534"/>
                      <a:gd name="T97" fmla="*/ 2147483647 h 552"/>
                      <a:gd name="T98" fmla="*/ 2147483647 w 534"/>
                      <a:gd name="T99" fmla="*/ 2147483647 h 552"/>
                      <a:gd name="T100" fmla="*/ 2147483647 w 534"/>
                      <a:gd name="T101" fmla="*/ 2147483647 h 552"/>
                      <a:gd name="T102" fmla="*/ 2147483647 w 534"/>
                      <a:gd name="T103" fmla="*/ 2147483647 h 552"/>
                      <a:gd name="T104" fmla="*/ 2147483647 w 534"/>
                      <a:gd name="T105" fmla="*/ 2147483647 h 552"/>
                      <a:gd name="T106" fmla="*/ 2147483647 w 534"/>
                      <a:gd name="T107" fmla="*/ 2147483647 h 5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534"/>
                      <a:gd name="T163" fmla="*/ 0 h 552"/>
                      <a:gd name="T164" fmla="*/ 534 w 534"/>
                      <a:gd name="T165" fmla="*/ 552 h 55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534" h="552">
                        <a:moveTo>
                          <a:pt x="240" y="108"/>
                        </a:moveTo>
                        <a:lnTo>
                          <a:pt x="270" y="126"/>
                        </a:lnTo>
                        <a:lnTo>
                          <a:pt x="282" y="120"/>
                        </a:lnTo>
                        <a:lnTo>
                          <a:pt x="240" y="108"/>
                        </a:lnTo>
                        <a:close/>
                        <a:moveTo>
                          <a:pt x="24" y="258"/>
                        </a:moveTo>
                        <a:lnTo>
                          <a:pt x="0" y="282"/>
                        </a:lnTo>
                        <a:lnTo>
                          <a:pt x="42" y="294"/>
                        </a:lnTo>
                        <a:lnTo>
                          <a:pt x="24" y="258"/>
                        </a:lnTo>
                        <a:close/>
                        <a:moveTo>
                          <a:pt x="312" y="414"/>
                        </a:moveTo>
                        <a:lnTo>
                          <a:pt x="312" y="420"/>
                        </a:lnTo>
                        <a:lnTo>
                          <a:pt x="324" y="420"/>
                        </a:lnTo>
                        <a:lnTo>
                          <a:pt x="324" y="414"/>
                        </a:lnTo>
                        <a:lnTo>
                          <a:pt x="318" y="408"/>
                        </a:lnTo>
                        <a:lnTo>
                          <a:pt x="312" y="408"/>
                        </a:lnTo>
                        <a:lnTo>
                          <a:pt x="312" y="414"/>
                        </a:lnTo>
                        <a:close/>
                        <a:moveTo>
                          <a:pt x="306" y="390"/>
                        </a:moveTo>
                        <a:lnTo>
                          <a:pt x="300" y="378"/>
                        </a:lnTo>
                        <a:lnTo>
                          <a:pt x="294" y="390"/>
                        </a:lnTo>
                        <a:lnTo>
                          <a:pt x="306" y="390"/>
                        </a:lnTo>
                        <a:close/>
                        <a:moveTo>
                          <a:pt x="294" y="294"/>
                        </a:moveTo>
                        <a:lnTo>
                          <a:pt x="318" y="336"/>
                        </a:lnTo>
                        <a:lnTo>
                          <a:pt x="330" y="318"/>
                        </a:lnTo>
                        <a:lnTo>
                          <a:pt x="294" y="294"/>
                        </a:lnTo>
                        <a:close/>
                        <a:moveTo>
                          <a:pt x="108" y="264"/>
                        </a:moveTo>
                        <a:lnTo>
                          <a:pt x="138" y="264"/>
                        </a:lnTo>
                        <a:lnTo>
                          <a:pt x="144" y="270"/>
                        </a:lnTo>
                        <a:lnTo>
                          <a:pt x="156" y="270"/>
                        </a:lnTo>
                        <a:lnTo>
                          <a:pt x="180" y="282"/>
                        </a:lnTo>
                        <a:lnTo>
                          <a:pt x="192" y="282"/>
                        </a:lnTo>
                        <a:lnTo>
                          <a:pt x="198" y="288"/>
                        </a:lnTo>
                        <a:lnTo>
                          <a:pt x="204" y="288"/>
                        </a:lnTo>
                        <a:lnTo>
                          <a:pt x="216" y="300"/>
                        </a:lnTo>
                        <a:lnTo>
                          <a:pt x="228" y="306"/>
                        </a:lnTo>
                        <a:lnTo>
                          <a:pt x="234" y="312"/>
                        </a:lnTo>
                        <a:lnTo>
                          <a:pt x="246" y="312"/>
                        </a:lnTo>
                        <a:lnTo>
                          <a:pt x="252" y="306"/>
                        </a:lnTo>
                        <a:lnTo>
                          <a:pt x="252" y="288"/>
                        </a:lnTo>
                        <a:lnTo>
                          <a:pt x="228" y="264"/>
                        </a:lnTo>
                        <a:lnTo>
                          <a:pt x="216" y="258"/>
                        </a:lnTo>
                        <a:lnTo>
                          <a:pt x="210" y="252"/>
                        </a:lnTo>
                        <a:lnTo>
                          <a:pt x="204" y="252"/>
                        </a:lnTo>
                        <a:lnTo>
                          <a:pt x="198" y="246"/>
                        </a:lnTo>
                        <a:lnTo>
                          <a:pt x="186" y="246"/>
                        </a:lnTo>
                        <a:lnTo>
                          <a:pt x="174" y="234"/>
                        </a:lnTo>
                        <a:lnTo>
                          <a:pt x="168" y="234"/>
                        </a:lnTo>
                        <a:lnTo>
                          <a:pt x="174" y="228"/>
                        </a:lnTo>
                        <a:lnTo>
                          <a:pt x="192" y="228"/>
                        </a:lnTo>
                        <a:lnTo>
                          <a:pt x="198" y="240"/>
                        </a:lnTo>
                        <a:lnTo>
                          <a:pt x="222" y="252"/>
                        </a:lnTo>
                        <a:lnTo>
                          <a:pt x="234" y="264"/>
                        </a:lnTo>
                        <a:lnTo>
                          <a:pt x="258" y="264"/>
                        </a:lnTo>
                        <a:lnTo>
                          <a:pt x="270" y="252"/>
                        </a:lnTo>
                        <a:lnTo>
                          <a:pt x="258" y="240"/>
                        </a:lnTo>
                        <a:lnTo>
                          <a:pt x="246" y="240"/>
                        </a:lnTo>
                        <a:lnTo>
                          <a:pt x="234" y="234"/>
                        </a:lnTo>
                        <a:lnTo>
                          <a:pt x="222" y="234"/>
                        </a:lnTo>
                        <a:lnTo>
                          <a:pt x="210" y="228"/>
                        </a:lnTo>
                        <a:lnTo>
                          <a:pt x="204" y="216"/>
                        </a:lnTo>
                        <a:lnTo>
                          <a:pt x="198" y="210"/>
                        </a:lnTo>
                        <a:lnTo>
                          <a:pt x="198" y="204"/>
                        </a:lnTo>
                        <a:lnTo>
                          <a:pt x="192" y="192"/>
                        </a:lnTo>
                        <a:lnTo>
                          <a:pt x="186" y="186"/>
                        </a:lnTo>
                        <a:lnTo>
                          <a:pt x="174" y="162"/>
                        </a:lnTo>
                        <a:lnTo>
                          <a:pt x="168" y="156"/>
                        </a:lnTo>
                        <a:lnTo>
                          <a:pt x="162" y="144"/>
                        </a:lnTo>
                        <a:lnTo>
                          <a:pt x="150" y="132"/>
                        </a:lnTo>
                        <a:lnTo>
                          <a:pt x="150" y="120"/>
                        </a:lnTo>
                        <a:lnTo>
                          <a:pt x="144" y="114"/>
                        </a:lnTo>
                        <a:lnTo>
                          <a:pt x="144" y="102"/>
                        </a:lnTo>
                        <a:lnTo>
                          <a:pt x="150" y="96"/>
                        </a:lnTo>
                        <a:lnTo>
                          <a:pt x="156" y="96"/>
                        </a:lnTo>
                        <a:lnTo>
                          <a:pt x="162" y="102"/>
                        </a:lnTo>
                        <a:lnTo>
                          <a:pt x="162" y="108"/>
                        </a:lnTo>
                        <a:lnTo>
                          <a:pt x="168" y="114"/>
                        </a:lnTo>
                        <a:lnTo>
                          <a:pt x="180" y="114"/>
                        </a:lnTo>
                        <a:lnTo>
                          <a:pt x="180" y="120"/>
                        </a:lnTo>
                        <a:lnTo>
                          <a:pt x="186" y="120"/>
                        </a:lnTo>
                        <a:lnTo>
                          <a:pt x="198" y="132"/>
                        </a:lnTo>
                        <a:lnTo>
                          <a:pt x="198" y="144"/>
                        </a:lnTo>
                        <a:lnTo>
                          <a:pt x="204" y="144"/>
                        </a:lnTo>
                        <a:lnTo>
                          <a:pt x="210" y="138"/>
                        </a:lnTo>
                        <a:lnTo>
                          <a:pt x="216" y="138"/>
                        </a:lnTo>
                        <a:lnTo>
                          <a:pt x="204" y="120"/>
                        </a:lnTo>
                        <a:lnTo>
                          <a:pt x="210" y="120"/>
                        </a:lnTo>
                        <a:lnTo>
                          <a:pt x="234" y="132"/>
                        </a:lnTo>
                        <a:lnTo>
                          <a:pt x="222" y="114"/>
                        </a:lnTo>
                        <a:lnTo>
                          <a:pt x="228" y="108"/>
                        </a:lnTo>
                        <a:lnTo>
                          <a:pt x="228" y="84"/>
                        </a:lnTo>
                        <a:lnTo>
                          <a:pt x="240" y="72"/>
                        </a:lnTo>
                        <a:lnTo>
                          <a:pt x="270" y="72"/>
                        </a:lnTo>
                        <a:lnTo>
                          <a:pt x="276" y="78"/>
                        </a:lnTo>
                        <a:lnTo>
                          <a:pt x="276" y="90"/>
                        </a:lnTo>
                        <a:lnTo>
                          <a:pt x="288" y="90"/>
                        </a:lnTo>
                        <a:lnTo>
                          <a:pt x="294" y="84"/>
                        </a:lnTo>
                        <a:lnTo>
                          <a:pt x="300" y="72"/>
                        </a:lnTo>
                        <a:lnTo>
                          <a:pt x="306" y="66"/>
                        </a:lnTo>
                        <a:lnTo>
                          <a:pt x="342" y="66"/>
                        </a:lnTo>
                        <a:lnTo>
                          <a:pt x="360" y="72"/>
                        </a:lnTo>
                        <a:lnTo>
                          <a:pt x="372" y="72"/>
                        </a:lnTo>
                        <a:lnTo>
                          <a:pt x="378" y="78"/>
                        </a:lnTo>
                        <a:lnTo>
                          <a:pt x="384" y="78"/>
                        </a:lnTo>
                        <a:lnTo>
                          <a:pt x="384" y="72"/>
                        </a:lnTo>
                        <a:lnTo>
                          <a:pt x="390" y="60"/>
                        </a:lnTo>
                        <a:lnTo>
                          <a:pt x="390" y="48"/>
                        </a:lnTo>
                        <a:lnTo>
                          <a:pt x="384" y="42"/>
                        </a:lnTo>
                        <a:lnTo>
                          <a:pt x="384" y="36"/>
                        </a:lnTo>
                        <a:lnTo>
                          <a:pt x="390" y="30"/>
                        </a:lnTo>
                        <a:lnTo>
                          <a:pt x="408" y="30"/>
                        </a:lnTo>
                        <a:lnTo>
                          <a:pt x="408" y="18"/>
                        </a:lnTo>
                        <a:lnTo>
                          <a:pt x="402" y="12"/>
                        </a:lnTo>
                        <a:lnTo>
                          <a:pt x="402" y="6"/>
                        </a:lnTo>
                        <a:lnTo>
                          <a:pt x="390" y="6"/>
                        </a:lnTo>
                        <a:lnTo>
                          <a:pt x="384" y="0"/>
                        </a:lnTo>
                        <a:lnTo>
                          <a:pt x="366" y="6"/>
                        </a:lnTo>
                        <a:lnTo>
                          <a:pt x="372" y="12"/>
                        </a:lnTo>
                        <a:lnTo>
                          <a:pt x="372" y="30"/>
                        </a:lnTo>
                        <a:lnTo>
                          <a:pt x="366" y="36"/>
                        </a:lnTo>
                        <a:lnTo>
                          <a:pt x="348" y="36"/>
                        </a:lnTo>
                        <a:lnTo>
                          <a:pt x="336" y="24"/>
                        </a:lnTo>
                        <a:lnTo>
                          <a:pt x="324" y="36"/>
                        </a:lnTo>
                        <a:lnTo>
                          <a:pt x="312" y="36"/>
                        </a:lnTo>
                        <a:lnTo>
                          <a:pt x="300" y="24"/>
                        </a:lnTo>
                        <a:lnTo>
                          <a:pt x="294" y="30"/>
                        </a:lnTo>
                        <a:lnTo>
                          <a:pt x="282" y="30"/>
                        </a:lnTo>
                        <a:lnTo>
                          <a:pt x="264" y="12"/>
                        </a:lnTo>
                        <a:lnTo>
                          <a:pt x="264" y="6"/>
                        </a:lnTo>
                        <a:lnTo>
                          <a:pt x="234" y="12"/>
                        </a:lnTo>
                        <a:lnTo>
                          <a:pt x="228" y="30"/>
                        </a:lnTo>
                        <a:lnTo>
                          <a:pt x="204" y="24"/>
                        </a:lnTo>
                        <a:lnTo>
                          <a:pt x="198" y="30"/>
                        </a:lnTo>
                        <a:lnTo>
                          <a:pt x="186" y="36"/>
                        </a:lnTo>
                        <a:lnTo>
                          <a:pt x="174" y="36"/>
                        </a:lnTo>
                        <a:lnTo>
                          <a:pt x="168" y="30"/>
                        </a:lnTo>
                        <a:lnTo>
                          <a:pt x="162" y="30"/>
                        </a:lnTo>
                        <a:lnTo>
                          <a:pt x="150" y="36"/>
                        </a:lnTo>
                        <a:lnTo>
                          <a:pt x="138" y="48"/>
                        </a:lnTo>
                        <a:lnTo>
                          <a:pt x="126" y="54"/>
                        </a:lnTo>
                        <a:lnTo>
                          <a:pt x="102" y="54"/>
                        </a:lnTo>
                        <a:lnTo>
                          <a:pt x="102" y="60"/>
                        </a:lnTo>
                        <a:lnTo>
                          <a:pt x="96" y="72"/>
                        </a:lnTo>
                        <a:lnTo>
                          <a:pt x="72" y="72"/>
                        </a:lnTo>
                        <a:lnTo>
                          <a:pt x="66" y="66"/>
                        </a:lnTo>
                        <a:lnTo>
                          <a:pt x="60" y="66"/>
                        </a:lnTo>
                        <a:lnTo>
                          <a:pt x="48" y="72"/>
                        </a:lnTo>
                        <a:lnTo>
                          <a:pt x="54" y="84"/>
                        </a:lnTo>
                        <a:lnTo>
                          <a:pt x="54" y="90"/>
                        </a:lnTo>
                        <a:lnTo>
                          <a:pt x="42" y="102"/>
                        </a:lnTo>
                        <a:lnTo>
                          <a:pt x="24" y="102"/>
                        </a:lnTo>
                        <a:lnTo>
                          <a:pt x="24" y="126"/>
                        </a:lnTo>
                        <a:lnTo>
                          <a:pt x="12" y="132"/>
                        </a:lnTo>
                        <a:lnTo>
                          <a:pt x="0" y="132"/>
                        </a:lnTo>
                        <a:lnTo>
                          <a:pt x="0" y="198"/>
                        </a:lnTo>
                        <a:lnTo>
                          <a:pt x="6" y="204"/>
                        </a:lnTo>
                        <a:lnTo>
                          <a:pt x="18" y="210"/>
                        </a:lnTo>
                        <a:lnTo>
                          <a:pt x="24" y="216"/>
                        </a:lnTo>
                        <a:lnTo>
                          <a:pt x="30" y="228"/>
                        </a:lnTo>
                        <a:lnTo>
                          <a:pt x="36" y="234"/>
                        </a:lnTo>
                        <a:lnTo>
                          <a:pt x="42" y="246"/>
                        </a:lnTo>
                        <a:lnTo>
                          <a:pt x="54" y="258"/>
                        </a:lnTo>
                        <a:lnTo>
                          <a:pt x="60" y="270"/>
                        </a:lnTo>
                        <a:lnTo>
                          <a:pt x="84" y="270"/>
                        </a:lnTo>
                        <a:lnTo>
                          <a:pt x="96" y="264"/>
                        </a:lnTo>
                        <a:lnTo>
                          <a:pt x="108" y="264"/>
                        </a:lnTo>
                        <a:close/>
                        <a:moveTo>
                          <a:pt x="396" y="252"/>
                        </a:moveTo>
                        <a:lnTo>
                          <a:pt x="372" y="252"/>
                        </a:lnTo>
                        <a:lnTo>
                          <a:pt x="372" y="270"/>
                        </a:lnTo>
                        <a:lnTo>
                          <a:pt x="384" y="294"/>
                        </a:lnTo>
                        <a:lnTo>
                          <a:pt x="396" y="252"/>
                        </a:lnTo>
                        <a:close/>
                        <a:moveTo>
                          <a:pt x="24" y="312"/>
                        </a:moveTo>
                        <a:lnTo>
                          <a:pt x="18" y="318"/>
                        </a:lnTo>
                        <a:lnTo>
                          <a:pt x="24" y="324"/>
                        </a:lnTo>
                        <a:lnTo>
                          <a:pt x="30" y="324"/>
                        </a:lnTo>
                        <a:lnTo>
                          <a:pt x="36" y="330"/>
                        </a:lnTo>
                        <a:lnTo>
                          <a:pt x="42" y="324"/>
                        </a:lnTo>
                        <a:lnTo>
                          <a:pt x="42" y="318"/>
                        </a:lnTo>
                        <a:lnTo>
                          <a:pt x="30" y="306"/>
                        </a:lnTo>
                        <a:lnTo>
                          <a:pt x="24" y="312"/>
                        </a:lnTo>
                        <a:close/>
                        <a:moveTo>
                          <a:pt x="378" y="390"/>
                        </a:moveTo>
                        <a:lnTo>
                          <a:pt x="378" y="408"/>
                        </a:lnTo>
                        <a:lnTo>
                          <a:pt x="390" y="390"/>
                        </a:lnTo>
                        <a:lnTo>
                          <a:pt x="378" y="390"/>
                        </a:lnTo>
                        <a:close/>
                        <a:moveTo>
                          <a:pt x="408" y="330"/>
                        </a:moveTo>
                        <a:lnTo>
                          <a:pt x="396" y="330"/>
                        </a:lnTo>
                        <a:lnTo>
                          <a:pt x="384" y="336"/>
                        </a:lnTo>
                        <a:lnTo>
                          <a:pt x="384" y="342"/>
                        </a:lnTo>
                        <a:lnTo>
                          <a:pt x="396" y="342"/>
                        </a:lnTo>
                        <a:lnTo>
                          <a:pt x="402" y="336"/>
                        </a:lnTo>
                        <a:lnTo>
                          <a:pt x="408" y="336"/>
                        </a:lnTo>
                        <a:lnTo>
                          <a:pt x="408" y="330"/>
                        </a:lnTo>
                        <a:close/>
                        <a:moveTo>
                          <a:pt x="396" y="192"/>
                        </a:moveTo>
                        <a:lnTo>
                          <a:pt x="372" y="198"/>
                        </a:lnTo>
                        <a:lnTo>
                          <a:pt x="372" y="210"/>
                        </a:lnTo>
                        <a:lnTo>
                          <a:pt x="390" y="210"/>
                        </a:lnTo>
                        <a:lnTo>
                          <a:pt x="396" y="216"/>
                        </a:lnTo>
                        <a:lnTo>
                          <a:pt x="396" y="222"/>
                        </a:lnTo>
                        <a:lnTo>
                          <a:pt x="414" y="222"/>
                        </a:lnTo>
                        <a:lnTo>
                          <a:pt x="414" y="210"/>
                        </a:lnTo>
                        <a:lnTo>
                          <a:pt x="396" y="192"/>
                        </a:lnTo>
                        <a:close/>
                        <a:moveTo>
                          <a:pt x="342" y="372"/>
                        </a:moveTo>
                        <a:lnTo>
                          <a:pt x="342" y="378"/>
                        </a:lnTo>
                        <a:lnTo>
                          <a:pt x="348" y="384"/>
                        </a:lnTo>
                        <a:lnTo>
                          <a:pt x="360" y="384"/>
                        </a:lnTo>
                        <a:lnTo>
                          <a:pt x="366" y="378"/>
                        </a:lnTo>
                        <a:lnTo>
                          <a:pt x="366" y="372"/>
                        </a:lnTo>
                        <a:lnTo>
                          <a:pt x="360" y="366"/>
                        </a:lnTo>
                        <a:lnTo>
                          <a:pt x="342" y="366"/>
                        </a:lnTo>
                        <a:lnTo>
                          <a:pt x="342" y="372"/>
                        </a:lnTo>
                        <a:close/>
                        <a:moveTo>
                          <a:pt x="444" y="312"/>
                        </a:moveTo>
                        <a:lnTo>
                          <a:pt x="432" y="312"/>
                        </a:lnTo>
                        <a:lnTo>
                          <a:pt x="432" y="330"/>
                        </a:lnTo>
                        <a:lnTo>
                          <a:pt x="444" y="336"/>
                        </a:lnTo>
                        <a:lnTo>
                          <a:pt x="450" y="330"/>
                        </a:lnTo>
                        <a:lnTo>
                          <a:pt x="450" y="318"/>
                        </a:lnTo>
                        <a:lnTo>
                          <a:pt x="444" y="312"/>
                        </a:lnTo>
                        <a:close/>
                        <a:moveTo>
                          <a:pt x="444" y="372"/>
                        </a:moveTo>
                        <a:lnTo>
                          <a:pt x="456" y="354"/>
                        </a:lnTo>
                        <a:lnTo>
                          <a:pt x="438" y="354"/>
                        </a:lnTo>
                        <a:lnTo>
                          <a:pt x="444" y="372"/>
                        </a:lnTo>
                        <a:close/>
                        <a:moveTo>
                          <a:pt x="276" y="222"/>
                        </a:moveTo>
                        <a:lnTo>
                          <a:pt x="276" y="240"/>
                        </a:lnTo>
                        <a:lnTo>
                          <a:pt x="288" y="240"/>
                        </a:lnTo>
                        <a:lnTo>
                          <a:pt x="276" y="222"/>
                        </a:lnTo>
                        <a:close/>
                        <a:moveTo>
                          <a:pt x="534" y="420"/>
                        </a:moveTo>
                        <a:lnTo>
                          <a:pt x="522" y="420"/>
                        </a:lnTo>
                        <a:lnTo>
                          <a:pt x="516" y="426"/>
                        </a:lnTo>
                        <a:lnTo>
                          <a:pt x="510" y="438"/>
                        </a:lnTo>
                        <a:lnTo>
                          <a:pt x="510" y="468"/>
                        </a:lnTo>
                        <a:lnTo>
                          <a:pt x="516" y="468"/>
                        </a:lnTo>
                        <a:lnTo>
                          <a:pt x="522" y="456"/>
                        </a:lnTo>
                        <a:lnTo>
                          <a:pt x="528" y="450"/>
                        </a:lnTo>
                        <a:lnTo>
                          <a:pt x="534" y="438"/>
                        </a:lnTo>
                        <a:lnTo>
                          <a:pt x="534" y="420"/>
                        </a:lnTo>
                        <a:close/>
                        <a:moveTo>
                          <a:pt x="462" y="384"/>
                        </a:moveTo>
                        <a:lnTo>
                          <a:pt x="456" y="408"/>
                        </a:lnTo>
                        <a:lnTo>
                          <a:pt x="498" y="378"/>
                        </a:lnTo>
                        <a:lnTo>
                          <a:pt x="486" y="372"/>
                        </a:lnTo>
                        <a:lnTo>
                          <a:pt x="462" y="384"/>
                        </a:lnTo>
                        <a:close/>
                        <a:moveTo>
                          <a:pt x="462" y="510"/>
                        </a:moveTo>
                        <a:lnTo>
                          <a:pt x="480" y="510"/>
                        </a:lnTo>
                        <a:lnTo>
                          <a:pt x="468" y="468"/>
                        </a:lnTo>
                        <a:lnTo>
                          <a:pt x="462" y="510"/>
                        </a:lnTo>
                        <a:close/>
                        <a:moveTo>
                          <a:pt x="276" y="330"/>
                        </a:moveTo>
                        <a:lnTo>
                          <a:pt x="270" y="336"/>
                        </a:lnTo>
                        <a:lnTo>
                          <a:pt x="270" y="348"/>
                        </a:lnTo>
                        <a:lnTo>
                          <a:pt x="276" y="348"/>
                        </a:lnTo>
                        <a:lnTo>
                          <a:pt x="288" y="336"/>
                        </a:lnTo>
                        <a:lnTo>
                          <a:pt x="282" y="330"/>
                        </a:lnTo>
                        <a:lnTo>
                          <a:pt x="276" y="330"/>
                        </a:lnTo>
                        <a:close/>
                        <a:moveTo>
                          <a:pt x="186" y="432"/>
                        </a:moveTo>
                        <a:lnTo>
                          <a:pt x="180" y="438"/>
                        </a:lnTo>
                        <a:lnTo>
                          <a:pt x="180" y="450"/>
                        </a:lnTo>
                        <a:lnTo>
                          <a:pt x="186" y="456"/>
                        </a:lnTo>
                        <a:lnTo>
                          <a:pt x="198" y="444"/>
                        </a:lnTo>
                        <a:lnTo>
                          <a:pt x="198" y="438"/>
                        </a:lnTo>
                        <a:lnTo>
                          <a:pt x="192" y="432"/>
                        </a:lnTo>
                        <a:lnTo>
                          <a:pt x="186" y="432"/>
                        </a:lnTo>
                        <a:close/>
                        <a:moveTo>
                          <a:pt x="384" y="528"/>
                        </a:moveTo>
                        <a:lnTo>
                          <a:pt x="378" y="528"/>
                        </a:lnTo>
                        <a:lnTo>
                          <a:pt x="378" y="516"/>
                        </a:lnTo>
                        <a:lnTo>
                          <a:pt x="372" y="510"/>
                        </a:lnTo>
                        <a:lnTo>
                          <a:pt x="342" y="510"/>
                        </a:lnTo>
                        <a:lnTo>
                          <a:pt x="306" y="504"/>
                        </a:lnTo>
                        <a:lnTo>
                          <a:pt x="276" y="504"/>
                        </a:lnTo>
                        <a:lnTo>
                          <a:pt x="246" y="486"/>
                        </a:lnTo>
                        <a:lnTo>
                          <a:pt x="228" y="504"/>
                        </a:lnTo>
                        <a:lnTo>
                          <a:pt x="234" y="510"/>
                        </a:lnTo>
                        <a:lnTo>
                          <a:pt x="246" y="516"/>
                        </a:lnTo>
                        <a:lnTo>
                          <a:pt x="252" y="522"/>
                        </a:lnTo>
                        <a:lnTo>
                          <a:pt x="258" y="516"/>
                        </a:lnTo>
                        <a:lnTo>
                          <a:pt x="264" y="528"/>
                        </a:lnTo>
                        <a:lnTo>
                          <a:pt x="300" y="528"/>
                        </a:lnTo>
                        <a:lnTo>
                          <a:pt x="312" y="552"/>
                        </a:lnTo>
                        <a:lnTo>
                          <a:pt x="354" y="546"/>
                        </a:lnTo>
                        <a:lnTo>
                          <a:pt x="354" y="540"/>
                        </a:lnTo>
                        <a:lnTo>
                          <a:pt x="402" y="540"/>
                        </a:lnTo>
                        <a:lnTo>
                          <a:pt x="414" y="528"/>
                        </a:lnTo>
                        <a:lnTo>
                          <a:pt x="414" y="522"/>
                        </a:lnTo>
                        <a:lnTo>
                          <a:pt x="408" y="516"/>
                        </a:lnTo>
                        <a:lnTo>
                          <a:pt x="402" y="516"/>
                        </a:lnTo>
                        <a:lnTo>
                          <a:pt x="396" y="522"/>
                        </a:lnTo>
                        <a:lnTo>
                          <a:pt x="390" y="522"/>
                        </a:lnTo>
                        <a:lnTo>
                          <a:pt x="384" y="528"/>
                        </a:lnTo>
                        <a:close/>
                        <a:moveTo>
                          <a:pt x="420" y="408"/>
                        </a:moveTo>
                        <a:lnTo>
                          <a:pt x="408" y="408"/>
                        </a:lnTo>
                        <a:lnTo>
                          <a:pt x="408" y="420"/>
                        </a:lnTo>
                        <a:lnTo>
                          <a:pt x="420" y="420"/>
                        </a:lnTo>
                        <a:lnTo>
                          <a:pt x="426" y="414"/>
                        </a:lnTo>
                        <a:lnTo>
                          <a:pt x="420" y="408"/>
                        </a:lnTo>
                        <a:close/>
                        <a:moveTo>
                          <a:pt x="114" y="276"/>
                        </a:moveTo>
                        <a:lnTo>
                          <a:pt x="90" y="288"/>
                        </a:lnTo>
                        <a:lnTo>
                          <a:pt x="84" y="288"/>
                        </a:lnTo>
                        <a:lnTo>
                          <a:pt x="66" y="312"/>
                        </a:lnTo>
                        <a:lnTo>
                          <a:pt x="96" y="336"/>
                        </a:lnTo>
                        <a:lnTo>
                          <a:pt x="96" y="348"/>
                        </a:lnTo>
                        <a:lnTo>
                          <a:pt x="90" y="366"/>
                        </a:lnTo>
                        <a:lnTo>
                          <a:pt x="90" y="384"/>
                        </a:lnTo>
                        <a:lnTo>
                          <a:pt x="96" y="390"/>
                        </a:lnTo>
                        <a:lnTo>
                          <a:pt x="108" y="396"/>
                        </a:lnTo>
                        <a:lnTo>
                          <a:pt x="114" y="396"/>
                        </a:lnTo>
                        <a:lnTo>
                          <a:pt x="114" y="390"/>
                        </a:lnTo>
                        <a:lnTo>
                          <a:pt x="126" y="378"/>
                        </a:lnTo>
                        <a:lnTo>
                          <a:pt x="132" y="378"/>
                        </a:lnTo>
                        <a:lnTo>
                          <a:pt x="156" y="420"/>
                        </a:lnTo>
                        <a:lnTo>
                          <a:pt x="162" y="390"/>
                        </a:lnTo>
                        <a:lnTo>
                          <a:pt x="180" y="414"/>
                        </a:lnTo>
                        <a:lnTo>
                          <a:pt x="204" y="420"/>
                        </a:lnTo>
                        <a:lnTo>
                          <a:pt x="186" y="402"/>
                        </a:lnTo>
                        <a:lnTo>
                          <a:pt x="192" y="396"/>
                        </a:lnTo>
                        <a:lnTo>
                          <a:pt x="192" y="372"/>
                        </a:lnTo>
                        <a:lnTo>
                          <a:pt x="186" y="366"/>
                        </a:lnTo>
                        <a:lnTo>
                          <a:pt x="180" y="354"/>
                        </a:lnTo>
                        <a:lnTo>
                          <a:pt x="174" y="348"/>
                        </a:lnTo>
                        <a:lnTo>
                          <a:pt x="168" y="336"/>
                        </a:lnTo>
                        <a:lnTo>
                          <a:pt x="168" y="330"/>
                        </a:lnTo>
                        <a:lnTo>
                          <a:pt x="186" y="330"/>
                        </a:lnTo>
                        <a:lnTo>
                          <a:pt x="198" y="336"/>
                        </a:lnTo>
                        <a:lnTo>
                          <a:pt x="210" y="348"/>
                        </a:lnTo>
                        <a:lnTo>
                          <a:pt x="222" y="342"/>
                        </a:lnTo>
                        <a:lnTo>
                          <a:pt x="210" y="336"/>
                        </a:lnTo>
                        <a:lnTo>
                          <a:pt x="204" y="324"/>
                        </a:lnTo>
                        <a:lnTo>
                          <a:pt x="192" y="318"/>
                        </a:lnTo>
                        <a:lnTo>
                          <a:pt x="186" y="312"/>
                        </a:lnTo>
                        <a:lnTo>
                          <a:pt x="174" y="306"/>
                        </a:lnTo>
                        <a:lnTo>
                          <a:pt x="156" y="294"/>
                        </a:lnTo>
                        <a:lnTo>
                          <a:pt x="138" y="288"/>
                        </a:lnTo>
                        <a:lnTo>
                          <a:pt x="126" y="282"/>
                        </a:lnTo>
                        <a:lnTo>
                          <a:pt x="120" y="276"/>
                        </a:lnTo>
                        <a:lnTo>
                          <a:pt x="114" y="276"/>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34" name="Ghana"/>
                  <p:cNvSpPr>
                    <a:spLocks/>
                  </p:cNvSpPr>
                  <p:nvPr/>
                </p:nvSpPr>
                <p:spPr bwMode="gray">
                  <a:xfrm>
                    <a:off x="2592" y="2081"/>
                    <a:ext cx="83" cy="132"/>
                  </a:xfrm>
                  <a:custGeom>
                    <a:avLst/>
                    <a:gdLst>
                      <a:gd name="T0" fmla="*/ 2147483647 w 324"/>
                      <a:gd name="T1" fmla="*/ 2147483647 h 516"/>
                      <a:gd name="T2" fmla="*/ 2147483647 w 324"/>
                      <a:gd name="T3" fmla="*/ 2147483647 h 516"/>
                      <a:gd name="T4" fmla="*/ 2147483647 w 324"/>
                      <a:gd name="T5" fmla="*/ 2147483647 h 516"/>
                      <a:gd name="T6" fmla="*/ 2147483647 w 324"/>
                      <a:gd name="T7" fmla="*/ 2147483647 h 516"/>
                      <a:gd name="T8" fmla="*/ 2147483647 w 324"/>
                      <a:gd name="T9" fmla="*/ 2147483647 h 516"/>
                      <a:gd name="T10" fmla="*/ 2147483647 w 324"/>
                      <a:gd name="T11" fmla="*/ 2147483647 h 516"/>
                      <a:gd name="T12" fmla="*/ 2147483647 w 324"/>
                      <a:gd name="T13" fmla="*/ 2147483647 h 516"/>
                      <a:gd name="T14" fmla="*/ 2147483647 w 324"/>
                      <a:gd name="T15" fmla="*/ 2147483647 h 516"/>
                      <a:gd name="T16" fmla="*/ 2147483647 w 324"/>
                      <a:gd name="T17" fmla="*/ 2147483647 h 516"/>
                      <a:gd name="T18" fmla="*/ 2147483647 w 324"/>
                      <a:gd name="T19" fmla="*/ 2147483647 h 516"/>
                      <a:gd name="T20" fmla="*/ 2147483647 w 324"/>
                      <a:gd name="T21" fmla="*/ 2147483647 h 516"/>
                      <a:gd name="T22" fmla="*/ 2147483647 w 324"/>
                      <a:gd name="T23" fmla="*/ 2147483647 h 516"/>
                      <a:gd name="T24" fmla="*/ 2147483647 w 324"/>
                      <a:gd name="T25" fmla="*/ 2147483647 h 516"/>
                      <a:gd name="T26" fmla="*/ 2147483647 w 324"/>
                      <a:gd name="T27" fmla="*/ 0 h 516"/>
                      <a:gd name="T28" fmla="*/ 2147483647 w 324"/>
                      <a:gd name="T29" fmla="*/ 2147483647 h 516"/>
                      <a:gd name="T30" fmla="*/ 2147483647 w 324"/>
                      <a:gd name="T31" fmla="*/ 2147483647 h 516"/>
                      <a:gd name="T32" fmla="*/ 2147483647 w 324"/>
                      <a:gd name="T33" fmla="*/ 2147483647 h 516"/>
                      <a:gd name="T34" fmla="*/ 2147483647 w 324"/>
                      <a:gd name="T35" fmla="*/ 2147483647 h 516"/>
                      <a:gd name="T36" fmla="*/ 2147483647 w 324"/>
                      <a:gd name="T37" fmla="*/ 2147483647 h 516"/>
                      <a:gd name="T38" fmla="*/ 2147483647 w 324"/>
                      <a:gd name="T39" fmla="*/ 2147483647 h 516"/>
                      <a:gd name="T40" fmla="*/ 2147483647 w 324"/>
                      <a:gd name="T41" fmla="*/ 2147483647 h 516"/>
                      <a:gd name="T42" fmla="*/ 2147483647 w 324"/>
                      <a:gd name="T43" fmla="*/ 2147483647 h 516"/>
                      <a:gd name="T44" fmla="*/ 2147483647 w 324"/>
                      <a:gd name="T45" fmla="*/ 2147483647 h 516"/>
                      <a:gd name="T46" fmla="*/ 2147483647 w 324"/>
                      <a:gd name="T47" fmla="*/ 2147483647 h 516"/>
                      <a:gd name="T48" fmla="*/ 2147483647 w 324"/>
                      <a:gd name="T49" fmla="*/ 2147483647 h 516"/>
                      <a:gd name="T50" fmla="*/ 2147483647 w 324"/>
                      <a:gd name="T51" fmla="*/ 2147483647 h 516"/>
                      <a:gd name="T52" fmla="*/ 2147483647 w 324"/>
                      <a:gd name="T53" fmla="*/ 2147483647 h 516"/>
                      <a:gd name="T54" fmla="*/ 0 w 324"/>
                      <a:gd name="T55" fmla="*/ 2147483647 h 516"/>
                      <a:gd name="T56" fmla="*/ 2147483647 w 324"/>
                      <a:gd name="T57" fmla="*/ 2147483647 h 516"/>
                      <a:gd name="T58" fmla="*/ 2147483647 w 324"/>
                      <a:gd name="T59" fmla="*/ 2147483647 h 516"/>
                      <a:gd name="T60" fmla="*/ 2147483647 w 324"/>
                      <a:gd name="T61" fmla="*/ 2147483647 h 516"/>
                      <a:gd name="T62" fmla="*/ 2147483647 w 324"/>
                      <a:gd name="T63" fmla="*/ 2147483647 h 516"/>
                      <a:gd name="T64" fmla="*/ 2147483647 w 324"/>
                      <a:gd name="T65" fmla="*/ 2147483647 h 516"/>
                      <a:gd name="T66" fmla="*/ 2147483647 w 324"/>
                      <a:gd name="T67" fmla="*/ 2147483647 h 516"/>
                      <a:gd name="T68" fmla="*/ 2147483647 w 324"/>
                      <a:gd name="T69" fmla="*/ 2147483647 h 516"/>
                      <a:gd name="T70" fmla="*/ 2147483647 w 324"/>
                      <a:gd name="T71" fmla="*/ 2147483647 h 516"/>
                      <a:gd name="T72" fmla="*/ 2147483647 w 324"/>
                      <a:gd name="T73" fmla="*/ 2147483647 h 516"/>
                      <a:gd name="T74" fmla="*/ 2147483647 w 324"/>
                      <a:gd name="T75" fmla="*/ 2147483647 h 516"/>
                      <a:gd name="T76" fmla="*/ 2147483647 w 324"/>
                      <a:gd name="T77" fmla="*/ 2147483647 h 516"/>
                      <a:gd name="T78" fmla="*/ 2147483647 w 324"/>
                      <a:gd name="T79" fmla="*/ 2147483647 h 516"/>
                      <a:gd name="T80" fmla="*/ 2147483647 w 324"/>
                      <a:gd name="T81" fmla="*/ 2147483647 h 516"/>
                      <a:gd name="T82" fmla="*/ 2147483647 w 324"/>
                      <a:gd name="T83" fmla="*/ 2147483647 h 516"/>
                      <a:gd name="T84" fmla="*/ 2147483647 w 324"/>
                      <a:gd name="T85" fmla="*/ 2147483647 h 516"/>
                      <a:gd name="T86" fmla="*/ 2147483647 w 324"/>
                      <a:gd name="T87" fmla="*/ 2147483647 h 51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24"/>
                      <a:gd name="T133" fmla="*/ 0 h 516"/>
                      <a:gd name="T134" fmla="*/ 324 w 324"/>
                      <a:gd name="T135" fmla="*/ 516 h 51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24" h="516">
                        <a:moveTo>
                          <a:pt x="282" y="342"/>
                        </a:moveTo>
                        <a:lnTo>
                          <a:pt x="282" y="330"/>
                        </a:lnTo>
                        <a:lnTo>
                          <a:pt x="288" y="318"/>
                        </a:lnTo>
                        <a:lnTo>
                          <a:pt x="288" y="306"/>
                        </a:lnTo>
                        <a:lnTo>
                          <a:pt x="282" y="300"/>
                        </a:lnTo>
                        <a:lnTo>
                          <a:pt x="276" y="300"/>
                        </a:lnTo>
                        <a:lnTo>
                          <a:pt x="276" y="282"/>
                        </a:lnTo>
                        <a:lnTo>
                          <a:pt x="282" y="276"/>
                        </a:lnTo>
                        <a:lnTo>
                          <a:pt x="282" y="234"/>
                        </a:lnTo>
                        <a:lnTo>
                          <a:pt x="288" y="228"/>
                        </a:lnTo>
                        <a:lnTo>
                          <a:pt x="288" y="216"/>
                        </a:lnTo>
                        <a:lnTo>
                          <a:pt x="282" y="210"/>
                        </a:lnTo>
                        <a:lnTo>
                          <a:pt x="270" y="204"/>
                        </a:lnTo>
                        <a:lnTo>
                          <a:pt x="264" y="198"/>
                        </a:lnTo>
                        <a:lnTo>
                          <a:pt x="276" y="186"/>
                        </a:lnTo>
                        <a:lnTo>
                          <a:pt x="282" y="186"/>
                        </a:lnTo>
                        <a:lnTo>
                          <a:pt x="282" y="180"/>
                        </a:lnTo>
                        <a:lnTo>
                          <a:pt x="270" y="168"/>
                        </a:lnTo>
                        <a:lnTo>
                          <a:pt x="276" y="156"/>
                        </a:lnTo>
                        <a:lnTo>
                          <a:pt x="276" y="132"/>
                        </a:lnTo>
                        <a:lnTo>
                          <a:pt x="270" y="126"/>
                        </a:lnTo>
                        <a:lnTo>
                          <a:pt x="264" y="126"/>
                        </a:lnTo>
                        <a:lnTo>
                          <a:pt x="252" y="138"/>
                        </a:lnTo>
                        <a:lnTo>
                          <a:pt x="264" y="60"/>
                        </a:lnTo>
                        <a:lnTo>
                          <a:pt x="228" y="36"/>
                        </a:lnTo>
                        <a:lnTo>
                          <a:pt x="240" y="24"/>
                        </a:lnTo>
                        <a:lnTo>
                          <a:pt x="240" y="6"/>
                        </a:lnTo>
                        <a:lnTo>
                          <a:pt x="222" y="0"/>
                        </a:lnTo>
                        <a:lnTo>
                          <a:pt x="198" y="12"/>
                        </a:lnTo>
                        <a:lnTo>
                          <a:pt x="42" y="12"/>
                        </a:lnTo>
                        <a:lnTo>
                          <a:pt x="36" y="18"/>
                        </a:lnTo>
                        <a:lnTo>
                          <a:pt x="30" y="30"/>
                        </a:lnTo>
                        <a:lnTo>
                          <a:pt x="30" y="48"/>
                        </a:lnTo>
                        <a:lnTo>
                          <a:pt x="36" y="48"/>
                        </a:lnTo>
                        <a:lnTo>
                          <a:pt x="42" y="78"/>
                        </a:lnTo>
                        <a:lnTo>
                          <a:pt x="42" y="132"/>
                        </a:lnTo>
                        <a:lnTo>
                          <a:pt x="48" y="126"/>
                        </a:lnTo>
                        <a:lnTo>
                          <a:pt x="54" y="156"/>
                        </a:lnTo>
                        <a:lnTo>
                          <a:pt x="42" y="156"/>
                        </a:lnTo>
                        <a:lnTo>
                          <a:pt x="42" y="162"/>
                        </a:lnTo>
                        <a:lnTo>
                          <a:pt x="48" y="168"/>
                        </a:lnTo>
                        <a:lnTo>
                          <a:pt x="48" y="180"/>
                        </a:lnTo>
                        <a:lnTo>
                          <a:pt x="54" y="192"/>
                        </a:lnTo>
                        <a:lnTo>
                          <a:pt x="54" y="204"/>
                        </a:lnTo>
                        <a:lnTo>
                          <a:pt x="60" y="216"/>
                        </a:lnTo>
                        <a:lnTo>
                          <a:pt x="60" y="228"/>
                        </a:lnTo>
                        <a:lnTo>
                          <a:pt x="48" y="252"/>
                        </a:lnTo>
                        <a:lnTo>
                          <a:pt x="42" y="258"/>
                        </a:lnTo>
                        <a:lnTo>
                          <a:pt x="36" y="270"/>
                        </a:lnTo>
                        <a:lnTo>
                          <a:pt x="36" y="288"/>
                        </a:lnTo>
                        <a:lnTo>
                          <a:pt x="30" y="300"/>
                        </a:lnTo>
                        <a:lnTo>
                          <a:pt x="30" y="312"/>
                        </a:lnTo>
                        <a:lnTo>
                          <a:pt x="12" y="330"/>
                        </a:lnTo>
                        <a:lnTo>
                          <a:pt x="6" y="342"/>
                        </a:lnTo>
                        <a:lnTo>
                          <a:pt x="0" y="348"/>
                        </a:lnTo>
                        <a:lnTo>
                          <a:pt x="0" y="372"/>
                        </a:lnTo>
                        <a:lnTo>
                          <a:pt x="6" y="384"/>
                        </a:lnTo>
                        <a:lnTo>
                          <a:pt x="12" y="402"/>
                        </a:lnTo>
                        <a:lnTo>
                          <a:pt x="12" y="414"/>
                        </a:lnTo>
                        <a:lnTo>
                          <a:pt x="18" y="426"/>
                        </a:lnTo>
                        <a:lnTo>
                          <a:pt x="24" y="432"/>
                        </a:lnTo>
                        <a:lnTo>
                          <a:pt x="24" y="438"/>
                        </a:lnTo>
                        <a:lnTo>
                          <a:pt x="48" y="444"/>
                        </a:lnTo>
                        <a:lnTo>
                          <a:pt x="48" y="498"/>
                        </a:lnTo>
                        <a:lnTo>
                          <a:pt x="72" y="498"/>
                        </a:lnTo>
                        <a:lnTo>
                          <a:pt x="78" y="504"/>
                        </a:lnTo>
                        <a:lnTo>
                          <a:pt x="78" y="510"/>
                        </a:lnTo>
                        <a:lnTo>
                          <a:pt x="84" y="516"/>
                        </a:lnTo>
                        <a:lnTo>
                          <a:pt x="96" y="516"/>
                        </a:lnTo>
                        <a:lnTo>
                          <a:pt x="108" y="510"/>
                        </a:lnTo>
                        <a:lnTo>
                          <a:pt x="114" y="504"/>
                        </a:lnTo>
                        <a:lnTo>
                          <a:pt x="132" y="492"/>
                        </a:lnTo>
                        <a:lnTo>
                          <a:pt x="138" y="486"/>
                        </a:lnTo>
                        <a:lnTo>
                          <a:pt x="150" y="480"/>
                        </a:lnTo>
                        <a:lnTo>
                          <a:pt x="180" y="480"/>
                        </a:lnTo>
                        <a:lnTo>
                          <a:pt x="186" y="474"/>
                        </a:lnTo>
                        <a:lnTo>
                          <a:pt x="198" y="468"/>
                        </a:lnTo>
                        <a:lnTo>
                          <a:pt x="216" y="450"/>
                        </a:lnTo>
                        <a:lnTo>
                          <a:pt x="228" y="450"/>
                        </a:lnTo>
                        <a:lnTo>
                          <a:pt x="234" y="444"/>
                        </a:lnTo>
                        <a:lnTo>
                          <a:pt x="240" y="444"/>
                        </a:lnTo>
                        <a:lnTo>
                          <a:pt x="258" y="426"/>
                        </a:lnTo>
                        <a:lnTo>
                          <a:pt x="270" y="426"/>
                        </a:lnTo>
                        <a:lnTo>
                          <a:pt x="276" y="432"/>
                        </a:lnTo>
                        <a:lnTo>
                          <a:pt x="294" y="432"/>
                        </a:lnTo>
                        <a:lnTo>
                          <a:pt x="306" y="426"/>
                        </a:lnTo>
                        <a:lnTo>
                          <a:pt x="324" y="408"/>
                        </a:lnTo>
                        <a:lnTo>
                          <a:pt x="294" y="384"/>
                        </a:lnTo>
                        <a:lnTo>
                          <a:pt x="282" y="3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35" name="Germany"/>
                  <p:cNvSpPr>
                    <a:spLocks/>
                  </p:cNvSpPr>
                  <p:nvPr/>
                </p:nvSpPr>
                <p:spPr bwMode="gray">
                  <a:xfrm>
                    <a:off x="2770" y="1186"/>
                    <a:ext cx="144" cy="151"/>
                  </a:xfrm>
                  <a:custGeom>
                    <a:avLst/>
                    <a:gdLst>
                      <a:gd name="T0" fmla="*/ 2147483647 w 564"/>
                      <a:gd name="T1" fmla="*/ 2147483647 h 588"/>
                      <a:gd name="T2" fmla="*/ 2147483647 w 564"/>
                      <a:gd name="T3" fmla="*/ 2147483647 h 588"/>
                      <a:gd name="T4" fmla="*/ 2147483647 w 564"/>
                      <a:gd name="T5" fmla="*/ 2147483647 h 588"/>
                      <a:gd name="T6" fmla="*/ 2147483647 w 564"/>
                      <a:gd name="T7" fmla="*/ 2147483647 h 588"/>
                      <a:gd name="T8" fmla="*/ 2147483647 w 564"/>
                      <a:gd name="T9" fmla="*/ 2147483647 h 588"/>
                      <a:gd name="T10" fmla="*/ 2147483647 w 564"/>
                      <a:gd name="T11" fmla="*/ 2147483647 h 588"/>
                      <a:gd name="T12" fmla="*/ 2147483647 w 564"/>
                      <a:gd name="T13" fmla="*/ 2147483647 h 588"/>
                      <a:gd name="T14" fmla="*/ 2147483647 w 564"/>
                      <a:gd name="T15" fmla="*/ 2147483647 h 588"/>
                      <a:gd name="T16" fmla="*/ 2147483647 w 564"/>
                      <a:gd name="T17" fmla="*/ 2147483647 h 588"/>
                      <a:gd name="T18" fmla="*/ 2147483647 w 564"/>
                      <a:gd name="T19" fmla="*/ 2147483647 h 588"/>
                      <a:gd name="T20" fmla="*/ 2147483647 w 564"/>
                      <a:gd name="T21" fmla="*/ 2147483647 h 588"/>
                      <a:gd name="T22" fmla="*/ 2147483647 w 564"/>
                      <a:gd name="T23" fmla="*/ 2147483647 h 588"/>
                      <a:gd name="T24" fmla="*/ 2147483647 w 564"/>
                      <a:gd name="T25" fmla="*/ 2147483647 h 588"/>
                      <a:gd name="T26" fmla="*/ 2147483647 w 564"/>
                      <a:gd name="T27" fmla="*/ 2147483647 h 588"/>
                      <a:gd name="T28" fmla="*/ 2147483647 w 564"/>
                      <a:gd name="T29" fmla="*/ 2147483647 h 588"/>
                      <a:gd name="T30" fmla="*/ 2147483647 w 564"/>
                      <a:gd name="T31" fmla="*/ 2147483647 h 588"/>
                      <a:gd name="T32" fmla="*/ 2147483647 w 564"/>
                      <a:gd name="T33" fmla="*/ 2147483647 h 588"/>
                      <a:gd name="T34" fmla="*/ 2147483647 w 564"/>
                      <a:gd name="T35" fmla="*/ 2147483647 h 588"/>
                      <a:gd name="T36" fmla="*/ 2147483647 w 564"/>
                      <a:gd name="T37" fmla="*/ 2147483647 h 588"/>
                      <a:gd name="T38" fmla="*/ 2147483647 w 564"/>
                      <a:gd name="T39" fmla="*/ 2147483647 h 588"/>
                      <a:gd name="T40" fmla="*/ 2147483647 w 564"/>
                      <a:gd name="T41" fmla="*/ 2147483647 h 588"/>
                      <a:gd name="T42" fmla="*/ 2147483647 w 564"/>
                      <a:gd name="T43" fmla="*/ 2147483647 h 588"/>
                      <a:gd name="T44" fmla="*/ 2147483647 w 564"/>
                      <a:gd name="T45" fmla="*/ 2147483647 h 588"/>
                      <a:gd name="T46" fmla="*/ 2147483647 w 564"/>
                      <a:gd name="T47" fmla="*/ 2147483647 h 588"/>
                      <a:gd name="T48" fmla="*/ 2147483647 w 564"/>
                      <a:gd name="T49" fmla="*/ 2147483647 h 588"/>
                      <a:gd name="T50" fmla="*/ 2147483647 w 564"/>
                      <a:gd name="T51" fmla="*/ 2147483647 h 588"/>
                      <a:gd name="T52" fmla="*/ 2147483647 w 564"/>
                      <a:gd name="T53" fmla="*/ 2147483647 h 588"/>
                      <a:gd name="T54" fmla="*/ 2147483647 w 564"/>
                      <a:gd name="T55" fmla="*/ 2147483647 h 588"/>
                      <a:gd name="T56" fmla="*/ 2147483647 w 564"/>
                      <a:gd name="T57" fmla="*/ 2147483647 h 588"/>
                      <a:gd name="T58" fmla="*/ 2147483647 w 564"/>
                      <a:gd name="T59" fmla="*/ 2147483647 h 588"/>
                      <a:gd name="T60" fmla="*/ 2147483647 w 564"/>
                      <a:gd name="T61" fmla="*/ 2147483647 h 588"/>
                      <a:gd name="T62" fmla="*/ 2147483647 w 564"/>
                      <a:gd name="T63" fmla="*/ 2147483647 h 588"/>
                      <a:gd name="T64" fmla="*/ 2147483647 w 564"/>
                      <a:gd name="T65" fmla="*/ 2147483647 h 588"/>
                      <a:gd name="T66" fmla="*/ 2147483647 w 564"/>
                      <a:gd name="T67" fmla="*/ 2147483647 h 588"/>
                      <a:gd name="T68" fmla="*/ 2147483647 w 564"/>
                      <a:gd name="T69" fmla="*/ 2147483647 h 588"/>
                      <a:gd name="T70" fmla="*/ 2147483647 w 564"/>
                      <a:gd name="T71" fmla="*/ 2147483647 h 588"/>
                      <a:gd name="T72" fmla="*/ 2147483647 w 564"/>
                      <a:gd name="T73" fmla="*/ 2147483647 h 588"/>
                      <a:gd name="T74" fmla="*/ 2147483647 w 564"/>
                      <a:gd name="T75" fmla="*/ 2147483647 h 588"/>
                      <a:gd name="T76" fmla="*/ 2147483647 w 564"/>
                      <a:gd name="T77" fmla="*/ 2147483647 h 588"/>
                      <a:gd name="T78" fmla="*/ 2147483647 w 564"/>
                      <a:gd name="T79" fmla="*/ 2147483647 h 588"/>
                      <a:gd name="T80" fmla="*/ 2147483647 w 564"/>
                      <a:gd name="T81" fmla="*/ 2147483647 h 588"/>
                      <a:gd name="T82" fmla="*/ 2147483647 w 564"/>
                      <a:gd name="T83" fmla="*/ 0 h 588"/>
                      <a:gd name="T84" fmla="*/ 2147483647 w 564"/>
                      <a:gd name="T85" fmla="*/ 2147483647 h 588"/>
                      <a:gd name="T86" fmla="*/ 2147483647 w 564"/>
                      <a:gd name="T87" fmla="*/ 2147483647 h 588"/>
                      <a:gd name="T88" fmla="*/ 2147483647 w 564"/>
                      <a:gd name="T89" fmla="*/ 2147483647 h 588"/>
                      <a:gd name="T90" fmla="*/ 2147483647 w 564"/>
                      <a:gd name="T91" fmla="*/ 2147483647 h 588"/>
                      <a:gd name="T92" fmla="*/ 2147483647 w 564"/>
                      <a:gd name="T93" fmla="*/ 2147483647 h 588"/>
                      <a:gd name="T94" fmla="*/ 2147483647 w 564"/>
                      <a:gd name="T95" fmla="*/ 2147483647 h 588"/>
                      <a:gd name="T96" fmla="*/ 2147483647 w 564"/>
                      <a:gd name="T97" fmla="*/ 2147483647 h 588"/>
                      <a:gd name="T98" fmla="*/ 2147483647 w 564"/>
                      <a:gd name="T99" fmla="*/ 2147483647 h 588"/>
                      <a:gd name="T100" fmla="*/ 2147483647 w 564"/>
                      <a:gd name="T101" fmla="*/ 2147483647 h 588"/>
                      <a:gd name="T102" fmla="*/ 2147483647 w 564"/>
                      <a:gd name="T103" fmla="*/ 2147483647 h 588"/>
                      <a:gd name="T104" fmla="*/ 0 w 564"/>
                      <a:gd name="T105" fmla="*/ 2147483647 h 588"/>
                      <a:gd name="T106" fmla="*/ 2147483647 w 564"/>
                      <a:gd name="T107" fmla="*/ 2147483647 h 588"/>
                      <a:gd name="T108" fmla="*/ 2147483647 w 564"/>
                      <a:gd name="T109" fmla="*/ 2147483647 h 588"/>
                      <a:gd name="T110" fmla="*/ 2147483647 w 564"/>
                      <a:gd name="T111" fmla="*/ 2147483647 h 58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64"/>
                      <a:gd name="T169" fmla="*/ 0 h 588"/>
                      <a:gd name="T170" fmla="*/ 564 w 564"/>
                      <a:gd name="T171" fmla="*/ 588 h 58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64" h="588">
                        <a:moveTo>
                          <a:pt x="30" y="414"/>
                        </a:moveTo>
                        <a:lnTo>
                          <a:pt x="30" y="420"/>
                        </a:lnTo>
                        <a:lnTo>
                          <a:pt x="36" y="420"/>
                        </a:lnTo>
                        <a:lnTo>
                          <a:pt x="36" y="444"/>
                        </a:lnTo>
                        <a:lnTo>
                          <a:pt x="60" y="444"/>
                        </a:lnTo>
                        <a:lnTo>
                          <a:pt x="60" y="450"/>
                        </a:lnTo>
                        <a:lnTo>
                          <a:pt x="72" y="450"/>
                        </a:lnTo>
                        <a:lnTo>
                          <a:pt x="84" y="444"/>
                        </a:lnTo>
                        <a:lnTo>
                          <a:pt x="96" y="444"/>
                        </a:lnTo>
                        <a:lnTo>
                          <a:pt x="96" y="450"/>
                        </a:lnTo>
                        <a:lnTo>
                          <a:pt x="120" y="450"/>
                        </a:lnTo>
                        <a:lnTo>
                          <a:pt x="138" y="456"/>
                        </a:lnTo>
                        <a:lnTo>
                          <a:pt x="132" y="468"/>
                        </a:lnTo>
                        <a:lnTo>
                          <a:pt x="114" y="486"/>
                        </a:lnTo>
                        <a:lnTo>
                          <a:pt x="114" y="498"/>
                        </a:lnTo>
                        <a:lnTo>
                          <a:pt x="108" y="510"/>
                        </a:lnTo>
                        <a:lnTo>
                          <a:pt x="102" y="516"/>
                        </a:lnTo>
                        <a:lnTo>
                          <a:pt x="96" y="528"/>
                        </a:lnTo>
                        <a:lnTo>
                          <a:pt x="96" y="570"/>
                        </a:lnTo>
                        <a:lnTo>
                          <a:pt x="132" y="570"/>
                        </a:lnTo>
                        <a:lnTo>
                          <a:pt x="150" y="564"/>
                        </a:lnTo>
                        <a:lnTo>
                          <a:pt x="156" y="570"/>
                        </a:lnTo>
                        <a:lnTo>
                          <a:pt x="150" y="564"/>
                        </a:lnTo>
                        <a:lnTo>
                          <a:pt x="150" y="552"/>
                        </a:lnTo>
                        <a:lnTo>
                          <a:pt x="156" y="546"/>
                        </a:lnTo>
                        <a:lnTo>
                          <a:pt x="162" y="546"/>
                        </a:lnTo>
                        <a:lnTo>
                          <a:pt x="174" y="552"/>
                        </a:lnTo>
                        <a:lnTo>
                          <a:pt x="180" y="558"/>
                        </a:lnTo>
                        <a:lnTo>
                          <a:pt x="192" y="558"/>
                        </a:lnTo>
                        <a:lnTo>
                          <a:pt x="210" y="564"/>
                        </a:lnTo>
                        <a:lnTo>
                          <a:pt x="216" y="576"/>
                        </a:lnTo>
                        <a:lnTo>
                          <a:pt x="252" y="576"/>
                        </a:lnTo>
                        <a:lnTo>
                          <a:pt x="258" y="582"/>
                        </a:lnTo>
                        <a:lnTo>
                          <a:pt x="258" y="588"/>
                        </a:lnTo>
                        <a:lnTo>
                          <a:pt x="270" y="588"/>
                        </a:lnTo>
                        <a:lnTo>
                          <a:pt x="276" y="582"/>
                        </a:lnTo>
                        <a:lnTo>
                          <a:pt x="276" y="570"/>
                        </a:lnTo>
                        <a:lnTo>
                          <a:pt x="294" y="570"/>
                        </a:lnTo>
                        <a:lnTo>
                          <a:pt x="312" y="588"/>
                        </a:lnTo>
                        <a:lnTo>
                          <a:pt x="330" y="588"/>
                        </a:lnTo>
                        <a:lnTo>
                          <a:pt x="336" y="582"/>
                        </a:lnTo>
                        <a:lnTo>
                          <a:pt x="354" y="570"/>
                        </a:lnTo>
                        <a:lnTo>
                          <a:pt x="372" y="570"/>
                        </a:lnTo>
                        <a:lnTo>
                          <a:pt x="390" y="558"/>
                        </a:lnTo>
                        <a:lnTo>
                          <a:pt x="402" y="564"/>
                        </a:lnTo>
                        <a:lnTo>
                          <a:pt x="420" y="570"/>
                        </a:lnTo>
                        <a:lnTo>
                          <a:pt x="432" y="582"/>
                        </a:lnTo>
                        <a:lnTo>
                          <a:pt x="438" y="582"/>
                        </a:lnTo>
                        <a:lnTo>
                          <a:pt x="438" y="540"/>
                        </a:lnTo>
                        <a:lnTo>
                          <a:pt x="426" y="540"/>
                        </a:lnTo>
                        <a:lnTo>
                          <a:pt x="426" y="534"/>
                        </a:lnTo>
                        <a:lnTo>
                          <a:pt x="432" y="528"/>
                        </a:lnTo>
                        <a:lnTo>
                          <a:pt x="432" y="522"/>
                        </a:lnTo>
                        <a:lnTo>
                          <a:pt x="438" y="516"/>
                        </a:lnTo>
                        <a:lnTo>
                          <a:pt x="456" y="516"/>
                        </a:lnTo>
                        <a:lnTo>
                          <a:pt x="462" y="522"/>
                        </a:lnTo>
                        <a:lnTo>
                          <a:pt x="468" y="522"/>
                        </a:lnTo>
                        <a:lnTo>
                          <a:pt x="468" y="504"/>
                        </a:lnTo>
                        <a:lnTo>
                          <a:pt x="462" y="492"/>
                        </a:lnTo>
                        <a:lnTo>
                          <a:pt x="480" y="492"/>
                        </a:lnTo>
                        <a:lnTo>
                          <a:pt x="486" y="474"/>
                        </a:lnTo>
                        <a:lnTo>
                          <a:pt x="486" y="462"/>
                        </a:lnTo>
                        <a:lnTo>
                          <a:pt x="480" y="462"/>
                        </a:lnTo>
                        <a:lnTo>
                          <a:pt x="474" y="456"/>
                        </a:lnTo>
                        <a:lnTo>
                          <a:pt x="462" y="456"/>
                        </a:lnTo>
                        <a:lnTo>
                          <a:pt x="456" y="444"/>
                        </a:lnTo>
                        <a:lnTo>
                          <a:pt x="450" y="444"/>
                        </a:lnTo>
                        <a:lnTo>
                          <a:pt x="444" y="432"/>
                        </a:lnTo>
                        <a:lnTo>
                          <a:pt x="432" y="432"/>
                        </a:lnTo>
                        <a:lnTo>
                          <a:pt x="420" y="426"/>
                        </a:lnTo>
                        <a:lnTo>
                          <a:pt x="420" y="420"/>
                        </a:lnTo>
                        <a:lnTo>
                          <a:pt x="414" y="420"/>
                        </a:lnTo>
                        <a:lnTo>
                          <a:pt x="408" y="408"/>
                        </a:lnTo>
                        <a:lnTo>
                          <a:pt x="396" y="396"/>
                        </a:lnTo>
                        <a:lnTo>
                          <a:pt x="396" y="390"/>
                        </a:lnTo>
                        <a:lnTo>
                          <a:pt x="402" y="390"/>
                        </a:lnTo>
                        <a:lnTo>
                          <a:pt x="408" y="384"/>
                        </a:lnTo>
                        <a:lnTo>
                          <a:pt x="396" y="372"/>
                        </a:lnTo>
                        <a:lnTo>
                          <a:pt x="390" y="372"/>
                        </a:lnTo>
                        <a:lnTo>
                          <a:pt x="384" y="366"/>
                        </a:lnTo>
                        <a:lnTo>
                          <a:pt x="384" y="354"/>
                        </a:lnTo>
                        <a:lnTo>
                          <a:pt x="390" y="354"/>
                        </a:lnTo>
                        <a:lnTo>
                          <a:pt x="390" y="360"/>
                        </a:lnTo>
                        <a:lnTo>
                          <a:pt x="402" y="360"/>
                        </a:lnTo>
                        <a:lnTo>
                          <a:pt x="402" y="354"/>
                        </a:lnTo>
                        <a:lnTo>
                          <a:pt x="414" y="354"/>
                        </a:lnTo>
                        <a:lnTo>
                          <a:pt x="414" y="348"/>
                        </a:lnTo>
                        <a:lnTo>
                          <a:pt x="420" y="342"/>
                        </a:lnTo>
                        <a:lnTo>
                          <a:pt x="426" y="342"/>
                        </a:lnTo>
                        <a:lnTo>
                          <a:pt x="438" y="348"/>
                        </a:lnTo>
                        <a:lnTo>
                          <a:pt x="450" y="336"/>
                        </a:lnTo>
                        <a:lnTo>
                          <a:pt x="468" y="330"/>
                        </a:lnTo>
                        <a:lnTo>
                          <a:pt x="468" y="324"/>
                        </a:lnTo>
                        <a:lnTo>
                          <a:pt x="492" y="324"/>
                        </a:lnTo>
                        <a:lnTo>
                          <a:pt x="492" y="318"/>
                        </a:lnTo>
                        <a:lnTo>
                          <a:pt x="510" y="318"/>
                        </a:lnTo>
                        <a:lnTo>
                          <a:pt x="510" y="312"/>
                        </a:lnTo>
                        <a:lnTo>
                          <a:pt x="516" y="306"/>
                        </a:lnTo>
                        <a:lnTo>
                          <a:pt x="522" y="306"/>
                        </a:lnTo>
                        <a:lnTo>
                          <a:pt x="528" y="300"/>
                        </a:lnTo>
                        <a:lnTo>
                          <a:pt x="540" y="312"/>
                        </a:lnTo>
                        <a:lnTo>
                          <a:pt x="552" y="312"/>
                        </a:lnTo>
                        <a:lnTo>
                          <a:pt x="558" y="300"/>
                        </a:lnTo>
                        <a:lnTo>
                          <a:pt x="558" y="294"/>
                        </a:lnTo>
                        <a:lnTo>
                          <a:pt x="564" y="288"/>
                        </a:lnTo>
                        <a:lnTo>
                          <a:pt x="564" y="282"/>
                        </a:lnTo>
                        <a:lnTo>
                          <a:pt x="552" y="282"/>
                        </a:lnTo>
                        <a:lnTo>
                          <a:pt x="558" y="276"/>
                        </a:lnTo>
                        <a:lnTo>
                          <a:pt x="558" y="264"/>
                        </a:lnTo>
                        <a:lnTo>
                          <a:pt x="552" y="264"/>
                        </a:lnTo>
                        <a:lnTo>
                          <a:pt x="546" y="270"/>
                        </a:lnTo>
                        <a:lnTo>
                          <a:pt x="546" y="252"/>
                        </a:lnTo>
                        <a:lnTo>
                          <a:pt x="540" y="246"/>
                        </a:lnTo>
                        <a:lnTo>
                          <a:pt x="534" y="246"/>
                        </a:lnTo>
                        <a:lnTo>
                          <a:pt x="528" y="240"/>
                        </a:lnTo>
                        <a:lnTo>
                          <a:pt x="528" y="234"/>
                        </a:lnTo>
                        <a:lnTo>
                          <a:pt x="540" y="228"/>
                        </a:lnTo>
                        <a:lnTo>
                          <a:pt x="546" y="222"/>
                        </a:lnTo>
                        <a:lnTo>
                          <a:pt x="540" y="216"/>
                        </a:lnTo>
                        <a:lnTo>
                          <a:pt x="534" y="216"/>
                        </a:lnTo>
                        <a:lnTo>
                          <a:pt x="540" y="210"/>
                        </a:lnTo>
                        <a:lnTo>
                          <a:pt x="540" y="204"/>
                        </a:lnTo>
                        <a:lnTo>
                          <a:pt x="528" y="204"/>
                        </a:lnTo>
                        <a:lnTo>
                          <a:pt x="528" y="192"/>
                        </a:lnTo>
                        <a:lnTo>
                          <a:pt x="534" y="192"/>
                        </a:lnTo>
                        <a:lnTo>
                          <a:pt x="534" y="174"/>
                        </a:lnTo>
                        <a:lnTo>
                          <a:pt x="522" y="174"/>
                        </a:lnTo>
                        <a:lnTo>
                          <a:pt x="516" y="168"/>
                        </a:lnTo>
                        <a:lnTo>
                          <a:pt x="510" y="168"/>
                        </a:lnTo>
                        <a:lnTo>
                          <a:pt x="504" y="162"/>
                        </a:lnTo>
                        <a:lnTo>
                          <a:pt x="504" y="150"/>
                        </a:lnTo>
                        <a:lnTo>
                          <a:pt x="510" y="150"/>
                        </a:lnTo>
                        <a:lnTo>
                          <a:pt x="522" y="138"/>
                        </a:lnTo>
                        <a:lnTo>
                          <a:pt x="522" y="120"/>
                        </a:lnTo>
                        <a:lnTo>
                          <a:pt x="516" y="114"/>
                        </a:lnTo>
                        <a:lnTo>
                          <a:pt x="510" y="114"/>
                        </a:lnTo>
                        <a:lnTo>
                          <a:pt x="510" y="96"/>
                        </a:lnTo>
                        <a:lnTo>
                          <a:pt x="504" y="90"/>
                        </a:lnTo>
                        <a:lnTo>
                          <a:pt x="486" y="84"/>
                        </a:lnTo>
                        <a:lnTo>
                          <a:pt x="486" y="78"/>
                        </a:lnTo>
                        <a:lnTo>
                          <a:pt x="480" y="66"/>
                        </a:lnTo>
                        <a:lnTo>
                          <a:pt x="474" y="60"/>
                        </a:lnTo>
                        <a:lnTo>
                          <a:pt x="456" y="60"/>
                        </a:lnTo>
                        <a:lnTo>
                          <a:pt x="450" y="54"/>
                        </a:lnTo>
                        <a:lnTo>
                          <a:pt x="444" y="54"/>
                        </a:lnTo>
                        <a:lnTo>
                          <a:pt x="438" y="48"/>
                        </a:lnTo>
                        <a:lnTo>
                          <a:pt x="426" y="48"/>
                        </a:lnTo>
                        <a:lnTo>
                          <a:pt x="420" y="42"/>
                        </a:lnTo>
                        <a:lnTo>
                          <a:pt x="396" y="42"/>
                        </a:lnTo>
                        <a:lnTo>
                          <a:pt x="384" y="54"/>
                        </a:lnTo>
                        <a:lnTo>
                          <a:pt x="342" y="54"/>
                        </a:lnTo>
                        <a:lnTo>
                          <a:pt x="342" y="72"/>
                        </a:lnTo>
                        <a:lnTo>
                          <a:pt x="300" y="72"/>
                        </a:lnTo>
                        <a:lnTo>
                          <a:pt x="300" y="60"/>
                        </a:lnTo>
                        <a:lnTo>
                          <a:pt x="312" y="48"/>
                        </a:lnTo>
                        <a:lnTo>
                          <a:pt x="312" y="42"/>
                        </a:lnTo>
                        <a:lnTo>
                          <a:pt x="318" y="30"/>
                        </a:lnTo>
                        <a:lnTo>
                          <a:pt x="294" y="42"/>
                        </a:lnTo>
                        <a:lnTo>
                          <a:pt x="252" y="36"/>
                        </a:lnTo>
                        <a:lnTo>
                          <a:pt x="246" y="30"/>
                        </a:lnTo>
                        <a:lnTo>
                          <a:pt x="246" y="18"/>
                        </a:lnTo>
                        <a:lnTo>
                          <a:pt x="240" y="6"/>
                        </a:lnTo>
                        <a:lnTo>
                          <a:pt x="234" y="6"/>
                        </a:lnTo>
                        <a:lnTo>
                          <a:pt x="234" y="12"/>
                        </a:lnTo>
                        <a:lnTo>
                          <a:pt x="228" y="6"/>
                        </a:lnTo>
                        <a:lnTo>
                          <a:pt x="204" y="6"/>
                        </a:lnTo>
                        <a:lnTo>
                          <a:pt x="198" y="0"/>
                        </a:lnTo>
                        <a:lnTo>
                          <a:pt x="168" y="0"/>
                        </a:lnTo>
                        <a:lnTo>
                          <a:pt x="192" y="36"/>
                        </a:lnTo>
                        <a:lnTo>
                          <a:pt x="180" y="48"/>
                        </a:lnTo>
                        <a:lnTo>
                          <a:pt x="198" y="72"/>
                        </a:lnTo>
                        <a:lnTo>
                          <a:pt x="216" y="90"/>
                        </a:lnTo>
                        <a:lnTo>
                          <a:pt x="186" y="78"/>
                        </a:lnTo>
                        <a:lnTo>
                          <a:pt x="162" y="84"/>
                        </a:lnTo>
                        <a:lnTo>
                          <a:pt x="162" y="108"/>
                        </a:lnTo>
                        <a:lnTo>
                          <a:pt x="132" y="108"/>
                        </a:lnTo>
                        <a:lnTo>
                          <a:pt x="126" y="96"/>
                        </a:lnTo>
                        <a:lnTo>
                          <a:pt x="84" y="96"/>
                        </a:lnTo>
                        <a:lnTo>
                          <a:pt x="84" y="126"/>
                        </a:lnTo>
                        <a:lnTo>
                          <a:pt x="90" y="126"/>
                        </a:lnTo>
                        <a:lnTo>
                          <a:pt x="84" y="132"/>
                        </a:lnTo>
                        <a:lnTo>
                          <a:pt x="90" y="144"/>
                        </a:lnTo>
                        <a:lnTo>
                          <a:pt x="78" y="150"/>
                        </a:lnTo>
                        <a:lnTo>
                          <a:pt x="72" y="150"/>
                        </a:lnTo>
                        <a:lnTo>
                          <a:pt x="72" y="168"/>
                        </a:lnTo>
                        <a:lnTo>
                          <a:pt x="78" y="174"/>
                        </a:lnTo>
                        <a:lnTo>
                          <a:pt x="66" y="174"/>
                        </a:lnTo>
                        <a:lnTo>
                          <a:pt x="54" y="180"/>
                        </a:lnTo>
                        <a:lnTo>
                          <a:pt x="48" y="180"/>
                        </a:lnTo>
                        <a:lnTo>
                          <a:pt x="48" y="186"/>
                        </a:lnTo>
                        <a:lnTo>
                          <a:pt x="54" y="192"/>
                        </a:lnTo>
                        <a:lnTo>
                          <a:pt x="60" y="192"/>
                        </a:lnTo>
                        <a:lnTo>
                          <a:pt x="72" y="204"/>
                        </a:lnTo>
                        <a:lnTo>
                          <a:pt x="72" y="210"/>
                        </a:lnTo>
                        <a:lnTo>
                          <a:pt x="66" y="210"/>
                        </a:lnTo>
                        <a:lnTo>
                          <a:pt x="60" y="216"/>
                        </a:lnTo>
                        <a:lnTo>
                          <a:pt x="54" y="228"/>
                        </a:lnTo>
                        <a:lnTo>
                          <a:pt x="48" y="228"/>
                        </a:lnTo>
                        <a:lnTo>
                          <a:pt x="42" y="234"/>
                        </a:lnTo>
                        <a:lnTo>
                          <a:pt x="42" y="240"/>
                        </a:lnTo>
                        <a:lnTo>
                          <a:pt x="18" y="240"/>
                        </a:lnTo>
                        <a:lnTo>
                          <a:pt x="12" y="234"/>
                        </a:lnTo>
                        <a:lnTo>
                          <a:pt x="6" y="234"/>
                        </a:lnTo>
                        <a:lnTo>
                          <a:pt x="12" y="258"/>
                        </a:lnTo>
                        <a:lnTo>
                          <a:pt x="12" y="264"/>
                        </a:lnTo>
                        <a:lnTo>
                          <a:pt x="18" y="270"/>
                        </a:lnTo>
                        <a:lnTo>
                          <a:pt x="18" y="276"/>
                        </a:lnTo>
                        <a:lnTo>
                          <a:pt x="6" y="282"/>
                        </a:lnTo>
                        <a:lnTo>
                          <a:pt x="0" y="288"/>
                        </a:lnTo>
                        <a:lnTo>
                          <a:pt x="6" y="294"/>
                        </a:lnTo>
                        <a:lnTo>
                          <a:pt x="6" y="306"/>
                        </a:lnTo>
                        <a:lnTo>
                          <a:pt x="0" y="312"/>
                        </a:lnTo>
                        <a:lnTo>
                          <a:pt x="0" y="324"/>
                        </a:lnTo>
                        <a:lnTo>
                          <a:pt x="12" y="324"/>
                        </a:lnTo>
                        <a:lnTo>
                          <a:pt x="24" y="336"/>
                        </a:lnTo>
                        <a:lnTo>
                          <a:pt x="24" y="354"/>
                        </a:lnTo>
                        <a:lnTo>
                          <a:pt x="30" y="360"/>
                        </a:lnTo>
                        <a:lnTo>
                          <a:pt x="18" y="360"/>
                        </a:lnTo>
                        <a:lnTo>
                          <a:pt x="12" y="366"/>
                        </a:lnTo>
                        <a:lnTo>
                          <a:pt x="12" y="384"/>
                        </a:lnTo>
                        <a:lnTo>
                          <a:pt x="18" y="390"/>
                        </a:lnTo>
                        <a:lnTo>
                          <a:pt x="24" y="390"/>
                        </a:lnTo>
                        <a:lnTo>
                          <a:pt x="36" y="396"/>
                        </a:lnTo>
                        <a:lnTo>
                          <a:pt x="36" y="408"/>
                        </a:lnTo>
                        <a:lnTo>
                          <a:pt x="30" y="41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36" name="Georgia"/>
                  <p:cNvSpPr>
                    <a:spLocks/>
                  </p:cNvSpPr>
                  <p:nvPr/>
                </p:nvSpPr>
                <p:spPr bwMode="gray">
                  <a:xfrm>
                    <a:off x="3329" y="1412"/>
                    <a:ext cx="118" cy="54"/>
                  </a:xfrm>
                  <a:custGeom>
                    <a:avLst/>
                    <a:gdLst>
                      <a:gd name="T0" fmla="*/ 2147483647 w 462"/>
                      <a:gd name="T1" fmla="*/ 2147483647 h 210"/>
                      <a:gd name="T2" fmla="*/ 2147483647 w 462"/>
                      <a:gd name="T3" fmla="*/ 2147483647 h 210"/>
                      <a:gd name="T4" fmla="*/ 2147483647 w 462"/>
                      <a:gd name="T5" fmla="*/ 2147483647 h 210"/>
                      <a:gd name="T6" fmla="*/ 2147483647 w 462"/>
                      <a:gd name="T7" fmla="*/ 2147483647 h 210"/>
                      <a:gd name="T8" fmla="*/ 2147483647 w 462"/>
                      <a:gd name="T9" fmla="*/ 2147483647 h 210"/>
                      <a:gd name="T10" fmla="*/ 2147483647 w 462"/>
                      <a:gd name="T11" fmla="*/ 2147483647 h 210"/>
                      <a:gd name="T12" fmla="*/ 2147483647 w 462"/>
                      <a:gd name="T13" fmla="*/ 2147483647 h 210"/>
                      <a:gd name="T14" fmla="*/ 2147483647 w 462"/>
                      <a:gd name="T15" fmla="*/ 2147483647 h 210"/>
                      <a:gd name="T16" fmla="*/ 2147483647 w 462"/>
                      <a:gd name="T17" fmla="*/ 2147483647 h 210"/>
                      <a:gd name="T18" fmla="*/ 2147483647 w 462"/>
                      <a:gd name="T19" fmla="*/ 2147483647 h 210"/>
                      <a:gd name="T20" fmla="*/ 2147483647 w 462"/>
                      <a:gd name="T21" fmla="*/ 2147483647 h 210"/>
                      <a:gd name="T22" fmla="*/ 2147483647 w 462"/>
                      <a:gd name="T23" fmla="*/ 2147483647 h 210"/>
                      <a:gd name="T24" fmla="*/ 2147483647 w 462"/>
                      <a:gd name="T25" fmla="*/ 2147483647 h 210"/>
                      <a:gd name="T26" fmla="*/ 2147483647 w 462"/>
                      <a:gd name="T27" fmla="*/ 2147483647 h 210"/>
                      <a:gd name="T28" fmla="*/ 2147483647 w 462"/>
                      <a:gd name="T29" fmla="*/ 2147483647 h 210"/>
                      <a:gd name="T30" fmla="*/ 2147483647 w 462"/>
                      <a:gd name="T31" fmla="*/ 2147483647 h 210"/>
                      <a:gd name="T32" fmla="*/ 2147483647 w 462"/>
                      <a:gd name="T33" fmla="*/ 2147483647 h 210"/>
                      <a:gd name="T34" fmla="*/ 2147483647 w 462"/>
                      <a:gd name="T35" fmla="*/ 2147483647 h 210"/>
                      <a:gd name="T36" fmla="*/ 2147483647 w 462"/>
                      <a:gd name="T37" fmla="*/ 2147483647 h 210"/>
                      <a:gd name="T38" fmla="*/ 2147483647 w 462"/>
                      <a:gd name="T39" fmla="*/ 2147483647 h 210"/>
                      <a:gd name="T40" fmla="*/ 2147483647 w 462"/>
                      <a:gd name="T41" fmla="*/ 2147483647 h 210"/>
                      <a:gd name="T42" fmla="*/ 2147483647 w 462"/>
                      <a:gd name="T43" fmla="*/ 2147483647 h 210"/>
                      <a:gd name="T44" fmla="*/ 2147483647 w 462"/>
                      <a:gd name="T45" fmla="*/ 2147483647 h 210"/>
                      <a:gd name="T46" fmla="*/ 2147483647 w 462"/>
                      <a:gd name="T47" fmla="*/ 2147483647 h 210"/>
                      <a:gd name="T48" fmla="*/ 2147483647 w 462"/>
                      <a:gd name="T49" fmla="*/ 2147483647 h 210"/>
                      <a:gd name="T50" fmla="*/ 2147483647 w 462"/>
                      <a:gd name="T51" fmla="*/ 2147483647 h 210"/>
                      <a:gd name="T52" fmla="*/ 2147483647 w 462"/>
                      <a:gd name="T53" fmla="*/ 2147483647 h 210"/>
                      <a:gd name="T54" fmla="*/ 2147483647 w 462"/>
                      <a:gd name="T55" fmla="*/ 2147483647 h 210"/>
                      <a:gd name="T56" fmla="*/ 2147483647 w 462"/>
                      <a:gd name="T57" fmla="*/ 2147483647 h 210"/>
                      <a:gd name="T58" fmla="*/ 2147483647 w 462"/>
                      <a:gd name="T59" fmla="*/ 2147483647 h 210"/>
                      <a:gd name="T60" fmla="*/ 2147483647 w 462"/>
                      <a:gd name="T61" fmla="*/ 2147483647 h 210"/>
                      <a:gd name="T62" fmla="*/ 2147483647 w 462"/>
                      <a:gd name="T63" fmla="*/ 2147483647 h 210"/>
                      <a:gd name="T64" fmla="*/ 2147483647 w 462"/>
                      <a:gd name="T65" fmla="*/ 2147483647 h 210"/>
                      <a:gd name="T66" fmla="*/ 2147483647 w 462"/>
                      <a:gd name="T67" fmla="*/ 2147483647 h 210"/>
                      <a:gd name="T68" fmla="*/ 2147483647 w 462"/>
                      <a:gd name="T69" fmla="*/ 2147483647 h 210"/>
                      <a:gd name="T70" fmla="*/ 2147483647 w 462"/>
                      <a:gd name="T71" fmla="*/ 2147483647 h 210"/>
                      <a:gd name="T72" fmla="*/ 2147483647 w 462"/>
                      <a:gd name="T73" fmla="*/ 2147483647 h 210"/>
                      <a:gd name="T74" fmla="*/ 2147483647 w 462"/>
                      <a:gd name="T75" fmla="*/ 2147483647 h 210"/>
                      <a:gd name="T76" fmla="*/ 2147483647 w 462"/>
                      <a:gd name="T77" fmla="*/ 2147483647 h 210"/>
                      <a:gd name="T78" fmla="*/ 2147483647 w 462"/>
                      <a:gd name="T79" fmla="*/ 2147483647 h 210"/>
                      <a:gd name="T80" fmla="*/ 2147483647 w 462"/>
                      <a:gd name="T81" fmla="*/ 0 h 210"/>
                      <a:gd name="T82" fmla="*/ 0 w 462"/>
                      <a:gd name="T83" fmla="*/ 2147483647 h 210"/>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62"/>
                      <a:gd name="T127" fmla="*/ 0 h 210"/>
                      <a:gd name="T128" fmla="*/ 462 w 462"/>
                      <a:gd name="T129" fmla="*/ 210 h 210"/>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62" h="210">
                        <a:moveTo>
                          <a:pt x="6" y="18"/>
                        </a:moveTo>
                        <a:lnTo>
                          <a:pt x="12" y="18"/>
                        </a:lnTo>
                        <a:lnTo>
                          <a:pt x="18" y="24"/>
                        </a:lnTo>
                        <a:lnTo>
                          <a:pt x="30" y="30"/>
                        </a:lnTo>
                        <a:lnTo>
                          <a:pt x="42" y="42"/>
                        </a:lnTo>
                        <a:lnTo>
                          <a:pt x="60" y="48"/>
                        </a:lnTo>
                        <a:lnTo>
                          <a:pt x="72" y="54"/>
                        </a:lnTo>
                        <a:lnTo>
                          <a:pt x="78" y="54"/>
                        </a:lnTo>
                        <a:lnTo>
                          <a:pt x="84" y="60"/>
                        </a:lnTo>
                        <a:lnTo>
                          <a:pt x="96" y="66"/>
                        </a:lnTo>
                        <a:lnTo>
                          <a:pt x="102" y="78"/>
                        </a:lnTo>
                        <a:lnTo>
                          <a:pt x="114" y="84"/>
                        </a:lnTo>
                        <a:lnTo>
                          <a:pt x="114" y="96"/>
                        </a:lnTo>
                        <a:lnTo>
                          <a:pt x="120" y="114"/>
                        </a:lnTo>
                        <a:lnTo>
                          <a:pt x="120" y="132"/>
                        </a:lnTo>
                        <a:lnTo>
                          <a:pt x="126" y="138"/>
                        </a:lnTo>
                        <a:lnTo>
                          <a:pt x="132" y="150"/>
                        </a:lnTo>
                        <a:lnTo>
                          <a:pt x="138" y="156"/>
                        </a:lnTo>
                        <a:lnTo>
                          <a:pt x="138" y="162"/>
                        </a:lnTo>
                        <a:lnTo>
                          <a:pt x="132" y="168"/>
                        </a:lnTo>
                        <a:lnTo>
                          <a:pt x="168" y="174"/>
                        </a:lnTo>
                        <a:lnTo>
                          <a:pt x="174" y="168"/>
                        </a:lnTo>
                        <a:lnTo>
                          <a:pt x="186" y="162"/>
                        </a:lnTo>
                        <a:lnTo>
                          <a:pt x="198" y="162"/>
                        </a:lnTo>
                        <a:lnTo>
                          <a:pt x="210" y="168"/>
                        </a:lnTo>
                        <a:lnTo>
                          <a:pt x="216" y="174"/>
                        </a:lnTo>
                        <a:lnTo>
                          <a:pt x="222" y="186"/>
                        </a:lnTo>
                        <a:lnTo>
                          <a:pt x="222" y="192"/>
                        </a:lnTo>
                        <a:lnTo>
                          <a:pt x="246" y="192"/>
                        </a:lnTo>
                        <a:lnTo>
                          <a:pt x="246" y="198"/>
                        </a:lnTo>
                        <a:lnTo>
                          <a:pt x="252" y="204"/>
                        </a:lnTo>
                        <a:lnTo>
                          <a:pt x="276" y="198"/>
                        </a:lnTo>
                        <a:lnTo>
                          <a:pt x="282" y="192"/>
                        </a:lnTo>
                        <a:lnTo>
                          <a:pt x="336" y="198"/>
                        </a:lnTo>
                        <a:lnTo>
                          <a:pt x="336" y="180"/>
                        </a:lnTo>
                        <a:lnTo>
                          <a:pt x="342" y="180"/>
                        </a:lnTo>
                        <a:lnTo>
                          <a:pt x="348" y="186"/>
                        </a:lnTo>
                        <a:lnTo>
                          <a:pt x="354" y="186"/>
                        </a:lnTo>
                        <a:lnTo>
                          <a:pt x="354" y="180"/>
                        </a:lnTo>
                        <a:lnTo>
                          <a:pt x="366" y="168"/>
                        </a:lnTo>
                        <a:lnTo>
                          <a:pt x="390" y="168"/>
                        </a:lnTo>
                        <a:lnTo>
                          <a:pt x="396" y="174"/>
                        </a:lnTo>
                        <a:lnTo>
                          <a:pt x="396" y="180"/>
                        </a:lnTo>
                        <a:lnTo>
                          <a:pt x="414" y="198"/>
                        </a:lnTo>
                        <a:lnTo>
                          <a:pt x="426" y="192"/>
                        </a:lnTo>
                        <a:lnTo>
                          <a:pt x="438" y="192"/>
                        </a:lnTo>
                        <a:lnTo>
                          <a:pt x="456" y="210"/>
                        </a:lnTo>
                        <a:lnTo>
                          <a:pt x="462" y="204"/>
                        </a:lnTo>
                        <a:lnTo>
                          <a:pt x="456" y="192"/>
                        </a:lnTo>
                        <a:lnTo>
                          <a:pt x="450" y="186"/>
                        </a:lnTo>
                        <a:lnTo>
                          <a:pt x="444" y="174"/>
                        </a:lnTo>
                        <a:lnTo>
                          <a:pt x="438" y="168"/>
                        </a:lnTo>
                        <a:lnTo>
                          <a:pt x="432" y="168"/>
                        </a:lnTo>
                        <a:lnTo>
                          <a:pt x="414" y="150"/>
                        </a:lnTo>
                        <a:lnTo>
                          <a:pt x="420" y="144"/>
                        </a:lnTo>
                        <a:lnTo>
                          <a:pt x="432" y="144"/>
                        </a:lnTo>
                        <a:lnTo>
                          <a:pt x="420" y="132"/>
                        </a:lnTo>
                        <a:lnTo>
                          <a:pt x="408" y="126"/>
                        </a:lnTo>
                        <a:lnTo>
                          <a:pt x="396" y="114"/>
                        </a:lnTo>
                        <a:lnTo>
                          <a:pt x="378" y="114"/>
                        </a:lnTo>
                        <a:lnTo>
                          <a:pt x="378" y="108"/>
                        </a:lnTo>
                        <a:lnTo>
                          <a:pt x="384" y="102"/>
                        </a:lnTo>
                        <a:lnTo>
                          <a:pt x="384" y="90"/>
                        </a:lnTo>
                        <a:lnTo>
                          <a:pt x="354" y="84"/>
                        </a:lnTo>
                        <a:lnTo>
                          <a:pt x="342" y="72"/>
                        </a:lnTo>
                        <a:lnTo>
                          <a:pt x="330" y="66"/>
                        </a:lnTo>
                        <a:lnTo>
                          <a:pt x="300" y="66"/>
                        </a:lnTo>
                        <a:lnTo>
                          <a:pt x="300" y="72"/>
                        </a:lnTo>
                        <a:lnTo>
                          <a:pt x="288" y="72"/>
                        </a:lnTo>
                        <a:lnTo>
                          <a:pt x="282" y="78"/>
                        </a:lnTo>
                        <a:lnTo>
                          <a:pt x="258" y="78"/>
                        </a:lnTo>
                        <a:lnTo>
                          <a:pt x="246" y="72"/>
                        </a:lnTo>
                        <a:lnTo>
                          <a:pt x="240" y="72"/>
                        </a:lnTo>
                        <a:lnTo>
                          <a:pt x="240" y="66"/>
                        </a:lnTo>
                        <a:lnTo>
                          <a:pt x="192" y="36"/>
                        </a:lnTo>
                        <a:lnTo>
                          <a:pt x="186" y="36"/>
                        </a:lnTo>
                        <a:lnTo>
                          <a:pt x="180" y="30"/>
                        </a:lnTo>
                        <a:lnTo>
                          <a:pt x="144" y="30"/>
                        </a:lnTo>
                        <a:lnTo>
                          <a:pt x="84" y="18"/>
                        </a:lnTo>
                        <a:lnTo>
                          <a:pt x="66" y="12"/>
                        </a:lnTo>
                        <a:lnTo>
                          <a:pt x="54" y="6"/>
                        </a:lnTo>
                        <a:lnTo>
                          <a:pt x="36" y="0"/>
                        </a:lnTo>
                        <a:lnTo>
                          <a:pt x="24" y="0"/>
                        </a:lnTo>
                        <a:lnTo>
                          <a:pt x="0" y="18"/>
                        </a:lnTo>
                        <a:lnTo>
                          <a:pt x="6"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37" name="The Gambia"/>
                  <p:cNvSpPr>
                    <a:spLocks/>
                  </p:cNvSpPr>
                  <p:nvPr/>
                </p:nvSpPr>
                <p:spPr bwMode="gray">
                  <a:xfrm>
                    <a:off x="2350" y="2026"/>
                    <a:ext cx="55" cy="13"/>
                  </a:xfrm>
                  <a:custGeom>
                    <a:avLst/>
                    <a:gdLst>
                      <a:gd name="T0" fmla="*/ 2147483647 w 216"/>
                      <a:gd name="T1" fmla="*/ 2147483647 h 54"/>
                      <a:gd name="T2" fmla="*/ 2147483647 w 216"/>
                      <a:gd name="T3" fmla="*/ 2147483647 h 54"/>
                      <a:gd name="T4" fmla="*/ 2147483647 w 216"/>
                      <a:gd name="T5" fmla="*/ 2147483647 h 54"/>
                      <a:gd name="T6" fmla="*/ 2147483647 w 216"/>
                      <a:gd name="T7" fmla="*/ 2147483647 h 54"/>
                      <a:gd name="T8" fmla="*/ 0 w 216"/>
                      <a:gd name="T9" fmla="*/ 2147483647 h 54"/>
                      <a:gd name="T10" fmla="*/ 0 w 216"/>
                      <a:gd name="T11" fmla="*/ 2147483647 h 54"/>
                      <a:gd name="T12" fmla="*/ 2147483647 w 216"/>
                      <a:gd name="T13" fmla="*/ 2147483647 h 54"/>
                      <a:gd name="T14" fmla="*/ 2147483647 w 216"/>
                      <a:gd name="T15" fmla="*/ 2147483647 h 54"/>
                      <a:gd name="T16" fmla="*/ 2147483647 w 216"/>
                      <a:gd name="T17" fmla="*/ 2147483647 h 54"/>
                      <a:gd name="T18" fmla="*/ 2147483647 w 216"/>
                      <a:gd name="T19" fmla="*/ 2147483647 h 54"/>
                      <a:gd name="T20" fmla="*/ 2147483647 w 216"/>
                      <a:gd name="T21" fmla="*/ 2147483647 h 54"/>
                      <a:gd name="T22" fmla="*/ 2147483647 w 216"/>
                      <a:gd name="T23" fmla="*/ 2147483647 h 54"/>
                      <a:gd name="T24" fmla="*/ 2147483647 w 216"/>
                      <a:gd name="T25" fmla="*/ 2147483647 h 54"/>
                      <a:gd name="T26" fmla="*/ 2147483647 w 216"/>
                      <a:gd name="T27" fmla="*/ 2147483647 h 54"/>
                      <a:gd name="T28" fmla="*/ 2147483647 w 216"/>
                      <a:gd name="T29" fmla="*/ 2147483647 h 54"/>
                      <a:gd name="T30" fmla="*/ 2147483647 w 216"/>
                      <a:gd name="T31" fmla="*/ 2147483647 h 54"/>
                      <a:gd name="T32" fmla="*/ 2147483647 w 216"/>
                      <a:gd name="T33" fmla="*/ 2147483647 h 54"/>
                      <a:gd name="T34" fmla="*/ 2147483647 w 216"/>
                      <a:gd name="T35" fmla="*/ 2147483647 h 54"/>
                      <a:gd name="T36" fmla="*/ 2147483647 w 216"/>
                      <a:gd name="T37" fmla="*/ 2147483647 h 54"/>
                      <a:gd name="T38" fmla="*/ 2147483647 w 216"/>
                      <a:gd name="T39" fmla="*/ 2147483647 h 54"/>
                      <a:gd name="T40" fmla="*/ 2147483647 w 216"/>
                      <a:gd name="T41" fmla="*/ 2147483647 h 54"/>
                      <a:gd name="T42" fmla="*/ 2147483647 w 216"/>
                      <a:gd name="T43" fmla="*/ 2147483647 h 54"/>
                      <a:gd name="T44" fmla="*/ 2147483647 w 216"/>
                      <a:gd name="T45" fmla="*/ 2147483647 h 54"/>
                      <a:gd name="T46" fmla="*/ 2147483647 w 216"/>
                      <a:gd name="T47" fmla="*/ 2147483647 h 54"/>
                      <a:gd name="T48" fmla="*/ 2147483647 w 216"/>
                      <a:gd name="T49" fmla="*/ 2147483647 h 54"/>
                      <a:gd name="T50" fmla="*/ 2147483647 w 216"/>
                      <a:gd name="T51" fmla="*/ 2147483647 h 54"/>
                      <a:gd name="T52" fmla="*/ 2147483647 w 216"/>
                      <a:gd name="T53" fmla="*/ 2147483647 h 54"/>
                      <a:gd name="T54" fmla="*/ 2147483647 w 216"/>
                      <a:gd name="T55" fmla="*/ 2147483647 h 54"/>
                      <a:gd name="T56" fmla="*/ 2147483647 w 216"/>
                      <a:gd name="T57" fmla="*/ 2147483647 h 54"/>
                      <a:gd name="T58" fmla="*/ 2147483647 w 216"/>
                      <a:gd name="T59" fmla="*/ 0 h 54"/>
                      <a:gd name="T60" fmla="*/ 2147483647 w 216"/>
                      <a:gd name="T61" fmla="*/ 0 h 54"/>
                      <a:gd name="T62" fmla="*/ 2147483647 w 216"/>
                      <a:gd name="T63" fmla="*/ 2147483647 h 54"/>
                      <a:gd name="T64" fmla="*/ 2147483647 w 216"/>
                      <a:gd name="T65" fmla="*/ 2147483647 h 54"/>
                      <a:gd name="T66" fmla="*/ 2147483647 w 216"/>
                      <a:gd name="T67" fmla="*/ 2147483647 h 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16"/>
                      <a:gd name="T103" fmla="*/ 0 h 54"/>
                      <a:gd name="T104" fmla="*/ 216 w 216"/>
                      <a:gd name="T105" fmla="*/ 54 h 5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16" h="54">
                        <a:moveTo>
                          <a:pt x="18" y="18"/>
                        </a:moveTo>
                        <a:lnTo>
                          <a:pt x="12" y="24"/>
                        </a:lnTo>
                        <a:lnTo>
                          <a:pt x="6" y="36"/>
                        </a:lnTo>
                        <a:lnTo>
                          <a:pt x="6" y="42"/>
                        </a:lnTo>
                        <a:lnTo>
                          <a:pt x="0" y="48"/>
                        </a:lnTo>
                        <a:lnTo>
                          <a:pt x="0" y="54"/>
                        </a:lnTo>
                        <a:lnTo>
                          <a:pt x="72" y="54"/>
                        </a:lnTo>
                        <a:lnTo>
                          <a:pt x="72" y="42"/>
                        </a:lnTo>
                        <a:lnTo>
                          <a:pt x="84" y="42"/>
                        </a:lnTo>
                        <a:lnTo>
                          <a:pt x="90" y="36"/>
                        </a:lnTo>
                        <a:lnTo>
                          <a:pt x="114" y="36"/>
                        </a:lnTo>
                        <a:lnTo>
                          <a:pt x="120" y="24"/>
                        </a:lnTo>
                        <a:lnTo>
                          <a:pt x="126" y="18"/>
                        </a:lnTo>
                        <a:lnTo>
                          <a:pt x="132" y="24"/>
                        </a:lnTo>
                        <a:lnTo>
                          <a:pt x="144" y="30"/>
                        </a:lnTo>
                        <a:lnTo>
                          <a:pt x="150" y="42"/>
                        </a:lnTo>
                        <a:lnTo>
                          <a:pt x="168" y="48"/>
                        </a:lnTo>
                        <a:lnTo>
                          <a:pt x="192" y="48"/>
                        </a:lnTo>
                        <a:lnTo>
                          <a:pt x="198" y="42"/>
                        </a:lnTo>
                        <a:lnTo>
                          <a:pt x="210" y="36"/>
                        </a:lnTo>
                        <a:lnTo>
                          <a:pt x="216" y="30"/>
                        </a:lnTo>
                        <a:lnTo>
                          <a:pt x="216" y="24"/>
                        </a:lnTo>
                        <a:lnTo>
                          <a:pt x="210" y="18"/>
                        </a:lnTo>
                        <a:lnTo>
                          <a:pt x="186" y="18"/>
                        </a:lnTo>
                        <a:lnTo>
                          <a:pt x="180" y="24"/>
                        </a:lnTo>
                        <a:lnTo>
                          <a:pt x="168" y="24"/>
                        </a:lnTo>
                        <a:lnTo>
                          <a:pt x="162" y="12"/>
                        </a:lnTo>
                        <a:lnTo>
                          <a:pt x="156" y="6"/>
                        </a:lnTo>
                        <a:lnTo>
                          <a:pt x="144" y="12"/>
                        </a:lnTo>
                        <a:lnTo>
                          <a:pt x="144" y="0"/>
                        </a:lnTo>
                        <a:lnTo>
                          <a:pt x="90" y="0"/>
                        </a:lnTo>
                        <a:lnTo>
                          <a:pt x="90" y="12"/>
                        </a:lnTo>
                        <a:lnTo>
                          <a:pt x="18" y="12"/>
                        </a:lnTo>
                        <a:lnTo>
                          <a:pt x="18"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38" name="Gabon"/>
                  <p:cNvSpPr>
                    <a:spLocks/>
                  </p:cNvSpPr>
                  <p:nvPr/>
                </p:nvSpPr>
                <p:spPr bwMode="gray">
                  <a:xfrm>
                    <a:off x="2810" y="2260"/>
                    <a:ext cx="107" cy="131"/>
                  </a:xfrm>
                  <a:custGeom>
                    <a:avLst/>
                    <a:gdLst>
                      <a:gd name="T0" fmla="*/ 2147483647 w 420"/>
                      <a:gd name="T1" fmla="*/ 2147483647 h 510"/>
                      <a:gd name="T2" fmla="*/ 2147483647 w 420"/>
                      <a:gd name="T3" fmla="*/ 2147483647 h 510"/>
                      <a:gd name="T4" fmla="*/ 2147483647 w 420"/>
                      <a:gd name="T5" fmla="*/ 2147483647 h 510"/>
                      <a:gd name="T6" fmla="*/ 2147483647 w 420"/>
                      <a:gd name="T7" fmla="*/ 2147483647 h 510"/>
                      <a:gd name="T8" fmla="*/ 2147483647 w 420"/>
                      <a:gd name="T9" fmla="*/ 2147483647 h 510"/>
                      <a:gd name="T10" fmla="*/ 2147483647 w 420"/>
                      <a:gd name="T11" fmla="*/ 2147483647 h 510"/>
                      <a:gd name="T12" fmla="*/ 2147483647 w 420"/>
                      <a:gd name="T13" fmla="*/ 2147483647 h 510"/>
                      <a:gd name="T14" fmla="*/ 2147483647 w 420"/>
                      <a:gd name="T15" fmla="*/ 2147483647 h 510"/>
                      <a:gd name="T16" fmla="*/ 2147483647 w 420"/>
                      <a:gd name="T17" fmla="*/ 2147483647 h 510"/>
                      <a:gd name="T18" fmla="*/ 2147483647 w 420"/>
                      <a:gd name="T19" fmla="*/ 2147483647 h 510"/>
                      <a:gd name="T20" fmla="*/ 2147483647 w 420"/>
                      <a:gd name="T21" fmla="*/ 2147483647 h 510"/>
                      <a:gd name="T22" fmla="*/ 2147483647 w 420"/>
                      <a:gd name="T23" fmla="*/ 2147483647 h 510"/>
                      <a:gd name="T24" fmla="*/ 2147483647 w 420"/>
                      <a:gd name="T25" fmla="*/ 2147483647 h 510"/>
                      <a:gd name="T26" fmla="*/ 2147483647 w 420"/>
                      <a:gd name="T27" fmla="*/ 2147483647 h 510"/>
                      <a:gd name="T28" fmla="*/ 2147483647 w 420"/>
                      <a:gd name="T29" fmla="*/ 2147483647 h 510"/>
                      <a:gd name="T30" fmla="*/ 2147483647 w 420"/>
                      <a:gd name="T31" fmla="*/ 2147483647 h 510"/>
                      <a:gd name="T32" fmla="*/ 2147483647 w 420"/>
                      <a:gd name="T33" fmla="*/ 2147483647 h 510"/>
                      <a:gd name="T34" fmla="*/ 2147483647 w 420"/>
                      <a:gd name="T35" fmla="*/ 2147483647 h 510"/>
                      <a:gd name="T36" fmla="*/ 2147483647 w 420"/>
                      <a:gd name="T37" fmla="*/ 2147483647 h 510"/>
                      <a:gd name="T38" fmla="*/ 2147483647 w 420"/>
                      <a:gd name="T39" fmla="*/ 2147483647 h 510"/>
                      <a:gd name="T40" fmla="*/ 2147483647 w 420"/>
                      <a:gd name="T41" fmla="*/ 2147483647 h 510"/>
                      <a:gd name="T42" fmla="*/ 2147483647 w 420"/>
                      <a:gd name="T43" fmla="*/ 2147483647 h 510"/>
                      <a:gd name="T44" fmla="*/ 2147483647 w 420"/>
                      <a:gd name="T45" fmla="*/ 2147483647 h 510"/>
                      <a:gd name="T46" fmla="*/ 2147483647 w 420"/>
                      <a:gd name="T47" fmla="*/ 2147483647 h 510"/>
                      <a:gd name="T48" fmla="*/ 2147483647 w 420"/>
                      <a:gd name="T49" fmla="*/ 2147483647 h 510"/>
                      <a:gd name="T50" fmla="*/ 2147483647 w 420"/>
                      <a:gd name="T51" fmla="*/ 2147483647 h 510"/>
                      <a:gd name="T52" fmla="*/ 2147483647 w 420"/>
                      <a:gd name="T53" fmla="*/ 2147483647 h 510"/>
                      <a:gd name="T54" fmla="*/ 2147483647 w 420"/>
                      <a:gd name="T55" fmla="*/ 2147483647 h 510"/>
                      <a:gd name="T56" fmla="*/ 2147483647 w 420"/>
                      <a:gd name="T57" fmla="*/ 2147483647 h 510"/>
                      <a:gd name="T58" fmla="*/ 2147483647 w 420"/>
                      <a:gd name="T59" fmla="*/ 2147483647 h 510"/>
                      <a:gd name="T60" fmla="*/ 2147483647 w 420"/>
                      <a:gd name="T61" fmla="*/ 2147483647 h 510"/>
                      <a:gd name="T62" fmla="*/ 2147483647 w 420"/>
                      <a:gd name="T63" fmla="*/ 2147483647 h 510"/>
                      <a:gd name="T64" fmla="*/ 2147483647 w 420"/>
                      <a:gd name="T65" fmla="*/ 2147483647 h 510"/>
                      <a:gd name="T66" fmla="*/ 2147483647 w 420"/>
                      <a:gd name="T67" fmla="*/ 2147483647 h 510"/>
                      <a:gd name="T68" fmla="*/ 2147483647 w 420"/>
                      <a:gd name="T69" fmla="*/ 2147483647 h 510"/>
                      <a:gd name="T70" fmla="*/ 2147483647 w 420"/>
                      <a:gd name="T71" fmla="*/ 2147483647 h 510"/>
                      <a:gd name="T72" fmla="*/ 2147483647 w 420"/>
                      <a:gd name="T73" fmla="*/ 2147483647 h 510"/>
                      <a:gd name="T74" fmla="*/ 2147483647 w 420"/>
                      <a:gd name="T75" fmla="*/ 2147483647 h 510"/>
                      <a:gd name="T76" fmla="*/ 2147483647 w 420"/>
                      <a:gd name="T77" fmla="*/ 2147483647 h 510"/>
                      <a:gd name="T78" fmla="*/ 2147483647 w 420"/>
                      <a:gd name="T79" fmla="*/ 2147483647 h 510"/>
                      <a:gd name="T80" fmla="*/ 2147483647 w 420"/>
                      <a:gd name="T81" fmla="*/ 2147483647 h 510"/>
                      <a:gd name="T82" fmla="*/ 2147483647 w 420"/>
                      <a:gd name="T83" fmla="*/ 2147483647 h 510"/>
                      <a:gd name="T84" fmla="*/ 2147483647 w 420"/>
                      <a:gd name="T85" fmla="*/ 2147483647 h 510"/>
                      <a:gd name="T86" fmla="*/ 2147483647 w 420"/>
                      <a:gd name="T87" fmla="*/ 2147483647 h 510"/>
                      <a:gd name="T88" fmla="*/ 2147483647 w 420"/>
                      <a:gd name="T89" fmla="*/ 2147483647 h 510"/>
                      <a:gd name="T90" fmla="*/ 2147483647 w 420"/>
                      <a:gd name="T91" fmla="*/ 2147483647 h 510"/>
                      <a:gd name="T92" fmla="*/ 2147483647 w 420"/>
                      <a:gd name="T93" fmla="*/ 2147483647 h 510"/>
                      <a:gd name="T94" fmla="*/ 2147483647 w 420"/>
                      <a:gd name="T95" fmla="*/ 2147483647 h 510"/>
                      <a:gd name="T96" fmla="*/ 2147483647 w 420"/>
                      <a:gd name="T97" fmla="*/ 2147483647 h 510"/>
                      <a:gd name="T98" fmla="*/ 2147483647 w 420"/>
                      <a:gd name="T99" fmla="*/ 2147483647 h 510"/>
                      <a:gd name="T100" fmla="*/ 2147483647 w 420"/>
                      <a:gd name="T101" fmla="*/ 2147483647 h 510"/>
                      <a:gd name="T102" fmla="*/ 2147483647 w 420"/>
                      <a:gd name="T103" fmla="*/ 2147483647 h 510"/>
                      <a:gd name="T104" fmla="*/ 2147483647 w 420"/>
                      <a:gd name="T105" fmla="*/ 2147483647 h 510"/>
                      <a:gd name="T106" fmla="*/ 2147483647 w 420"/>
                      <a:gd name="T107" fmla="*/ 2147483647 h 510"/>
                      <a:gd name="T108" fmla="*/ 2147483647 w 420"/>
                      <a:gd name="T109" fmla="*/ 2147483647 h 510"/>
                      <a:gd name="T110" fmla="*/ 2147483647 w 420"/>
                      <a:gd name="T111" fmla="*/ 2147483647 h 51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420"/>
                      <a:gd name="T169" fmla="*/ 0 h 510"/>
                      <a:gd name="T170" fmla="*/ 420 w 420"/>
                      <a:gd name="T171" fmla="*/ 510 h 510"/>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420" h="510">
                        <a:moveTo>
                          <a:pt x="420" y="240"/>
                        </a:moveTo>
                        <a:lnTo>
                          <a:pt x="414" y="234"/>
                        </a:lnTo>
                        <a:lnTo>
                          <a:pt x="396" y="234"/>
                        </a:lnTo>
                        <a:lnTo>
                          <a:pt x="390" y="216"/>
                        </a:lnTo>
                        <a:lnTo>
                          <a:pt x="372" y="210"/>
                        </a:lnTo>
                        <a:lnTo>
                          <a:pt x="372" y="174"/>
                        </a:lnTo>
                        <a:lnTo>
                          <a:pt x="384" y="150"/>
                        </a:lnTo>
                        <a:lnTo>
                          <a:pt x="396" y="150"/>
                        </a:lnTo>
                        <a:lnTo>
                          <a:pt x="402" y="144"/>
                        </a:lnTo>
                        <a:lnTo>
                          <a:pt x="408" y="132"/>
                        </a:lnTo>
                        <a:lnTo>
                          <a:pt x="414" y="126"/>
                        </a:lnTo>
                        <a:lnTo>
                          <a:pt x="414" y="114"/>
                        </a:lnTo>
                        <a:lnTo>
                          <a:pt x="402" y="108"/>
                        </a:lnTo>
                        <a:lnTo>
                          <a:pt x="402" y="90"/>
                        </a:lnTo>
                        <a:lnTo>
                          <a:pt x="396" y="84"/>
                        </a:lnTo>
                        <a:lnTo>
                          <a:pt x="396" y="78"/>
                        </a:lnTo>
                        <a:lnTo>
                          <a:pt x="384" y="78"/>
                        </a:lnTo>
                        <a:lnTo>
                          <a:pt x="378" y="72"/>
                        </a:lnTo>
                        <a:lnTo>
                          <a:pt x="360" y="72"/>
                        </a:lnTo>
                        <a:lnTo>
                          <a:pt x="360" y="90"/>
                        </a:lnTo>
                        <a:lnTo>
                          <a:pt x="354" y="96"/>
                        </a:lnTo>
                        <a:lnTo>
                          <a:pt x="330" y="96"/>
                        </a:lnTo>
                        <a:lnTo>
                          <a:pt x="324" y="90"/>
                        </a:lnTo>
                        <a:lnTo>
                          <a:pt x="318" y="54"/>
                        </a:lnTo>
                        <a:lnTo>
                          <a:pt x="336" y="24"/>
                        </a:lnTo>
                        <a:lnTo>
                          <a:pt x="336" y="6"/>
                        </a:lnTo>
                        <a:lnTo>
                          <a:pt x="288" y="12"/>
                        </a:lnTo>
                        <a:lnTo>
                          <a:pt x="282" y="12"/>
                        </a:lnTo>
                        <a:lnTo>
                          <a:pt x="270" y="6"/>
                        </a:lnTo>
                        <a:lnTo>
                          <a:pt x="264" y="6"/>
                        </a:lnTo>
                        <a:lnTo>
                          <a:pt x="252" y="18"/>
                        </a:lnTo>
                        <a:lnTo>
                          <a:pt x="222" y="18"/>
                        </a:lnTo>
                        <a:lnTo>
                          <a:pt x="210" y="0"/>
                        </a:lnTo>
                        <a:lnTo>
                          <a:pt x="192" y="18"/>
                        </a:lnTo>
                        <a:lnTo>
                          <a:pt x="186" y="54"/>
                        </a:lnTo>
                        <a:lnTo>
                          <a:pt x="192" y="60"/>
                        </a:lnTo>
                        <a:lnTo>
                          <a:pt x="192" y="90"/>
                        </a:lnTo>
                        <a:lnTo>
                          <a:pt x="186" y="108"/>
                        </a:lnTo>
                        <a:lnTo>
                          <a:pt x="186" y="114"/>
                        </a:lnTo>
                        <a:lnTo>
                          <a:pt x="84" y="114"/>
                        </a:lnTo>
                        <a:lnTo>
                          <a:pt x="84" y="108"/>
                        </a:lnTo>
                        <a:lnTo>
                          <a:pt x="72" y="108"/>
                        </a:lnTo>
                        <a:lnTo>
                          <a:pt x="60" y="120"/>
                        </a:lnTo>
                        <a:lnTo>
                          <a:pt x="60" y="126"/>
                        </a:lnTo>
                        <a:lnTo>
                          <a:pt x="66" y="132"/>
                        </a:lnTo>
                        <a:lnTo>
                          <a:pt x="66" y="144"/>
                        </a:lnTo>
                        <a:lnTo>
                          <a:pt x="72" y="150"/>
                        </a:lnTo>
                        <a:lnTo>
                          <a:pt x="72" y="162"/>
                        </a:lnTo>
                        <a:lnTo>
                          <a:pt x="48" y="162"/>
                        </a:lnTo>
                        <a:lnTo>
                          <a:pt x="48" y="210"/>
                        </a:lnTo>
                        <a:lnTo>
                          <a:pt x="42" y="228"/>
                        </a:lnTo>
                        <a:lnTo>
                          <a:pt x="36" y="240"/>
                        </a:lnTo>
                        <a:lnTo>
                          <a:pt x="30" y="246"/>
                        </a:lnTo>
                        <a:lnTo>
                          <a:pt x="18" y="252"/>
                        </a:lnTo>
                        <a:lnTo>
                          <a:pt x="0" y="252"/>
                        </a:lnTo>
                        <a:lnTo>
                          <a:pt x="30" y="306"/>
                        </a:lnTo>
                        <a:lnTo>
                          <a:pt x="42" y="294"/>
                        </a:lnTo>
                        <a:lnTo>
                          <a:pt x="54" y="312"/>
                        </a:lnTo>
                        <a:lnTo>
                          <a:pt x="48" y="318"/>
                        </a:lnTo>
                        <a:lnTo>
                          <a:pt x="48" y="330"/>
                        </a:lnTo>
                        <a:lnTo>
                          <a:pt x="42" y="336"/>
                        </a:lnTo>
                        <a:lnTo>
                          <a:pt x="42" y="342"/>
                        </a:lnTo>
                        <a:lnTo>
                          <a:pt x="48" y="348"/>
                        </a:lnTo>
                        <a:lnTo>
                          <a:pt x="66" y="348"/>
                        </a:lnTo>
                        <a:lnTo>
                          <a:pt x="72" y="390"/>
                        </a:lnTo>
                        <a:lnTo>
                          <a:pt x="102" y="396"/>
                        </a:lnTo>
                        <a:lnTo>
                          <a:pt x="96" y="408"/>
                        </a:lnTo>
                        <a:lnTo>
                          <a:pt x="144" y="462"/>
                        </a:lnTo>
                        <a:lnTo>
                          <a:pt x="138" y="468"/>
                        </a:lnTo>
                        <a:lnTo>
                          <a:pt x="174" y="510"/>
                        </a:lnTo>
                        <a:lnTo>
                          <a:pt x="180" y="492"/>
                        </a:lnTo>
                        <a:lnTo>
                          <a:pt x="204" y="480"/>
                        </a:lnTo>
                        <a:lnTo>
                          <a:pt x="222" y="498"/>
                        </a:lnTo>
                        <a:lnTo>
                          <a:pt x="228" y="492"/>
                        </a:lnTo>
                        <a:lnTo>
                          <a:pt x="228" y="456"/>
                        </a:lnTo>
                        <a:lnTo>
                          <a:pt x="210" y="444"/>
                        </a:lnTo>
                        <a:lnTo>
                          <a:pt x="228" y="432"/>
                        </a:lnTo>
                        <a:lnTo>
                          <a:pt x="198" y="414"/>
                        </a:lnTo>
                        <a:lnTo>
                          <a:pt x="210" y="414"/>
                        </a:lnTo>
                        <a:lnTo>
                          <a:pt x="210" y="402"/>
                        </a:lnTo>
                        <a:lnTo>
                          <a:pt x="204" y="396"/>
                        </a:lnTo>
                        <a:lnTo>
                          <a:pt x="204" y="378"/>
                        </a:lnTo>
                        <a:lnTo>
                          <a:pt x="210" y="378"/>
                        </a:lnTo>
                        <a:lnTo>
                          <a:pt x="216" y="384"/>
                        </a:lnTo>
                        <a:lnTo>
                          <a:pt x="228" y="384"/>
                        </a:lnTo>
                        <a:lnTo>
                          <a:pt x="240" y="390"/>
                        </a:lnTo>
                        <a:lnTo>
                          <a:pt x="258" y="390"/>
                        </a:lnTo>
                        <a:lnTo>
                          <a:pt x="264" y="384"/>
                        </a:lnTo>
                        <a:lnTo>
                          <a:pt x="270" y="372"/>
                        </a:lnTo>
                        <a:lnTo>
                          <a:pt x="282" y="366"/>
                        </a:lnTo>
                        <a:lnTo>
                          <a:pt x="264" y="348"/>
                        </a:lnTo>
                        <a:lnTo>
                          <a:pt x="264" y="342"/>
                        </a:lnTo>
                        <a:lnTo>
                          <a:pt x="294" y="342"/>
                        </a:lnTo>
                        <a:lnTo>
                          <a:pt x="312" y="384"/>
                        </a:lnTo>
                        <a:lnTo>
                          <a:pt x="342" y="384"/>
                        </a:lnTo>
                        <a:lnTo>
                          <a:pt x="348" y="378"/>
                        </a:lnTo>
                        <a:lnTo>
                          <a:pt x="354" y="366"/>
                        </a:lnTo>
                        <a:lnTo>
                          <a:pt x="360" y="360"/>
                        </a:lnTo>
                        <a:lnTo>
                          <a:pt x="366" y="360"/>
                        </a:lnTo>
                        <a:lnTo>
                          <a:pt x="366" y="390"/>
                        </a:lnTo>
                        <a:lnTo>
                          <a:pt x="372" y="396"/>
                        </a:lnTo>
                        <a:lnTo>
                          <a:pt x="384" y="396"/>
                        </a:lnTo>
                        <a:lnTo>
                          <a:pt x="390" y="390"/>
                        </a:lnTo>
                        <a:lnTo>
                          <a:pt x="396" y="378"/>
                        </a:lnTo>
                        <a:lnTo>
                          <a:pt x="396" y="354"/>
                        </a:lnTo>
                        <a:lnTo>
                          <a:pt x="408" y="348"/>
                        </a:lnTo>
                        <a:lnTo>
                          <a:pt x="414" y="342"/>
                        </a:lnTo>
                        <a:lnTo>
                          <a:pt x="408" y="318"/>
                        </a:lnTo>
                        <a:lnTo>
                          <a:pt x="414" y="306"/>
                        </a:lnTo>
                        <a:lnTo>
                          <a:pt x="414" y="258"/>
                        </a:lnTo>
                        <a:lnTo>
                          <a:pt x="420" y="252"/>
                        </a:lnTo>
                        <a:lnTo>
                          <a:pt x="420" y="24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39" name="France"/>
                  <p:cNvSpPr>
                    <a:spLocks noEditPoints="1"/>
                  </p:cNvSpPr>
                  <p:nvPr/>
                </p:nvSpPr>
                <p:spPr bwMode="gray">
                  <a:xfrm>
                    <a:off x="2595" y="1259"/>
                    <a:ext cx="233" cy="201"/>
                  </a:xfrm>
                  <a:custGeom>
                    <a:avLst/>
                    <a:gdLst>
                      <a:gd name="T0" fmla="*/ 2147483647 w 230"/>
                      <a:gd name="T1" fmla="*/ 2147483647 h 198"/>
                      <a:gd name="T2" fmla="*/ 2147483647 w 230"/>
                      <a:gd name="T3" fmla="*/ 2147483647 h 198"/>
                      <a:gd name="T4" fmla="*/ 2147483647 w 230"/>
                      <a:gd name="T5" fmla="*/ 2147483647 h 198"/>
                      <a:gd name="T6" fmla="*/ 2147483647 w 230"/>
                      <a:gd name="T7" fmla="*/ 2147483647 h 198"/>
                      <a:gd name="T8" fmla="*/ 2147483647 w 230"/>
                      <a:gd name="T9" fmla="*/ 2147483647 h 198"/>
                      <a:gd name="T10" fmla="*/ 2147483647 w 230"/>
                      <a:gd name="T11" fmla="*/ 2147483647 h 198"/>
                      <a:gd name="T12" fmla="*/ 2147483647 w 230"/>
                      <a:gd name="T13" fmla="*/ 2147483647 h 198"/>
                      <a:gd name="T14" fmla="*/ 2147483647 w 230"/>
                      <a:gd name="T15" fmla="*/ 2147483647 h 198"/>
                      <a:gd name="T16" fmla="*/ 2147483647 w 230"/>
                      <a:gd name="T17" fmla="*/ 2147483647 h 198"/>
                      <a:gd name="T18" fmla="*/ 2147483647 w 230"/>
                      <a:gd name="T19" fmla="*/ 2147483647 h 198"/>
                      <a:gd name="T20" fmla="*/ 2147483647 w 230"/>
                      <a:gd name="T21" fmla="*/ 2147483647 h 198"/>
                      <a:gd name="T22" fmla="*/ 2147483647 w 230"/>
                      <a:gd name="T23" fmla="*/ 2147483647 h 198"/>
                      <a:gd name="T24" fmla="*/ 2147483647 w 230"/>
                      <a:gd name="T25" fmla="*/ 2147483647 h 198"/>
                      <a:gd name="T26" fmla="*/ 2147483647 w 230"/>
                      <a:gd name="T27" fmla="*/ 2147483647 h 198"/>
                      <a:gd name="T28" fmla="*/ 2147483647 w 230"/>
                      <a:gd name="T29" fmla="*/ 2147483647 h 198"/>
                      <a:gd name="T30" fmla="*/ 2147483647 w 230"/>
                      <a:gd name="T31" fmla="*/ 2147483647 h 198"/>
                      <a:gd name="T32" fmla="*/ 2147483647 w 230"/>
                      <a:gd name="T33" fmla="*/ 2147483647 h 198"/>
                      <a:gd name="T34" fmla="*/ 2147483647 w 230"/>
                      <a:gd name="T35" fmla="*/ 2147483647 h 198"/>
                      <a:gd name="T36" fmla="*/ 2147483647 w 230"/>
                      <a:gd name="T37" fmla="*/ 2147483647 h 198"/>
                      <a:gd name="T38" fmla="*/ 2147483647 w 230"/>
                      <a:gd name="T39" fmla="*/ 2147483647 h 198"/>
                      <a:gd name="T40" fmla="*/ 2147483647 w 230"/>
                      <a:gd name="T41" fmla="*/ 2147483647 h 198"/>
                      <a:gd name="T42" fmla="*/ 2147483647 w 230"/>
                      <a:gd name="T43" fmla="*/ 2147483647 h 198"/>
                      <a:gd name="T44" fmla="*/ 2147483647 w 230"/>
                      <a:gd name="T45" fmla="*/ 2147483647 h 198"/>
                      <a:gd name="T46" fmla="*/ 2147483647 w 230"/>
                      <a:gd name="T47" fmla="*/ 2147483647 h 198"/>
                      <a:gd name="T48" fmla="*/ 2147483647 w 230"/>
                      <a:gd name="T49" fmla="*/ 2147483647 h 198"/>
                      <a:gd name="T50" fmla="*/ 2147483647 w 230"/>
                      <a:gd name="T51" fmla="*/ 2147483647 h 198"/>
                      <a:gd name="T52" fmla="*/ 2147483647 w 230"/>
                      <a:gd name="T53" fmla="*/ 2147483647 h 198"/>
                      <a:gd name="T54" fmla="*/ 2147483647 w 230"/>
                      <a:gd name="T55" fmla="*/ 2147483647 h 198"/>
                      <a:gd name="T56" fmla="*/ 2147483647 w 230"/>
                      <a:gd name="T57" fmla="*/ 2147483647 h 198"/>
                      <a:gd name="T58" fmla="*/ 2147483647 w 230"/>
                      <a:gd name="T59" fmla="*/ 2147483647 h 198"/>
                      <a:gd name="T60" fmla="*/ 2147483647 w 230"/>
                      <a:gd name="T61" fmla="*/ 2147483647 h 198"/>
                      <a:gd name="T62" fmla="*/ 2147483647 w 230"/>
                      <a:gd name="T63" fmla="*/ 2147483647 h 198"/>
                      <a:gd name="T64" fmla="*/ 2147483647 w 230"/>
                      <a:gd name="T65" fmla="*/ 2147483647 h 198"/>
                      <a:gd name="T66" fmla="*/ 2147483647 w 230"/>
                      <a:gd name="T67" fmla="*/ 2147483647 h 198"/>
                      <a:gd name="T68" fmla="*/ 2147483647 w 230"/>
                      <a:gd name="T69" fmla="*/ 2147483647 h 198"/>
                      <a:gd name="T70" fmla="*/ 2147483647 w 230"/>
                      <a:gd name="T71" fmla="*/ 2147483647 h 198"/>
                      <a:gd name="T72" fmla="*/ 2147483647 w 230"/>
                      <a:gd name="T73" fmla="*/ 2147483647 h 198"/>
                      <a:gd name="T74" fmla="*/ 2147483647 w 230"/>
                      <a:gd name="T75" fmla="*/ 2147483647 h 198"/>
                      <a:gd name="T76" fmla="*/ 2147483647 w 230"/>
                      <a:gd name="T77" fmla="*/ 2147483647 h 198"/>
                      <a:gd name="T78" fmla="*/ 2147483647 w 230"/>
                      <a:gd name="T79" fmla="*/ 2147483647 h 198"/>
                      <a:gd name="T80" fmla="*/ 2147483647 w 230"/>
                      <a:gd name="T81" fmla="*/ 2147483647 h 198"/>
                      <a:gd name="T82" fmla="*/ 2147483647 w 230"/>
                      <a:gd name="T83" fmla="*/ 2147483647 h 198"/>
                      <a:gd name="T84" fmla="*/ 2147483647 w 230"/>
                      <a:gd name="T85" fmla="*/ 2147483647 h 198"/>
                      <a:gd name="T86" fmla="*/ 2147483647 w 230"/>
                      <a:gd name="T87" fmla="*/ 2147483647 h 198"/>
                      <a:gd name="T88" fmla="*/ 2147483647 w 230"/>
                      <a:gd name="T89" fmla="*/ 2147483647 h 198"/>
                      <a:gd name="T90" fmla="*/ 2147483647 w 230"/>
                      <a:gd name="T91" fmla="*/ 2147483647 h 198"/>
                      <a:gd name="T92" fmla="*/ 2147483647 w 230"/>
                      <a:gd name="T93" fmla="*/ 2147483647 h 198"/>
                      <a:gd name="T94" fmla="*/ 2147483647 w 230"/>
                      <a:gd name="T95" fmla="*/ 2147483647 h 198"/>
                      <a:gd name="T96" fmla="*/ 2147483647 w 230"/>
                      <a:gd name="T97" fmla="*/ 2147483647 h 198"/>
                      <a:gd name="T98" fmla="*/ 2147483647 w 230"/>
                      <a:gd name="T99" fmla="*/ 2147483647 h 198"/>
                      <a:gd name="T100" fmla="*/ 2147483647 w 230"/>
                      <a:gd name="T101" fmla="*/ 2147483647 h 198"/>
                      <a:gd name="T102" fmla="*/ 2147483647 w 230"/>
                      <a:gd name="T103" fmla="*/ 2147483647 h 198"/>
                      <a:gd name="T104" fmla="*/ 2147483647 w 230"/>
                      <a:gd name="T105" fmla="*/ 2147483647 h 198"/>
                      <a:gd name="T106" fmla="*/ 2147483647 w 230"/>
                      <a:gd name="T107" fmla="*/ 2147483647 h 198"/>
                      <a:gd name="T108" fmla="*/ 2147483647 w 230"/>
                      <a:gd name="T109" fmla="*/ 2147483647 h 198"/>
                      <a:gd name="T110" fmla="*/ 2147483647 w 230"/>
                      <a:gd name="T111" fmla="*/ 2147483647 h 198"/>
                      <a:gd name="T112" fmla="*/ 2147483647 w 230"/>
                      <a:gd name="T113" fmla="*/ 2147483647 h 198"/>
                      <a:gd name="T114" fmla="*/ 2147483647 w 230"/>
                      <a:gd name="T115" fmla="*/ 2147483647 h 198"/>
                      <a:gd name="T116" fmla="*/ 2147483647 w 230"/>
                      <a:gd name="T117" fmla="*/ 2147483647 h 198"/>
                      <a:gd name="T118" fmla="*/ 2147483647 w 230"/>
                      <a:gd name="T119" fmla="*/ 2147483647 h 198"/>
                      <a:gd name="T120" fmla="*/ 2147483647 w 230"/>
                      <a:gd name="T121" fmla="*/ 2147483647 h 19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0"/>
                      <a:gd name="T184" fmla="*/ 0 h 198"/>
                      <a:gd name="T185" fmla="*/ 230 w 230"/>
                      <a:gd name="T186" fmla="*/ 198 h 19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0" h="198">
                        <a:moveTo>
                          <a:pt x="230" y="172"/>
                        </a:moveTo>
                        <a:lnTo>
                          <a:pt x="230" y="172"/>
                        </a:lnTo>
                        <a:lnTo>
                          <a:pt x="230" y="166"/>
                        </a:lnTo>
                        <a:lnTo>
                          <a:pt x="228" y="166"/>
                        </a:lnTo>
                        <a:lnTo>
                          <a:pt x="224" y="168"/>
                        </a:lnTo>
                        <a:lnTo>
                          <a:pt x="224" y="170"/>
                        </a:lnTo>
                        <a:lnTo>
                          <a:pt x="220" y="172"/>
                        </a:lnTo>
                        <a:lnTo>
                          <a:pt x="218" y="174"/>
                        </a:lnTo>
                        <a:lnTo>
                          <a:pt x="216" y="178"/>
                        </a:lnTo>
                        <a:lnTo>
                          <a:pt x="216" y="182"/>
                        </a:lnTo>
                        <a:lnTo>
                          <a:pt x="218" y="186"/>
                        </a:lnTo>
                        <a:lnTo>
                          <a:pt x="218" y="190"/>
                        </a:lnTo>
                        <a:lnTo>
                          <a:pt x="218" y="192"/>
                        </a:lnTo>
                        <a:lnTo>
                          <a:pt x="218" y="194"/>
                        </a:lnTo>
                        <a:lnTo>
                          <a:pt x="222" y="196"/>
                        </a:lnTo>
                        <a:lnTo>
                          <a:pt x="224" y="198"/>
                        </a:lnTo>
                        <a:lnTo>
                          <a:pt x="230" y="192"/>
                        </a:lnTo>
                        <a:lnTo>
                          <a:pt x="230" y="186"/>
                        </a:lnTo>
                        <a:lnTo>
                          <a:pt x="228" y="186"/>
                        </a:lnTo>
                        <a:lnTo>
                          <a:pt x="230" y="184"/>
                        </a:lnTo>
                        <a:lnTo>
                          <a:pt x="230" y="172"/>
                        </a:lnTo>
                        <a:close/>
                        <a:moveTo>
                          <a:pt x="198" y="40"/>
                        </a:moveTo>
                        <a:lnTo>
                          <a:pt x="198" y="40"/>
                        </a:lnTo>
                        <a:lnTo>
                          <a:pt x="196" y="40"/>
                        </a:lnTo>
                        <a:lnTo>
                          <a:pt x="192" y="40"/>
                        </a:lnTo>
                        <a:lnTo>
                          <a:pt x="190" y="40"/>
                        </a:lnTo>
                        <a:lnTo>
                          <a:pt x="184" y="40"/>
                        </a:lnTo>
                        <a:lnTo>
                          <a:pt x="184" y="34"/>
                        </a:lnTo>
                        <a:lnTo>
                          <a:pt x="182" y="34"/>
                        </a:lnTo>
                        <a:lnTo>
                          <a:pt x="182" y="32"/>
                        </a:lnTo>
                        <a:lnTo>
                          <a:pt x="178" y="30"/>
                        </a:lnTo>
                        <a:lnTo>
                          <a:pt x="174" y="34"/>
                        </a:lnTo>
                        <a:lnTo>
                          <a:pt x="172" y="32"/>
                        </a:lnTo>
                        <a:lnTo>
                          <a:pt x="166" y="32"/>
                        </a:lnTo>
                        <a:lnTo>
                          <a:pt x="164" y="28"/>
                        </a:lnTo>
                        <a:lnTo>
                          <a:pt x="162" y="28"/>
                        </a:lnTo>
                        <a:lnTo>
                          <a:pt x="158" y="28"/>
                        </a:lnTo>
                        <a:lnTo>
                          <a:pt x="156" y="28"/>
                        </a:lnTo>
                        <a:lnTo>
                          <a:pt x="156" y="22"/>
                        </a:lnTo>
                        <a:lnTo>
                          <a:pt x="152" y="24"/>
                        </a:lnTo>
                        <a:lnTo>
                          <a:pt x="146" y="24"/>
                        </a:lnTo>
                        <a:lnTo>
                          <a:pt x="146" y="18"/>
                        </a:lnTo>
                        <a:lnTo>
                          <a:pt x="144" y="16"/>
                        </a:lnTo>
                        <a:lnTo>
                          <a:pt x="142" y="14"/>
                        </a:lnTo>
                        <a:lnTo>
                          <a:pt x="136" y="14"/>
                        </a:lnTo>
                        <a:lnTo>
                          <a:pt x="132" y="12"/>
                        </a:lnTo>
                        <a:lnTo>
                          <a:pt x="126" y="10"/>
                        </a:lnTo>
                        <a:lnTo>
                          <a:pt x="126" y="6"/>
                        </a:lnTo>
                        <a:lnTo>
                          <a:pt x="126" y="0"/>
                        </a:lnTo>
                        <a:lnTo>
                          <a:pt x="118" y="0"/>
                        </a:lnTo>
                        <a:lnTo>
                          <a:pt x="114" y="2"/>
                        </a:lnTo>
                        <a:lnTo>
                          <a:pt x="112" y="2"/>
                        </a:lnTo>
                        <a:lnTo>
                          <a:pt x="110" y="4"/>
                        </a:lnTo>
                        <a:lnTo>
                          <a:pt x="104" y="4"/>
                        </a:lnTo>
                        <a:lnTo>
                          <a:pt x="104" y="6"/>
                        </a:lnTo>
                        <a:lnTo>
                          <a:pt x="104" y="8"/>
                        </a:lnTo>
                        <a:lnTo>
                          <a:pt x="104" y="12"/>
                        </a:lnTo>
                        <a:lnTo>
                          <a:pt x="106" y="14"/>
                        </a:lnTo>
                        <a:lnTo>
                          <a:pt x="106" y="20"/>
                        </a:lnTo>
                        <a:lnTo>
                          <a:pt x="104" y="22"/>
                        </a:lnTo>
                        <a:lnTo>
                          <a:pt x="98" y="24"/>
                        </a:lnTo>
                        <a:lnTo>
                          <a:pt x="92" y="24"/>
                        </a:lnTo>
                        <a:lnTo>
                          <a:pt x="82" y="32"/>
                        </a:lnTo>
                        <a:lnTo>
                          <a:pt x="86" y="34"/>
                        </a:lnTo>
                        <a:lnTo>
                          <a:pt x="84" y="34"/>
                        </a:lnTo>
                        <a:lnTo>
                          <a:pt x="82" y="34"/>
                        </a:lnTo>
                        <a:lnTo>
                          <a:pt x="76" y="38"/>
                        </a:lnTo>
                        <a:lnTo>
                          <a:pt x="68" y="38"/>
                        </a:lnTo>
                        <a:lnTo>
                          <a:pt x="66" y="36"/>
                        </a:lnTo>
                        <a:lnTo>
                          <a:pt x="60" y="30"/>
                        </a:lnTo>
                        <a:lnTo>
                          <a:pt x="58" y="30"/>
                        </a:lnTo>
                        <a:lnTo>
                          <a:pt x="56" y="28"/>
                        </a:lnTo>
                        <a:lnTo>
                          <a:pt x="52" y="28"/>
                        </a:lnTo>
                        <a:lnTo>
                          <a:pt x="52" y="30"/>
                        </a:lnTo>
                        <a:lnTo>
                          <a:pt x="52" y="34"/>
                        </a:lnTo>
                        <a:lnTo>
                          <a:pt x="54" y="34"/>
                        </a:lnTo>
                        <a:lnTo>
                          <a:pt x="56" y="38"/>
                        </a:lnTo>
                        <a:lnTo>
                          <a:pt x="58" y="40"/>
                        </a:lnTo>
                        <a:lnTo>
                          <a:pt x="58" y="46"/>
                        </a:lnTo>
                        <a:lnTo>
                          <a:pt x="56" y="48"/>
                        </a:lnTo>
                        <a:lnTo>
                          <a:pt x="54" y="48"/>
                        </a:lnTo>
                        <a:lnTo>
                          <a:pt x="48" y="48"/>
                        </a:lnTo>
                        <a:lnTo>
                          <a:pt x="38" y="48"/>
                        </a:lnTo>
                        <a:lnTo>
                          <a:pt x="38" y="54"/>
                        </a:lnTo>
                        <a:lnTo>
                          <a:pt x="36" y="52"/>
                        </a:lnTo>
                        <a:lnTo>
                          <a:pt x="34" y="48"/>
                        </a:lnTo>
                        <a:lnTo>
                          <a:pt x="32" y="48"/>
                        </a:lnTo>
                        <a:lnTo>
                          <a:pt x="30" y="46"/>
                        </a:lnTo>
                        <a:lnTo>
                          <a:pt x="26" y="46"/>
                        </a:lnTo>
                        <a:lnTo>
                          <a:pt x="24" y="48"/>
                        </a:lnTo>
                        <a:lnTo>
                          <a:pt x="22" y="48"/>
                        </a:lnTo>
                        <a:lnTo>
                          <a:pt x="20" y="48"/>
                        </a:lnTo>
                        <a:lnTo>
                          <a:pt x="16" y="48"/>
                        </a:lnTo>
                        <a:lnTo>
                          <a:pt x="12" y="50"/>
                        </a:lnTo>
                        <a:lnTo>
                          <a:pt x="8" y="50"/>
                        </a:lnTo>
                        <a:lnTo>
                          <a:pt x="6" y="52"/>
                        </a:lnTo>
                        <a:lnTo>
                          <a:pt x="4" y="54"/>
                        </a:lnTo>
                        <a:lnTo>
                          <a:pt x="6" y="56"/>
                        </a:lnTo>
                        <a:lnTo>
                          <a:pt x="8" y="56"/>
                        </a:lnTo>
                        <a:lnTo>
                          <a:pt x="10" y="58"/>
                        </a:lnTo>
                        <a:lnTo>
                          <a:pt x="10" y="60"/>
                        </a:lnTo>
                        <a:lnTo>
                          <a:pt x="6" y="60"/>
                        </a:lnTo>
                        <a:lnTo>
                          <a:pt x="2" y="60"/>
                        </a:lnTo>
                        <a:lnTo>
                          <a:pt x="0" y="60"/>
                        </a:lnTo>
                        <a:lnTo>
                          <a:pt x="0" y="62"/>
                        </a:lnTo>
                        <a:lnTo>
                          <a:pt x="6" y="66"/>
                        </a:lnTo>
                        <a:lnTo>
                          <a:pt x="12" y="66"/>
                        </a:lnTo>
                        <a:lnTo>
                          <a:pt x="12" y="64"/>
                        </a:lnTo>
                        <a:lnTo>
                          <a:pt x="26" y="72"/>
                        </a:lnTo>
                        <a:lnTo>
                          <a:pt x="32" y="72"/>
                        </a:lnTo>
                        <a:lnTo>
                          <a:pt x="38" y="76"/>
                        </a:lnTo>
                        <a:lnTo>
                          <a:pt x="48" y="76"/>
                        </a:lnTo>
                        <a:lnTo>
                          <a:pt x="40" y="80"/>
                        </a:lnTo>
                        <a:lnTo>
                          <a:pt x="42" y="84"/>
                        </a:lnTo>
                        <a:lnTo>
                          <a:pt x="44" y="86"/>
                        </a:lnTo>
                        <a:lnTo>
                          <a:pt x="46" y="92"/>
                        </a:lnTo>
                        <a:lnTo>
                          <a:pt x="52" y="96"/>
                        </a:lnTo>
                        <a:lnTo>
                          <a:pt x="58" y="96"/>
                        </a:lnTo>
                        <a:lnTo>
                          <a:pt x="58" y="106"/>
                        </a:lnTo>
                        <a:lnTo>
                          <a:pt x="62" y="114"/>
                        </a:lnTo>
                        <a:lnTo>
                          <a:pt x="66" y="124"/>
                        </a:lnTo>
                        <a:lnTo>
                          <a:pt x="58" y="114"/>
                        </a:lnTo>
                        <a:lnTo>
                          <a:pt x="58" y="118"/>
                        </a:lnTo>
                        <a:lnTo>
                          <a:pt x="56" y="120"/>
                        </a:lnTo>
                        <a:lnTo>
                          <a:pt x="56" y="132"/>
                        </a:lnTo>
                        <a:lnTo>
                          <a:pt x="54" y="134"/>
                        </a:lnTo>
                        <a:lnTo>
                          <a:pt x="52" y="144"/>
                        </a:lnTo>
                        <a:lnTo>
                          <a:pt x="52" y="146"/>
                        </a:lnTo>
                        <a:lnTo>
                          <a:pt x="50" y="150"/>
                        </a:lnTo>
                        <a:lnTo>
                          <a:pt x="50" y="152"/>
                        </a:lnTo>
                        <a:lnTo>
                          <a:pt x="48" y="152"/>
                        </a:lnTo>
                        <a:lnTo>
                          <a:pt x="48" y="154"/>
                        </a:lnTo>
                        <a:lnTo>
                          <a:pt x="46" y="156"/>
                        </a:lnTo>
                        <a:lnTo>
                          <a:pt x="44" y="158"/>
                        </a:lnTo>
                        <a:lnTo>
                          <a:pt x="46" y="160"/>
                        </a:lnTo>
                        <a:lnTo>
                          <a:pt x="46" y="158"/>
                        </a:lnTo>
                        <a:lnTo>
                          <a:pt x="48" y="158"/>
                        </a:lnTo>
                        <a:lnTo>
                          <a:pt x="52" y="160"/>
                        </a:lnTo>
                        <a:lnTo>
                          <a:pt x="52" y="162"/>
                        </a:lnTo>
                        <a:lnTo>
                          <a:pt x="50" y="164"/>
                        </a:lnTo>
                        <a:lnTo>
                          <a:pt x="60" y="164"/>
                        </a:lnTo>
                        <a:lnTo>
                          <a:pt x="64" y="168"/>
                        </a:lnTo>
                        <a:lnTo>
                          <a:pt x="66" y="166"/>
                        </a:lnTo>
                        <a:lnTo>
                          <a:pt x="68" y="166"/>
                        </a:lnTo>
                        <a:lnTo>
                          <a:pt x="72" y="170"/>
                        </a:lnTo>
                        <a:lnTo>
                          <a:pt x="78" y="170"/>
                        </a:lnTo>
                        <a:lnTo>
                          <a:pt x="78" y="172"/>
                        </a:lnTo>
                        <a:lnTo>
                          <a:pt x="84" y="172"/>
                        </a:lnTo>
                        <a:lnTo>
                          <a:pt x="84" y="168"/>
                        </a:lnTo>
                        <a:lnTo>
                          <a:pt x="86" y="166"/>
                        </a:lnTo>
                        <a:lnTo>
                          <a:pt x="90" y="166"/>
                        </a:lnTo>
                        <a:lnTo>
                          <a:pt x="92" y="168"/>
                        </a:lnTo>
                        <a:lnTo>
                          <a:pt x="92" y="170"/>
                        </a:lnTo>
                        <a:lnTo>
                          <a:pt x="96" y="170"/>
                        </a:lnTo>
                        <a:lnTo>
                          <a:pt x="96" y="172"/>
                        </a:lnTo>
                        <a:lnTo>
                          <a:pt x="104" y="172"/>
                        </a:lnTo>
                        <a:lnTo>
                          <a:pt x="104" y="174"/>
                        </a:lnTo>
                        <a:lnTo>
                          <a:pt x="104" y="176"/>
                        </a:lnTo>
                        <a:lnTo>
                          <a:pt x="112" y="176"/>
                        </a:lnTo>
                        <a:lnTo>
                          <a:pt x="112" y="178"/>
                        </a:lnTo>
                        <a:lnTo>
                          <a:pt x="118" y="178"/>
                        </a:lnTo>
                        <a:lnTo>
                          <a:pt x="118" y="176"/>
                        </a:lnTo>
                        <a:lnTo>
                          <a:pt x="118" y="174"/>
                        </a:lnTo>
                        <a:lnTo>
                          <a:pt x="122" y="174"/>
                        </a:lnTo>
                        <a:lnTo>
                          <a:pt x="122" y="170"/>
                        </a:lnTo>
                        <a:lnTo>
                          <a:pt x="126" y="164"/>
                        </a:lnTo>
                        <a:lnTo>
                          <a:pt x="130" y="160"/>
                        </a:lnTo>
                        <a:lnTo>
                          <a:pt x="132" y="158"/>
                        </a:lnTo>
                        <a:lnTo>
                          <a:pt x="134" y="156"/>
                        </a:lnTo>
                        <a:lnTo>
                          <a:pt x="138" y="154"/>
                        </a:lnTo>
                        <a:lnTo>
                          <a:pt x="140" y="152"/>
                        </a:lnTo>
                        <a:lnTo>
                          <a:pt x="144" y="152"/>
                        </a:lnTo>
                        <a:lnTo>
                          <a:pt x="146" y="154"/>
                        </a:lnTo>
                        <a:lnTo>
                          <a:pt x="150" y="154"/>
                        </a:lnTo>
                        <a:lnTo>
                          <a:pt x="152" y="156"/>
                        </a:lnTo>
                        <a:lnTo>
                          <a:pt x="162" y="156"/>
                        </a:lnTo>
                        <a:lnTo>
                          <a:pt x="166" y="160"/>
                        </a:lnTo>
                        <a:lnTo>
                          <a:pt x="166" y="162"/>
                        </a:lnTo>
                        <a:lnTo>
                          <a:pt x="170" y="162"/>
                        </a:lnTo>
                        <a:lnTo>
                          <a:pt x="172" y="164"/>
                        </a:lnTo>
                        <a:lnTo>
                          <a:pt x="178" y="164"/>
                        </a:lnTo>
                        <a:lnTo>
                          <a:pt x="182" y="162"/>
                        </a:lnTo>
                        <a:lnTo>
                          <a:pt x="184" y="160"/>
                        </a:lnTo>
                        <a:lnTo>
                          <a:pt x="186" y="154"/>
                        </a:lnTo>
                        <a:lnTo>
                          <a:pt x="192" y="150"/>
                        </a:lnTo>
                        <a:lnTo>
                          <a:pt x="196" y="150"/>
                        </a:lnTo>
                        <a:lnTo>
                          <a:pt x="196" y="148"/>
                        </a:lnTo>
                        <a:lnTo>
                          <a:pt x="200" y="144"/>
                        </a:lnTo>
                        <a:lnTo>
                          <a:pt x="200" y="142"/>
                        </a:lnTo>
                        <a:lnTo>
                          <a:pt x="198" y="140"/>
                        </a:lnTo>
                        <a:lnTo>
                          <a:pt x="192" y="140"/>
                        </a:lnTo>
                        <a:lnTo>
                          <a:pt x="188" y="138"/>
                        </a:lnTo>
                        <a:lnTo>
                          <a:pt x="186" y="136"/>
                        </a:lnTo>
                        <a:lnTo>
                          <a:pt x="186" y="134"/>
                        </a:lnTo>
                        <a:lnTo>
                          <a:pt x="188" y="132"/>
                        </a:lnTo>
                        <a:lnTo>
                          <a:pt x="190" y="130"/>
                        </a:lnTo>
                        <a:lnTo>
                          <a:pt x="190" y="126"/>
                        </a:lnTo>
                        <a:lnTo>
                          <a:pt x="188" y="126"/>
                        </a:lnTo>
                        <a:lnTo>
                          <a:pt x="184" y="126"/>
                        </a:lnTo>
                        <a:lnTo>
                          <a:pt x="182" y="120"/>
                        </a:lnTo>
                        <a:lnTo>
                          <a:pt x="188" y="120"/>
                        </a:lnTo>
                        <a:lnTo>
                          <a:pt x="192" y="116"/>
                        </a:lnTo>
                        <a:lnTo>
                          <a:pt x="192" y="114"/>
                        </a:lnTo>
                        <a:lnTo>
                          <a:pt x="186" y="108"/>
                        </a:lnTo>
                        <a:lnTo>
                          <a:pt x="188" y="106"/>
                        </a:lnTo>
                        <a:lnTo>
                          <a:pt x="190" y="106"/>
                        </a:lnTo>
                        <a:lnTo>
                          <a:pt x="190" y="104"/>
                        </a:lnTo>
                        <a:lnTo>
                          <a:pt x="186" y="100"/>
                        </a:lnTo>
                        <a:lnTo>
                          <a:pt x="188" y="94"/>
                        </a:lnTo>
                        <a:lnTo>
                          <a:pt x="186" y="94"/>
                        </a:lnTo>
                        <a:lnTo>
                          <a:pt x="182" y="94"/>
                        </a:lnTo>
                        <a:lnTo>
                          <a:pt x="176" y="100"/>
                        </a:lnTo>
                        <a:lnTo>
                          <a:pt x="174" y="100"/>
                        </a:lnTo>
                        <a:lnTo>
                          <a:pt x="174" y="98"/>
                        </a:lnTo>
                        <a:lnTo>
                          <a:pt x="176" y="96"/>
                        </a:lnTo>
                        <a:lnTo>
                          <a:pt x="174" y="94"/>
                        </a:lnTo>
                        <a:lnTo>
                          <a:pt x="178" y="92"/>
                        </a:lnTo>
                        <a:lnTo>
                          <a:pt x="178" y="88"/>
                        </a:lnTo>
                        <a:lnTo>
                          <a:pt x="182" y="86"/>
                        </a:lnTo>
                        <a:lnTo>
                          <a:pt x="182" y="82"/>
                        </a:lnTo>
                        <a:lnTo>
                          <a:pt x="186" y="82"/>
                        </a:lnTo>
                        <a:lnTo>
                          <a:pt x="188" y="80"/>
                        </a:lnTo>
                        <a:lnTo>
                          <a:pt x="190" y="78"/>
                        </a:lnTo>
                        <a:lnTo>
                          <a:pt x="192" y="76"/>
                        </a:lnTo>
                        <a:lnTo>
                          <a:pt x="192" y="74"/>
                        </a:lnTo>
                        <a:lnTo>
                          <a:pt x="198" y="76"/>
                        </a:lnTo>
                        <a:lnTo>
                          <a:pt x="198" y="72"/>
                        </a:lnTo>
                        <a:lnTo>
                          <a:pt x="198" y="60"/>
                        </a:lnTo>
                        <a:lnTo>
                          <a:pt x="200" y="58"/>
                        </a:lnTo>
                        <a:lnTo>
                          <a:pt x="202" y="56"/>
                        </a:lnTo>
                        <a:lnTo>
                          <a:pt x="204" y="54"/>
                        </a:lnTo>
                        <a:lnTo>
                          <a:pt x="204" y="50"/>
                        </a:lnTo>
                        <a:lnTo>
                          <a:pt x="208" y="46"/>
                        </a:lnTo>
                        <a:lnTo>
                          <a:pt x="210" y="42"/>
                        </a:lnTo>
                        <a:lnTo>
                          <a:pt x="204" y="40"/>
                        </a:lnTo>
                        <a:lnTo>
                          <a:pt x="198" y="4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40" name="Finland"/>
                  <p:cNvSpPr>
                    <a:spLocks/>
                  </p:cNvSpPr>
                  <p:nvPr/>
                </p:nvSpPr>
                <p:spPr bwMode="gray">
                  <a:xfrm>
                    <a:off x="2977" y="907"/>
                    <a:ext cx="161" cy="183"/>
                  </a:xfrm>
                  <a:custGeom>
                    <a:avLst/>
                    <a:gdLst>
                      <a:gd name="T0" fmla="*/ 2147483647 w 630"/>
                      <a:gd name="T1" fmla="*/ 2147483647 h 714"/>
                      <a:gd name="T2" fmla="*/ 2147483647 w 630"/>
                      <a:gd name="T3" fmla="*/ 2147483647 h 714"/>
                      <a:gd name="T4" fmla="*/ 2147483647 w 630"/>
                      <a:gd name="T5" fmla="*/ 2147483647 h 714"/>
                      <a:gd name="T6" fmla="*/ 2147483647 w 630"/>
                      <a:gd name="T7" fmla="*/ 2147483647 h 714"/>
                      <a:gd name="T8" fmla="*/ 2147483647 w 630"/>
                      <a:gd name="T9" fmla="*/ 2147483647 h 714"/>
                      <a:gd name="T10" fmla="*/ 2147483647 w 630"/>
                      <a:gd name="T11" fmla="*/ 2147483647 h 714"/>
                      <a:gd name="T12" fmla="*/ 2147483647 w 630"/>
                      <a:gd name="T13" fmla="*/ 2147483647 h 714"/>
                      <a:gd name="T14" fmla="*/ 2147483647 w 630"/>
                      <a:gd name="T15" fmla="*/ 2147483647 h 714"/>
                      <a:gd name="T16" fmla="*/ 2147483647 w 630"/>
                      <a:gd name="T17" fmla="*/ 2147483647 h 714"/>
                      <a:gd name="T18" fmla="*/ 2147483647 w 630"/>
                      <a:gd name="T19" fmla="*/ 2147483647 h 714"/>
                      <a:gd name="T20" fmla="*/ 2147483647 w 630"/>
                      <a:gd name="T21" fmla="*/ 2147483647 h 714"/>
                      <a:gd name="T22" fmla="*/ 2147483647 w 630"/>
                      <a:gd name="T23" fmla="*/ 2147483647 h 714"/>
                      <a:gd name="T24" fmla="*/ 2147483647 w 630"/>
                      <a:gd name="T25" fmla="*/ 2147483647 h 714"/>
                      <a:gd name="T26" fmla="*/ 2147483647 w 630"/>
                      <a:gd name="T27" fmla="*/ 2147483647 h 714"/>
                      <a:gd name="T28" fmla="*/ 2147483647 w 630"/>
                      <a:gd name="T29" fmla="*/ 2147483647 h 714"/>
                      <a:gd name="T30" fmla="*/ 2147483647 w 630"/>
                      <a:gd name="T31" fmla="*/ 2147483647 h 714"/>
                      <a:gd name="T32" fmla="*/ 2147483647 w 630"/>
                      <a:gd name="T33" fmla="*/ 2147483647 h 714"/>
                      <a:gd name="T34" fmla="*/ 2147483647 w 630"/>
                      <a:gd name="T35" fmla="*/ 2147483647 h 714"/>
                      <a:gd name="T36" fmla="*/ 2147483647 w 630"/>
                      <a:gd name="T37" fmla="*/ 2147483647 h 714"/>
                      <a:gd name="T38" fmla="*/ 2147483647 w 630"/>
                      <a:gd name="T39" fmla="*/ 2147483647 h 714"/>
                      <a:gd name="T40" fmla="*/ 2147483647 w 630"/>
                      <a:gd name="T41" fmla="*/ 2147483647 h 714"/>
                      <a:gd name="T42" fmla="*/ 2147483647 w 630"/>
                      <a:gd name="T43" fmla="*/ 2147483647 h 714"/>
                      <a:gd name="T44" fmla="*/ 2147483647 w 630"/>
                      <a:gd name="T45" fmla="*/ 2147483647 h 714"/>
                      <a:gd name="T46" fmla="*/ 2147483647 w 630"/>
                      <a:gd name="T47" fmla="*/ 2147483647 h 714"/>
                      <a:gd name="T48" fmla="*/ 2147483647 w 630"/>
                      <a:gd name="T49" fmla="*/ 2147483647 h 714"/>
                      <a:gd name="T50" fmla="*/ 2147483647 w 630"/>
                      <a:gd name="T51" fmla="*/ 2147483647 h 714"/>
                      <a:gd name="T52" fmla="*/ 2147483647 w 630"/>
                      <a:gd name="T53" fmla="*/ 2147483647 h 714"/>
                      <a:gd name="T54" fmla="*/ 2147483647 w 630"/>
                      <a:gd name="T55" fmla="*/ 2147483647 h 714"/>
                      <a:gd name="T56" fmla="*/ 2147483647 w 630"/>
                      <a:gd name="T57" fmla="*/ 2147483647 h 714"/>
                      <a:gd name="T58" fmla="*/ 2147483647 w 630"/>
                      <a:gd name="T59" fmla="*/ 2147483647 h 714"/>
                      <a:gd name="T60" fmla="*/ 2147483647 w 630"/>
                      <a:gd name="T61" fmla="*/ 2147483647 h 714"/>
                      <a:gd name="T62" fmla="*/ 2147483647 w 630"/>
                      <a:gd name="T63" fmla="*/ 2147483647 h 714"/>
                      <a:gd name="T64" fmla="*/ 2147483647 w 630"/>
                      <a:gd name="T65" fmla="*/ 2147483647 h 714"/>
                      <a:gd name="T66" fmla="*/ 2147483647 w 630"/>
                      <a:gd name="T67" fmla="*/ 2147483647 h 714"/>
                      <a:gd name="T68" fmla="*/ 2147483647 w 630"/>
                      <a:gd name="T69" fmla="*/ 2147483647 h 714"/>
                      <a:gd name="T70" fmla="*/ 2147483647 w 630"/>
                      <a:gd name="T71" fmla="*/ 2147483647 h 714"/>
                      <a:gd name="T72" fmla="*/ 2147483647 w 630"/>
                      <a:gd name="T73" fmla="*/ 2147483647 h 714"/>
                      <a:gd name="T74" fmla="*/ 2147483647 w 630"/>
                      <a:gd name="T75" fmla="*/ 2147483647 h 714"/>
                      <a:gd name="T76" fmla="*/ 2147483647 w 630"/>
                      <a:gd name="T77" fmla="*/ 2147483647 h 714"/>
                      <a:gd name="T78" fmla="*/ 2147483647 w 630"/>
                      <a:gd name="T79" fmla="*/ 2147483647 h 714"/>
                      <a:gd name="T80" fmla="*/ 2147483647 w 630"/>
                      <a:gd name="T81" fmla="*/ 2147483647 h 714"/>
                      <a:gd name="T82" fmla="*/ 2147483647 w 630"/>
                      <a:gd name="T83" fmla="*/ 2147483647 h 714"/>
                      <a:gd name="T84" fmla="*/ 2147483647 w 630"/>
                      <a:gd name="T85" fmla="*/ 2147483647 h 714"/>
                      <a:gd name="T86" fmla="*/ 2147483647 w 630"/>
                      <a:gd name="T87" fmla="*/ 2147483647 h 714"/>
                      <a:gd name="T88" fmla="*/ 2147483647 w 630"/>
                      <a:gd name="T89" fmla="*/ 2147483647 h 714"/>
                      <a:gd name="T90" fmla="*/ 2147483647 w 630"/>
                      <a:gd name="T91" fmla="*/ 2147483647 h 714"/>
                      <a:gd name="T92" fmla="*/ 2147483647 w 630"/>
                      <a:gd name="T93" fmla="*/ 2147483647 h 714"/>
                      <a:gd name="T94" fmla="*/ 2147483647 w 630"/>
                      <a:gd name="T95" fmla="*/ 2147483647 h 714"/>
                      <a:gd name="T96" fmla="*/ 2147483647 w 630"/>
                      <a:gd name="T97" fmla="*/ 2147483647 h 714"/>
                      <a:gd name="T98" fmla="*/ 2147483647 w 630"/>
                      <a:gd name="T99" fmla="*/ 2147483647 h 714"/>
                      <a:gd name="T100" fmla="*/ 2147483647 w 630"/>
                      <a:gd name="T101" fmla="*/ 2147483647 h 714"/>
                      <a:gd name="T102" fmla="*/ 2147483647 w 630"/>
                      <a:gd name="T103" fmla="*/ 2147483647 h 714"/>
                      <a:gd name="T104" fmla="*/ 2147483647 w 630"/>
                      <a:gd name="T105" fmla="*/ 2147483647 h 714"/>
                      <a:gd name="T106" fmla="*/ 2147483647 w 630"/>
                      <a:gd name="T107" fmla="*/ 0 h 714"/>
                      <a:gd name="T108" fmla="*/ 2147483647 w 630"/>
                      <a:gd name="T109" fmla="*/ 2147483647 h 714"/>
                      <a:gd name="T110" fmla="*/ 2147483647 w 630"/>
                      <a:gd name="T111" fmla="*/ 2147483647 h 714"/>
                      <a:gd name="T112" fmla="*/ 2147483647 w 630"/>
                      <a:gd name="T113" fmla="*/ 2147483647 h 714"/>
                      <a:gd name="T114" fmla="*/ 2147483647 w 630"/>
                      <a:gd name="T115" fmla="*/ 2147483647 h 714"/>
                      <a:gd name="T116" fmla="*/ 2147483647 w 630"/>
                      <a:gd name="T117" fmla="*/ 2147483647 h 71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630"/>
                      <a:gd name="T178" fmla="*/ 0 h 714"/>
                      <a:gd name="T179" fmla="*/ 630 w 630"/>
                      <a:gd name="T180" fmla="*/ 714 h 71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630" h="714">
                        <a:moveTo>
                          <a:pt x="162" y="84"/>
                        </a:moveTo>
                        <a:lnTo>
                          <a:pt x="156" y="90"/>
                        </a:lnTo>
                        <a:lnTo>
                          <a:pt x="144" y="96"/>
                        </a:lnTo>
                        <a:lnTo>
                          <a:pt x="132" y="96"/>
                        </a:lnTo>
                        <a:lnTo>
                          <a:pt x="126" y="90"/>
                        </a:lnTo>
                        <a:lnTo>
                          <a:pt x="108" y="90"/>
                        </a:lnTo>
                        <a:lnTo>
                          <a:pt x="96" y="84"/>
                        </a:lnTo>
                        <a:lnTo>
                          <a:pt x="84" y="84"/>
                        </a:lnTo>
                        <a:lnTo>
                          <a:pt x="72" y="72"/>
                        </a:lnTo>
                        <a:lnTo>
                          <a:pt x="60" y="66"/>
                        </a:lnTo>
                        <a:lnTo>
                          <a:pt x="54" y="54"/>
                        </a:lnTo>
                        <a:lnTo>
                          <a:pt x="48" y="48"/>
                        </a:lnTo>
                        <a:lnTo>
                          <a:pt x="30" y="48"/>
                        </a:lnTo>
                        <a:lnTo>
                          <a:pt x="24" y="54"/>
                        </a:lnTo>
                        <a:lnTo>
                          <a:pt x="24" y="66"/>
                        </a:lnTo>
                        <a:lnTo>
                          <a:pt x="6" y="60"/>
                        </a:lnTo>
                        <a:lnTo>
                          <a:pt x="0" y="66"/>
                        </a:lnTo>
                        <a:lnTo>
                          <a:pt x="6" y="72"/>
                        </a:lnTo>
                        <a:lnTo>
                          <a:pt x="18" y="78"/>
                        </a:lnTo>
                        <a:lnTo>
                          <a:pt x="24" y="84"/>
                        </a:lnTo>
                        <a:lnTo>
                          <a:pt x="36" y="90"/>
                        </a:lnTo>
                        <a:lnTo>
                          <a:pt x="48" y="90"/>
                        </a:lnTo>
                        <a:lnTo>
                          <a:pt x="54" y="96"/>
                        </a:lnTo>
                        <a:lnTo>
                          <a:pt x="60" y="96"/>
                        </a:lnTo>
                        <a:lnTo>
                          <a:pt x="72" y="108"/>
                        </a:lnTo>
                        <a:lnTo>
                          <a:pt x="108" y="108"/>
                        </a:lnTo>
                        <a:lnTo>
                          <a:pt x="138" y="126"/>
                        </a:lnTo>
                        <a:lnTo>
                          <a:pt x="150" y="126"/>
                        </a:lnTo>
                        <a:lnTo>
                          <a:pt x="156" y="132"/>
                        </a:lnTo>
                        <a:lnTo>
                          <a:pt x="162" y="132"/>
                        </a:lnTo>
                        <a:lnTo>
                          <a:pt x="162" y="156"/>
                        </a:lnTo>
                        <a:lnTo>
                          <a:pt x="156" y="162"/>
                        </a:lnTo>
                        <a:lnTo>
                          <a:pt x="156" y="168"/>
                        </a:lnTo>
                        <a:lnTo>
                          <a:pt x="168" y="174"/>
                        </a:lnTo>
                        <a:lnTo>
                          <a:pt x="162" y="198"/>
                        </a:lnTo>
                        <a:lnTo>
                          <a:pt x="186" y="210"/>
                        </a:lnTo>
                        <a:lnTo>
                          <a:pt x="180" y="222"/>
                        </a:lnTo>
                        <a:lnTo>
                          <a:pt x="174" y="228"/>
                        </a:lnTo>
                        <a:lnTo>
                          <a:pt x="168" y="240"/>
                        </a:lnTo>
                        <a:lnTo>
                          <a:pt x="168" y="246"/>
                        </a:lnTo>
                        <a:lnTo>
                          <a:pt x="180" y="258"/>
                        </a:lnTo>
                        <a:lnTo>
                          <a:pt x="192" y="264"/>
                        </a:lnTo>
                        <a:lnTo>
                          <a:pt x="198" y="270"/>
                        </a:lnTo>
                        <a:lnTo>
                          <a:pt x="210" y="306"/>
                        </a:lnTo>
                        <a:lnTo>
                          <a:pt x="222" y="294"/>
                        </a:lnTo>
                        <a:lnTo>
                          <a:pt x="228" y="294"/>
                        </a:lnTo>
                        <a:lnTo>
                          <a:pt x="234" y="300"/>
                        </a:lnTo>
                        <a:lnTo>
                          <a:pt x="246" y="300"/>
                        </a:lnTo>
                        <a:lnTo>
                          <a:pt x="270" y="324"/>
                        </a:lnTo>
                        <a:lnTo>
                          <a:pt x="270" y="336"/>
                        </a:lnTo>
                        <a:lnTo>
                          <a:pt x="276" y="348"/>
                        </a:lnTo>
                        <a:lnTo>
                          <a:pt x="276" y="354"/>
                        </a:lnTo>
                        <a:lnTo>
                          <a:pt x="264" y="348"/>
                        </a:lnTo>
                        <a:lnTo>
                          <a:pt x="246" y="348"/>
                        </a:lnTo>
                        <a:lnTo>
                          <a:pt x="240" y="354"/>
                        </a:lnTo>
                        <a:lnTo>
                          <a:pt x="234" y="366"/>
                        </a:lnTo>
                        <a:lnTo>
                          <a:pt x="228" y="372"/>
                        </a:lnTo>
                        <a:lnTo>
                          <a:pt x="222" y="384"/>
                        </a:lnTo>
                        <a:lnTo>
                          <a:pt x="216" y="390"/>
                        </a:lnTo>
                        <a:lnTo>
                          <a:pt x="180" y="420"/>
                        </a:lnTo>
                        <a:lnTo>
                          <a:pt x="144" y="432"/>
                        </a:lnTo>
                        <a:lnTo>
                          <a:pt x="138" y="438"/>
                        </a:lnTo>
                        <a:lnTo>
                          <a:pt x="126" y="444"/>
                        </a:lnTo>
                        <a:lnTo>
                          <a:pt x="120" y="456"/>
                        </a:lnTo>
                        <a:lnTo>
                          <a:pt x="120" y="462"/>
                        </a:lnTo>
                        <a:lnTo>
                          <a:pt x="108" y="474"/>
                        </a:lnTo>
                        <a:lnTo>
                          <a:pt x="90" y="474"/>
                        </a:lnTo>
                        <a:lnTo>
                          <a:pt x="66" y="504"/>
                        </a:lnTo>
                        <a:lnTo>
                          <a:pt x="66" y="534"/>
                        </a:lnTo>
                        <a:lnTo>
                          <a:pt x="72" y="540"/>
                        </a:lnTo>
                        <a:lnTo>
                          <a:pt x="72" y="570"/>
                        </a:lnTo>
                        <a:lnTo>
                          <a:pt x="96" y="588"/>
                        </a:lnTo>
                        <a:lnTo>
                          <a:pt x="96" y="594"/>
                        </a:lnTo>
                        <a:lnTo>
                          <a:pt x="90" y="600"/>
                        </a:lnTo>
                        <a:lnTo>
                          <a:pt x="90" y="612"/>
                        </a:lnTo>
                        <a:lnTo>
                          <a:pt x="84" y="630"/>
                        </a:lnTo>
                        <a:lnTo>
                          <a:pt x="84" y="648"/>
                        </a:lnTo>
                        <a:lnTo>
                          <a:pt x="90" y="654"/>
                        </a:lnTo>
                        <a:lnTo>
                          <a:pt x="96" y="666"/>
                        </a:lnTo>
                        <a:lnTo>
                          <a:pt x="108" y="678"/>
                        </a:lnTo>
                        <a:lnTo>
                          <a:pt x="132" y="690"/>
                        </a:lnTo>
                        <a:lnTo>
                          <a:pt x="174" y="690"/>
                        </a:lnTo>
                        <a:lnTo>
                          <a:pt x="174" y="696"/>
                        </a:lnTo>
                        <a:lnTo>
                          <a:pt x="168" y="702"/>
                        </a:lnTo>
                        <a:lnTo>
                          <a:pt x="168" y="708"/>
                        </a:lnTo>
                        <a:lnTo>
                          <a:pt x="174" y="714"/>
                        </a:lnTo>
                        <a:lnTo>
                          <a:pt x="240" y="714"/>
                        </a:lnTo>
                        <a:lnTo>
                          <a:pt x="252" y="708"/>
                        </a:lnTo>
                        <a:lnTo>
                          <a:pt x="270" y="708"/>
                        </a:lnTo>
                        <a:lnTo>
                          <a:pt x="300" y="696"/>
                        </a:lnTo>
                        <a:lnTo>
                          <a:pt x="336" y="696"/>
                        </a:lnTo>
                        <a:lnTo>
                          <a:pt x="384" y="672"/>
                        </a:lnTo>
                        <a:lnTo>
                          <a:pt x="462" y="672"/>
                        </a:lnTo>
                        <a:lnTo>
                          <a:pt x="456" y="660"/>
                        </a:lnTo>
                        <a:lnTo>
                          <a:pt x="516" y="630"/>
                        </a:lnTo>
                        <a:lnTo>
                          <a:pt x="576" y="570"/>
                        </a:lnTo>
                        <a:lnTo>
                          <a:pt x="582" y="570"/>
                        </a:lnTo>
                        <a:lnTo>
                          <a:pt x="618" y="534"/>
                        </a:lnTo>
                        <a:lnTo>
                          <a:pt x="624" y="522"/>
                        </a:lnTo>
                        <a:lnTo>
                          <a:pt x="630" y="516"/>
                        </a:lnTo>
                        <a:lnTo>
                          <a:pt x="630" y="504"/>
                        </a:lnTo>
                        <a:lnTo>
                          <a:pt x="624" y="492"/>
                        </a:lnTo>
                        <a:lnTo>
                          <a:pt x="618" y="486"/>
                        </a:lnTo>
                        <a:lnTo>
                          <a:pt x="612" y="474"/>
                        </a:lnTo>
                        <a:lnTo>
                          <a:pt x="540" y="438"/>
                        </a:lnTo>
                        <a:lnTo>
                          <a:pt x="546" y="438"/>
                        </a:lnTo>
                        <a:lnTo>
                          <a:pt x="570" y="414"/>
                        </a:lnTo>
                        <a:lnTo>
                          <a:pt x="570" y="408"/>
                        </a:lnTo>
                        <a:lnTo>
                          <a:pt x="564" y="402"/>
                        </a:lnTo>
                        <a:lnTo>
                          <a:pt x="552" y="396"/>
                        </a:lnTo>
                        <a:lnTo>
                          <a:pt x="528" y="390"/>
                        </a:lnTo>
                        <a:lnTo>
                          <a:pt x="534" y="378"/>
                        </a:lnTo>
                        <a:lnTo>
                          <a:pt x="540" y="372"/>
                        </a:lnTo>
                        <a:lnTo>
                          <a:pt x="540" y="366"/>
                        </a:lnTo>
                        <a:lnTo>
                          <a:pt x="534" y="360"/>
                        </a:lnTo>
                        <a:lnTo>
                          <a:pt x="528" y="360"/>
                        </a:lnTo>
                        <a:lnTo>
                          <a:pt x="522" y="354"/>
                        </a:lnTo>
                        <a:lnTo>
                          <a:pt x="510" y="354"/>
                        </a:lnTo>
                        <a:lnTo>
                          <a:pt x="510" y="342"/>
                        </a:lnTo>
                        <a:lnTo>
                          <a:pt x="498" y="330"/>
                        </a:lnTo>
                        <a:lnTo>
                          <a:pt x="504" y="300"/>
                        </a:lnTo>
                        <a:lnTo>
                          <a:pt x="510" y="300"/>
                        </a:lnTo>
                        <a:lnTo>
                          <a:pt x="522" y="306"/>
                        </a:lnTo>
                        <a:lnTo>
                          <a:pt x="534" y="306"/>
                        </a:lnTo>
                        <a:lnTo>
                          <a:pt x="540" y="300"/>
                        </a:lnTo>
                        <a:lnTo>
                          <a:pt x="540" y="294"/>
                        </a:lnTo>
                        <a:lnTo>
                          <a:pt x="534" y="288"/>
                        </a:lnTo>
                        <a:lnTo>
                          <a:pt x="522" y="282"/>
                        </a:lnTo>
                        <a:lnTo>
                          <a:pt x="498" y="258"/>
                        </a:lnTo>
                        <a:lnTo>
                          <a:pt x="486" y="252"/>
                        </a:lnTo>
                        <a:lnTo>
                          <a:pt x="480" y="240"/>
                        </a:lnTo>
                        <a:lnTo>
                          <a:pt x="468" y="234"/>
                        </a:lnTo>
                        <a:lnTo>
                          <a:pt x="450" y="216"/>
                        </a:lnTo>
                        <a:lnTo>
                          <a:pt x="456" y="210"/>
                        </a:lnTo>
                        <a:lnTo>
                          <a:pt x="468" y="204"/>
                        </a:lnTo>
                        <a:lnTo>
                          <a:pt x="474" y="204"/>
                        </a:lnTo>
                        <a:lnTo>
                          <a:pt x="474" y="192"/>
                        </a:lnTo>
                        <a:lnTo>
                          <a:pt x="480" y="192"/>
                        </a:lnTo>
                        <a:lnTo>
                          <a:pt x="492" y="186"/>
                        </a:lnTo>
                        <a:lnTo>
                          <a:pt x="498" y="186"/>
                        </a:lnTo>
                        <a:lnTo>
                          <a:pt x="498" y="174"/>
                        </a:lnTo>
                        <a:lnTo>
                          <a:pt x="450" y="126"/>
                        </a:lnTo>
                        <a:lnTo>
                          <a:pt x="432" y="126"/>
                        </a:lnTo>
                        <a:lnTo>
                          <a:pt x="426" y="132"/>
                        </a:lnTo>
                        <a:lnTo>
                          <a:pt x="420" y="132"/>
                        </a:lnTo>
                        <a:lnTo>
                          <a:pt x="414" y="126"/>
                        </a:lnTo>
                        <a:lnTo>
                          <a:pt x="414" y="120"/>
                        </a:lnTo>
                        <a:lnTo>
                          <a:pt x="408" y="108"/>
                        </a:lnTo>
                        <a:lnTo>
                          <a:pt x="408" y="96"/>
                        </a:lnTo>
                        <a:lnTo>
                          <a:pt x="426" y="96"/>
                        </a:lnTo>
                        <a:lnTo>
                          <a:pt x="426" y="90"/>
                        </a:lnTo>
                        <a:lnTo>
                          <a:pt x="414" y="78"/>
                        </a:lnTo>
                        <a:lnTo>
                          <a:pt x="420" y="54"/>
                        </a:lnTo>
                        <a:lnTo>
                          <a:pt x="426" y="54"/>
                        </a:lnTo>
                        <a:lnTo>
                          <a:pt x="426" y="60"/>
                        </a:lnTo>
                        <a:lnTo>
                          <a:pt x="432" y="60"/>
                        </a:lnTo>
                        <a:lnTo>
                          <a:pt x="432" y="42"/>
                        </a:lnTo>
                        <a:lnTo>
                          <a:pt x="426" y="30"/>
                        </a:lnTo>
                        <a:lnTo>
                          <a:pt x="414" y="18"/>
                        </a:lnTo>
                        <a:lnTo>
                          <a:pt x="408" y="18"/>
                        </a:lnTo>
                        <a:lnTo>
                          <a:pt x="372" y="12"/>
                        </a:lnTo>
                        <a:lnTo>
                          <a:pt x="372" y="0"/>
                        </a:lnTo>
                        <a:lnTo>
                          <a:pt x="336" y="0"/>
                        </a:lnTo>
                        <a:lnTo>
                          <a:pt x="324" y="6"/>
                        </a:lnTo>
                        <a:lnTo>
                          <a:pt x="294" y="6"/>
                        </a:lnTo>
                        <a:lnTo>
                          <a:pt x="282" y="12"/>
                        </a:lnTo>
                        <a:lnTo>
                          <a:pt x="276" y="12"/>
                        </a:lnTo>
                        <a:lnTo>
                          <a:pt x="264" y="18"/>
                        </a:lnTo>
                        <a:lnTo>
                          <a:pt x="264" y="30"/>
                        </a:lnTo>
                        <a:lnTo>
                          <a:pt x="258" y="36"/>
                        </a:lnTo>
                        <a:lnTo>
                          <a:pt x="258" y="72"/>
                        </a:lnTo>
                        <a:lnTo>
                          <a:pt x="234" y="72"/>
                        </a:lnTo>
                        <a:lnTo>
                          <a:pt x="234" y="78"/>
                        </a:lnTo>
                        <a:lnTo>
                          <a:pt x="228" y="84"/>
                        </a:lnTo>
                        <a:lnTo>
                          <a:pt x="228" y="96"/>
                        </a:lnTo>
                        <a:lnTo>
                          <a:pt x="210" y="96"/>
                        </a:lnTo>
                        <a:lnTo>
                          <a:pt x="204" y="90"/>
                        </a:lnTo>
                        <a:lnTo>
                          <a:pt x="192" y="84"/>
                        </a:lnTo>
                        <a:lnTo>
                          <a:pt x="162" y="8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41" name="Ethiopia"/>
                  <p:cNvSpPr>
                    <a:spLocks/>
                  </p:cNvSpPr>
                  <p:nvPr/>
                </p:nvSpPr>
                <p:spPr bwMode="gray">
                  <a:xfrm>
                    <a:off x="3253" y="2003"/>
                    <a:ext cx="270" cy="236"/>
                  </a:xfrm>
                  <a:custGeom>
                    <a:avLst/>
                    <a:gdLst>
                      <a:gd name="T0" fmla="*/ 2147483647 w 1056"/>
                      <a:gd name="T1" fmla="*/ 2147483647 h 924"/>
                      <a:gd name="T2" fmla="*/ 2147483647 w 1056"/>
                      <a:gd name="T3" fmla="*/ 2147483647 h 924"/>
                      <a:gd name="T4" fmla="*/ 2147483647 w 1056"/>
                      <a:gd name="T5" fmla="*/ 2147483647 h 924"/>
                      <a:gd name="T6" fmla="*/ 2147483647 w 1056"/>
                      <a:gd name="T7" fmla="*/ 2147483647 h 924"/>
                      <a:gd name="T8" fmla="*/ 2147483647 w 1056"/>
                      <a:gd name="T9" fmla="*/ 2147483647 h 924"/>
                      <a:gd name="T10" fmla="*/ 2147483647 w 1056"/>
                      <a:gd name="T11" fmla="*/ 2147483647 h 924"/>
                      <a:gd name="T12" fmla="*/ 2147483647 w 1056"/>
                      <a:gd name="T13" fmla="*/ 2147483647 h 924"/>
                      <a:gd name="T14" fmla="*/ 2147483647 w 1056"/>
                      <a:gd name="T15" fmla="*/ 2147483647 h 924"/>
                      <a:gd name="T16" fmla="*/ 2147483647 w 1056"/>
                      <a:gd name="T17" fmla="*/ 2147483647 h 924"/>
                      <a:gd name="T18" fmla="*/ 2147483647 w 1056"/>
                      <a:gd name="T19" fmla="*/ 2147483647 h 924"/>
                      <a:gd name="T20" fmla="*/ 2147483647 w 1056"/>
                      <a:gd name="T21" fmla="*/ 2147483647 h 924"/>
                      <a:gd name="T22" fmla="*/ 2147483647 w 1056"/>
                      <a:gd name="T23" fmla="*/ 2147483647 h 924"/>
                      <a:gd name="T24" fmla="*/ 2147483647 w 1056"/>
                      <a:gd name="T25" fmla="*/ 2147483647 h 924"/>
                      <a:gd name="T26" fmla="*/ 2147483647 w 1056"/>
                      <a:gd name="T27" fmla="*/ 2147483647 h 924"/>
                      <a:gd name="T28" fmla="*/ 2147483647 w 1056"/>
                      <a:gd name="T29" fmla="*/ 2147483647 h 924"/>
                      <a:gd name="T30" fmla="*/ 2147483647 w 1056"/>
                      <a:gd name="T31" fmla="*/ 2147483647 h 924"/>
                      <a:gd name="T32" fmla="*/ 2147483647 w 1056"/>
                      <a:gd name="T33" fmla="*/ 2147483647 h 924"/>
                      <a:gd name="T34" fmla="*/ 2147483647 w 1056"/>
                      <a:gd name="T35" fmla="*/ 2147483647 h 924"/>
                      <a:gd name="T36" fmla="*/ 2147483647 w 1056"/>
                      <a:gd name="T37" fmla="*/ 2147483647 h 924"/>
                      <a:gd name="T38" fmla="*/ 2147483647 w 1056"/>
                      <a:gd name="T39" fmla="*/ 2147483647 h 924"/>
                      <a:gd name="T40" fmla="*/ 2147483647 w 1056"/>
                      <a:gd name="T41" fmla="*/ 2147483647 h 924"/>
                      <a:gd name="T42" fmla="*/ 2147483647 w 1056"/>
                      <a:gd name="T43" fmla="*/ 2147483647 h 924"/>
                      <a:gd name="T44" fmla="*/ 2147483647 w 1056"/>
                      <a:gd name="T45" fmla="*/ 2147483647 h 924"/>
                      <a:gd name="T46" fmla="*/ 2147483647 w 1056"/>
                      <a:gd name="T47" fmla="*/ 2147483647 h 924"/>
                      <a:gd name="T48" fmla="*/ 2147483647 w 1056"/>
                      <a:gd name="T49" fmla="*/ 2147483647 h 924"/>
                      <a:gd name="T50" fmla="*/ 2147483647 w 1056"/>
                      <a:gd name="T51" fmla="*/ 2147483647 h 924"/>
                      <a:gd name="T52" fmla="*/ 2147483647 w 1056"/>
                      <a:gd name="T53" fmla="*/ 2147483647 h 924"/>
                      <a:gd name="T54" fmla="*/ 2147483647 w 1056"/>
                      <a:gd name="T55" fmla="*/ 2147483647 h 924"/>
                      <a:gd name="T56" fmla="*/ 2147483647 w 1056"/>
                      <a:gd name="T57" fmla="*/ 2147483647 h 924"/>
                      <a:gd name="T58" fmla="*/ 2147483647 w 1056"/>
                      <a:gd name="T59" fmla="*/ 2147483647 h 924"/>
                      <a:gd name="T60" fmla="*/ 2147483647 w 1056"/>
                      <a:gd name="T61" fmla="*/ 2147483647 h 924"/>
                      <a:gd name="T62" fmla="*/ 2147483647 w 1056"/>
                      <a:gd name="T63" fmla="*/ 2147483647 h 924"/>
                      <a:gd name="T64" fmla="*/ 2147483647 w 1056"/>
                      <a:gd name="T65" fmla="*/ 2147483647 h 924"/>
                      <a:gd name="T66" fmla="*/ 2147483647 w 1056"/>
                      <a:gd name="T67" fmla="*/ 2147483647 h 924"/>
                      <a:gd name="T68" fmla="*/ 2147483647 w 1056"/>
                      <a:gd name="T69" fmla="*/ 2147483647 h 924"/>
                      <a:gd name="T70" fmla="*/ 2147483647 w 1056"/>
                      <a:gd name="T71" fmla="*/ 2147483647 h 924"/>
                      <a:gd name="T72" fmla="*/ 2147483647 w 1056"/>
                      <a:gd name="T73" fmla="*/ 0 h 924"/>
                      <a:gd name="T74" fmla="*/ 2147483647 w 1056"/>
                      <a:gd name="T75" fmla="*/ 2147483647 h 924"/>
                      <a:gd name="T76" fmla="*/ 2147483647 w 1056"/>
                      <a:gd name="T77" fmla="*/ 2147483647 h 924"/>
                      <a:gd name="T78" fmla="*/ 2147483647 w 1056"/>
                      <a:gd name="T79" fmla="*/ 2147483647 h 924"/>
                      <a:gd name="T80" fmla="*/ 2147483647 w 1056"/>
                      <a:gd name="T81" fmla="*/ 2147483647 h 924"/>
                      <a:gd name="T82" fmla="*/ 2147483647 w 1056"/>
                      <a:gd name="T83" fmla="*/ 2147483647 h 924"/>
                      <a:gd name="T84" fmla="*/ 2147483647 w 1056"/>
                      <a:gd name="T85" fmla="*/ 2147483647 h 924"/>
                      <a:gd name="T86" fmla="*/ 2147483647 w 1056"/>
                      <a:gd name="T87" fmla="*/ 2147483647 h 924"/>
                      <a:gd name="T88" fmla="*/ 2147483647 w 1056"/>
                      <a:gd name="T89" fmla="*/ 2147483647 h 924"/>
                      <a:gd name="T90" fmla="*/ 2147483647 w 1056"/>
                      <a:gd name="T91" fmla="*/ 2147483647 h 924"/>
                      <a:gd name="T92" fmla="*/ 2147483647 w 1056"/>
                      <a:gd name="T93" fmla="*/ 2147483647 h 924"/>
                      <a:gd name="T94" fmla="*/ 2147483647 w 1056"/>
                      <a:gd name="T95" fmla="*/ 2147483647 h 924"/>
                      <a:gd name="T96" fmla="*/ 2147483647 w 1056"/>
                      <a:gd name="T97" fmla="*/ 2147483647 h 924"/>
                      <a:gd name="T98" fmla="*/ 2147483647 w 1056"/>
                      <a:gd name="T99" fmla="*/ 2147483647 h 924"/>
                      <a:gd name="T100" fmla="*/ 2147483647 w 1056"/>
                      <a:gd name="T101" fmla="*/ 2147483647 h 924"/>
                      <a:gd name="T102" fmla="*/ 2147483647 w 1056"/>
                      <a:gd name="T103" fmla="*/ 2147483647 h 924"/>
                      <a:gd name="T104" fmla="*/ 2147483647 w 1056"/>
                      <a:gd name="T105" fmla="*/ 2147483647 h 924"/>
                      <a:gd name="T106" fmla="*/ 2147483647 w 1056"/>
                      <a:gd name="T107" fmla="*/ 2147483647 h 924"/>
                      <a:gd name="T108" fmla="*/ 2147483647 w 1056"/>
                      <a:gd name="T109" fmla="*/ 2147483647 h 924"/>
                      <a:gd name="T110" fmla="*/ 2147483647 w 1056"/>
                      <a:gd name="T111" fmla="*/ 2147483647 h 924"/>
                      <a:gd name="T112" fmla="*/ 2147483647 w 1056"/>
                      <a:gd name="T113" fmla="*/ 2147483647 h 924"/>
                      <a:gd name="T114" fmla="*/ 2147483647 w 1056"/>
                      <a:gd name="T115" fmla="*/ 2147483647 h 924"/>
                      <a:gd name="T116" fmla="*/ 2147483647 w 1056"/>
                      <a:gd name="T117" fmla="*/ 2147483647 h 9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056"/>
                      <a:gd name="T178" fmla="*/ 0 h 924"/>
                      <a:gd name="T179" fmla="*/ 1056 w 1056"/>
                      <a:gd name="T180" fmla="*/ 924 h 9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056" h="924">
                        <a:moveTo>
                          <a:pt x="84" y="642"/>
                        </a:moveTo>
                        <a:lnTo>
                          <a:pt x="108" y="642"/>
                        </a:lnTo>
                        <a:lnTo>
                          <a:pt x="114" y="666"/>
                        </a:lnTo>
                        <a:lnTo>
                          <a:pt x="126" y="666"/>
                        </a:lnTo>
                        <a:lnTo>
                          <a:pt x="126" y="702"/>
                        </a:lnTo>
                        <a:lnTo>
                          <a:pt x="138" y="708"/>
                        </a:lnTo>
                        <a:lnTo>
                          <a:pt x="138" y="726"/>
                        </a:lnTo>
                        <a:lnTo>
                          <a:pt x="156" y="762"/>
                        </a:lnTo>
                        <a:lnTo>
                          <a:pt x="168" y="768"/>
                        </a:lnTo>
                        <a:lnTo>
                          <a:pt x="186" y="768"/>
                        </a:lnTo>
                        <a:lnTo>
                          <a:pt x="192" y="774"/>
                        </a:lnTo>
                        <a:lnTo>
                          <a:pt x="198" y="786"/>
                        </a:lnTo>
                        <a:lnTo>
                          <a:pt x="198" y="804"/>
                        </a:lnTo>
                        <a:lnTo>
                          <a:pt x="210" y="840"/>
                        </a:lnTo>
                        <a:lnTo>
                          <a:pt x="282" y="846"/>
                        </a:lnTo>
                        <a:lnTo>
                          <a:pt x="360" y="906"/>
                        </a:lnTo>
                        <a:lnTo>
                          <a:pt x="390" y="906"/>
                        </a:lnTo>
                        <a:lnTo>
                          <a:pt x="402" y="912"/>
                        </a:lnTo>
                        <a:lnTo>
                          <a:pt x="432" y="912"/>
                        </a:lnTo>
                        <a:lnTo>
                          <a:pt x="444" y="918"/>
                        </a:lnTo>
                        <a:lnTo>
                          <a:pt x="450" y="918"/>
                        </a:lnTo>
                        <a:lnTo>
                          <a:pt x="462" y="924"/>
                        </a:lnTo>
                        <a:lnTo>
                          <a:pt x="486" y="906"/>
                        </a:lnTo>
                        <a:lnTo>
                          <a:pt x="486" y="894"/>
                        </a:lnTo>
                        <a:lnTo>
                          <a:pt x="498" y="882"/>
                        </a:lnTo>
                        <a:lnTo>
                          <a:pt x="510" y="882"/>
                        </a:lnTo>
                        <a:lnTo>
                          <a:pt x="522" y="876"/>
                        </a:lnTo>
                        <a:lnTo>
                          <a:pt x="528" y="870"/>
                        </a:lnTo>
                        <a:lnTo>
                          <a:pt x="534" y="870"/>
                        </a:lnTo>
                        <a:lnTo>
                          <a:pt x="552" y="852"/>
                        </a:lnTo>
                        <a:lnTo>
                          <a:pt x="576" y="882"/>
                        </a:lnTo>
                        <a:lnTo>
                          <a:pt x="606" y="882"/>
                        </a:lnTo>
                        <a:lnTo>
                          <a:pt x="612" y="876"/>
                        </a:lnTo>
                        <a:lnTo>
                          <a:pt x="636" y="882"/>
                        </a:lnTo>
                        <a:lnTo>
                          <a:pt x="636" y="876"/>
                        </a:lnTo>
                        <a:lnTo>
                          <a:pt x="648" y="864"/>
                        </a:lnTo>
                        <a:lnTo>
                          <a:pt x="660" y="864"/>
                        </a:lnTo>
                        <a:lnTo>
                          <a:pt x="672" y="858"/>
                        </a:lnTo>
                        <a:lnTo>
                          <a:pt x="696" y="858"/>
                        </a:lnTo>
                        <a:lnTo>
                          <a:pt x="714" y="840"/>
                        </a:lnTo>
                        <a:lnTo>
                          <a:pt x="714" y="828"/>
                        </a:lnTo>
                        <a:lnTo>
                          <a:pt x="726" y="822"/>
                        </a:lnTo>
                        <a:lnTo>
                          <a:pt x="732" y="816"/>
                        </a:lnTo>
                        <a:lnTo>
                          <a:pt x="744" y="810"/>
                        </a:lnTo>
                        <a:lnTo>
                          <a:pt x="756" y="810"/>
                        </a:lnTo>
                        <a:lnTo>
                          <a:pt x="762" y="804"/>
                        </a:lnTo>
                        <a:lnTo>
                          <a:pt x="846" y="804"/>
                        </a:lnTo>
                        <a:lnTo>
                          <a:pt x="1056" y="558"/>
                        </a:lnTo>
                        <a:lnTo>
                          <a:pt x="984" y="564"/>
                        </a:lnTo>
                        <a:lnTo>
                          <a:pt x="948" y="546"/>
                        </a:lnTo>
                        <a:lnTo>
                          <a:pt x="936" y="534"/>
                        </a:lnTo>
                        <a:lnTo>
                          <a:pt x="918" y="528"/>
                        </a:lnTo>
                        <a:lnTo>
                          <a:pt x="906" y="522"/>
                        </a:lnTo>
                        <a:lnTo>
                          <a:pt x="882" y="516"/>
                        </a:lnTo>
                        <a:lnTo>
                          <a:pt x="810" y="492"/>
                        </a:lnTo>
                        <a:lnTo>
                          <a:pt x="774" y="474"/>
                        </a:lnTo>
                        <a:lnTo>
                          <a:pt x="768" y="462"/>
                        </a:lnTo>
                        <a:lnTo>
                          <a:pt x="762" y="456"/>
                        </a:lnTo>
                        <a:lnTo>
                          <a:pt x="756" y="444"/>
                        </a:lnTo>
                        <a:lnTo>
                          <a:pt x="732" y="444"/>
                        </a:lnTo>
                        <a:lnTo>
                          <a:pt x="732" y="438"/>
                        </a:lnTo>
                        <a:lnTo>
                          <a:pt x="726" y="432"/>
                        </a:lnTo>
                        <a:lnTo>
                          <a:pt x="714" y="408"/>
                        </a:lnTo>
                        <a:lnTo>
                          <a:pt x="708" y="402"/>
                        </a:lnTo>
                        <a:lnTo>
                          <a:pt x="702" y="390"/>
                        </a:lnTo>
                        <a:lnTo>
                          <a:pt x="696" y="384"/>
                        </a:lnTo>
                        <a:lnTo>
                          <a:pt x="690" y="372"/>
                        </a:lnTo>
                        <a:lnTo>
                          <a:pt x="690" y="360"/>
                        </a:lnTo>
                        <a:lnTo>
                          <a:pt x="678" y="348"/>
                        </a:lnTo>
                        <a:lnTo>
                          <a:pt x="696" y="318"/>
                        </a:lnTo>
                        <a:lnTo>
                          <a:pt x="690" y="312"/>
                        </a:lnTo>
                        <a:lnTo>
                          <a:pt x="678" y="306"/>
                        </a:lnTo>
                        <a:lnTo>
                          <a:pt x="666" y="306"/>
                        </a:lnTo>
                        <a:lnTo>
                          <a:pt x="660" y="312"/>
                        </a:lnTo>
                        <a:lnTo>
                          <a:pt x="654" y="312"/>
                        </a:lnTo>
                        <a:lnTo>
                          <a:pt x="648" y="318"/>
                        </a:lnTo>
                        <a:lnTo>
                          <a:pt x="624" y="318"/>
                        </a:lnTo>
                        <a:lnTo>
                          <a:pt x="612" y="306"/>
                        </a:lnTo>
                        <a:lnTo>
                          <a:pt x="612" y="294"/>
                        </a:lnTo>
                        <a:lnTo>
                          <a:pt x="606" y="276"/>
                        </a:lnTo>
                        <a:lnTo>
                          <a:pt x="606" y="264"/>
                        </a:lnTo>
                        <a:lnTo>
                          <a:pt x="624" y="246"/>
                        </a:lnTo>
                        <a:lnTo>
                          <a:pt x="654" y="192"/>
                        </a:lnTo>
                        <a:lnTo>
                          <a:pt x="642" y="174"/>
                        </a:lnTo>
                        <a:lnTo>
                          <a:pt x="630" y="174"/>
                        </a:lnTo>
                        <a:lnTo>
                          <a:pt x="618" y="168"/>
                        </a:lnTo>
                        <a:lnTo>
                          <a:pt x="612" y="162"/>
                        </a:lnTo>
                        <a:lnTo>
                          <a:pt x="612" y="138"/>
                        </a:lnTo>
                        <a:lnTo>
                          <a:pt x="600" y="126"/>
                        </a:lnTo>
                        <a:lnTo>
                          <a:pt x="576" y="114"/>
                        </a:lnTo>
                        <a:lnTo>
                          <a:pt x="570" y="108"/>
                        </a:lnTo>
                        <a:lnTo>
                          <a:pt x="546" y="72"/>
                        </a:lnTo>
                        <a:lnTo>
                          <a:pt x="534" y="66"/>
                        </a:lnTo>
                        <a:lnTo>
                          <a:pt x="528" y="60"/>
                        </a:lnTo>
                        <a:lnTo>
                          <a:pt x="516" y="60"/>
                        </a:lnTo>
                        <a:lnTo>
                          <a:pt x="498" y="36"/>
                        </a:lnTo>
                        <a:lnTo>
                          <a:pt x="468" y="36"/>
                        </a:lnTo>
                        <a:lnTo>
                          <a:pt x="462" y="30"/>
                        </a:lnTo>
                        <a:lnTo>
                          <a:pt x="444" y="30"/>
                        </a:lnTo>
                        <a:lnTo>
                          <a:pt x="432" y="36"/>
                        </a:lnTo>
                        <a:lnTo>
                          <a:pt x="420" y="36"/>
                        </a:lnTo>
                        <a:lnTo>
                          <a:pt x="420" y="24"/>
                        </a:lnTo>
                        <a:lnTo>
                          <a:pt x="414" y="18"/>
                        </a:lnTo>
                        <a:lnTo>
                          <a:pt x="408" y="24"/>
                        </a:lnTo>
                        <a:lnTo>
                          <a:pt x="402" y="36"/>
                        </a:lnTo>
                        <a:lnTo>
                          <a:pt x="372" y="36"/>
                        </a:lnTo>
                        <a:lnTo>
                          <a:pt x="366" y="24"/>
                        </a:lnTo>
                        <a:lnTo>
                          <a:pt x="360" y="18"/>
                        </a:lnTo>
                        <a:lnTo>
                          <a:pt x="354" y="18"/>
                        </a:lnTo>
                        <a:lnTo>
                          <a:pt x="342" y="6"/>
                        </a:lnTo>
                        <a:lnTo>
                          <a:pt x="330" y="0"/>
                        </a:lnTo>
                        <a:lnTo>
                          <a:pt x="330" y="12"/>
                        </a:lnTo>
                        <a:lnTo>
                          <a:pt x="324" y="24"/>
                        </a:lnTo>
                        <a:lnTo>
                          <a:pt x="318" y="42"/>
                        </a:lnTo>
                        <a:lnTo>
                          <a:pt x="318" y="54"/>
                        </a:lnTo>
                        <a:lnTo>
                          <a:pt x="306" y="66"/>
                        </a:lnTo>
                        <a:lnTo>
                          <a:pt x="288" y="48"/>
                        </a:lnTo>
                        <a:lnTo>
                          <a:pt x="288" y="42"/>
                        </a:lnTo>
                        <a:lnTo>
                          <a:pt x="282" y="36"/>
                        </a:lnTo>
                        <a:lnTo>
                          <a:pt x="276" y="36"/>
                        </a:lnTo>
                        <a:lnTo>
                          <a:pt x="276" y="42"/>
                        </a:lnTo>
                        <a:lnTo>
                          <a:pt x="270" y="48"/>
                        </a:lnTo>
                        <a:lnTo>
                          <a:pt x="234" y="48"/>
                        </a:lnTo>
                        <a:lnTo>
                          <a:pt x="234" y="90"/>
                        </a:lnTo>
                        <a:lnTo>
                          <a:pt x="228" y="96"/>
                        </a:lnTo>
                        <a:lnTo>
                          <a:pt x="222" y="108"/>
                        </a:lnTo>
                        <a:lnTo>
                          <a:pt x="216" y="114"/>
                        </a:lnTo>
                        <a:lnTo>
                          <a:pt x="210" y="126"/>
                        </a:lnTo>
                        <a:lnTo>
                          <a:pt x="210" y="174"/>
                        </a:lnTo>
                        <a:lnTo>
                          <a:pt x="180" y="174"/>
                        </a:lnTo>
                        <a:lnTo>
                          <a:pt x="174" y="180"/>
                        </a:lnTo>
                        <a:lnTo>
                          <a:pt x="168" y="192"/>
                        </a:lnTo>
                        <a:lnTo>
                          <a:pt x="162" y="198"/>
                        </a:lnTo>
                        <a:lnTo>
                          <a:pt x="162" y="234"/>
                        </a:lnTo>
                        <a:lnTo>
                          <a:pt x="156" y="240"/>
                        </a:lnTo>
                        <a:lnTo>
                          <a:pt x="144" y="240"/>
                        </a:lnTo>
                        <a:lnTo>
                          <a:pt x="138" y="246"/>
                        </a:lnTo>
                        <a:lnTo>
                          <a:pt x="138" y="270"/>
                        </a:lnTo>
                        <a:lnTo>
                          <a:pt x="126" y="288"/>
                        </a:lnTo>
                        <a:lnTo>
                          <a:pt x="126" y="294"/>
                        </a:lnTo>
                        <a:lnTo>
                          <a:pt x="132" y="300"/>
                        </a:lnTo>
                        <a:lnTo>
                          <a:pt x="132" y="336"/>
                        </a:lnTo>
                        <a:lnTo>
                          <a:pt x="126" y="342"/>
                        </a:lnTo>
                        <a:lnTo>
                          <a:pt x="114" y="342"/>
                        </a:lnTo>
                        <a:lnTo>
                          <a:pt x="108" y="336"/>
                        </a:lnTo>
                        <a:lnTo>
                          <a:pt x="108" y="324"/>
                        </a:lnTo>
                        <a:lnTo>
                          <a:pt x="102" y="324"/>
                        </a:lnTo>
                        <a:lnTo>
                          <a:pt x="84" y="342"/>
                        </a:lnTo>
                        <a:lnTo>
                          <a:pt x="84" y="360"/>
                        </a:lnTo>
                        <a:lnTo>
                          <a:pt x="90" y="372"/>
                        </a:lnTo>
                        <a:lnTo>
                          <a:pt x="90" y="390"/>
                        </a:lnTo>
                        <a:lnTo>
                          <a:pt x="84" y="396"/>
                        </a:lnTo>
                        <a:lnTo>
                          <a:pt x="72" y="402"/>
                        </a:lnTo>
                        <a:lnTo>
                          <a:pt x="66" y="414"/>
                        </a:lnTo>
                        <a:lnTo>
                          <a:pt x="66" y="426"/>
                        </a:lnTo>
                        <a:lnTo>
                          <a:pt x="72" y="438"/>
                        </a:lnTo>
                        <a:lnTo>
                          <a:pt x="72" y="450"/>
                        </a:lnTo>
                        <a:lnTo>
                          <a:pt x="78" y="456"/>
                        </a:lnTo>
                        <a:lnTo>
                          <a:pt x="78" y="492"/>
                        </a:lnTo>
                        <a:lnTo>
                          <a:pt x="72" y="504"/>
                        </a:lnTo>
                        <a:lnTo>
                          <a:pt x="72" y="516"/>
                        </a:lnTo>
                        <a:lnTo>
                          <a:pt x="66" y="522"/>
                        </a:lnTo>
                        <a:lnTo>
                          <a:pt x="54" y="522"/>
                        </a:lnTo>
                        <a:lnTo>
                          <a:pt x="48" y="528"/>
                        </a:lnTo>
                        <a:lnTo>
                          <a:pt x="42" y="522"/>
                        </a:lnTo>
                        <a:lnTo>
                          <a:pt x="6" y="522"/>
                        </a:lnTo>
                        <a:lnTo>
                          <a:pt x="12" y="546"/>
                        </a:lnTo>
                        <a:lnTo>
                          <a:pt x="6" y="552"/>
                        </a:lnTo>
                        <a:lnTo>
                          <a:pt x="0" y="564"/>
                        </a:lnTo>
                        <a:lnTo>
                          <a:pt x="0" y="576"/>
                        </a:lnTo>
                        <a:lnTo>
                          <a:pt x="6" y="576"/>
                        </a:lnTo>
                        <a:lnTo>
                          <a:pt x="18" y="582"/>
                        </a:lnTo>
                        <a:lnTo>
                          <a:pt x="42" y="582"/>
                        </a:lnTo>
                        <a:lnTo>
                          <a:pt x="48" y="588"/>
                        </a:lnTo>
                        <a:lnTo>
                          <a:pt x="60" y="594"/>
                        </a:lnTo>
                        <a:lnTo>
                          <a:pt x="66" y="606"/>
                        </a:lnTo>
                        <a:lnTo>
                          <a:pt x="78" y="612"/>
                        </a:lnTo>
                        <a:lnTo>
                          <a:pt x="78" y="630"/>
                        </a:lnTo>
                        <a:lnTo>
                          <a:pt x="84" y="6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42" name="Estonia"/>
                  <p:cNvSpPr>
                    <a:spLocks noEditPoints="1"/>
                  </p:cNvSpPr>
                  <p:nvPr/>
                </p:nvSpPr>
                <p:spPr bwMode="gray">
                  <a:xfrm>
                    <a:off x="3009" y="1096"/>
                    <a:ext cx="89" cy="40"/>
                  </a:xfrm>
                  <a:custGeom>
                    <a:avLst/>
                    <a:gdLst>
                      <a:gd name="T0" fmla="*/ 2147483647 w 348"/>
                      <a:gd name="T1" fmla="*/ 2147483647 h 156"/>
                      <a:gd name="T2" fmla="*/ 2147483647 w 348"/>
                      <a:gd name="T3" fmla="*/ 2147483647 h 156"/>
                      <a:gd name="T4" fmla="*/ 2147483647 w 348"/>
                      <a:gd name="T5" fmla="*/ 2147483647 h 156"/>
                      <a:gd name="T6" fmla="*/ 2147483647 w 348"/>
                      <a:gd name="T7" fmla="*/ 2147483647 h 156"/>
                      <a:gd name="T8" fmla="*/ 2147483647 w 348"/>
                      <a:gd name="T9" fmla="*/ 2147483647 h 156"/>
                      <a:gd name="T10" fmla="*/ 2147483647 w 348"/>
                      <a:gd name="T11" fmla="*/ 2147483647 h 156"/>
                      <a:gd name="T12" fmla="*/ 2147483647 w 348"/>
                      <a:gd name="T13" fmla="*/ 2147483647 h 156"/>
                      <a:gd name="T14" fmla="*/ 2147483647 w 348"/>
                      <a:gd name="T15" fmla="*/ 0 h 156"/>
                      <a:gd name="T16" fmla="*/ 2147483647 w 348"/>
                      <a:gd name="T17" fmla="*/ 2147483647 h 156"/>
                      <a:gd name="T18" fmla="*/ 2147483647 w 348"/>
                      <a:gd name="T19" fmla="*/ 2147483647 h 156"/>
                      <a:gd name="T20" fmla="*/ 2147483647 w 348"/>
                      <a:gd name="T21" fmla="*/ 2147483647 h 156"/>
                      <a:gd name="T22" fmla="*/ 2147483647 w 348"/>
                      <a:gd name="T23" fmla="*/ 2147483647 h 156"/>
                      <a:gd name="T24" fmla="*/ 2147483647 w 348"/>
                      <a:gd name="T25" fmla="*/ 2147483647 h 156"/>
                      <a:gd name="T26" fmla="*/ 2147483647 w 348"/>
                      <a:gd name="T27" fmla="*/ 2147483647 h 156"/>
                      <a:gd name="T28" fmla="*/ 2147483647 w 348"/>
                      <a:gd name="T29" fmla="*/ 2147483647 h 156"/>
                      <a:gd name="T30" fmla="*/ 2147483647 w 348"/>
                      <a:gd name="T31" fmla="*/ 2147483647 h 156"/>
                      <a:gd name="T32" fmla="*/ 2147483647 w 348"/>
                      <a:gd name="T33" fmla="*/ 2147483647 h 156"/>
                      <a:gd name="T34" fmla="*/ 2147483647 w 348"/>
                      <a:gd name="T35" fmla="*/ 2147483647 h 156"/>
                      <a:gd name="T36" fmla="*/ 2147483647 w 348"/>
                      <a:gd name="T37" fmla="*/ 2147483647 h 156"/>
                      <a:gd name="T38" fmla="*/ 2147483647 w 348"/>
                      <a:gd name="T39" fmla="*/ 2147483647 h 156"/>
                      <a:gd name="T40" fmla="*/ 2147483647 w 348"/>
                      <a:gd name="T41" fmla="*/ 2147483647 h 156"/>
                      <a:gd name="T42" fmla="*/ 2147483647 w 348"/>
                      <a:gd name="T43" fmla="*/ 2147483647 h 156"/>
                      <a:gd name="T44" fmla="*/ 2147483647 w 348"/>
                      <a:gd name="T45" fmla="*/ 2147483647 h 156"/>
                      <a:gd name="T46" fmla="*/ 2147483647 w 348"/>
                      <a:gd name="T47" fmla="*/ 2147483647 h 156"/>
                      <a:gd name="T48" fmla="*/ 0 w 348"/>
                      <a:gd name="T49" fmla="*/ 2147483647 h 156"/>
                      <a:gd name="T50" fmla="*/ 2147483647 w 348"/>
                      <a:gd name="T51" fmla="*/ 2147483647 h 156"/>
                      <a:gd name="T52" fmla="*/ 2147483647 w 348"/>
                      <a:gd name="T53" fmla="*/ 2147483647 h 156"/>
                      <a:gd name="T54" fmla="*/ 2147483647 w 348"/>
                      <a:gd name="T55" fmla="*/ 2147483647 h 156"/>
                      <a:gd name="T56" fmla="*/ 2147483647 w 348"/>
                      <a:gd name="T57" fmla="*/ 2147483647 h 156"/>
                      <a:gd name="T58" fmla="*/ 2147483647 w 348"/>
                      <a:gd name="T59" fmla="*/ 2147483647 h 156"/>
                      <a:gd name="T60" fmla="*/ 2147483647 w 348"/>
                      <a:gd name="T61" fmla="*/ 2147483647 h 156"/>
                      <a:gd name="T62" fmla="*/ 2147483647 w 348"/>
                      <a:gd name="T63" fmla="*/ 2147483647 h 156"/>
                      <a:gd name="T64" fmla="*/ 2147483647 w 348"/>
                      <a:gd name="T65" fmla="*/ 2147483647 h 156"/>
                      <a:gd name="T66" fmla="*/ 2147483647 w 348"/>
                      <a:gd name="T67" fmla="*/ 2147483647 h 156"/>
                      <a:gd name="T68" fmla="*/ 2147483647 w 348"/>
                      <a:gd name="T69" fmla="*/ 2147483647 h 156"/>
                      <a:gd name="T70" fmla="*/ 2147483647 w 348"/>
                      <a:gd name="T71" fmla="*/ 2147483647 h 15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48"/>
                      <a:gd name="T109" fmla="*/ 0 h 156"/>
                      <a:gd name="T110" fmla="*/ 348 w 348"/>
                      <a:gd name="T111" fmla="*/ 156 h 15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48" h="156">
                        <a:moveTo>
                          <a:pt x="336" y="114"/>
                        </a:moveTo>
                        <a:lnTo>
                          <a:pt x="324" y="108"/>
                        </a:lnTo>
                        <a:lnTo>
                          <a:pt x="336" y="84"/>
                        </a:lnTo>
                        <a:lnTo>
                          <a:pt x="318" y="78"/>
                        </a:lnTo>
                        <a:lnTo>
                          <a:pt x="318" y="60"/>
                        </a:lnTo>
                        <a:lnTo>
                          <a:pt x="330" y="48"/>
                        </a:lnTo>
                        <a:lnTo>
                          <a:pt x="336" y="48"/>
                        </a:lnTo>
                        <a:lnTo>
                          <a:pt x="342" y="42"/>
                        </a:lnTo>
                        <a:lnTo>
                          <a:pt x="336" y="30"/>
                        </a:lnTo>
                        <a:lnTo>
                          <a:pt x="342" y="18"/>
                        </a:lnTo>
                        <a:lnTo>
                          <a:pt x="330" y="12"/>
                        </a:lnTo>
                        <a:lnTo>
                          <a:pt x="312" y="12"/>
                        </a:lnTo>
                        <a:lnTo>
                          <a:pt x="294" y="6"/>
                        </a:lnTo>
                        <a:lnTo>
                          <a:pt x="276" y="6"/>
                        </a:lnTo>
                        <a:lnTo>
                          <a:pt x="264" y="0"/>
                        </a:lnTo>
                        <a:lnTo>
                          <a:pt x="204" y="0"/>
                        </a:lnTo>
                        <a:lnTo>
                          <a:pt x="192" y="6"/>
                        </a:lnTo>
                        <a:lnTo>
                          <a:pt x="156" y="6"/>
                        </a:lnTo>
                        <a:lnTo>
                          <a:pt x="150" y="12"/>
                        </a:lnTo>
                        <a:lnTo>
                          <a:pt x="126" y="24"/>
                        </a:lnTo>
                        <a:lnTo>
                          <a:pt x="108" y="30"/>
                        </a:lnTo>
                        <a:lnTo>
                          <a:pt x="96" y="36"/>
                        </a:lnTo>
                        <a:lnTo>
                          <a:pt x="90" y="36"/>
                        </a:lnTo>
                        <a:lnTo>
                          <a:pt x="84" y="42"/>
                        </a:lnTo>
                        <a:lnTo>
                          <a:pt x="84" y="48"/>
                        </a:lnTo>
                        <a:lnTo>
                          <a:pt x="90" y="60"/>
                        </a:lnTo>
                        <a:lnTo>
                          <a:pt x="90" y="72"/>
                        </a:lnTo>
                        <a:lnTo>
                          <a:pt x="96" y="78"/>
                        </a:lnTo>
                        <a:lnTo>
                          <a:pt x="96" y="84"/>
                        </a:lnTo>
                        <a:lnTo>
                          <a:pt x="150" y="90"/>
                        </a:lnTo>
                        <a:lnTo>
                          <a:pt x="138" y="126"/>
                        </a:lnTo>
                        <a:lnTo>
                          <a:pt x="150" y="126"/>
                        </a:lnTo>
                        <a:lnTo>
                          <a:pt x="180" y="114"/>
                        </a:lnTo>
                        <a:lnTo>
                          <a:pt x="210" y="114"/>
                        </a:lnTo>
                        <a:lnTo>
                          <a:pt x="234" y="126"/>
                        </a:lnTo>
                        <a:lnTo>
                          <a:pt x="240" y="132"/>
                        </a:lnTo>
                        <a:lnTo>
                          <a:pt x="252" y="138"/>
                        </a:lnTo>
                        <a:lnTo>
                          <a:pt x="270" y="156"/>
                        </a:lnTo>
                        <a:lnTo>
                          <a:pt x="288" y="156"/>
                        </a:lnTo>
                        <a:lnTo>
                          <a:pt x="294" y="150"/>
                        </a:lnTo>
                        <a:lnTo>
                          <a:pt x="312" y="150"/>
                        </a:lnTo>
                        <a:lnTo>
                          <a:pt x="318" y="156"/>
                        </a:lnTo>
                        <a:lnTo>
                          <a:pt x="330" y="156"/>
                        </a:lnTo>
                        <a:lnTo>
                          <a:pt x="330" y="144"/>
                        </a:lnTo>
                        <a:lnTo>
                          <a:pt x="348" y="132"/>
                        </a:lnTo>
                        <a:lnTo>
                          <a:pt x="336" y="114"/>
                        </a:lnTo>
                        <a:close/>
                        <a:moveTo>
                          <a:pt x="36" y="78"/>
                        </a:moveTo>
                        <a:lnTo>
                          <a:pt x="6" y="78"/>
                        </a:lnTo>
                        <a:lnTo>
                          <a:pt x="0" y="84"/>
                        </a:lnTo>
                        <a:lnTo>
                          <a:pt x="0" y="102"/>
                        </a:lnTo>
                        <a:lnTo>
                          <a:pt x="6" y="108"/>
                        </a:lnTo>
                        <a:lnTo>
                          <a:pt x="18" y="132"/>
                        </a:lnTo>
                        <a:lnTo>
                          <a:pt x="24" y="126"/>
                        </a:lnTo>
                        <a:lnTo>
                          <a:pt x="30" y="114"/>
                        </a:lnTo>
                        <a:lnTo>
                          <a:pt x="42" y="108"/>
                        </a:lnTo>
                        <a:lnTo>
                          <a:pt x="54" y="108"/>
                        </a:lnTo>
                        <a:lnTo>
                          <a:pt x="60" y="102"/>
                        </a:lnTo>
                        <a:lnTo>
                          <a:pt x="72" y="96"/>
                        </a:lnTo>
                        <a:lnTo>
                          <a:pt x="78" y="90"/>
                        </a:lnTo>
                        <a:lnTo>
                          <a:pt x="72" y="72"/>
                        </a:lnTo>
                        <a:lnTo>
                          <a:pt x="36" y="78"/>
                        </a:lnTo>
                        <a:close/>
                        <a:moveTo>
                          <a:pt x="36" y="66"/>
                        </a:moveTo>
                        <a:lnTo>
                          <a:pt x="48" y="66"/>
                        </a:lnTo>
                        <a:lnTo>
                          <a:pt x="54" y="54"/>
                        </a:lnTo>
                        <a:lnTo>
                          <a:pt x="60" y="48"/>
                        </a:lnTo>
                        <a:lnTo>
                          <a:pt x="60" y="42"/>
                        </a:lnTo>
                        <a:lnTo>
                          <a:pt x="54" y="36"/>
                        </a:lnTo>
                        <a:lnTo>
                          <a:pt x="48" y="36"/>
                        </a:lnTo>
                        <a:lnTo>
                          <a:pt x="36" y="42"/>
                        </a:lnTo>
                        <a:lnTo>
                          <a:pt x="30" y="48"/>
                        </a:lnTo>
                        <a:lnTo>
                          <a:pt x="24" y="60"/>
                        </a:lnTo>
                        <a:lnTo>
                          <a:pt x="30" y="66"/>
                        </a:lnTo>
                        <a:lnTo>
                          <a:pt x="36" y="6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43" name="Eritrea"/>
                  <p:cNvSpPr>
                    <a:spLocks/>
                  </p:cNvSpPr>
                  <p:nvPr/>
                </p:nvSpPr>
                <p:spPr bwMode="gray">
                  <a:xfrm>
                    <a:off x="3310" y="1938"/>
                    <a:ext cx="123" cy="117"/>
                  </a:xfrm>
                  <a:custGeom>
                    <a:avLst/>
                    <a:gdLst>
                      <a:gd name="T0" fmla="*/ 2147483647 w 480"/>
                      <a:gd name="T1" fmla="*/ 2147483647 h 456"/>
                      <a:gd name="T2" fmla="*/ 2147483647 w 480"/>
                      <a:gd name="T3" fmla="*/ 2147483647 h 456"/>
                      <a:gd name="T4" fmla="*/ 2147483647 w 480"/>
                      <a:gd name="T5" fmla="*/ 2147483647 h 456"/>
                      <a:gd name="T6" fmla="*/ 2147483647 w 480"/>
                      <a:gd name="T7" fmla="*/ 2147483647 h 456"/>
                      <a:gd name="T8" fmla="*/ 2147483647 w 480"/>
                      <a:gd name="T9" fmla="*/ 2147483647 h 456"/>
                      <a:gd name="T10" fmla="*/ 2147483647 w 480"/>
                      <a:gd name="T11" fmla="*/ 2147483647 h 456"/>
                      <a:gd name="T12" fmla="*/ 2147483647 w 480"/>
                      <a:gd name="T13" fmla="*/ 2147483647 h 456"/>
                      <a:gd name="T14" fmla="*/ 2147483647 w 480"/>
                      <a:gd name="T15" fmla="*/ 2147483647 h 456"/>
                      <a:gd name="T16" fmla="*/ 0 w 480"/>
                      <a:gd name="T17" fmla="*/ 2147483647 h 456"/>
                      <a:gd name="T18" fmla="*/ 2147483647 w 480"/>
                      <a:gd name="T19" fmla="*/ 2147483647 h 456"/>
                      <a:gd name="T20" fmla="*/ 2147483647 w 480"/>
                      <a:gd name="T21" fmla="*/ 2147483647 h 456"/>
                      <a:gd name="T22" fmla="*/ 2147483647 w 480"/>
                      <a:gd name="T23" fmla="*/ 2147483647 h 456"/>
                      <a:gd name="T24" fmla="*/ 2147483647 w 480"/>
                      <a:gd name="T25" fmla="*/ 2147483647 h 456"/>
                      <a:gd name="T26" fmla="*/ 2147483647 w 480"/>
                      <a:gd name="T27" fmla="*/ 2147483647 h 456"/>
                      <a:gd name="T28" fmla="*/ 2147483647 w 480"/>
                      <a:gd name="T29" fmla="*/ 2147483647 h 456"/>
                      <a:gd name="T30" fmla="*/ 2147483647 w 480"/>
                      <a:gd name="T31" fmla="*/ 2147483647 h 456"/>
                      <a:gd name="T32" fmla="*/ 2147483647 w 480"/>
                      <a:gd name="T33" fmla="*/ 2147483647 h 456"/>
                      <a:gd name="T34" fmla="*/ 2147483647 w 480"/>
                      <a:gd name="T35" fmla="*/ 2147483647 h 456"/>
                      <a:gd name="T36" fmla="*/ 2147483647 w 480"/>
                      <a:gd name="T37" fmla="*/ 2147483647 h 456"/>
                      <a:gd name="T38" fmla="*/ 2147483647 w 480"/>
                      <a:gd name="T39" fmla="*/ 2147483647 h 456"/>
                      <a:gd name="T40" fmla="*/ 2147483647 w 480"/>
                      <a:gd name="T41" fmla="*/ 2147483647 h 456"/>
                      <a:gd name="T42" fmla="*/ 2147483647 w 480"/>
                      <a:gd name="T43" fmla="*/ 2147483647 h 456"/>
                      <a:gd name="T44" fmla="*/ 2147483647 w 480"/>
                      <a:gd name="T45" fmla="*/ 2147483647 h 456"/>
                      <a:gd name="T46" fmla="*/ 2147483647 w 480"/>
                      <a:gd name="T47" fmla="*/ 2147483647 h 456"/>
                      <a:gd name="T48" fmla="*/ 2147483647 w 480"/>
                      <a:gd name="T49" fmla="*/ 2147483647 h 456"/>
                      <a:gd name="T50" fmla="*/ 2147483647 w 480"/>
                      <a:gd name="T51" fmla="*/ 2147483647 h 456"/>
                      <a:gd name="T52" fmla="*/ 2147483647 w 480"/>
                      <a:gd name="T53" fmla="*/ 2147483647 h 456"/>
                      <a:gd name="T54" fmla="*/ 2147483647 w 480"/>
                      <a:gd name="T55" fmla="*/ 2147483647 h 456"/>
                      <a:gd name="T56" fmla="*/ 2147483647 w 480"/>
                      <a:gd name="T57" fmla="*/ 2147483647 h 456"/>
                      <a:gd name="T58" fmla="*/ 2147483647 w 480"/>
                      <a:gd name="T59" fmla="*/ 2147483647 h 456"/>
                      <a:gd name="T60" fmla="*/ 2147483647 w 480"/>
                      <a:gd name="T61" fmla="*/ 2147483647 h 456"/>
                      <a:gd name="T62" fmla="*/ 2147483647 w 480"/>
                      <a:gd name="T63" fmla="*/ 2147483647 h 456"/>
                      <a:gd name="T64" fmla="*/ 2147483647 w 480"/>
                      <a:gd name="T65" fmla="*/ 2147483647 h 456"/>
                      <a:gd name="T66" fmla="*/ 2147483647 w 480"/>
                      <a:gd name="T67" fmla="*/ 2147483647 h 456"/>
                      <a:gd name="T68" fmla="*/ 2147483647 w 480"/>
                      <a:gd name="T69" fmla="*/ 2147483647 h 456"/>
                      <a:gd name="T70" fmla="*/ 2147483647 w 480"/>
                      <a:gd name="T71" fmla="*/ 2147483647 h 456"/>
                      <a:gd name="T72" fmla="*/ 2147483647 w 480"/>
                      <a:gd name="T73" fmla="*/ 2147483647 h 456"/>
                      <a:gd name="T74" fmla="*/ 2147483647 w 480"/>
                      <a:gd name="T75" fmla="*/ 2147483647 h 456"/>
                      <a:gd name="T76" fmla="*/ 2147483647 w 480"/>
                      <a:gd name="T77" fmla="*/ 2147483647 h 456"/>
                      <a:gd name="T78" fmla="*/ 2147483647 w 480"/>
                      <a:gd name="T79" fmla="*/ 2147483647 h 456"/>
                      <a:gd name="T80" fmla="*/ 2147483647 w 480"/>
                      <a:gd name="T81" fmla="*/ 2147483647 h 456"/>
                      <a:gd name="T82" fmla="*/ 2147483647 w 480"/>
                      <a:gd name="T83" fmla="*/ 2147483647 h 456"/>
                      <a:gd name="T84" fmla="*/ 2147483647 w 480"/>
                      <a:gd name="T85" fmla="*/ 2147483647 h 456"/>
                      <a:gd name="T86" fmla="*/ 2147483647 w 480"/>
                      <a:gd name="T87" fmla="*/ 2147483647 h 456"/>
                      <a:gd name="T88" fmla="*/ 2147483647 w 480"/>
                      <a:gd name="T89" fmla="*/ 2147483647 h 456"/>
                      <a:gd name="T90" fmla="*/ 2147483647 w 480"/>
                      <a:gd name="T91" fmla="*/ 2147483647 h 456"/>
                      <a:gd name="T92" fmla="*/ 2147483647 w 480"/>
                      <a:gd name="T93" fmla="*/ 2147483647 h 456"/>
                      <a:gd name="T94" fmla="*/ 2147483647 w 480"/>
                      <a:gd name="T95" fmla="*/ 2147483647 h 456"/>
                      <a:gd name="T96" fmla="*/ 2147483647 w 480"/>
                      <a:gd name="T97" fmla="*/ 0 h 456"/>
                      <a:gd name="T98" fmla="*/ 2147483647 w 480"/>
                      <a:gd name="T99" fmla="*/ 2147483647 h 456"/>
                      <a:gd name="T100" fmla="*/ 2147483647 w 480"/>
                      <a:gd name="T101" fmla="*/ 2147483647 h 456"/>
                      <a:gd name="T102" fmla="*/ 2147483647 w 480"/>
                      <a:gd name="T103" fmla="*/ 2147483647 h 45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80"/>
                      <a:gd name="T157" fmla="*/ 0 h 456"/>
                      <a:gd name="T158" fmla="*/ 480 w 480"/>
                      <a:gd name="T159" fmla="*/ 456 h 45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80" h="456">
                        <a:moveTo>
                          <a:pt x="78" y="54"/>
                        </a:moveTo>
                        <a:lnTo>
                          <a:pt x="78" y="66"/>
                        </a:lnTo>
                        <a:lnTo>
                          <a:pt x="72" y="72"/>
                        </a:lnTo>
                        <a:lnTo>
                          <a:pt x="72" y="78"/>
                        </a:lnTo>
                        <a:lnTo>
                          <a:pt x="66" y="84"/>
                        </a:lnTo>
                        <a:lnTo>
                          <a:pt x="48" y="84"/>
                        </a:lnTo>
                        <a:lnTo>
                          <a:pt x="48" y="102"/>
                        </a:lnTo>
                        <a:lnTo>
                          <a:pt x="42" y="108"/>
                        </a:lnTo>
                        <a:lnTo>
                          <a:pt x="30" y="108"/>
                        </a:lnTo>
                        <a:lnTo>
                          <a:pt x="30" y="120"/>
                        </a:lnTo>
                        <a:lnTo>
                          <a:pt x="36" y="126"/>
                        </a:lnTo>
                        <a:lnTo>
                          <a:pt x="36" y="168"/>
                        </a:lnTo>
                        <a:lnTo>
                          <a:pt x="30" y="180"/>
                        </a:lnTo>
                        <a:lnTo>
                          <a:pt x="24" y="186"/>
                        </a:lnTo>
                        <a:lnTo>
                          <a:pt x="18" y="186"/>
                        </a:lnTo>
                        <a:lnTo>
                          <a:pt x="18" y="222"/>
                        </a:lnTo>
                        <a:lnTo>
                          <a:pt x="12" y="222"/>
                        </a:lnTo>
                        <a:lnTo>
                          <a:pt x="0" y="228"/>
                        </a:lnTo>
                        <a:lnTo>
                          <a:pt x="0" y="246"/>
                        </a:lnTo>
                        <a:lnTo>
                          <a:pt x="6" y="252"/>
                        </a:lnTo>
                        <a:lnTo>
                          <a:pt x="12" y="300"/>
                        </a:lnTo>
                        <a:lnTo>
                          <a:pt x="48" y="300"/>
                        </a:lnTo>
                        <a:lnTo>
                          <a:pt x="54" y="294"/>
                        </a:lnTo>
                        <a:lnTo>
                          <a:pt x="54" y="288"/>
                        </a:lnTo>
                        <a:lnTo>
                          <a:pt x="60" y="288"/>
                        </a:lnTo>
                        <a:lnTo>
                          <a:pt x="66" y="294"/>
                        </a:lnTo>
                        <a:lnTo>
                          <a:pt x="66" y="300"/>
                        </a:lnTo>
                        <a:lnTo>
                          <a:pt x="84" y="318"/>
                        </a:lnTo>
                        <a:lnTo>
                          <a:pt x="96" y="306"/>
                        </a:lnTo>
                        <a:lnTo>
                          <a:pt x="96" y="294"/>
                        </a:lnTo>
                        <a:lnTo>
                          <a:pt x="102" y="276"/>
                        </a:lnTo>
                        <a:lnTo>
                          <a:pt x="108" y="264"/>
                        </a:lnTo>
                        <a:lnTo>
                          <a:pt x="108" y="252"/>
                        </a:lnTo>
                        <a:lnTo>
                          <a:pt x="120" y="258"/>
                        </a:lnTo>
                        <a:lnTo>
                          <a:pt x="132" y="270"/>
                        </a:lnTo>
                        <a:lnTo>
                          <a:pt x="138" y="270"/>
                        </a:lnTo>
                        <a:lnTo>
                          <a:pt x="144" y="276"/>
                        </a:lnTo>
                        <a:lnTo>
                          <a:pt x="150" y="288"/>
                        </a:lnTo>
                        <a:lnTo>
                          <a:pt x="180" y="288"/>
                        </a:lnTo>
                        <a:lnTo>
                          <a:pt x="186" y="276"/>
                        </a:lnTo>
                        <a:lnTo>
                          <a:pt x="192" y="270"/>
                        </a:lnTo>
                        <a:lnTo>
                          <a:pt x="198" y="276"/>
                        </a:lnTo>
                        <a:lnTo>
                          <a:pt x="198" y="288"/>
                        </a:lnTo>
                        <a:lnTo>
                          <a:pt x="210" y="288"/>
                        </a:lnTo>
                        <a:lnTo>
                          <a:pt x="222" y="282"/>
                        </a:lnTo>
                        <a:lnTo>
                          <a:pt x="240" y="282"/>
                        </a:lnTo>
                        <a:lnTo>
                          <a:pt x="246" y="288"/>
                        </a:lnTo>
                        <a:lnTo>
                          <a:pt x="276" y="288"/>
                        </a:lnTo>
                        <a:lnTo>
                          <a:pt x="294" y="312"/>
                        </a:lnTo>
                        <a:lnTo>
                          <a:pt x="306" y="312"/>
                        </a:lnTo>
                        <a:lnTo>
                          <a:pt x="312" y="318"/>
                        </a:lnTo>
                        <a:lnTo>
                          <a:pt x="324" y="324"/>
                        </a:lnTo>
                        <a:lnTo>
                          <a:pt x="348" y="360"/>
                        </a:lnTo>
                        <a:lnTo>
                          <a:pt x="354" y="366"/>
                        </a:lnTo>
                        <a:lnTo>
                          <a:pt x="378" y="378"/>
                        </a:lnTo>
                        <a:lnTo>
                          <a:pt x="390" y="390"/>
                        </a:lnTo>
                        <a:lnTo>
                          <a:pt x="390" y="414"/>
                        </a:lnTo>
                        <a:lnTo>
                          <a:pt x="396" y="420"/>
                        </a:lnTo>
                        <a:lnTo>
                          <a:pt x="408" y="426"/>
                        </a:lnTo>
                        <a:lnTo>
                          <a:pt x="420" y="426"/>
                        </a:lnTo>
                        <a:lnTo>
                          <a:pt x="432" y="444"/>
                        </a:lnTo>
                        <a:lnTo>
                          <a:pt x="456" y="456"/>
                        </a:lnTo>
                        <a:lnTo>
                          <a:pt x="468" y="438"/>
                        </a:lnTo>
                        <a:lnTo>
                          <a:pt x="480" y="432"/>
                        </a:lnTo>
                        <a:lnTo>
                          <a:pt x="474" y="420"/>
                        </a:lnTo>
                        <a:lnTo>
                          <a:pt x="456" y="402"/>
                        </a:lnTo>
                        <a:lnTo>
                          <a:pt x="432" y="402"/>
                        </a:lnTo>
                        <a:lnTo>
                          <a:pt x="426" y="396"/>
                        </a:lnTo>
                        <a:lnTo>
                          <a:pt x="426" y="360"/>
                        </a:lnTo>
                        <a:lnTo>
                          <a:pt x="420" y="360"/>
                        </a:lnTo>
                        <a:lnTo>
                          <a:pt x="414" y="354"/>
                        </a:lnTo>
                        <a:lnTo>
                          <a:pt x="366" y="330"/>
                        </a:lnTo>
                        <a:lnTo>
                          <a:pt x="360" y="324"/>
                        </a:lnTo>
                        <a:lnTo>
                          <a:pt x="360" y="312"/>
                        </a:lnTo>
                        <a:lnTo>
                          <a:pt x="354" y="300"/>
                        </a:lnTo>
                        <a:lnTo>
                          <a:pt x="354" y="288"/>
                        </a:lnTo>
                        <a:lnTo>
                          <a:pt x="348" y="276"/>
                        </a:lnTo>
                        <a:lnTo>
                          <a:pt x="348" y="270"/>
                        </a:lnTo>
                        <a:lnTo>
                          <a:pt x="336" y="270"/>
                        </a:lnTo>
                        <a:lnTo>
                          <a:pt x="324" y="264"/>
                        </a:lnTo>
                        <a:lnTo>
                          <a:pt x="306" y="264"/>
                        </a:lnTo>
                        <a:lnTo>
                          <a:pt x="282" y="240"/>
                        </a:lnTo>
                        <a:lnTo>
                          <a:pt x="264" y="246"/>
                        </a:lnTo>
                        <a:lnTo>
                          <a:pt x="252" y="228"/>
                        </a:lnTo>
                        <a:lnTo>
                          <a:pt x="234" y="222"/>
                        </a:lnTo>
                        <a:lnTo>
                          <a:pt x="216" y="204"/>
                        </a:lnTo>
                        <a:lnTo>
                          <a:pt x="210" y="192"/>
                        </a:lnTo>
                        <a:lnTo>
                          <a:pt x="204" y="186"/>
                        </a:lnTo>
                        <a:lnTo>
                          <a:pt x="198" y="174"/>
                        </a:lnTo>
                        <a:lnTo>
                          <a:pt x="198" y="114"/>
                        </a:lnTo>
                        <a:lnTo>
                          <a:pt x="192" y="90"/>
                        </a:lnTo>
                        <a:lnTo>
                          <a:pt x="186" y="78"/>
                        </a:lnTo>
                        <a:lnTo>
                          <a:pt x="180" y="60"/>
                        </a:lnTo>
                        <a:lnTo>
                          <a:pt x="168" y="42"/>
                        </a:lnTo>
                        <a:lnTo>
                          <a:pt x="162" y="24"/>
                        </a:lnTo>
                        <a:lnTo>
                          <a:pt x="156" y="12"/>
                        </a:lnTo>
                        <a:lnTo>
                          <a:pt x="150" y="6"/>
                        </a:lnTo>
                        <a:lnTo>
                          <a:pt x="150" y="0"/>
                        </a:lnTo>
                        <a:lnTo>
                          <a:pt x="144" y="0"/>
                        </a:lnTo>
                        <a:lnTo>
                          <a:pt x="144" y="12"/>
                        </a:lnTo>
                        <a:lnTo>
                          <a:pt x="132" y="36"/>
                        </a:lnTo>
                        <a:lnTo>
                          <a:pt x="108" y="48"/>
                        </a:lnTo>
                        <a:lnTo>
                          <a:pt x="90" y="54"/>
                        </a:lnTo>
                        <a:lnTo>
                          <a:pt x="78" y="5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44" name="Equatorial Guinea"/>
                  <p:cNvSpPr>
                    <a:spLocks/>
                  </p:cNvSpPr>
                  <p:nvPr/>
                </p:nvSpPr>
                <p:spPr bwMode="gray">
                  <a:xfrm>
                    <a:off x="2822" y="2262"/>
                    <a:ext cx="37" cy="28"/>
                  </a:xfrm>
                  <a:custGeom>
                    <a:avLst/>
                    <a:gdLst>
                      <a:gd name="T0" fmla="*/ 2147483647 w 144"/>
                      <a:gd name="T1" fmla="*/ 2147483647 h 108"/>
                      <a:gd name="T2" fmla="*/ 2147483647 w 144"/>
                      <a:gd name="T3" fmla="*/ 2147483647 h 108"/>
                      <a:gd name="T4" fmla="*/ 2147483647 w 144"/>
                      <a:gd name="T5" fmla="*/ 2147483647 h 108"/>
                      <a:gd name="T6" fmla="*/ 2147483647 w 144"/>
                      <a:gd name="T7" fmla="*/ 0 h 108"/>
                      <a:gd name="T8" fmla="*/ 2147483647 w 144"/>
                      <a:gd name="T9" fmla="*/ 2147483647 h 108"/>
                      <a:gd name="T10" fmla="*/ 2147483647 w 144"/>
                      <a:gd name="T11" fmla="*/ 2147483647 h 108"/>
                      <a:gd name="T12" fmla="*/ 2147483647 w 144"/>
                      <a:gd name="T13" fmla="*/ 2147483647 h 108"/>
                      <a:gd name="T14" fmla="*/ 2147483647 w 144"/>
                      <a:gd name="T15" fmla="*/ 2147483647 h 108"/>
                      <a:gd name="T16" fmla="*/ 2147483647 w 144"/>
                      <a:gd name="T17" fmla="*/ 2147483647 h 108"/>
                      <a:gd name="T18" fmla="*/ 0 w 144"/>
                      <a:gd name="T19" fmla="*/ 2147483647 h 108"/>
                      <a:gd name="T20" fmla="*/ 0 w 144"/>
                      <a:gd name="T21" fmla="*/ 2147483647 h 108"/>
                      <a:gd name="T22" fmla="*/ 2147483647 w 144"/>
                      <a:gd name="T23" fmla="*/ 2147483647 h 108"/>
                      <a:gd name="T24" fmla="*/ 2147483647 w 144"/>
                      <a:gd name="T25" fmla="*/ 2147483647 h 108"/>
                      <a:gd name="T26" fmla="*/ 2147483647 w 144"/>
                      <a:gd name="T27" fmla="*/ 2147483647 h 108"/>
                      <a:gd name="T28" fmla="*/ 2147483647 w 144"/>
                      <a:gd name="T29" fmla="*/ 2147483647 h 108"/>
                      <a:gd name="T30" fmla="*/ 2147483647 w 144"/>
                      <a:gd name="T31" fmla="*/ 2147483647 h 108"/>
                      <a:gd name="T32" fmla="*/ 2147483647 w 144"/>
                      <a:gd name="T33" fmla="*/ 2147483647 h 108"/>
                      <a:gd name="T34" fmla="*/ 2147483647 w 144"/>
                      <a:gd name="T35" fmla="*/ 2147483647 h 108"/>
                      <a:gd name="T36" fmla="*/ 2147483647 w 144"/>
                      <a:gd name="T37" fmla="*/ 2147483647 h 108"/>
                      <a:gd name="T38" fmla="*/ 2147483647 w 144"/>
                      <a:gd name="T39" fmla="*/ 2147483647 h 10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
                      <a:gd name="T61" fmla="*/ 0 h 108"/>
                      <a:gd name="T62" fmla="*/ 144 w 144"/>
                      <a:gd name="T63" fmla="*/ 108 h 10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 h="108">
                        <a:moveTo>
                          <a:pt x="138" y="48"/>
                        </a:moveTo>
                        <a:lnTo>
                          <a:pt x="144" y="12"/>
                        </a:lnTo>
                        <a:lnTo>
                          <a:pt x="48" y="12"/>
                        </a:lnTo>
                        <a:lnTo>
                          <a:pt x="36" y="0"/>
                        </a:lnTo>
                        <a:lnTo>
                          <a:pt x="30" y="6"/>
                        </a:lnTo>
                        <a:lnTo>
                          <a:pt x="30" y="42"/>
                        </a:lnTo>
                        <a:lnTo>
                          <a:pt x="18" y="54"/>
                        </a:lnTo>
                        <a:lnTo>
                          <a:pt x="12" y="66"/>
                        </a:lnTo>
                        <a:lnTo>
                          <a:pt x="6" y="72"/>
                        </a:lnTo>
                        <a:lnTo>
                          <a:pt x="0" y="84"/>
                        </a:lnTo>
                        <a:lnTo>
                          <a:pt x="0" y="90"/>
                        </a:lnTo>
                        <a:lnTo>
                          <a:pt x="6" y="96"/>
                        </a:lnTo>
                        <a:lnTo>
                          <a:pt x="18" y="102"/>
                        </a:lnTo>
                        <a:lnTo>
                          <a:pt x="36" y="102"/>
                        </a:lnTo>
                        <a:lnTo>
                          <a:pt x="36" y="108"/>
                        </a:lnTo>
                        <a:lnTo>
                          <a:pt x="138" y="108"/>
                        </a:lnTo>
                        <a:lnTo>
                          <a:pt x="138" y="102"/>
                        </a:lnTo>
                        <a:lnTo>
                          <a:pt x="144" y="84"/>
                        </a:lnTo>
                        <a:lnTo>
                          <a:pt x="144" y="54"/>
                        </a:lnTo>
                        <a:lnTo>
                          <a:pt x="138"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45" name="El Salvador"/>
                  <p:cNvSpPr>
                    <a:spLocks/>
                  </p:cNvSpPr>
                  <p:nvPr/>
                </p:nvSpPr>
                <p:spPr bwMode="gray">
                  <a:xfrm>
                    <a:off x="1024" y="2012"/>
                    <a:ext cx="44" cy="29"/>
                  </a:xfrm>
                  <a:custGeom>
                    <a:avLst/>
                    <a:gdLst>
                      <a:gd name="T0" fmla="*/ 2147483647 w 174"/>
                      <a:gd name="T1" fmla="*/ 2147483647 h 114"/>
                      <a:gd name="T2" fmla="*/ 2147483647 w 174"/>
                      <a:gd name="T3" fmla="*/ 2147483647 h 114"/>
                      <a:gd name="T4" fmla="*/ 2147483647 w 174"/>
                      <a:gd name="T5" fmla="*/ 2147483647 h 114"/>
                      <a:gd name="T6" fmla="*/ 2147483647 w 174"/>
                      <a:gd name="T7" fmla="*/ 2147483647 h 114"/>
                      <a:gd name="T8" fmla="*/ 2147483647 w 174"/>
                      <a:gd name="T9" fmla="*/ 2147483647 h 114"/>
                      <a:gd name="T10" fmla="*/ 2147483647 w 174"/>
                      <a:gd name="T11" fmla="*/ 2147483647 h 114"/>
                      <a:gd name="T12" fmla="*/ 2147483647 w 174"/>
                      <a:gd name="T13" fmla="*/ 2147483647 h 114"/>
                      <a:gd name="T14" fmla="*/ 2147483647 w 174"/>
                      <a:gd name="T15" fmla="*/ 2147483647 h 114"/>
                      <a:gd name="T16" fmla="*/ 2147483647 w 174"/>
                      <a:gd name="T17" fmla="*/ 2147483647 h 114"/>
                      <a:gd name="T18" fmla="*/ 2147483647 w 174"/>
                      <a:gd name="T19" fmla="*/ 0 h 114"/>
                      <a:gd name="T20" fmla="*/ 2147483647 w 174"/>
                      <a:gd name="T21" fmla="*/ 2147483647 h 114"/>
                      <a:gd name="T22" fmla="*/ 2147483647 w 174"/>
                      <a:gd name="T23" fmla="*/ 2147483647 h 114"/>
                      <a:gd name="T24" fmla="*/ 2147483647 w 174"/>
                      <a:gd name="T25" fmla="*/ 2147483647 h 114"/>
                      <a:gd name="T26" fmla="*/ 2147483647 w 174"/>
                      <a:gd name="T27" fmla="*/ 2147483647 h 114"/>
                      <a:gd name="T28" fmla="*/ 2147483647 w 174"/>
                      <a:gd name="T29" fmla="*/ 2147483647 h 114"/>
                      <a:gd name="T30" fmla="*/ 2147483647 w 174"/>
                      <a:gd name="T31" fmla="*/ 2147483647 h 114"/>
                      <a:gd name="T32" fmla="*/ 2147483647 w 174"/>
                      <a:gd name="T33" fmla="*/ 2147483647 h 114"/>
                      <a:gd name="T34" fmla="*/ 2147483647 w 174"/>
                      <a:gd name="T35" fmla="*/ 2147483647 h 114"/>
                      <a:gd name="T36" fmla="*/ 0 w 174"/>
                      <a:gd name="T37" fmla="*/ 2147483647 h 114"/>
                      <a:gd name="T38" fmla="*/ 2147483647 w 174"/>
                      <a:gd name="T39" fmla="*/ 2147483647 h 114"/>
                      <a:gd name="T40" fmla="*/ 2147483647 w 174"/>
                      <a:gd name="T41" fmla="*/ 2147483647 h 114"/>
                      <a:gd name="T42" fmla="*/ 2147483647 w 174"/>
                      <a:gd name="T43" fmla="*/ 2147483647 h 114"/>
                      <a:gd name="T44" fmla="*/ 2147483647 w 174"/>
                      <a:gd name="T45" fmla="*/ 2147483647 h 114"/>
                      <a:gd name="T46" fmla="*/ 2147483647 w 174"/>
                      <a:gd name="T47" fmla="*/ 2147483647 h 114"/>
                      <a:gd name="T48" fmla="*/ 2147483647 w 174"/>
                      <a:gd name="T49" fmla="*/ 2147483647 h 114"/>
                      <a:gd name="T50" fmla="*/ 2147483647 w 174"/>
                      <a:gd name="T51" fmla="*/ 2147483647 h 114"/>
                      <a:gd name="T52" fmla="*/ 2147483647 w 174"/>
                      <a:gd name="T53" fmla="*/ 2147483647 h 114"/>
                      <a:gd name="T54" fmla="*/ 2147483647 w 174"/>
                      <a:gd name="T55" fmla="*/ 2147483647 h 114"/>
                      <a:gd name="T56" fmla="*/ 2147483647 w 174"/>
                      <a:gd name="T57" fmla="*/ 2147483647 h 11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4"/>
                      <a:gd name="T88" fmla="*/ 0 h 114"/>
                      <a:gd name="T89" fmla="*/ 174 w 174"/>
                      <a:gd name="T90" fmla="*/ 114 h 11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4" h="114">
                        <a:moveTo>
                          <a:pt x="174" y="84"/>
                        </a:moveTo>
                        <a:lnTo>
                          <a:pt x="174" y="42"/>
                        </a:lnTo>
                        <a:lnTo>
                          <a:pt x="138" y="42"/>
                        </a:lnTo>
                        <a:lnTo>
                          <a:pt x="132" y="48"/>
                        </a:lnTo>
                        <a:lnTo>
                          <a:pt x="120" y="48"/>
                        </a:lnTo>
                        <a:lnTo>
                          <a:pt x="114" y="42"/>
                        </a:lnTo>
                        <a:lnTo>
                          <a:pt x="114" y="24"/>
                        </a:lnTo>
                        <a:lnTo>
                          <a:pt x="90" y="24"/>
                        </a:lnTo>
                        <a:lnTo>
                          <a:pt x="78" y="12"/>
                        </a:lnTo>
                        <a:lnTo>
                          <a:pt x="72" y="0"/>
                        </a:lnTo>
                        <a:lnTo>
                          <a:pt x="60" y="6"/>
                        </a:lnTo>
                        <a:lnTo>
                          <a:pt x="48" y="6"/>
                        </a:lnTo>
                        <a:lnTo>
                          <a:pt x="48" y="18"/>
                        </a:lnTo>
                        <a:lnTo>
                          <a:pt x="42" y="24"/>
                        </a:lnTo>
                        <a:lnTo>
                          <a:pt x="36" y="36"/>
                        </a:lnTo>
                        <a:lnTo>
                          <a:pt x="30" y="36"/>
                        </a:lnTo>
                        <a:lnTo>
                          <a:pt x="24" y="42"/>
                        </a:lnTo>
                        <a:lnTo>
                          <a:pt x="12" y="48"/>
                        </a:lnTo>
                        <a:lnTo>
                          <a:pt x="0" y="60"/>
                        </a:lnTo>
                        <a:lnTo>
                          <a:pt x="6" y="66"/>
                        </a:lnTo>
                        <a:lnTo>
                          <a:pt x="18" y="72"/>
                        </a:lnTo>
                        <a:lnTo>
                          <a:pt x="24" y="78"/>
                        </a:lnTo>
                        <a:lnTo>
                          <a:pt x="72" y="78"/>
                        </a:lnTo>
                        <a:lnTo>
                          <a:pt x="96" y="102"/>
                        </a:lnTo>
                        <a:lnTo>
                          <a:pt x="132" y="96"/>
                        </a:lnTo>
                        <a:lnTo>
                          <a:pt x="150" y="114"/>
                        </a:lnTo>
                        <a:lnTo>
                          <a:pt x="168" y="84"/>
                        </a:lnTo>
                        <a:lnTo>
                          <a:pt x="174" y="90"/>
                        </a:lnTo>
                        <a:lnTo>
                          <a:pt x="174" y="8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46" name="Egypt"/>
                  <p:cNvSpPr>
                    <a:spLocks/>
                  </p:cNvSpPr>
                  <p:nvPr/>
                </p:nvSpPr>
                <p:spPr bwMode="gray">
                  <a:xfrm>
                    <a:off x="3091" y="1657"/>
                    <a:ext cx="202" cy="206"/>
                  </a:xfrm>
                  <a:custGeom>
                    <a:avLst/>
                    <a:gdLst>
                      <a:gd name="T0" fmla="*/ 2147483647 w 792"/>
                      <a:gd name="T1" fmla="*/ 2147483647 h 804"/>
                      <a:gd name="T2" fmla="*/ 2147483647 w 792"/>
                      <a:gd name="T3" fmla="*/ 2147483647 h 804"/>
                      <a:gd name="T4" fmla="*/ 2147483647 w 792"/>
                      <a:gd name="T5" fmla="*/ 2147483647 h 804"/>
                      <a:gd name="T6" fmla="*/ 2147483647 w 792"/>
                      <a:gd name="T7" fmla="*/ 2147483647 h 804"/>
                      <a:gd name="T8" fmla="*/ 2147483647 w 792"/>
                      <a:gd name="T9" fmla="*/ 2147483647 h 804"/>
                      <a:gd name="T10" fmla="*/ 2147483647 w 792"/>
                      <a:gd name="T11" fmla="*/ 2147483647 h 804"/>
                      <a:gd name="T12" fmla="*/ 2147483647 w 792"/>
                      <a:gd name="T13" fmla="*/ 2147483647 h 804"/>
                      <a:gd name="T14" fmla="*/ 2147483647 w 792"/>
                      <a:gd name="T15" fmla="*/ 2147483647 h 804"/>
                      <a:gd name="T16" fmla="*/ 2147483647 w 792"/>
                      <a:gd name="T17" fmla="*/ 2147483647 h 804"/>
                      <a:gd name="T18" fmla="*/ 2147483647 w 792"/>
                      <a:gd name="T19" fmla="*/ 2147483647 h 804"/>
                      <a:gd name="T20" fmla="*/ 2147483647 w 792"/>
                      <a:gd name="T21" fmla="*/ 2147483647 h 804"/>
                      <a:gd name="T22" fmla="*/ 2147483647 w 792"/>
                      <a:gd name="T23" fmla="*/ 2147483647 h 804"/>
                      <a:gd name="T24" fmla="*/ 2147483647 w 792"/>
                      <a:gd name="T25" fmla="*/ 2147483647 h 804"/>
                      <a:gd name="T26" fmla="*/ 2147483647 w 792"/>
                      <a:gd name="T27" fmla="*/ 2147483647 h 804"/>
                      <a:gd name="T28" fmla="*/ 2147483647 w 792"/>
                      <a:gd name="T29" fmla="*/ 2147483647 h 804"/>
                      <a:gd name="T30" fmla="*/ 2147483647 w 792"/>
                      <a:gd name="T31" fmla="*/ 2147483647 h 804"/>
                      <a:gd name="T32" fmla="*/ 2147483647 w 792"/>
                      <a:gd name="T33" fmla="*/ 2147483647 h 804"/>
                      <a:gd name="T34" fmla="*/ 2147483647 w 792"/>
                      <a:gd name="T35" fmla="*/ 2147483647 h 804"/>
                      <a:gd name="T36" fmla="*/ 2147483647 w 792"/>
                      <a:gd name="T37" fmla="*/ 2147483647 h 804"/>
                      <a:gd name="T38" fmla="*/ 2147483647 w 792"/>
                      <a:gd name="T39" fmla="*/ 2147483647 h 804"/>
                      <a:gd name="T40" fmla="*/ 2147483647 w 792"/>
                      <a:gd name="T41" fmla="*/ 2147483647 h 804"/>
                      <a:gd name="T42" fmla="*/ 2147483647 w 792"/>
                      <a:gd name="T43" fmla="*/ 2147483647 h 804"/>
                      <a:gd name="T44" fmla="*/ 2147483647 w 792"/>
                      <a:gd name="T45" fmla="*/ 2147483647 h 804"/>
                      <a:gd name="T46" fmla="*/ 2147483647 w 792"/>
                      <a:gd name="T47" fmla="*/ 2147483647 h 804"/>
                      <a:gd name="T48" fmla="*/ 2147483647 w 792"/>
                      <a:gd name="T49" fmla="*/ 2147483647 h 804"/>
                      <a:gd name="T50" fmla="*/ 2147483647 w 792"/>
                      <a:gd name="T51" fmla="*/ 2147483647 h 804"/>
                      <a:gd name="T52" fmla="*/ 2147483647 w 792"/>
                      <a:gd name="T53" fmla="*/ 2147483647 h 804"/>
                      <a:gd name="T54" fmla="*/ 2147483647 w 792"/>
                      <a:gd name="T55" fmla="*/ 2147483647 h 804"/>
                      <a:gd name="T56" fmla="*/ 2147483647 w 792"/>
                      <a:gd name="T57" fmla="*/ 2147483647 h 804"/>
                      <a:gd name="T58" fmla="*/ 2147483647 w 792"/>
                      <a:gd name="T59" fmla="*/ 2147483647 h 804"/>
                      <a:gd name="T60" fmla="*/ 2147483647 w 792"/>
                      <a:gd name="T61" fmla="*/ 2147483647 h 804"/>
                      <a:gd name="T62" fmla="*/ 2147483647 w 792"/>
                      <a:gd name="T63" fmla="*/ 2147483647 h 804"/>
                      <a:gd name="T64" fmla="*/ 2147483647 w 792"/>
                      <a:gd name="T65" fmla="*/ 2147483647 h 804"/>
                      <a:gd name="T66" fmla="*/ 2147483647 w 792"/>
                      <a:gd name="T67" fmla="*/ 2147483647 h 804"/>
                      <a:gd name="T68" fmla="*/ 2147483647 w 792"/>
                      <a:gd name="T69" fmla="*/ 2147483647 h 804"/>
                      <a:gd name="T70" fmla="*/ 2147483647 w 792"/>
                      <a:gd name="T71" fmla="*/ 2147483647 h 804"/>
                      <a:gd name="T72" fmla="*/ 2147483647 w 792"/>
                      <a:gd name="T73" fmla="*/ 2147483647 h 804"/>
                      <a:gd name="T74" fmla="*/ 2147483647 w 792"/>
                      <a:gd name="T75" fmla="*/ 2147483647 h 804"/>
                      <a:gd name="T76" fmla="*/ 2147483647 w 792"/>
                      <a:gd name="T77" fmla="*/ 2147483647 h 804"/>
                      <a:gd name="T78" fmla="*/ 2147483647 w 792"/>
                      <a:gd name="T79" fmla="*/ 2147483647 h 804"/>
                      <a:gd name="T80" fmla="*/ 2147483647 w 792"/>
                      <a:gd name="T81" fmla="*/ 2147483647 h 804"/>
                      <a:gd name="T82" fmla="*/ 2147483647 w 792"/>
                      <a:gd name="T83" fmla="*/ 2147483647 h 804"/>
                      <a:gd name="T84" fmla="*/ 2147483647 w 792"/>
                      <a:gd name="T85" fmla="*/ 2147483647 h 804"/>
                      <a:gd name="T86" fmla="*/ 2147483647 w 792"/>
                      <a:gd name="T87" fmla="*/ 2147483647 h 804"/>
                      <a:gd name="T88" fmla="*/ 2147483647 w 792"/>
                      <a:gd name="T89" fmla="*/ 2147483647 h 804"/>
                      <a:gd name="T90" fmla="*/ 2147483647 w 792"/>
                      <a:gd name="T91" fmla="*/ 0 h 804"/>
                      <a:gd name="T92" fmla="*/ 2147483647 w 792"/>
                      <a:gd name="T93" fmla="*/ 2147483647 h 804"/>
                      <a:gd name="T94" fmla="*/ 2147483647 w 792"/>
                      <a:gd name="T95" fmla="*/ 0 h 8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92"/>
                      <a:gd name="T145" fmla="*/ 0 h 804"/>
                      <a:gd name="T146" fmla="*/ 792 w 792"/>
                      <a:gd name="T147" fmla="*/ 804 h 8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92" h="804">
                        <a:moveTo>
                          <a:pt x="12" y="18"/>
                        </a:moveTo>
                        <a:lnTo>
                          <a:pt x="6" y="24"/>
                        </a:lnTo>
                        <a:lnTo>
                          <a:pt x="6" y="54"/>
                        </a:lnTo>
                        <a:lnTo>
                          <a:pt x="18" y="60"/>
                        </a:lnTo>
                        <a:lnTo>
                          <a:pt x="24" y="72"/>
                        </a:lnTo>
                        <a:lnTo>
                          <a:pt x="24" y="78"/>
                        </a:lnTo>
                        <a:lnTo>
                          <a:pt x="18" y="84"/>
                        </a:lnTo>
                        <a:lnTo>
                          <a:pt x="12" y="96"/>
                        </a:lnTo>
                        <a:lnTo>
                          <a:pt x="6" y="102"/>
                        </a:lnTo>
                        <a:lnTo>
                          <a:pt x="0" y="114"/>
                        </a:lnTo>
                        <a:lnTo>
                          <a:pt x="0" y="120"/>
                        </a:lnTo>
                        <a:lnTo>
                          <a:pt x="6" y="132"/>
                        </a:lnTo>
                        <a:lnTo>
                          <a:pt x="18" y="144"/>
                        </a:lnTo>
                        <a:lnTo>
                          <a:pt x="30" y="180"/>
                        </a:lnTo>
                        <a:lnTo>
                          <a:pt x="30" y="264"/>
                        </a:lnTo>
                        <a:lnTo>
                          <a:pt x="36" y="342"/>
                        </a:lnTo>
                        <a:lnTo>
                          <a:pt x="36" y="438"/>
                        </a:lnTo>
                        <a:lnTo>
                          <a:pt x="42" y="534"/>
                        </a:lnTo>
                        <a:lnTo>
                          <a:pt x="42" y="624"/>
                        </a:lnTo>
                        <a:lnTo>
                          <a:pt x="48" y="702"/>
                        </a:lnTo>
                        <a:lnTo>
                          <a:pt x="48" y="774"/>
                        </a:lnTo>
                        <a:lnTo>
                          <a:pt x="474" y="780"/>
                        </a:lnTo>
                        <a:lnTo>
                          <a:pt x="492" y="762"/>
                        </a:lnTo>
                        <a:lnTo>
                          <a:pt x="498" y="762"/>
                        </a:lnTo>
                        <a:lnTo>
                          <a:pt x="498" y="774"/>
                        </a:lnTo>
                        <a:lnTo>
                          <a:pt x="618" y="780"/>
                        </a:lnTo>
                        <a:lnTo>
                          <a:pt x="624" y="786"/>
                        </a:lnTo>
                        <a:lnTo>
                          <a:pt x="630" y="798"/>
                        </a:lnTo>
                        <a:lnTo>
                          <a:pt x="636" y="804"/>
                        </a:lnTo>
                        <a:lnTo>
                          <a:pt x="654" y="804"/>
                        </a:lnTo>
                        <a:lnTo>
                          <a:pt x="660" y="798"/>
                        </a:lnTo>
                        <a:lnTo>
                          <a:pt x="672" y="774"/>
                        </a:lnTo>
                        <a:lnTo>
                          <a:pt x="684" y="762"/>
                        </a:lnTo>
                        <a:lnTo>
                          <a:pt x="696" y="762"/>
                        </a:lnTo>
                        <a:lnTo>
                          <a:pt x="702" y="756"/>
                        </a:lnTo>
                        <a:lnTo>
                          <a:pt x="720" y="756"/>
                        </a:lnTo>
                        <a:lnTo>
                          <a:pt x="726" y="750"/>
                        </a:lnTo>
                        <a:lnTo>
                          <a:pt x="732" y="738"/>
                        </a:lnTo>
                        <a:lnTo>
                          <a:pt x="732" y="714"/>
                        </a:lnTo>
                        <a:lnTo>
                          <a:pt x="762" y="714"/>
                        </a:lnTo>
                        <a:lnTo>
                          <a:pt x="786" y="690"/>
                        </a:lnTo>
                        <a:lnTo>
                          <a:pt x="780" y="684"/>
                        </a:lnTo>
                        <a:lnTo>
                          <a:pt x="774" y="672"/>
                        </a:lnTo>
                        <a:lnTo>
                          <a:pt x="774" y="624"/>
                        </a:lnTo>
                        <a:lnTo>
                          <a:pt x="792" y="618"/>
                        </a:lnTo>
                        <a:lnTo>
                          <a:pt x="786" y="618"/>
                        </a:lnTo>
                        <a:lnTo>
                          <a:pt x="756" y="588"/>
                        </a:lnTo>
                        <a:lnTo>
                          <a:pt x="732" y="552"/>
                        </a:lnTo>
                        <a:lnTo>
                          <a:pt x="726" y="528"/>
                        </a:lnTo>
                        <a:lnTo>
                          <a:pt x="714" y="492"/>
                        </a:lnTo>
                        <a:lnTo>
                          <a:pt x="702" y="468"/>
                        </a:lnTo>
                        <a:lnTo>
                          <a:pt x="690" y="462"/>
                        </a:lnTo>
                        <a:lnTo>
                          <a:pt x="684" y="450"/>
                        </a:lnTo>
                        <a:lnTo>
                          <a:pt x="672" y="444"/>
                        </a:lnTo>
                        <a:lnTo>
                          <a:pt x="666" y="432"/>
                        </a:lnTo>
                        <a:lnTo>
                          <a:pt x="654" y="396"/>
                        </a:lnTo>
                        <a:lnTo>
                          <a:pt x="654" y="378"/>
                        </a:lnTo>
                        <a:lnTo>
                          <a:pt x="618" y="336"/>
                        </a:lnTo>
                        <a:lnTo>
                          <a:pt x="618" y="318"/>
                        </a:lnTo>
                        <a:lnTo>
                          <a:pt x="606" y="294"/>
                        </a:lnTo>
                        <a:lnTo>
                          <a:pt x="594" y="282"/>
                        </a:lnTo>
                        <a:lnTo>
                          <a:pt x="588" y="270"/>
                        </a:lnTo>
                        <a:lnTo>
                          <a:pt x="576" y="258"/>
                        </a:lnTo>
                        <a:lnTo>
                          <a:pt x="570" y="246"/>
                        </a:lnTo>
                        <a:lnTo>
                          <a:pt x="558" y="234"/>
                        </a:lnTo>
                        <a:lnTo>
                          <a:pt x="552" y="222"/>
                        </a:lnTo>
                        <a:lnTo>
                          <a:pt x="546" y="216"/>
                        </a:lnTo>
                        <a:lnTo>
                          <a:pt x="552" y="210"/>
                        </a:lnTo>
                        <a:lnTo>
                          <a:pt x="552" y="198"/>
                        </a:lnTo>
                        <a:lnTo>
                          <a:pt x="540" y="174"/>
                        </a:lnTo>
                        <a:lnTo>
                          <a:pt x="528" y="168"/>
                        </a:lnTo>
                        <a:lnTo>
                          <a:pt x="522" y="168"/>
                        </a:lnTo>
                        <a:lnTo>
                          <a:pt x="540" y="144"/>
                        </a:lnTo>
                        <a:lnTo>
                          <a:pt x="558" y="156"/>
                        </a:lnTo>
                        <a:lnTo>
                          <a:pt x="558" y="174"/>
                        </a:lnTo>
                        <a:lnTo>
                          <a:pt x="564" y="186"/>
                        </a:lnTo>
                        <a:lnTo>
                          <a:pt x="576" y="198"/>
                        </a:lnTo>
                        <a:lnTo>
                          <a:pt x="582" y="210"/>
                        </a:lnTo>
                        <a:lnTo>
                          <a:pt x="588" y="216"/>
                        </a:lnTo>
                        <a:lnTo>
                          <a:pt x="588" y="246"/>
                        </a:lnTo>
                        <a:lnTo>
                          <a:pt x="606" y="264"/>
                        </a:lnTo>
                        <a:lnTo>
                          <a:pt x="612" y="276"/>
                        </a:lnTo>
                        <a:lnTo>
                          <a:pt x="636" y="300"/>
                        </a:lnTo>
                        <a:lnTo>
                          <a:pt x="648" y="306"/>
                        </a:lnTo>
                        <a:lnTo>
                          <a:pt x="654" y="306"/>
                        </a:lnTo>
                        <a:lnTo>
                          <a:pt x="666" y="300"/>
                        </a:lnTo>
                        <a:lnTo>
                          <a:pt x="678" y="288"/>
                        </a:lnTo>
                        <a:lnTo>
                          <a:pt x="672" y="270"/>
                        </a:lnTo>
                        <a:lnTo>
                          <a:pt x="684" y="246"/>
                        </a:lnTo>
                        <a:lnTo>
                          <a:pt x="684" y="234"/>
                        </a:lnTo>
                        <a:lnTo>
                          <a:pt x="690" y="222"/>
                        </a:lnTo>
                        <a:lnTo>
                          <a:pt x="690" y="198"/>
                        </a:lnTo>
                        <a:lnTo>
                          <a:pt x="696" y="186"/>
                        </a:lnTo>
                        <a:lnTo>
                          <a:pt x="696" y="180"/>
                        </a:lnTo>
                        <a:lnTo>
                          <a:pt x="702" y="168"/>
                        </a:lnTo>
                        <a:lnTo>
                          <a:pt x="648" y="24"/>
                        </a:lnTo>
                        <a:lnTo>
                          <a:pt x="642" y="24"/>
                        </a:lnTo>
                        <a:lnTo>
                          <a:pt x="636" y="30"/>
                        </a:lnTo>
                        <a:lnTo>
                          <a:pt x="624" y="30"/>
                        </a:lnTo>
                        <a:lnTo>
                          <a:pt x="600" y="42"/>
                        </a:lnTo>
                        <a:lnTo>
                          <a:pt x="576" y="42"/>
                        </a:lnTo>
                        <a:lnTo>
                          <a:pt x="564" y="36"/>
                        </a:lnTo>
                        <a:lnTo>
                          <a:pt x="558" y="30"/>
                        </a:lnTo>
                        <a:lnTo>
                          <a:pt x="552" y="36"/>
                        </a:lnTo>
                        <a:lnTo>
                          <a:pt x="540" y="42"/>
                        </a:lnTo>
                        <a:lnTo>
                          <a:pt x="534" y="42"/>
                        </a:lnTo>
                        <a:lnTo>
                          <a:pt x="510" y="30"/>
                        </a:lnTo>
                        <a:lnTo>
                          <a:pt x="504" y="24"/>
                        </a:lnTo>
                        <a:lnTo>
                          <a:pt x="504" y="18"/>
                        </a:lnTo>
                        <a:lnTo>
                          <a:pt x="498" y="12"/>
                        </a:lnTo>
                        <a:lnTo>
                          <a:pt x="486" y="6"/>
                        </a:lnTo>
                        <a:lnTo>
                          <a:pt x="468" y="6"/>
                        </a:lnTo>
                        <a:lnTo>
                          <a:pt x="456" y="12"/>
                        </a:lnTo>
                        <a:lnTo>
                          <a:pt x="438" y="12"/>
                        </a:lnTo>
                        <a:lnTo>
                          <a:pt x="432" y="18"/>
                        </a:lnTo>
                        <a:lnTo>
                          <a:pt x="420" y="18"/>
                        </a:lnTo>
                        <a:lnTo>
                          <a:pt x="414" y="12"/>
                        </a:lnTo>
                        <a:lnTo>
                          <a:pt x="390" y="12"/>
                        </a:lnTo>
                        <a:lnTo>
                          <a:pt x="378" y="18"/>
                        </a:lnTo>
                        <a:lnTo>
                          <a:pt x="372" y="24"/>
                        </a:lnTo>
                        <a:lnTo>
                          <a:pt x="366" y="36"/>
                        </a:lnTo>
                        <a:lnTo>
                          <a:pt x="360" y="42"/>
                        </a:lnTo>
                        <a:lnTo>
                          <a:pt x="336" y="42"/>
                        </a:lnTo>
                        <a:lnTo>
                          <a:pt x="324" y="54"/>
                        </a:lnTo>
                        <a:lnTo>
                          <a:pt x="312" y="60"/>
                        </a:lnTo>
                        <a:lnTo>
                          <a:pt x="306" y="60"/>
                        </a:lnTo>
                        <a:lnTo>
                          <a:pt x="300" y="54"/>
                        </a:lnTo>
                        <a:lnTo>
                          <a:pt x="288" y="54"/>
                        </a:lnTo>
                        <a:lnTo>
                          <a:pt x="276" y="48"/>
                        </a:lnTo>
                        <a:lnTo>
                          <a:pt x="264" y="48"/>
                        </a:lnTo>
                        <a:lnTo>
                          <a:pt x="258" y="42"/>
                        </a:lnTo>
                        <a:lnTo>
                          <a:pt x="204" y="42"/>
                        </a:lnTo>
                        <a:lnTo>
                          <a:pt x="198" y="36"/>
                        </a:lnTo>
                        <a:lnTo>
                          <a:pt x="186" y="30"/>
                        </a:lnTo>
                        <a:lnTo>
                          <a:pt x="174" y="18"/>
                        </a:lnTo>
                        <a:lnTo>
                          <a:pt x="126" y="18"/>
                        </a:lnTo>
                        <a:lnTo>
                          <a:pt x="120" y="12"/>
                        </a:lnTo>
                        <a:lnTo>
                          <a:pt x="96" y="0"/>
                        </a:lnTo>
                        <a:lnTo>
                          <a:pt x="78" y="0"/>
                        </a:lnTo>
                        <a:lnTo>
                          <a:pt x="66" y="12"/>
                        </a:lnTo>
                        <a:lnTo>
                          <a:pt x="54" y="12"/>
                        </a:lnTo>
                        <a:lnTo>
                          <a:pt x="42" y="6"/>
                        </a:lnTo>
                        <a:lnTo>
                          <a:pt x="36" y="6"/>
                        </a:lnTo>
                        <a:lnTo>
                          <a:pt x="36" y="0"/>
                        </a:lnTo>
                        <a:lnTo>
                          <a:pt x="30" y="0"/>
                        </a:lnTo>
                        <a:lnTo>
                          <a:pt x="12"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47" name="Ecuador"/>
                  <p:cNvSpPr>
                    <a:spLocks noEditPoints="1"/>
                  </p:cNvSpPr>
                  <p:nvPr/>
                </p:nvSpPr>
                <p:spPr bwMode="gray">
                  <a:xfrm>
                    <a:off x="1176" y="2277"/>
                    <a:ext cx="106" cy="135"/>
                  </a:xfrm>
                  <a:custGeom>
                    <a:avLst/>
                    <a:gdLst>
                      <a:gd name="T0" fmla="*/ 2147483647 w 414"/>
                      <a:gd name="T1" fmla="*/ 2147483647 h 528"/>
                      <a:gd name="T2" fmla="*/ 2147483647 w 414"/>
                      <a:gd name="T3" fmla="*/ 2147483647 h 528"/>
                      <a:gd name="T4" fmla="*/ 2147483647 w 414"/>
                      <a:gd name="T5" fmla="*/ 2147483647 h 528"/>
                      <a:gd name="T6" fmla="*/ 2147483647 w 414"/>
                      <a:gd name="T7" fmla="*/ 2147483647 h 528"/>
                      <a:gd name="T8" fmla="*/ 2147483647 w 414"/>
                      <a:gd name="T9" fmla="*/ 2147483647 h 528"/>
                      <a:gd name="T10" fmla="*/ 2147483647 w 414"/>
                      <a:gd name="T11" fmla="*/ 2147483647 h 528"/>
                      <a:gd name="T12" fmla="*/ 2147483647 w 414"/>
                      <a:gd name="T13" fmla="*/ 2147483647 h 528"/>
                      <a:gd name="T14" fmla="*/ 2147483647 w 414"/>
                      <a:gd name="T15" fmla="*/ 2147483647 h 528"/>
                      <a:gd name="T16" fmla="*/ 2147483647 w 414"/>
                      <a:gd name="T17" fmla="*/ 2147483647 h 528"/>
                      <a:gd name="T18" fmla="*/ 2147483647 w 414"/>
                      <a:gd name="T19" fmla="*/ 2147483647 h 528"/>
                      <a:gd name="T20" fmla="*/ 2147483647 w 414"/>
                      <a:gd name="T21" fmla="*/ 2147483647 h 528"/>
                      <a:gd name="T22" fmla="*/ 2147483647 w 414"/>
                      <a:gd name="T23" fmla="*/ 2147483647 h 528"/>
                      <a:gd name="T24" fmla="*/ 2147483647 w 414"/>
                      <a:gd name="T25" fmla="*/ 2147483647 h 528"/>
                      <a:gd name="T26" fmla="*/ 2147483647 w 414"/>
                      <a:gd name="T27" fmla="*/ 2147483647 h 528"/>
                      <a:gd name="T28" fmla="*/ 2147483647 w 414"/>
                      <a:gd name="T29" fmla="*/ 2147483647 h 528"/>
                      <a:gd name="T30" fmla="*/ 2147483647 w 414"/>
                      <a:gd name="T31" fmla="*/ 2147483647 h 528"/>
                      <a:gd name="T32" fmla="*/ 2147483647 w 414"/>
                      <a:gd name="T33" fmla="*/ 2147483647 h 528"/>
                      <a:gd name="T34" fmla="*/ 2147483647 w 414"/>
                      <a:gd name="T35" fmla="*/ 2147483647 h 528"/>
                      <a:gd name="T36" fmla="*/ 2147483647 w 414"/>
                      <a:gd name="T37" fmla="*/ 2147483647 h 528"/>
                      <a:gd name="T38" fmla="*/ 2147483647 w 414"/>
                      <a:gd name="T39" fmla="*/ 2147483647 h 528"/>
                      <a:gd name="T40" fmla="*/ 2147483647 w 414"/>
                      <a:gd name="T41" fmla="*/ 2147483647 h 528"/>
                      <a:gd name="T42" fmla="*/ 2147483647 w 414"/>
                      <a:gd name="T43" fmla="*/ 2147483647 h 528"/>
                      <a:gd name="T44" fmla="*/ 2147483647 w 414"/>
                      <a:gd name="T45" fmla="*/ 2147483647 h 528"/>
                      <a:gd name="T46" fmla="*/ 2147483647 w 414"/>
                      <a:gd name="T47" fmla="*/ 2147483647 h 528"/>
                      <a:gd name="T48" fmla="*/ 2147483647 w 414"/>
                      <a:gd name="T49" fmla="*/ 2147483647 h 528"/>
                      <a:gd name="T50" fmla="*/ 2147483647 w 414"/>
                      <a:gd name="T51" fmla="*/ 2147483647 h 528"/>
                      <a:gd name="T52" fmla="*/ 2147483647 w 414"/>
                      <a:gd name="T53" fmla="*/ 2147483647 h 528"/>
                      <a:gd name="T54" fmla="*/ 2147483647 w 414"/>
                      <a:gd name="T55" fmla="*/ 2147483647 h 528"/>
                      <a:gd name="T56" fmla="*/ 2147483647 w 414"/>
                      <a:gd name="T57" fmla="*/ 2147483647 h 528"/>
                      <a:gd name="T58" fmla="*/ 2147483647 w 414"/>
                      <a:gd name="T59" fmla="*/ 2147483647 h 528"/>
                      <a:gd name="T60" fmla="*/ 2147483647 w 414"/>
                      <a:gd name="T61" fmla="*/ 2147483647 h 528"/>
                      <a:gd name="T62" fmla="*/ 2147483647 w 414"/>
                      <a:gd name="T63" fmla="*/ 2147483647 h 528"/>
                      <a:gd name="T64" fmla="*/ 2147483647 w 414"/>
                      <a:gd name="T65" fmla="*/ 2147483647 h 528"/>
                      <a:gd name="T66" fmla="*/ 2147483647 w 414"/>
                      <a:gd name="T67" fmla="*/ 2147483647 h 528"/>
                      <a:gd name="T68" fmla="*/ 2147483647 w 414"/>
                      <a:gd name="T69" fmla="*/ 2147483647 h 528"/>
                      <a:gd name="T70" fmla="*/ 2147483647 w 414"/>
                      <a:gd name="T71" fmla="*/ 2147483647 h 528"/>
                      <a:gd name="T72" fmla="*/ 2147483647 w 414"/>
                      <a:gd name="T73" fmla="*/ 2147483647 h 528"/>
                      <a:gd name="T74" fmla="*/ 2147483647 w 414"/>
                      <a:gd name="T75" fmla="*/ 2147483647 h 528"/>
                      <a:gd name="T76" fmla="*/ 2147483647 w 414"/>
                      <a:gd name="T77" fmla="*/ 2147483647 h 528"/>
                      <a:gd name="T78" fmla="*/ 2147483647 w 414"/>
                      <a:gd name="T79" fmla="*/ 2147483647 h 528"/>
                      <a:gd name="T80" fmla="*/ 2147483647 w 414"/>
                      <a:gd name="T81" fmla="*/ 2147483647 h 528"/>
                      <a:gd name="T82" fmla="*/ 2147483647 w 414"/>
                      <a:gd name="T83" fmla="*/ 2147483647 h 528"/>
                      <a:gd name="T84" fmla="*/ 2147483647 w 414"/>
                      <a:gd name="T85" fmla="*/ 2147483647 h 528"/>
                      <a:gd name="T86" fmla="*/ 2147483647 w 414"/>
                      <a:gd name="T87" fmla="*/ 2147483647 h 528"/>
                      <a:gd name="T88" fmla="*/ 2147483647 w 414"/>
                      <a:gd name="T89" fmla="*/ 2147483647 h 52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14"/>
                      <a:gd name="T136" fmla="*/ 0 h 528"/>
                      <a:gd name="T137" fmla="*/ 414 w 414"/>
                      <a:gd name="T138" fmla="*/ 528 h 528"/>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14" h="528">
                        <a:moveTo>
                          <a:pt x="60" y="372"/>
                        </a:moveTo>
                        <a:lnTo>
                          <a:pt x="72" y="366"/>
                        </a:lnTo>
                        <a:lnTo>
                          <a:pt x="78" y="360"/>
                        </a:lnTo>
                        <a:lnTo>
                          <a:pt x="78" y="342"/>
                        </a:lnTo>
                        <a:lnTo>
                          <a:pt x="72" y="342"/>
                        </a:lnTo>
                        <a:lnTo>
                          <a:pt x="54" y="360"/>
                        </a:lnTo>
                        <a:lnTo>
                          <a:pt x="54" y="372"/>
                        </a:lnTo>
                        <a:lnTo>
                          <a:pt x="60" y="372"/>
                        </a:lnTo>
                        <a:close/>
                        <a:moveTo>
                          <a:pt x="414" y="174"/>
                        </a:moveTo>
                        <a:lnTo>
                          <a:pt x="390" y="156"/>
                        </a:lnTo>
                        <a:lnTo>
                          <a:pt x="396" y="156"/>
                        </a:lnTo>
                        <a:lnTo>
                          <a:pt x="396" y="150"/>
                        </a:lnTo>
                        <a:lnTo>
                          <a:pt x="402" y="150"/>
                        </a:lnTo>
                        <a:lnTo>
                          <a:pt x="402" y="126"/>
                        </a:lnTo>
                        <a:lnTo>
                          <a:pt x="372" y="126"/>
                        </a:lnTo>
                        <a:lnTo>
                          <a:pt x="360" y="114"/>
                        </a:lnTo>
                        <a:lnTo>
                          <a:pt x="360" y="108"/>
                        </a:lnTo>
                        <a:lnTo>
                          <a:pt x="354" y="102"/>
                        </a:lnTo>
                        <a:lnTo>
                          <a:pt x="354" y="96"/>
                        </a:lnTo>
                        <a:lnTo>
                          <a:pt x="342" y="90"/>
                        </a:lnTo>
                        <a:lnTo>
                          <a:pt x="336" y="90"/>
                        </a:lnTo>
                        <a:lnTo>
                          <a:pt x="330" y="96"/>
                        </a:lnTo>
                        <a:lnTo>
                          <a:pt x="330" y="108"/>
                        </a:lnTo>
                        <a:lnTo>
                          <a:pt x="306" y="108"/>
                        </a:lnTo>
                        <a:lnTo>
                          <a:pt x="300" y="102"/>
                        </a:lnTo>
                        <a:lnTo>
                          <a:pt x="288" y="96"/>
                        </a:lnTo>
                        <a:lnTo>
                          <a:pt x="282" y="102"/>
                        </a:lnTo>
                        <a:lnTo>
                          <a:pt x="270" y="102"/>
                        </a:lnTo>
                        <a:lnTo>
                          <a:pt x="258" y="96"/>
                        </a:lnTo>
                        <a:lnTo>
                          <a:pt x="252" y="90"/>
                        </a:lnTo>
                        <a:lnTo>
                          <a:pt x="252" y="84"/>
                        </a:lnTo>
                        <a:lnTo>
                          <a:pt x="246" y="72"/>
                        </a:lnTo>
                        <a:lnTo>
                          <a:pt x="240" y="66"/>
                        </a:lnTo>
                        <a:lnTo>
                          <a:pt x="228" y="60"/>
                        </a:lnTo>
                        <a:lnTo>
                          <a:pt x="210" y="60"/>
                        </a:lnTo>
                        <a:lnTo>
                          <a:pt x="204" y="48"/>
                        </a:lnTo>
                        <a:lnTo>
                          <a:pt x="168" y="30"/>
                        </a:lnTo>
                        <a:lnTo>
                          <a:pt x="162" y="18"/>
                        </a:lnTo>
                        <a:lnTo>
                          <a:pt x="150" y="12"/>
                        </a:lnTo>
                        <a:lnTo>
                          <a:pt x="144" y="0"/>
                        </a:lnTo>
                        <a:lnTo>
                          <a:pt x="144" y="12"/>
                        </a:lnTo>
                        <a:lnTo>
                          <a:pt x="150" y="18"/>
                        </a:lnTo>
                        <a:lnTo>
                          <a:pt x="150" y="36"/>
                        </a:lnTo>
                        <a:lnTo>
                          <a:pt x="144" y="42"/>
                        </a:lnTo>
                        <a:lnTo>
                          <a:pt x="120" y="54"/>
                        </a:lnTo>
                        <a:lnTo>
                          <a:pt x="102" y="54"/>
                        </a:lnTo>
                        <a:lnTo>
                          <a:pt x="96" y="42"/>
                        </a:lnTo>
                        <a:lnTo>
                          <a:pt x="90" y="42"/>
                        </a:lnTo>
                        <a:lnTo>
                          <a:pt x="78" y="54"/>
                        </a:lnTo>
                        <a:lnTo>
                          <a:pt x="66" y="60"/>
                        </a:lnTo>
                        <a:lnTo>
                          <a:pt x="60" y="72"/>
                        </a:lnTo>
                        <a:lnTo>
                          <a:pt x="60" y="84"/>
                        </a:lnTo>
                        <a:lnTo>
                          <a:pt x="66" y="90"/>
                        </a:lnTo>
                        <a:lnTo>
                          <a:pt x="72" y="102"/>
                        </a:lnTo>
                        <a:lnTo>
                          <a:pt x="72" y="120"/>
                        </a:lnTo>
                        <a:lnTo>
                          <a:pt x="66" y="126"/>
                        </a:lnTo>
                        <a:lnTo>
                          <a:pt x="54" y="132"/>
                        </a:lnTo>
                        <a:lnTo>
                          <a:pt x="42" y="144"/>
                        </a:lnTo>
                        <a:lnTo>
                          <a:pt x="42" y="162"/>
                        </a:lnTo>
                        <a:lnTo>
                          <a:pt x="48" y="168"/>
                        </a:lnTo>
                        <a:lnTo>
                          <a:pt x="54" y="180"/>
                        </a:lnTo>
                        <a:lnTo>
                          <a:pt x="36" y="180"/>
                        </a:lnTo>
                        <a:lnTo>
                          <a:pt x="36" y="198"/>
                        </a:lnTo>
                        <a:lnTo>
                          <a:pt x="0" y="216"/>
                        </a:lnTo>
                        <a:lnTo>
                          <a:pt x="24" y="228"/>
                        </a:lnTo>
                        <a:lnTo>
                          <a:pt x="12" y="258"/>
                        </a:lnTo>
                        <a:lnTo>
                          <a:pt x="24" y="270"/>
                        </a:lnTo>
                        <a:lnTo>
                          <a:pt x="24" y="282"/>
                        </a:lnTo>
                        <a:lnTo>
                          <a:pt x="6" y="300"/>
                        </a:lnTo>
                        <a:lnTo>
                          <a:pt x="0" y="300"/>
                        </a:lnTo>
                        <a:lnTo>
                          <a:pt x="12" y="312"/>
                        </a:lnTo>
                        <a:lnTo>
                          <a:pt x="6" y="318"/>
                        </a:lnTo>
                        <a:lnTo>
                          <a:pt x="6" y="324"/>
                        </a:lnTo>
                        <a:lnTo>
                          <a:pt x="18" y="336"/>
                        </a:lnTo>
                        <a:lnTo>
                          <a:pt x="30" y="342"/>
                        </a:lnTo>
                        <a:lnTo>
                          <a:pt x="60" y="342"/>
                        </a:lnTo>
                        <a:lnTo>
                          <a:pt x="72" y="330"/>
                        </a:lnTo>
                        <a:lnTo>
                          <a:pt x="72" y="324"/>
                        </a:lnTo>
                        <a:lnTo>
                          <a:pt x="96" y="330"/>
                        </a:lnTo>
                        <a:lnTo>
                          <a:pt x="102" y="342"/>
                        </a:lnTo>
                        <a:lnTo>
                          <a:pt x="102" y="348"/>
                        </a:lnTo>
                        <a:lnTo>
                          <a:pt x="96" y="366"/>
                        </a:lnTo>
                        <a:lnTo>
                          <a:pt x="90" y="372"/>
                        </a:lnTo>
                        <a:lnTo>
                          <a:pt x="90" y="384"/>
                        </a:lnTo>
                        <a:lnTo>
                          <a:pt x="84" y="396"/>
                        </a:lnTo>
                        <a:lnTo>
                          <a:pt x="72" y="402"/>
                        </a:lnTo>
                        <a:lnTo>
                          <a:pt x="66" y="402"/>
                        </a:lnTo>
                        <a:lnTo>
                          <a:pt x="60" y="408"/>
                        </a:lnTo>
                        <a:lnTo>
                          <a:pt x="54" y="408"/>
                        </a:lnTo>
                        <a:lnTo>
                          <a:pt x="60" y="408"/>
                        </a:lnTo>
                        <a:lnTo>
                          <a:pt x="72" y="414"/>
                        </a:lnTo>
                        <a:lnTo>
                          <a:pt x="78" y="414"/>
                        </a:lnTo>
                        <a:lnTo>
                          <a:pt x="78" y="420"/>
                        </a:lnTo>
                        <a:lnTo>
                          <a:pt x="72" y="426"/>
                        </a:lnTo>
                        <a:lnTo>
                          <a:pt x="66" y="438"/>
                        </a:lnTo>
                        <a:lnTo>
                          <a:pt x="54" y="444"/>
                        </a:lnTo>
                        <a:lnTo>
                          <a:pt x="48" y="456"/>
                        </a:lnTo>
                        <a:lnTo>
                          <a:pt x="42" y="462"/>
                        </a:lnTo>
                        <a:lnTo>
                          <a:pt x="54" y="474"/>
                        </a:lnTo>
                        <a:lnTo>
                          <a:pt x="42" y="486"/>
                        </a:lnTo>
                        <a:lnTo>
                          <a:pt x="48" y="492"/>
                        </a:lnTo>
                        <a:lnTo>
                          <a:pt x="54" y="492"/>
                        </a:lnTo>
                        <a:lnTo>
                          <a:pt x="66" y="486"/>
                        </a:lnTo>
                        <a:lnTo>
                          <a:pt x="78" y="474"/>
                        </a:lnTo>
                        <a:lnTo>
                          <a:pt x="90" y="486"/>
                        </a:lnTo>
                        <a:lnTo>
                          <a:pt x="120" y="486"/>
                        </a:lnTo>
                        <a:lnTo>
                          <a:pt x="120" y="492"/>
                        </a:lnTo>
                        <a:lnTo>
                          <a:pt x="126" y="498"/>
                        </a:lnTo>
                        <a:lnTo>
                          <a:pt x="126" y="516"/>
                        </a:lnTo>
                        <a:lnTo>
                          <a:pt x="132" y="528"/>
                        </a:lnTo>
                        <a:lnTo>
                          <a:pt x="150" y="528"/>
                        </a:lnTo>
                        <a:lnTo>
                          <a:pt x="150" y="522"/>
                        </a:lnTo>
                        <a:lnTo>
                          <a:pt x="156" y="516"/>
                        </a:lnTo>
                        <a:lnTo>
                          <a:pt x="156" y="510"/>
                        </a:lnTo>
                        <a:lnTo>
                          <a:pt x="162" y="504"/>
                        </a:lnTo>
                        <a:lnTo>
                          <a:pt x="180" y="504"/>
                        </a:lnTo>
                        <a:lnTo>
                          <a:pt x="180" y="474"/>
                        </a:lnTo>
                        <a:lnTo>
                          <a:pt x="186" y="462"/>
                        </a:lnTo>
                        <a:lnTo>
                          <a:pt x="186" y="438"/>
                        </a:lnTo>
                        <a:lnTo>
                          <a:pt x="198" y="426"/>
                        </a:lnTo>
                        <a:lnTo>
                          <a:pt x="198" y="408"/>
                        </a:lnTo>
                        <a:lnTo>
                          <a:pt x="210" y="402"/>
                        </a:lnTo>
                        <a:lnTo>
                          <a:pt x="210" y="396"/>
                        </a:lnTo>
                        <a:lnTo>
                          <a:pt x="228" y="378"/>
                        </a:lnTo>
                        <a:lnTo>
                          <a:pt x="246" y="366"/>
                        </a:lnTo>
                        <a:lnTo>
                          <a:pt x="264" y="360"/>
                        </a:lnTo>
                        <a:lnTo>
                          <a:pt x="324" y="330"/>
                        </a:lnTo>
                        <a:lnTo>
                          <a:pt x="342" y="318"/>
                        </a:lnTo>
                        <a:lnTo>
                          <a:pt x="354" y="300"/>
                        </a:lnTo>
                        <a:lnTo>
                          <a:pt x="366" y="288"/>
                        </a:lnTo>
                        <a:lnTo>
                          <a:pt x="372" y="276"/>
                        </a:lnTo>
                        <a:lnTo>
                          <a:pt x="384" y="264"/>
                        </a:lnTo>
                        <a:lnTo>
                          <a:pt x="390" y="252"/>
                        </a:lnTo>
                        <a:lnTo>
                          <a:pt x="402" y="210"/>
                        </a:lnTo>
                        <a:lnTo>
                          <a:pt x="414" y="204"/>
                        </a:lnTo>
                        <a:lnTo>
                          <a:pt x="414" y="17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48" name="East Timor"/>
                  <p:cNvSpPr>
                    <a:spLocks noEditPoints="1"/>
                  </p:cNvSpPr>
                  <p:nvPr/>
                </p:nvSpPr>
                <p:spPr bwMode="gray">
                  <a:xfrm>
                    <a:off x="4903" y="2480"/>
                    <a:ext cx="64" cy="30"/>
                  </a:xfrm>
                  <a:custGeom>
                    <a:avLst/>
                    <a:gdLst>
                      <a:gd name="T0" fmla="*/ 2147483647 w 252"/>
                      <a:gd name="T1" fmla="*/ 0 h 120"/>
                      <a:gd name="T2" fmla="*/ 2147483647 w 252"/>
                      <a:gd name="T3" fmla="*/ 2147483647 h 120"/>
                      <a:gd name="T4" fmla="*/ 2147483647 w 252"/>
                      <a:gd name="T5" fmla="*/ 2147483647 h 120"/>
                      <a:gd name="T6" fmla="*/ 2147483647 w 252"/>
                      <a:gd name="T7" fmla="*/ 2147483647 h 120"/>
                      <a:gd name="T8" fmla="*/ 2147483647 w 252"/>
                      <a:gd name="T9" fmla="*/ 2147483647 h 120"/>
                      <a:gd name="T10" fmla="*/ 2147483647 w 252"/>
                      <a:gd name="T11" fmla="*/ 2147483647 h 120"/>
                      <a:gd name="T12" fmla="*/ 2147483647 w 252"/>
                      <a:gd name="T13" fmla="*/ 2147483647 h 120"/>
                      <a:gd name="T14" fmla="*/ 2147483647 w 252"/>
                      <a:gd name="T15" fmla="*/ 2147483647 h 120"/>
                      <a:gd name="T16" fmla="*/ 2147483647 w 252"/>
                      <a:gd name="T17" fmla="*/ 2147483647 h 120"/>
                      <a:gd name="T18" fmla="*/ 2147483647 w 252"/>
                      <a:gd name="T19" fmla="*/ 2147483647 h 120"/>
                      <a:gd name="T20" fmla="*/ 2147483647 w 252"/>
                      <a:gd name="T21" fmla="*/ 2147483647 h 120"/>
                      <a:gd name="T22" fmla="*/ 2147483647 w 252"/>
                      <a:gd name="T23" fmla="*/ 2147483647 h 120"/>
                      <a:gd name="T24" fmla="*/ 2147483647 w 252"/>
                      <a:gd name="T25" fmla="*/ 2147483647 h 120"/>
                      <a:gd name="T26" fmla="*/ 2147483647 w 252"/>
                      <a:gd name="T27" fmla="*/ 2147483647 h 120"/>
                      <a:gd name="T28" fmla="*/ 2147483647 w 252"/>
                      <a:gd name="T29" fmla="*/ 2147483647 h 120"/>
                      <a:gd name="T30" fmla="*/ 2147483647 w 252"/>
                      <a:gd name="T31" fmla="*/ 2147483647 h 120"/>
                      <a:gd name="T32" fmla="*/ 2147483647 w 252"/>
                      <a:gd name="T33" fmla="*/ 2147483647 h 120"/>
                      <a:gd name="T34" fmla="*/ 2147483647 w 252"/>
                      <a:gd name="T35" fmla="*/ 2147483647 h 120"/>
                      <a:gd name="T36" fmla="*/ 2147483647 w 252"/>
                      <a:gd name="T37" fmla="*/ 2147483647 h 120"/>
                      <a:gd name="T38" fmla="*/ 2147483647 w 252"/>
                      <a:gd name="T39" fmla="*/ 2147483647 h 120"/>
                      <a:gd name="T40" fmla="*/ 2147483647 w 252"/>
                      <a:gd name="T41" fmla="*/ 2147483647 h 120"/>
                      <a:gd name="T42" fmla="*/ 2147483647 w 252"/>
                      <a:gd name="T43" fmla="*/ 2147483647 h 120"/>
                      <a:gd name="T44" fmla="*/ 2147483647 w 252"/>
                      <a:gd name="T45" fmla="*/ 2147483647 h 120"/>
                      <a:gd name="T46" fmla="*/ 2147483647 w 252"/>
                      <a:gd name="T47" fmla="*/ 0 h 120"/>
                      <a:gd name="T48" fmla="*/ 0 w 252"/>
                      <a:gd name="T49" fmla="*/ 2147483647 h 120"/>
                      <a:gd name="T50" fmla="*/ 2147483647 w 252"/>
                      <a:gd name="T51" fmla="*/ 2147483647 h 120"/>
                      <a:gd name="T52" fmla="*/ 2147483647 w 252"/>
                      <a:gd name="T53" fmla="*/ 2147483647 h 120"/>
                      <a:gd name="T54" fmla="*/ 2147483647 w 252"/>
                      <a:gd name="T55" fmla="*/ 2147483647 h 120"/>
                      <a:gd name="T56" fmla="*/ 2147483647 w 252"/>
                      <a:gd name="T57" fmla="*/ 2147483647 h 120"/>
                      <a:gd name="T58" fmla="*/ 2147483647 w 252"/>
                      <a:gd name="T59" fmla="*/ 2147483647 h 120"/>
                      <a:gd name="T60" fmla="*/ 2147483647 w 252"/>
                      <a:gd name="T61" fmla="*/ 2147483647 h 120"/>
                      <a:gd name="T62" fmla="*/ 2147483647 w 252"/>
                      <a:gd name="T63" fmla="*/ 2147483647 h 120"/>
                      <a:gd name="T64" fmla="*/ 0 w 252"/>
                      <a:gd name="T65" fmla="*/ 2147483647 h 12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52"/>
                      <a:gd name="T100" fmla="*/ 0 h 120"/>
                      <a:gd name="T101" fmla="*/ 252 w 252"/>
                      <a:gd name="T102" fmla="*/ 120 h 120"/>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52" h="120">
                        <a:moveTo>
                          <a:pt x="228" y="0"/>
                        </a:moveTo>
                        <a:lnTo>
                          <a:pt x="204" y="24"/>
                        </a:lnTo>
                        <a:lnTo>
                          <a:pt x="114" y="24"/>
                        </a:lnTo>
                        <a:lnTo>
                          <a:pt x="108" y="30"/>
                        </a:lnTo>
                        <a:lnTo>
                          <a:pt x="102" y="42"/>
                        </a:lnTo>
                        <a:lnTo>
                          <a:pt x="96" y="48"/>
                        </a:lnTo>
                        <a:lnTo>
                          <a:pt x="90" y="48"/>
                        </a:lnTo>
                        <a:lnTo>
                          <a:pt x="78" y="54"/>
                        </a:lnTo>
                        <a:lnTo>
                          <a:pt x="90" y="72"/>
                        </a:lnTo>
                        <a:lnTo>
                          <a:pt x="84" y="78"/>
                        </a:lnTo>
                        <a:lnTo>
                          <a:pt x="72" y="102"/>
                        </a:lnTo>
                        <a:lnTo>
                          <a:pt x="72" y="114"/>
                        </a:lnTo>
                        <a:lnTo>
                          <a:pt x="78" y="120"/>
                        </a:lnTo>
                        <a:lnTo>
                          <a:pt x="78" y="114"/>
                        </a:lnTo>
                        <a:lnTo>
                          <a:pt x="84" y="108"/>
                        </a:lnTo>
                        <a:lnTo>
                          <a:pt x="96" y="108"/>
                        </a:lnTo>
                        <a:lnTo>
                          <a:pt x="132" y="84"/>
                        </a:lnTo>
                        <a:lnTo>
                          <a:pt x="138" y="90"/>
                        </a:lnTo>
                        <a:lnTo>
                          <a:pt x="162" y="90"/>
                        </a:lnTo>
                        <a:lnTo>
                          <a:pt x="186" y="78"/>
                        </a:lnTo>
                        <a:lnTo>
                          <a:pt x="198" y="66"/>
                        </a:lnTo>
                        <a:lnTo>
                          <a:pt x="210" y="60"/>
                        </a:lnTo>
                        <a:lnTo>
                          <a:pt x="252" y="18"/>
                        </a:lnTo>
                        <a:lnTo>
                          <a:pt x="228" y="0"/>
                        </a:lnTo>
                        <a:close/>
                        <a:moveTo>
                          <a:pt x="0" y="90"/>
                        </a:moveTo>
                        <a:lnTo>
                          <a:pt x="6" y="102"/>
                        </a:lnTo>
                        <a:lnTo>
                          <a:pt x="18" y="96"/>
                        </a:lnTo>
                        <a:lnTo>
                          <a:pt x="24" y="90"/>
                        </a:lnTo>
                        <a:lnTo>
                          <a:pt x="36" y="90"/>
                        </a:lnTo>
                        <a:lnTo>
                          <a:pt x="36" y="84"/>
                        </a:lnTo>
                        <a:lnTo>
                          <a:pt x="42" y="72"/>
                        </a:lnTo>
                        <a:lnTo>
                          <a:pt x="18" y="72"/>
                        </a:lnTo>
                        <a:lnTo>
                          <a:pt x="0" y="9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49" name="Dominican Republic"/>
                  <p:cNvSpPr>
                    <a:spLocks/>
                  </p:cNvSpPr>
                  <p:nvPr/>
                </p:nvSpPr>
                <p:spPr bwMode="gray">
                  <a:xfrm>
                    <a:off x="1365" y="1900"/>
                    <a:ext cx="64" cy="43"/>
                  </a:xfrm>
                  <a:custGeom>
                    <a:avLst/>
                    <a:gdLst>
                      <a:gd name="T0" fmla="*/ 2147483647 w 252"/>
                      <a:gd name="T1" fmla="*/ 2147483647 h 168"/>
                      <a:gd name="T2" fmla="*/ 2147483647 w 252"/>
                      <a:gd name="T3" fmla="*/ 2147483647 h 168"/>
                      <a:gd name="T4" fmla="*/ 2147483647 w 252"/>
                      <a:gd name="T5" fmla="*/ 2147483647 h 168"/>
                      <a:gd name="T6" fmla="*/ 2147483647 w 252"/>
                      <a:gd name="T7" fmla="*/ 2147483647 h 168"/>
                      <a:gd name="T8" fmla="*/ 2147483647 w 252"/>
                      <a:gd name="T9" fmla="*/ 2147483647 h 168"/>
                      <a:gd name="T10" fmla="*/ 2147483647 w 252"/>
                      <a:gd name="T11" fmla="*/ 2147483647 h 168"/>
                      <a:gd name="T12" fmla="*/ 2147483647 w 252"/>
                      <a:gd name="T13" fmla="*/ 2147483647 h 168"/>
                      <a:gd name="T14" fmla="*/ 2147483647 w 252"/>
                      <a:gd name="T15" fmla="*/ 2147483647 h 168"/>
                      <a:gd name="T16" fmla="*/ 2147483647 w 252"/>
                      <a:gd name="T17" fmla="*/ 2147483647 h 168"/>
                      <a:gd name="T18" fmla="*/ 2147483647 w 252"/>
                      <a:gd name="T19" fmla="*/ 2147483647 h 168"/>
                      <a:gd name="T20" fmla="*/ 2147483647 w 252"/>
                      <a:gd name="T21" fmla="*/ 0 h 168"/>
                      <a:gd name="T22" fmla="*/ 2147483647 w 252"/>
                      <a:gd name="T23" fmla="*/ 0 h 168"/>
                      <a:gd name="T24" fmla="*/ 2147483647 w 252"/>
                      <a:gd name="T25" fmla="*/ 2147483647 h 168"/>
                      <a:gd name="T26" fmla="*/ 2147483647 w 252"/>
                      <a:gd name="T27" fmla="*/ 2147483647 h 168"/>
                      <a:gd name="T28" fmla="*/ 2147483647 w 252"/>
                      <a:gd name="T29" fmla="*/ 2147483647 h 168"/>
                      <a:gd name="T30" fmla="*/ 2147483647 w 252"/>
                      <a:gd name="T31" fmla="*/ 2147483647 h 168"/>
                      <a:gd name="T32" fmla="*/ 2147483647 w 252"/>
                      <a:gd name="T33" fmla="*/ 2147483647 h 168"/>
                      <a:gd name="T34" fmla="*/ 2147483647 w 252"/>
                      <a:gd name="T35" fmla="*/ 2147483647 h 168"/>
                      <a:gd name="T36" fmla="*/ 2147483647 w 252"/>
                      <a:gd name="T37" fmla="*/ 2147483647 h 168"/>
                      <a:gd name="T38" fmla="*/ 2147483647 w 252"/>
                      <a:gd name="T39" fmla="*/ 2147483647 h 168"/>
                      <a:gd name="T40" fmla="*/ 2147483647 w 252"/>
                      <a:gd name="T41" fmla="*/ 2147483647 h 168"/>
                      <a:gd name="T42" fmla="*/ 0 w 252"/>
                      <a:gd name="T43" fmla="*/ 2147483647 h 168"/>
                      <a:gd name="T44" fmla="*/ 0 w 252"/>
                      <a:gd name="T45" fmla="*/ 2147483647 h 168"/>
                      <a:gd name="T46" fmla="*/ 2147483647 w 252"/>
                      <a:gd name="T47" fmla="*/ 2147483647 h 168"/>
                      <a:gd name="T48" fmla="*/ 0 w 252"/>
                      <a:gd name="T49" fmla="*/ 2147483647 h 168"/>
                      <a:gd name="T50" fmla="*/ 2147483647 w 252"/>
                      <a:gd name="T51" fmla="*/ 2147483647 h 168"/>
                      <a:gd name="T52" fmla="*/ 2147483647 w 252"/>
                      <a:gd name="T53" fmla="*/ 2147483647 h 168"/>
                      <a:gd name="T54" fmla="*/ 2147483647 w 252"/>
                      <a:gd name="T55" fmla="*/ 2147483647 h 168"/>
                      <a:gd name="T56" fmla="*/ 2147483647 w 252"/>
                      <a:gd name="T57" fmla="*/ 2147483647 h 168"/>
                      <a:gd name="T58" fmla="*/ 2147483647 w 252"/>
                      <a:gd name="T59" fmla="*/ 2147483647 h 168"/>
                      <a:gd name="T60" fmla="*/ 2147483647 w 252"/>
                      <a:gd name="T61" fmla="*/ 2147483647 h 168"/>
                      <a:gd name="T62" fmla="*/ 2147483647 w 252"/>
                      <a:gd name="T63" fmla="*/ 2147483647 h 168"/>
                      <a:gd name="T64" fmla="*/ 2147483647 w 252"/>
                      <a:gd name="T65" fmla="*/ 2147483647 h 168"/>
                      <a:gd name="T66" fmla="*/ 2147483647 w 252"/>
                      <a:gd name="T67" fmla="*/ 2147483647 h 16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52"/>
                      <a:gd name="T103" fmla="*/ 0 h 168"/>
                      <a:gd name="T104" fmla="*/ 252 w 252"/>
                      <a:gd name="T105" fmla="*/ 168 h 16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52" h="168">
                        <a:moveTo>
                          <a:pt x="246" y="102"/>
                        </a:moveTo>
                        <a:lnTo>
                          <a:pt x="234" y="96"/>
                        </a:lnTo>
                        <a:lnTo>
                          <a:pt x="216" y="78"/>
                        </a:lnTo>
                        <a:lnTo>
                          <a:pt x="192" y="66"/>
                        </a:lnTo>
                        <a:lnTo>
                          <a:pt x="156" y="54"/>
                        </a:lnTo>
                        <a:lnTo>
                          <a:pt x="132" y="42"/>
                        </a:lnTo>
                        <a:lnTo>
                          <a:pt x="126" y="30"/>
                        </a:lnTo>
                        <a:lnTo>
                          <a:pt x="108" y="12"/>
                        </a:lnTo>
                        <a:lnTo>
                          <a:pt x="96" y="6"/>
                        </a:lnTo>
                        <a:lnTo>
                          <a:pt x="84" y="6"/>
                        </a:lnTo>
                        <a:lnTo>
                          <a:pt x="60" y="0"/>
                        </a:lnTo>
                        <a:lnTo>
                          <a:pt x="30" y="0"/>
                        </a:lnTo>
                        <a:lnTo>
                          <a:pt x="24" y="6"/>
                        </a:lnTo>
                        <a:lnTo>
                          <a:pt x="18" y="6"/>
                        </a:lnTo>
                        <a:lnTo>
                          <a:pt x="30" y="42"/>
                        </a:lnTo>
                        <a:lnTo>
                          <a:pt x="30" y="54"/>
                        </a:lnTo>
                        <a:lnTo>
                          <a:pt x="24" y="60"/>
                        </a:lnTo>
                        <a:lnTo>
                          <a:pt x="18" y="72"/>
                        </a:lnTo>
                        <a:lnTo>
                          <a:pt x="12" y="78"/>
                        </a:lnTo>
                        <a:lnTo>
                          <a:pt x="12" y="90"/>
                        </a:lnTo>
                        <a:lnTo>
                          <a:pt x="6" y="102"/>
                        </a:lnTo>
                        <a:lnTo>
                          <a:pt x="0" y="108"/>
                        </a:lnTo>
                        <a:lnTo>
                          <a:pt x="0" y="114"/>
                        </a:lnTo>
                        <a:lnTo>
                          <a:pt x="12" y="144"/>
                        </a:lnTo>
                        <a:lnTo>
                          <a:pt x="0" y="126"/>
                        </a:lnTo>
                        <a:lnTo>
                          <a:pt x="30" y="168"/>
                        </a:lnTo>
                        <a:lnTo>
                          <a:pt x="78" y="132"/>
                        </a:lnTo>
                        <a:lnTo>
                          <a:pt x="174" y="132"/>
                        </a:lnTo>
                        <a:lnTo>
                          <a:pt x="186" y="138"/>
                        </a:lnTo>
                        <a:lnTo>
                          <a:pt x="240" y="138"/>
                        </a:lnTo>
                        <a:lnTo>
                          <a:pt x="246" y="132"/>
                        </a:lnTo>
                        <a:lnTo>
                          <a:pt x="252" y="120"/>
                        </a:lnTo>
                        <a:lnTo>
                          <a:pt x="252" y="114"/>
                        </a:lnTo>
                        <a:lnTo>
                          <a:pt x="246" y="10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50" name="Djibouti"/>
                  <p:cNvSpPr>
                    <a:spLocks/>
                  </p:cNvSpPr>
                  <p:nvPr/>
                </p:nvSpPr>
                <p:spPr bwMode="gray">
                  <a:xfrm>
                    <a:off x="3408" y="2049"/>
                    <a:ext cx="30" cy="35"/>
                  </a:xfrm>
                  <a:custGeom>
                    <a:avLst/>
                    <a:gdLst>
                      <a:gd name="T0" fmla="*/ 2147483647 w 114"/>
                      <a:gd name="T1" fmla="*/ 2147483647 h 138"/>
                      <a:gd name="T2" fmla="*/ 2147483647 w 114"/>
                      <a:gd name="T3" fmla="*/ 2147483647 h 138"/>
                      <a:gd name="T4" fmla="*/ 2147483647 w 114"/>
                      <a:gd name="T5" fmla="*/ 2147483647 h 138"/>
                      <a:gd name="T6" fmla="*/ 0 w 114"/>
                      <a:gd name="T7" fmla="*/ 2147483647 h 138"/>
                      <a:gd name="T8" fmla="*/ 0 w 114"/>
                      <a:gd name="T9" fmla="*/ 2147483647 h 138"/>
                      <a:gd name="T10" fmla="*/ 2147483647 w 114"/>
                      <a:gd name="T11" fmla="*/ 2147483647 h 138"/>
                      <a:gd name="T12" fmla="*/ 2147483647 w 114"/>
                      <a:gd name="T13" fmla="*/ 2147483647 h 138"/>
                      <a:gd name="T14" fmla="*/ 2147483647 w 114"/>
                      <a:gd name="T15" fmla="*/ 2147483647 h 138"/>
                      <a:gd name="T16" fmla="*/ 2147483647 w 114"/>
                      <a:gd name="T17" fmla="*/ 2147483647 h 138"/>
                      <a:gd name="T18" fmla="*/ 2147483647 w 114"/>
                      <a:gd name="T19" fmla="*/ 2147483647 h 138"/>
                      <a:gd name="T20" fmla="*/ 2147483647 w 114"/>
                      <a:gd name="T21" fmla="*/ 2147483647 h 138"/>
                      <a:gd name="T22" fmla="*/ 2147483647 w 114"/>
                      <a:gd name="T23" fmla="*/ 2147483647 h 138"/>
                      <a:gd name="T24" fmla="*/ 2147483647 w 114"/>
                      <a:gd name="T25" fmla="*/ 2147483647 h 138"/>
                      <a:gd name="T26" fmla="*/ 2147483647 w 114"/>
                      <a:gd name="T27" fmla="*/ 2147483647 h 138"/>
                      <a:gd name="T28" fmla="*/ 2147483647 w 114"/>
                      <a:gd name="T29" fmla="*/ 2147483647 h 138"/>
                      <a:gd name="T30" fmla="*/ 2147483647 w 114"/>
                      <a:gd name="T31" fmla="*/ 2147483647 h 138"/>
                      <a:gd name="T32" fmla="*/ 2147483647 w 114"/>
                      <a:gd name="T33" fmla="*/ 2147483647 h 138"/>
                      <a:gd name="T34" fmla="*/ 2147483647 w 114"/>
                      <a:gd name="T35" fmla="*/ 2147483647 h 138"/>
                      <a:gd name="T36" fmla="*/ 2147483647 w 114"/>
                      <a:gd name="T37" fmla="*/ 2147483647 h 138"/>
                      <a:gd name="T38" fmla="*/ 2147483647 w 114"/>
                      <a:gd name="T39" fmla="*/ 2147483647 h 138"/>
                      <a:gd name="T40" fmla="*/ 2147483647 w 114"/>
                      <a:gd name="T41" fmla="*/ 2147483647 h 138"/>
                      <a:gd name="T42" fmla="*/ 2147483647 w 114"/>
                      <a:gd name="T43" fmla="*/ 2147483647 h 138"/>
                      <a:gd name="T44" fmla="*/ 2147483647 w 114"/>
                      <a:gd name="T45" fmla="*/ 2147483647 h 138"/>
                      <a:gd name="T46" fmla="*/ 2147483647 w 114"/>
                      <a:gd name="T47" fmla="*/ 2147483647 h 138"/>
                      <a:gd name="T48" fmla="*/ 2147483647 w 114"/>
                      <a:gd name="T49" fmla="*/ 2147483647 h 138"/>
                      <a:gd name="T50" fmla="*/ 2147483647 w 114"/>
                      <a:gd name="T51" fmla="*/ 2147483647 h 138"/>
                      <a:gd name="T52" fmla="*/ 2147483647 w 114"/>
                      <a:gd name="T53" fmla="*/ 2147483647 h 138"/>
                      <a:gd name="T54" fmla="*/ 2147483647 w 114"/>
                      <a:gd name="T55" fmla="*/ 0 h 138"/>
                      <a:gd name="T56" fmla="*/ 2147483647 w 114"/>
                      <a:gd name="T57" fmla="*/ 2147483647 h 138"/>
                      <a:gd name="T58" fmla="*/ 2147483647 w 114"/>
                      <a:gd name="T59" fmla="*/ 2147483647 h 13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14"/>
                      <a:gd name="T91" fmla="*/ 0 h 138"/>
                      <a:gd name="T92" fmla="*/ 114 w 114"/>
                      <a:gd name="T93" fmla="*/ 138 h 13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14" h="138">
                        <a:moveTo>
                          <a:pt x="72" y="24"/>
                        </a:moveTo>
                        <a:lnTo>
                          <a:pt x="48" y="12"/>
                        </a:lnTo>
                        <a:lnTo>
                          <a:pt x="18" y="66"/>
                        </a:lnTo>
                        <a:lnTo>
                          <a:pt x="0" y="84"/>
                        </a:lnTo>
                        <a:lnTo>
                          <a:pt x="0" y="96"/>
                        </a:lnTo>
                        <a:lnTo>
                          <a:pt x="6" y="114"/>
                        </a:lnTo>
                        <a:lnTo>
                          <a:pt x="6" y="126"/>
                        </a:lnTo>
                        <a:lnTo>
                          <a:pt x="18" y="138"/>
                        </a:lnTo>
                        <a:lnTo>
                          <a:pt x="42" y="138"/>
                        </a:lnTo>
                        <a:lnTo>
                          <a:pt x="48" y="132"/>
                        </a:lnTo>
                        <a:lnTo>
                          <a:pt x="54" y="132"/>
                        </a:lnTo>
                        <a:lnTo>
                          <a:pt x="60" y="126"/>
                        </a:lnTo>
                        <a:lnTo>
                          <a:pt x="72" y="126"/>
                        </a:lnTo>
                        <a:lnTo>
                          <a:pt x="84" y="132"/>
                        </a:lnTo>
                        <a:lnTo>
                          <a:pt x="90" y="138"/>
                        </a:lnTo>
                        <a:lnTo>
                          <a:pt x="90" y="132"/>
                        </a:lnTo>
                        <a:lnTo>
                          <a:pt x="114" y="108"/>
                        </a:lnTo>
                        <a:lnTo>
                          <a:pt x="114" y="102"/>
                        </a:lnTo>
                        <a:lnTo>
                          <a:pt x="102" y="90"/>
                        </a:lnTo>
                        <a:lnTo>
                          <a:pt x="66" y="90"/>
                        </a:lnTo>
                        <a:lnTo>
                          <a:pt x="78" y="84"/>
                        </a:lnTo>
                        <a:lnTo>
                          <a:pt x="84" y="72"/>
                        </a:lnTo>
                        <a:lnTo>
                          <a:pt x="96" y="66"/>
                        </a:lnTo>
                        <a:lnTo>
                          <a:pt x="102" y="54"/>
                        </a:lnTo>
                        <a:lnTo>
                          <a:pt x="114" y="42"/>
                        </a:lnTo>
                        <a:lnTo>
                          <a:pt x="114" y="24"/>
                        </a:lnTo>
                        <a:lnTo>
                          <a:pt x="108" y="12"/>
                        </a:lnTo>
                        <a:lnTo>
                          <a:pt x="96" y="0"/>
                        </a:lnTo>
                        <a:lnTo>
                          <a:pt x="84" y="6"/>
                        </a:lnTo>
                        <a:lnTo>
                          <a:pt x="72"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51" name="Denmark"/>
                  <p:cNvSpPr>
                    <a:spLocks noEditPoints="1"/>
                  </p:cNvSpPr>
                  <p:nvPr/>
                </p:nvSpPr>
                <p:spPr bwMode="gray">
                  <a:xfrm>
                    <a:off x="2805" y="1134"/>
                    <a:ext cx="71" cy="60"/>
                  </a:xfrm>
                  <a:custGeom>
                    <a:avLst/>
                    <a:gdLst>
                      <a:gd name="T0" fmla="*/ 2147483647 w 71"/>
                      <a:gd name="T1" fmla="*/ 2147483647 h 60"/>
                      <a:gd name="T2" fmla="*/ 2147483647 w 71"/>
                      <a:gd name="T3" fmla="*/ 2147483647 h 60"/>
                      <a:gd name="T4" fmla="*/ 2147483647 w 71"/>
                      <a:gd name="T5" fmla="*/ 2147483647 h 60"/>
                      <a:gd name="T6" fmla="*/ 2147483647 w 71"/>
                      <a:gd name="T7" fmla="*/ 2147483647 h 60"/>
                      <a:gd name="T8" fmla="*/ 2147483647 w 71"/>
                      <a:gd name="T9" fmla="*/ 2147483647 h 60"/>
                      <a:gd name="T10" fmla="*/ 2147483647 w 71"/>
                      <a:gd name="T11" fmla="*/ 2147483647 h 60"/>
                      <a:gd name="T12" fmla="*/ 2147483647 w 71"/>
                      <a:gd name="T13" fmla="*/ 2147483647 h 60"/>
                      <a:gd name="T14" fmla="*/ 2147483647 w 71"/>
                      <a:gd name="T15" fmla="*/ 2147483647 h 60"/>
                      <a:gd name="T16" fmla="*/ 2147483647 w 71"/>
                      <a:gd name="T17" fmla="*/ 2147483647 h 60"/>
                      <a:gd name="T18" fmla="*/ 2147483647 w 71"/>
                      <a:gd name="T19" fmla="*/ 2147483647 h 60"/>
                      <a:gd name="T20" fmla="*/ 2147483647 w 71"/>
                      <a:gd name="T21" fmla="*/ 2147483647 h 60"/>
                      <a:gd name="T22" fmla="*/ 2147483647 w 71"/>
                      <a:gd name="T23" fmla="*/ 2147483647 h 60"/>
                      <a:gd name="T24" fmla="*/ 2147483647 w 71"/>
                      <a:gd name="T25" fmla="*/ 2147483647 h 60"/>
                      <a:gd name="T26" fmla="*/ 2147483647 w 71"/>
                      <a:gd name="T27" fmla="*/ 2147483647 h 60"/>
                      <a:gd name="T28" fmla="*/ 2147483647 w 71"/>
                      <a:gd name="T29" fmla="*/ 2147483647 h 60"/>
                      <a:gd name="T30" fmla="*/ 2147483647 w 71"/>
                      <a:gd name="T31" fmla="*/ 2147483647 h 60"/>
                      <a:gd name="T32" fmla="*/ 2147483647 w 71"/>
                      <a:gd name="T33" fmla="*/ 2147483647 h 60"/>
                      <a:gd name="T34" fmla="*/ 2147483647 w 71"/>
                      <a:gd name="T35" fmla="*/ 2147483647 h 60"/>
                      <a:gd name="T36" fmla="*/ 2147483647 w 71"/>
                      <a:gd name="T37" fmla="*/ 2147483647 h 60"/>
                      <a:gd name="T38" fmla="*/ 2147483647 w 71"/>
                      <a:gd name="T39" fmla="*/ 2147483647 h 60"/>
                      <a:gd name="T40" fmla="*/ 2147483647 w 71"/>
                      <a:gd name="T41" fmla="*/ 2147483647 h 60"/>
                      <a:gd name="T42" fmla="*/ 2147483647 w 71"/>
                      <a:gd name="T43" fmla="*/ 2147483647 h 60"/>
                      <a:gd name="T44" fmla="*/ 2147483647 w 71"/>
                      <a:gd name="T45" fmla="*/ 2147483647 h 60"/>
                      <a:gd name="T46" fmla="*/ 2147483647 w 71"/>
                      <a:gd name="T47" fmla="*/ 2147483647 h 60"/>
                      <a:gd name="T48" fmla="*/ 2147483647 w 71"/>
                      <a:gd name="T49" fmla="*/ 2147483647 h 60"/>
                      <a:gd name="T50" fmla="*/ 2147483647 w 71"/>
                      <a:gd name="T51" fmla="*/ 2147483647 h 60"/>
                      <a:gd name="T52" fmla="*/ 2147483647 w 71"/>
                      <a:gd name="T53" fmla="*/ 2147483647 h 60"/>
                      <a:gd name="T54" fmla="*/ 2147483647 w 71"/>
                      <a:gd name="T55" fmla="*/ 2147483647 h 60"/>
                      <a:gd name="T56" fmla="*/ 2147483647 w 71"/>
                      <a:gd name="T57" fmla="*/ 2147483647 h 60"/>
                      <a:gd name="T58" fmla="*/ 2147483647 w 71"/>
                      <a:gd name="T59" fmla="*/ 2147483647 h 60"/>
                      <a:gd name="T60" fmla="*/ 2147483647 w 71"/>
                      <a:gd name="T61" fmla="*/ 2147483647 h 60"/>
                      <a:gd name="T62" fmla="*/ 2147483647 w 71"/>
                      <a:gd name="T63" fmla="*/ 0 h 60"/>
                      <a:gd name="T64" fmla="*/ 2147483647 w 71"/>
                      <a:gd name="T65" fmla="*/ 2147483647 h 60"/>
                      <a:gd name="T66" fmla="*/ 2147483647 w 71"/>
                      <a:gd name="T67" fmla="*/ 2147483647 h 60"/>
                      <a:gd name="T68" fmla="*/ 2147483647 w 71"/>
                      <a:gd name="T69" fmla="*/ 2147483647 h 60"/>
                      <a:gd name="T70" fmla="*/ 2147483647 w 71"/>
                      <a:gd name="T71" fmla="*/ 2147483647 h 60"/>
                      <a:gd name="T72" fmla="*/ 2147483647 w 71"/>
                      <a:gd name="T73" fmla="*/ 2147483647 h 60"/>
                      <a:gd name="T74" fmla="*/ 2147483647 w 71"/>
                      <a:gd name="T75" fmla="*/ 2147483647 h 60"/>
                      <a:gd name="T76" fmla="*/ 2147483647 w 71"/>
                      <a:gd name="T77" fmla="*/ 2147483647 h 60"/>
                      <a:gd name="T78" fmla="*/ 2147483647 w 71"/>
                      <a:gd name="T79" fmla="*/ 2147483647 h 60"/>
                      <a:gd name="T80" fmla="*/ 2147483647 w 71"/>
                      <a:gd name="T81" fmla="*/ 2147483647 h 60"/>
                      <a:gd name="T82" fmla="*/ 0 w 71"/>
                      <a:gd name="T83" fmla="*/ 2147483647 h 60"/>
                      <a:gd name="T84" fmla="*/ 0 w 71"/>
                      <a:gd name="T85" fmla="*/ 2147483647 h 60"/>
                      <a:gd name="T86" fmla="*/ 2147483647 w 71"/>
                      <a:gd name="T87" fmla="*/ 2147483647 h 60"/>
                      <a:gd name="T88" fmla="*/ 2147483647 w 71"/>
                      <a:gd name="T89" fmla="*/ 2147483647 h 60"/>
                      <a:gd name="T90" fmla="*/ 2147483647 w 71"/>
                      <a:gd name="T91" fmla="*/ 2147483647 h 60"/>
                      <a:gd name="T92" fmla="*/ 2147483647 w 71"/>
                      <a:gd name="T93" fmla="*/ 2147483647 h 60"/>
                      <a:gd name="T94" fmla="*/ 2147483647 w 71"/>
                      <a:gd name="T95" fmla="*/ 2147483647 h 60"/>
                      <a:gd name="T96" fmla="*/ 2147483647 w 71"/>
                      <a:gd name="T97" fmla="*/ 2147483647 h 60"/>
                      <a:gd name="T98" fmla="*/ 2147483647 w 71"/>
                      <a:gd name="T99" fmla="*/ 2147483647 h 60"/>
                      <a:gd name="T100" fmla="*/ 2147483647 w 71"/>
                      <a:gd name="T101" fmla="*/ 2147483647 h 60"/>
                      <a:gd name="T102" fmla="*/ 2147483647 w 71"/>
                      <a:gd name="T103" fmla="*/ 2147483647 h 60"/>
                      <a:gd name="T104" fmla="*/ 2147483647 w 71"/>
                      <a:gd name="T105" fmla="*/ 2147483647 h 60"/>
                      <a:gd name="T106" fmla="*/ 2147483647 w 71"/>
                      <a:gd name="T107" fmla="*/ 2147483647 h 60"/>
                      <a:gd name="T108" fmla="*/ 2147483647 w 71"/>
                      <a:gd name="T109" fmla="*/ 2147483647 h 60"/>
                      <a:gd name="T110" fmla="*/ 2147483647 w 71"/>
                      <a:gd name="T111" fmla="*/ 2147483647 h 60"/>
                      <a:gd name="T112" fmla="*/ 2147483647 w 71"/>
                      <a:gd name="T113" fmla="*/ 2147483647 h 60"/>
                      <a:gd name="T114" fmla="*/ 2147483647 w 71"/>
                      <a:gd name="T115" fmla="*/ 2147483647 h 60"/>
                      <a:gd name="T116" fmla="*/ 2147483647 w 71"/>
                      <a:gd name="T117" fmla="*/ 2147483647 h 60"/>
                      <a:gd name="T118" fmla="*/ 2147483647 w 71"/>
                      <a:gd name="T119" fmla="*/ 2147483647 h 60"/>
                      <a:gd name="T120" fmla="*/ 2147483647 w 71"/>
                      <a:gd name="T121" fmla="*/ 2147483647 h 6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71"/>
                      <a:gd name="T184" fmla="*/ 0 h 60"/>
                      <a:gd name="T185" fmla="*/ 71 w 71"/>
                      <a:gd name="T186" fmla="*/ 60 h 60"/>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71" h="60">
                        <a:moveTo>
                          <a:pt x="62" y="48"/>
                        </a:moveTo>
                        <a:lnTo>
                          <a:pt x="67" y="46"/>
                        </a:lnTo>
                        <a:lnTo>
                          <a:pt x="69" y="46"/>
                        </a:lnTo>
                        <a:lnTo>
                          <a:pt x="69" y="43"/>
                        </a:lnTo>
                        <a:lnTo>
                          <a:pt x="67" y="43"/>
                        </a:lnTo>
                        <a:lnTo>
                          <a:pt x="62" y="41"/>
                        </a:lnTo>
                        <a:lnTo>
                          <a:pt x="62" y="38"/>
                        </a:lnTo>
                        <a:lnTo>
                          <a:pt x="64" y="38"/>
                        </a:lnTo>
                        <a:lnTo>
                          <a:pt x="64" y="36"/>
                        </a:lnTo>
                        <a:lnTo>
                          <a:pt x="67" y="34"/>
                        </a:lnTo>
                        <a:lnTo>
                          <a:pt x="67" y="29"/>
                        </a:lnTo>
                        <a:lnTo>
                          <a:pt x="64" y="29"/>
                        </a:lnTo>
                        <a:lnTo>
                          <a:pt x="62" y="29"/>
                        </a:lnTo>
                        <a:lnTo>
                          <a:pt x="60" y="31"/>
                        </a:lnTo>
                        <a:lnTo>
                          <a:pt x="60" y="34"/>
                        </a:lnTo>
                        <a:lnTo>
                          <a:pt x="57" y="36"/>
                        </a:lnTo>
                        <a:lnTo>
                          <a:pt x="57" y="34"/>
                        </a:lnTo>
                        <a:lnTo>
                          <a:pt x="55" y="31"/>
                        </a:lnTo>
                        <a:lnTo>
                          <a:pt x="52" y="34"/>
                        </a:lnTo>
                        <a:lnTo>
                          <a:pt x="45" y="38"/>
                        </a:lnTo>
                        <a:lnTo>
                          <a:pt x="48" y="38"/>
                        </a:lnTo>
                        <a:lnTo>
                          <a:pt x="50" y="41"/>
                        </a:lnTo>
                        <a:lnTo>
                          <a:pt x="50" y="43"/>
                        </a:lnTo>
                        <a:lnTo>
                          <a:pt x="50" y="46"/>
                        </a:lnTo>
                        <a:lnTo>
                          <a:pt x="50" y="48"/>
                        </a:lnTo>
                        <a:lnTo>
                          <a:pt x="48" y="48"/>
                        </a:lnTo>
                        <a:lnTo>
                          <a:pt x="50" y="48"/>
                        </a:lnTo>
                        <a:lnTo>
                          <a:pt x="50" y="50"/>
                        </a:lnTo>
                        <a:lnTo>
                          <a:pt x="55" y="50"/>
                        </a:lnTo>
                        <a:lnTo>
                          <a:pt x="55" y="48"/>
                        </a:lnTo>
                        <a:lnTo>
                          <a:pt x="57" y="48"/>
                        </a:lnTo>
                        <a:lnTo>
                          <a:pt x="57" y="50"/>
                        </a:lnTo>
                        <a:lnTo>
                          <a:pt x="60" y="53"/>
                        </a:lnTo>
                        <a:lnTo>
                          <a:pt x="60" y="55"/>
                        </a:lnTo>
                        <a:lnTo>
                          <a:pt x="62" y="55"/>
                        </a:lnTo>
                        <a:lnTo>
                          <a:pt x="62" y="53"/>
                        </a:lnTo>
                        <a:lnTo>
                          <a:pt x="62" y="48"/>
                        </a:lnTo>
                        <a:close/>
                        <a:moveTo>
                          <a:pt x="71" y="53"/>
                        </a:moveTo>
                        <a:lnTo>
                          <a:pt x="62" y="55"/>
                        </a:lnTo>
                        <a:lnTo>
                          <a:pt x="60" y="58"/>
                        </a:lnTo>
                        <a:lnTo>
                          <a:pt x="57" y="58"/>
                        </a:lnTo>
                        <a:lnTo>
                          <a:pt x="57" y="55"/>
                        </a:lnTo>
                        <a:lnTo>
                          <a:pt x="55" y="55"/>
                        </a:lnTo>
                        <a:lnTo>
                          <a:pt x="50" y="53"/>
                        </a:lnTo>
                        <a:lnTo>
                          <a:pt x="45" y="53"/>
                        </a:lnTo>
                        <a:lnTo>
                          <a:pt x="45" y="58"/>
                        </a:lnTo>
                        <a:lnTo>
                          <a:pt x="50" y="58"/>
                        </a:lnTo>
                        <a:lnTo>
                          <a:pt x="52" y="58"/>
                        </a:lnTo>
                        <a:lnTo>
                          <a:pt x="55" y="60"/>
                        </a:lnTo>
                        <a:lnTo>
                          <a:pt x="57" y="60"/>
                        </a:lnTo>
                        <a:lnTo>
                          <a:pt x="60" y="60"/>
                        </a:lnTo>
                        <a:lnTo>
                          <a:pt x="62" y="60"/>
                        </a:lnTo>
                        <a:lnTo>
                          <a:pt x="69" y="58"/>
                        </a:lnTo>
                        <a:lnTo>
                          <a:pt x="71" y="58"/>
                        </a:lnTo>
                        <a:lnTo>
                          <a:pt x="71" y="53"/>
                        </a:lnTo>
                        <a:close/>
                        <a:moveTo>
                          <a:pt x="31" y="12"/>
                        </a:moveTo>
                        <a:lnTo>
                          <a:pt x="36" y="7"/>
                        </a:lnTo>
                        <a:lnTo>
                          <a:pt x="36" y="3"/>
                        </a:lnTo>
                        <a:lnTo>
                          <a:pt x="36" y="0"/>
                        </a:lnTo>
                        <a:lnTo>
                          <a:pt x="26" y="0"/>
                        </a:lnTo>
                        <a:lnTo>
                          <a:pt x="26" y="3"/>
                        </a:lnTo>
                        <a:lnTo>
                          <a:pt x="21" y="7"/>
                        </a:lnTo>
                        <a:lnTo>
                          <a:pt x="21" y="10"/>
                        </a:lnTo>
                        <a:lnTo>
                          <a:pt x="19" y="10"/>
                        </a:lnTo>
                        <a:lnTo>
                          <a:pt x="19" y="19"/>
                        </a:lnTo>
                        <a:lnTo>
                          <a:pt x="14" y="14"/>
                        </a:lnTo>
                        <a:lnTo>
                          <a:pt x="12" y="7"/>
                        </a:lnTo>
                        <a:lnTo>
                          <a:pt x="7" y="10"/>
                        </a:lnTo>
                        <a:lnTo>
                          <a:pt x="5" y="10"/>
                        </a:lnTo>
                        <a:lnTo>
                          <a:pt x="5" y="12"/>
                        </a:lnTo>
                        <a:lnTo>
                          <a:pt x="5" y="14"/>
                        </a:lnTo>
                        <a:lnTo>
                          <a:pt x="7" y="14"/>
                        </a:lnTo>
                        <a:lnTo>
                          <a:pt x="12" y="19"/>
                        </a:lnTo>
                        <a:lnTo>
                          <a:pt x="12" y="22"/>
                        </a:lnTo>
                        <a:lnTo>
                          <a:pt x="5" y="19"/>
                        </a:lnTo>
                        <a:lnTo>
                          <a:pt x="2" y="24"/>
                        </a:lnTo>
                        <a:lnTo>
                          <a:pt x="0" y="24"/>
                        </a:lnTo>
                        <a:lnTo>
                          <a:pt x="0" y="29"/>
                        </a:lnTo>
                        <a:lnTo>
                          <a:pt x="0" y="31"/>
                        </a:lnTo>
                        <a:lnTo>
                          <a:pt x="5" y="34"/>
                        </a:lnTo>
                        <a:lnTo>
                          <a:pt x="7" y="34"/>
                        </a:lnTo>
                        <a:lnTo>
                          <a:pt x="2" y="38"/>
                        </a:lnTo>
                        <a:lnTo>
                          <a:pt x="2" y="41"/>
                        </a:lnTo>
                        <a:lnTo>
                          <a:pt x="5" y="43"/>
                        </a:lnTo>
                        <a:lnTo>
                          <a:pt x="7" y="43"/>
                        </a:lnTo>
                        <a:lnTo>
                          <a:pt x="7" y="48"/>
                        </a:lnTo>
                        <a:lnTo>
                          <a:pt x="5" y="53"/>
                        </a:lnTo>
                        <a:lnTo>
                          <a:pt x="7" y="53"/>
                        </a:lnTo>
                        <a:lnTo>
                          <a:pt x="17" y="53"/>
                        </a:lnTo>
                        <a:lnTo>
                          <a:pt x="17" y="55"/>
                        </a:lnTo>
                        <a:lnTo>
                          <a:pt x="24" y="55"/>
                        </a:lnTo>
                        <a:lnTo>
                          <a:pt x="26" y="58"/>
                        </a:lnTo>
                        <a:lnTo>
                          <a:pt x="26" y="55"/>
                        </a:lnTo>
                        <a:lnTo>
                          <a:pt x="24" y="53"/>
                        </a:lnTo>
                        <a:lnTo>
                          <a:pt x="24" y="48"/>
                        </a:lnTo>
                        <a:lnTo>
                          <a:pt x="26" y="43"/>
                        </a:lnTo>
                        <a:lnTo>
                          <a:pt x="24" y="41"/>
                        </a:lnTo>
                        <a:lnTo>
                          <a:pt x="24" y="38"/>
                        </a:lnTo>
                        <a:lnTo>
                          <a:pt x="21" y="38"/>
                        </a:lnTo>
                        <a:lnTo>
                          <a:pt x="24" y="38"/>
                        </a:lnTo>
                        <a:lnTo>
                          <a:pt x="31" y="34"/>
                        </a:lnTo>
                        <a:lnTo>
                          <a:pt x="33" y="26"/>
                        </a:lnTo>
                        <a:lnTo>
                          <a:pt x="38" y="26"/>
                        </a:lnTo>
                        <a:lnTo>
                          <a:pt x="41" y="19"/>
                        </a:lnTo>
                        <a:lnTo>
                          <a:pt x="31" y="19"/>
                        </a:lnTo>
                        <a:lnTo>
                          <a:pt x="31" y="12"/>
                        </a:lnTo>
                        <a:close/>
                        <a:moveTo>
                          <a:pt x="29" y="38"/>
                        </a:moveTo>
                        <a:lnTo>
                          <a:pt x="31" y="48"/>
                        </a:lnTo>
                        <a:lnTo>
                          <a:pt x="36" y="53"/>
                        </a:lnTo>
                        <a:lnTo>
                          <a:pt x="38" y="46"/>
                        </a:lnTo>
                        <a:lnTo>
                          <a:pt x="33" y="41"/>
                        </a:lnTo>
                        <a:lnTo>
                          <a:pt x="29" y="3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52" name="Czech Republic"/>
                  <p:cNvSpPr>
                    <a:spLocks/>
                  </p:cNvSpPr>
                  <p:nvPr/>
                </p:nvSpPr>
                <p:spPr bwMode="gray">
                  <a:xfrm>
                    <a:off x="2868" y="1263"/>
                    <a:ext cx="108" cy="49"/>
                  </a:xfrm>
                  <a:custGeom>
                    <a:avLst/>
                    <a:gdLst>
                      <a:gd name="T0" fmla="*/ 2147483647 w 420"/>
                      <a:gd name="T1" fmla="*/ 2147483647 h 192"/>
                      <a:gd name="T2" fmla="*/ 2147483647 w 420"/>
                      <a:gd name="T3" fmla="*/ 2147483647 h 192"/>
                      <a:gd name="T4" fmla="*/ 2147483647 w 420"/>
                      <a:gd name="T5" fmla="*/ 2147483647 h 192"/>
                      <a:gd name="T6" fmla="*/ 2147483647 w 420"/>
                      <a:gd name="T7" fmla="*/ 2147483647 h 192"/>
                      <a:gd name="T8" fmla="*/ 2147483647 w 420"/>
                      <a:gd name="T9" fmla="*/ 2147483647 h 192"/>
                      <a:gd name="T10" fmla="*/ 2147483647 w 420"/>
                      <a:gd name="T11" fmla="*/ 2147483647 h 192"/>
                      <a:gd name="T12" fmla="*/ 2147483647 w 420"/>
                      <a:gd name="T13" fmla="*/ 2147483647 h 192"/>
                      <a:gd name="T14" fmla="*/ 2147483647 w 420"/>
                      <a:gd name="T15" fmla="*/ 2147483647 h 192"/>
                      <a:gd name="T16" fmla="*/ 2147483647 w 420"/>
                      <a:gd name="T17" fmla="*/ 2147483647 h 192"/>
                      <a:gd name="T18" fmla="*/ 2147483647 w 420"/>
                      <a:gd name="T19" fmla="*/ 2147483647 h 192"/>
                      <a:gd name="T20" fmla="*/ 2147483647 w 420"/>
                      <a:gd name="T21" fmla="*/ 2147483647 h 192"/>
                      <a:gd name="T22" fmla="*/ 2147483647 w 420"/>
                      <a:gd name="T23" fmla="*/ 2147483647 h 192"/>
                      <a:gd name="T24" fmla="*/ 2147483647 w 420"/>
                      <a:gd name="T25" fmla="*/ 2147483647 h 192"/>
                      <a:gd name="T26" fmla="*/ 2147483647 w 420"/>
                      <a:gd name="T27" fmla="*/ 2147483647 h 192"/>
                      <a:gd name="T28" fmla="*/ 2147483647 w 420"/>
                      <a:gd name="T29" fmla="*/ 0 h 192"/>
                      <a:gd name="T30" fmla="*/ 2147483647 w 420"/>
                      <a:gd name="T31" fmla="*/ 2147483647 h 192"/>
                      <a:gd name="T32" fmla="*/ 2147483647 w 420"/>
                      <a:gd name="T33" fmla="*/ 0 h 192"/>
                      <a:gd name="T34" fmla="*/ 2147483647 w 420"/>
                      <a:gd name="T35" fmla="*/ 2147483647 h 192"/>
                      <a:gd name="T36" fmla="*/ 2147483647 w 420"/>
                      <a:gd name="T37" fmla="*/ 2147483647 h 192"/>
                      <a:gd name="T38" fmla="*/ 2147483647 w 420"/>
                      <a:gd name="T39" fmla="*/ 2147483647 h 192"/>
                      <a:gd name="T40" fmla="*/ 2147483647 w 420"/>
                      <a:gd name="T41" fmla="*/ 2147483647 h 192"/>
                      <a:gd name="T42" fmla="*/ 2147483647 w 420"/>
                      <a:gd name="T43" fmla="*/ 2147483647 h 192"/>
                      <a:gd name="T44" fmla="*/ 2147483647 w 420"/>
                      <a:gd name="T45" fmla="*/ 2147483647 h 192"/>
                      <a:gd name="T46" fmla="*/ 2147483647 w 420"/>
                      <a:gd name="T47" fmla="*/ 2147483647 h 192"/>
                      <a:gd name="T48" fmla="*/ 2147483647 w 420"/>
                      <a:gd name="T49" fmla="*/ 2147483647 h 192"/>
                      <a:gd name="T50" fmla="*/ 2147483647 w 420"/>
                      <a:gd name="T51" fmla="*/ 2147483647 h 192"/>
                      <a:gd name="T52" fmla="*/ 0 w 420"/>
                      <a:gd name="T53" fmla="*/ 2147483647 h 192"/>
                      <a:gd name="T54" fmla="*/ 2147483647 w 420"/>
                      <a:gd name="T55" fmla="*/ 2147483647 h 192"/>
                      <a:gd name="T56" fmla="*/ 2147483647 w 420"/>
                      <a:gd name="T57" fmla="*/ 2147483647 h 192"/>
                      <a:gd name="T58" fmla="*/ 2147483647 w 420"/>
                      <a:gd name="T59" fmla="*/ 2147483647 h 192"/>
                      <a:gd name="T60" fmla="*/ 2147483647 w 420"/>
                      <a:gd name="T61" fmla="*/ 2147483647 h 192"/>
                      <a:gd name="T62" fmla="*/ 2147483647 w 420"/>
                      <a:gd name="T63" fmla="*/ 2147483647 h 192"/>
                      <a:gd name="T64" fmla="*/ 2147483647 w 420"/>
                      <a:gd name="T65" fmla="*/ 2147483647 h 192"/>
                      <a:gd name="T66" fmla="*/ 2147483647 w 420"/>
                      <a:gd name="T67" fmla="*/ 2147483647 h 192"/>
                      <a:gd name="T68" fmla="*/ 2147483647 w 420"/>
                      <a:gd name="T69" fmla="*/ 2147483647 h 192"/>
                      <a:gd name="T70" fmla="*/ 2147483647 w 420"/>
                      <a:gd name="T71" fmla="*/ 2147483647 h 192"/>
                      <a:gd name="T72" fmla="*/ 2147483647 w 420"/>
                      <a:gd name="T73" fmla="*/ 2147483647 h 192"/>
                      <a:gd name="T74" fmla="*/ 2147483647 w 420"/>
                      <a:gd name="T75" fmla="*/ 2147483647 h 192"/>
                      <a:gd name="T76" fmla="*/ 2147483647 w 420"/>
                      <a:gd name="T77" fmla="*/ 2147483647 h 192"/>
                      <a:gd name="T78" fmla="*/ 2147483647 w 420"/>
                      <a:gd name="T79" fmla="*/ 2147483647 h 192"/>
                      <a:gd name="T80" fmla="*/ 2147483647 w 420"/>
                      <a:gd name="T81" fmla="*/ 2147483647 h 192"/>
                      <a:gd name="T82" fmla="*/ 2147483647 w 420"/>
                      <a:gd name="T83" fmla="*/ 2147483647 h 192"/>
                      <a:gd name="T84" fmla="*/ 2147483647 w 420"/>
                      <a:gd name="T85" fmla="*/ 2147483647 h 192"/>
                      <a:gd name="T86" fmla="*/ 2147483647 w 420"/>
                      <a:gd name="T87" fmla="*/ 2147483647 h 192"/>
                      <a:gd name="T88" fmla="*/ 2147483647 w 420"/>
                      <a:gd name="T89" fmla="*/ 2147483647 h 192"/>
                      <a:gd name="T90" fmla="*/ 2147483647 w 420"/>
                      <a:gd name="T91" fmla="*/ 2147483647 h 192"/>
                      <a:gd name="T92" fmla="*/ 2147483647 w 420"/>
                      <a:gd name="T93" fmla="*/ 2147483647 h 192"/>
                      <a:gd name="T94" fmla="*/ 2147483647 w 420"/>
                      <a:gd name="T95" fmla="*/ 2147483647 h 192"/>
                      <a:gd name="T96" fmla="*/ 2147483647 w 420"/>
                      <a:gd name="T97" fmla="*/ 2147483647 h 192"/>
                      <a:gd name="T98" fmla="*/ 2147483647 w 420"/>
                      <a:gd name="T99" fmla="*/ 2147483647 h 192"/>
                      <a:gd name="T100" fmla="*/ 2147483647 w 420"/>
                      <a:gd name="T101" fmla="*/ 2147483647 h 192"/>
                      <a:gd name="T102" fmla="*/ 2147483647 w 420"/>
                      <a:gd name="T103" fmla="*/ 2147483647 h 192"/>
                      <a:gd name="T104" fmla="*/ 2147483647 w 420"/>
                      <a:gd name="T105" fmla="*/ 2147483647 h 19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420"/>
                      <a:gd name="T160" fmla="*/ 0 h 192"/>
                      <a:gd name="T161" fmla="*/ 420 w 420"/>
                      <a:gd name="T162" fmla="*/ 192 h 19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420" h="192">
                        <a:moveTo>
                          <a:pt x="408" y="108"/>
                        </a:moveTo>
                        <a:lnTo>
                          <a:pt x="402" y="96"/>
                        </a:lnTo>
                        <a:lnTo>
                          <a:pt x="402" y="90"/>
                        </a:lnTo>
                        <a:lnTo>
                          <a:pt x="390" y="84"/>
                        </a:lnTo>
                        <a:lnTo>
                          <a:pt x="372" y="84"/>
                        </a:lnTo>
                        <a:lnTo>
                          <a:pt x="372" y="78"/>
                        </a:lnTo>
                        <a:lnTo>
                          <a:pt x="366" y="72"/>
                        </a:lnTo>
                        <a:lnTo>
                          <a:pt x="360" y="84"/>
                        </a:lnTo>
                        <a:lnTo>
                          <a:pt x="354" y="78"/>
                        </a:lnTo>
                        <a:lnTo>
                          <a:pt x="348" y="66"/>
                        </a:lnTo>
                        <a:lnTo>
                          <a:pt x="342" y="60"/>
                        </a:lnTo>
                        <a:lnTo>
                          <a:pt x="324" y="60"/>
                        </a:lnTo>
                        <a:lnTo>
                          <a:pt x="330" y="54"/>
                        </a:lnTo>
                        <a:lnTo>
                          <a:pt x="312" y="54"/>
                        </a:lnTo>
                        <a:lnTo>
                          <a:pt x="300" y="60"/>
                        </a:lnTo>
                        <a:lnTo>
                          <a:pt x="294" y="60"/>
                        </a:lnTo>
                        <a:lnTo>
                          <a:pt x="294" y="66"/>
                        </a:lnTo>
                        <a:lnTo>
                          <a:pt x="276" y="66"/>
                        </a:lnTo>
                        <a:lnTo>
                          <a:pt x="270" y="60"/>
                        </a:lnTo>
                        <a:lnTo>
                          <a:pt x="264" y="60"/>
                        </a:lnTo>
                        <a:lnTo>
                          <a:pt x="264" y="48"/>
                        </a:lnTo>
                        <a:lnTo>
                          <a:pt x="252" y="42"/>
                        </a:lnTo>
                        <a:lnTo>
                          <a:pt x="264" y="36"/>
                        </a:lnTo>
                        <a:lnTo>
                          <a:pt x="258" y="30"/>
                        </a:lnTo>
                        <a:lnTo>
                          <a:pt x="234" y="30"/>
                        </a:lnTo>
                        <a:lnTo>
                          <a:pt x="234" y="24"/>
                        </a:lnTo>
                        <a:lnTo>
                          <a:pt x="228" y="24"/>
                        </a:lnTo>
                        <a:lnTo>
                          <a:pt x="216" y="18"/>
                        </a:lnTo>
                        <a:lnTo>
                          <a:pt x="198" y="18"/>
                        </a:lnTo>
                        <a:lnTo>
                          <a:pt x="192" y="0"/>
                        </a:lnTo>
                        <a:lnTo>
                          <a:pt x="174" y="0"/>
                        </a:lnTo>
                        <a:lnTo>
                          <a:pt x="162" y="12"/>
                        </a:lnTo>
                        <a:lnTo>
                          <a:pt x="156" y="12"/>
                        </a:lnTo>
                        <a:lnTo>
                          <a:pt x="144" y="0"/>
                        </a:lnTo>
                        <a:lnTo>
                          <a:pt x="138" y="6"/>
                        </a:lnTo>
                        <a:lnTo>
                          <a:pt x="132" y="6"/>
                        </a:lnTo>
                        <a:lnTo>
                          <a:pt x="126" y="12"/>
                        </a:lnTo>
                        <a:lnTo>
                          <a:pt x="126" y="18"/>
                        </a:lnTo>
                        <a:lnTo>
                          <a:pt x="108" y="18"/>
                        </a:lnTo>
                        <a:lnTo>
                          <a:pt x="108" y="24"/>
                        </a:lnTo>
                        <a:lnTo>
                          <a:pt x="84" y="24"/>
                        </a:lnTo>
                        <a:lnTo>
                          <a:pt x="84" y="30"/>
                        </a:lnTo>
                        <a:lnTo>
                          <a:pt x="66" y="36"/>
                        </a:lnTo>
                        <a:lnTo>
                          <a:pt x="54" y="48"/>
                        </a:lnTo>
                        <a:lnTo>
                          <a:pt x="42" y="42"/>
                        </a:lnTo>
                        <a:lnTo>
                          <a:pt x="36" y="42"/>
                        </a:lnTo>
                        <a:lnTo>
                          <a:pt x="30" y="48"/>
                        </a:lnTo>
                        <a:lnTo>
                          <a:pt x="30" y="54"/>
                        </a:lnTo>
                        <a:lnTo>
                          <a:pt x="18" y="54"/>
                        </a:lnTo>
                        <a:lnTo>
                          <a:pt x="18" y="60"/>
                        </a:lnTo>
                        <a:lnTo>
                          <a:pt x="6" y="60"/>
                        </a:lnTo>
                        <a:lnTo>
                          <a:pt x="6" y="54"/>
                        </a:lnTo>
                        <a:lnTo>
                          <a:pt x="0" y="54"/>
                        </a:lnTo>
                        <a:lnTo>
                          <a:pt x="0" y="66"/>
                        </a:lnTo>
                        <a:lnTo>
                          <a:pt x="6" y="72"/>
                        </a:lnTo>
                        <a:lnTo>
                          <a:pt x="12" y="72"/>
                        </a:lnTo>
                        <a:lnTo>
                          <a:pt x="24" y="84"/>
                        </a:lnTo>
                        <a:lnTo>
                          <a:pt x="18" y="90"/>
                        </a:lnTo>
                        <a:lnTo>
                          <a:pt x="12" y="90"/>
                        </a:lnTo>
                        <a:lnTo>
                          <a:pt x="12" y="96"/>
                        </a:lnTo>
                        <a:lnTo>
                          <a:pt x="24" y="108"/>
                        </a:lnTo>
                        <a:lnTo>
                          <a:pt x="30" y="120"/>
                        </a:lnTo>
                        <a:lnTo>
                          <a:pt x="36" y="120"/>
                        </a:lnTo>
                        <a:lnTo>
                          <a:pt x="36" y="126"/>
                        </a:lnTo>
                        <a:lnTo>
                          <a:pt x="48" y="132"/>
                        </a:lnTo>
                        <a:lnTo>
                          <a:pt x="60" y="132"/>
                        </a:lnTo>
                        <a:lnTo>
                          <a:pt x="66" y="144"/>
                        </a:lnTo>
                        <a:lnTo>
                          <a:pt x="72" y="144"/>
                        </a:lnTo>
                        <a:lnTo>
                          <a:pt x="78" y="156"/>
                        </a:lnTo>
                        <a:lnTo>
                          <a:pt x="90" y="156"/>
                        </a:lnTo>
                        <a:lnTo>
                          <a:pt x="96" y="162"/>
                        </a:lnTo>
                        <a:lnTo>
                          <a:pt x="102" y="162"/>
                        </a:lnTo>
                        <a:lnTo>
                          <a:pt x="102" y="174"/>
                        </a:lnTo>
                        <a:lnTo>
                          <a:pt x="120" y="192"/>
                        </a:lnTo>
                        <a:lnTo>
                          <a:pt x="132" y="192"/>
                        </a:lnTo>
                        <a:lnTo>
                          <a:pt x="144" y="186"/>
                        </a:lnTo>
                        <a:lnTo>
                          <a:pt x="150" y="186"/>
                        </a:lnTo>
                        <a:lnTo>
                          <a:pt x="162" y="192"/>
                        </a:lnTo>
                        <a:lnTo>
                          <a:pt x="162" y="174"/>
                        </a:lnTo>
                        <a:lnTo>
                          <a:pt x="168" y="174"/>
                        </a:lnTo>
                        <a:lnTo>
                          <a:pt x="174" y="162"/>
                        </a:lnTo>
                        <a:lnTo>
                          <a:pt x="180" y="156"/>
                        </a:lnTo>
                        <a:lnTo>
                          <a:pt x="198" y="156"/>
                        </a:lnTo>
                        <a:lnTo>
                          <a:pt x="210" y="162"/>
                        </a:lnTo>
                        <a:lnTo>
                          <a:pt x="222" y="174"/>
                        </a:lnTo>
                        <a:lnTo>
                          <a:pt x="234" y="168"/>
                        </a:lnTo>
                        <a:lnTo>
                          <a:pt x="246" y="180"/>
                        </a:lnTo>
                        <a:lnTo>
                          <a:pt x="258" y="174"/>
                        </a:lnTo>
                        <a:lnTo>
                          <a:pt x="264" y="168"/>
                        </a:lnTo>
                        <a:lnTo>
                          <a:pt x="276" y="168"/>
                        </a:lnTo>
                        <a:lnTo>
                          <a:pt x="282" y="174"/>
                        </a:lnTo>
                        <a:lnTo>
                          <a:pt x="288" y="174"/>
                        </a:lnTo>
                        <a:lnTo>
                          <a:pt x="300" y="180"/>
                        </a:lnTo>
                        <a:lnTo>
                          <a:pt x="306" y="174"/>
                        </a:lnTo>
                        <a:lnTo>
                          <a:pt x="324" y="174"/>
                        </a:lnTo>
                        <a:lnTo>
                          <a:pt x="330" y="168"/>
                        </a:lnTo>
                        <a:lnTo>
                          <a:pt x="330" y="174"/>
                        </a:lnTo>
                        <a:lnTo>
                          <a:pt x="348" y="174"/>
                        </a:lnTo>
                        <a:lnTo>
                          <a:pt x="360" y="168"/>
                        </a:lnTo>
                        <a:lnTo>
                          <a:pt x="366" y="162"/>
                        </a:lnTo>
                        <a:lnTo>
                          <a:pt x="378" y="156"/>
                        </a:lnTo>
                        <a:lnTo>
                          <a:pt x="378" y="132"/>
                        </a:lnTo>
                        <a:lnTo>
                          <a:pt x="402" y="126"/>
                        </a:lnTo>
                        <a:lnTo>
                          <a:pt x="420" y="114"/>
                        </a:lnTo>
                        <a:lnTo>
                          <a:pt x="414" y="108"/>
                        </a:lnTo>
                        <a:lnTo>
                          <a:pt x="408" y="108"/>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53" name="Cyprus"/>
                  <p:cNvSpPr>
                    <a:spLocks/>
                  </p:cNvSpPr>
                  <p:nvPr/>
                </p:nvSpPr>
                <p:spPr bwMode="gray">
                  <a:xfrm>
                    <a:off x="3215" y="1576"/>
                    <a:ext cx="38" cy="22"/>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54" name="Cuba"/>
                  <p:cNvSpPr>
                    <a:spLocks noEditPoints="1"/>
                  </p:cNvSpPr>
                  <p:nvPr/>
                </p:nvSpPr>
                <p:spPr bwMode="gray">
                  <a:xfrm>
                    <a:off x="1142" y="1831"/>
                    <a:ext cx="189" cy="69"/>
                  </a:xfrm>
                  <a:custGeom>
                    <a:avLst/>
                    <a:gdLst>
                      <a:gd name="T0" fmla="*/ 2147483647 w 738"/>
                      <a:gd name="T1" fmla="*/ 2147483647 h 270"/>
                      <a:gd name="T2" fmla="*/ 2147483647 w 738"/>
                      <a:gd name="T3" fmla="*/ 2147483647 h 270"/>
                      <a:gd name="T4" fmla="*/ 2147483647 w 738"/>
                      <a:gd name="T5" fmla="*/ 2147483647 h 270"/>
                      <a:gd name="T6" fmla="*/ 2147483647 w 738"/>
                      <a:gd name="T7" fmla="*/ 2147483647 h 270"/>
                      <a:gd name="T8" fmla="*/ 2147483647 w 738"/>
                      <a:gd name="T9" fmla="*/ 2147483647 h 270"/>
                      <a:gd name="T10" fmla="*/ 2147483647 w 738"/>
                      <a:gd name="T11" fmla="*/ 2147483647 h 270"/>
                      <a:gd name="T12" fmla="*/ 2147483647 w 738"/>
                      <a:gd name="T13" fmla="*/ 2147483647 h 270"/>
                      <a:gd name="T14" fmla="*/ 2147483647 w 738"/>
                      <a:gd name="T15" fmla="*/ 2147483647 h 270"/>
                      <a:gd name="T16" fmla="*/ 2147483647 w 738"/>
                      <a:gd name="T17" fmla="*/ 2147483647 h 270"/>
                      <a:gd name="T18" fmla="*/ 2147483647 w 738"/>
                      <a:gd name="T19" fmla="*/ 2147483647 h 270"/>
                      <a:gd name="T20" fmla="*/ 2147483647 w 738"/>
                      <a:gd name="T21" fmla="*/ 2147483647 h 270"/>
                      <a:gd name="T22" fmla="*/ 2147483647 w 738"/>
                      <a:gd name="T23" fmla="*/ 2147483647 h 270"/>
                      <a:gd name="T24" fmla="*/ 2147483647 w 738"/>
                      <a:gd name="T25" fmla="*/ 2147483647 h 270"/>
                      <a:gd name="T26" fmla="*/ 2147483647 w 738"/>
                      <a:gd name="T27" fmla="*/ 2147483647 h 270"/>
                      <a:gd name="T28" fmla="*/ 2147483647 w 738"/>
                      <a:gd name="T29" fmla="*/ 2147483647 h 270"/>
                      <a:gd name="T30" fmla="*/ 2147483647 w 738"/>
                      <a:gd name="T31" fmla="*/ 2147483647 h 270"/>
                      <a:gd name="T32" fmla="*/ 2147483647 w 738"/>
                      <a:gd name="T33" fmla="*/ 2147483647 h 270"/>
                      <a:gd name="T34" fmla="*/ 2147483647 w 738"/>
                      <a:gd name="T35" fmla="*/ 2147483647 h 270"/>
                      <a:gd name="T36" fmla="*/ 2147483647 w 738"/>
                      <a:gd name="T37" fmla="*/ 0 h 270"/>
                      <a:gd name="T38" fmla="*/ 2147483647 w 738"/>
                      <a:gd name="T39" fmla="*/ 2147483647 h 270"/>
                      <a:gd name="T40" fmla="*/ 2147483647 w 738"/>
                      <a:gd name="T41" fmla="*/ 2147483647 h 270"/>
                      <a:gd name="T42" fmla="*/ 2147483647 w 738"/>
                      <a:gd name="T43" fmla="*/ 2147483647 h 270"/>
                      <a:gd name="T44" fmla="*/ 2147483647 w 738"/>
                      <a:gd name="T45" fmla="*/ 2147483647 h 270"/>
                      <a:gd name="T46" fmla="*/ 2147483647 w 738"/>
                      <a:gd name="T47" fmla="*/ 2147483647 h 270"/>
                      <a:gd name="T48" fmla="*/ 2147483647 w 738"/>
                      <a:gd name="T49" fmla="*/ 2147483647 h 270"/>
                      <a:gd name="T50" fmla="*/ 2147483647 w 738"/>
                      <a:gd name="T51" fmla="*/ 2147483647 h 270"/>
                      <a:gd name="T52" fmla="*/ 2147483647 w 738"/>
                      <a:gd name="T53" fmla="*/ 2147483647 h 270"/>
                      <a:gd name="T54" fmla="*/ 2147483647 w 738"/>
                      <a:gd name="T55" fmla="*/ 2147483647 h 270"/>
                      <a:gd name="T56" fmla="*/ 2147483647 w 738"/>
                      <a:gd name="T57" fmla="*/ 2147483647 h 270"/>
                      <a:gd name="T58" fmla="*/ 2147483647 w 738"/>
                      <a:gd name="T59" fmla="*/ 2147483647 h 270"/>
                      <a:gd name="T60" fmla="*/ 2147483647 w 738"/>
                      <a:gd name="T61" fmla="*/ 2147483647 h 270"/>
                      <a:gd name="T62" fmla="*/ 2147483647 w 738"/>
                      <a:gd name="T63" fmla="*/ 2147483647 h 270"/>
                      <a:gd name="T64" fmla="*/ 2147483647 w 738"/>
                      <a:gd name="T65" fmla="*/ 2147483647 h 270"/>
                      <a:gd name="T66" fmla="*/ 2147483647 w 738"/>
                      <a:gd name="T67" fmla="*/ 2147483647 h 270"/>
                      <a:gd name="T68" fmla="*/ 2147483647 w 738"/>
                      <a:gd name="T69" fmla="*/ 2147483647 h 270"/>
                      <a:gd name="T70" fmla="*/ 2147483647 w 738"/>
                      <a:gd name="T71" fmla="*/ 2147483647 h 270"/>
                      <a:gd name="T72" fmla="*/ 2147483647 w 738"/>
                      <a:gd name="T73" fmla="*/ 2147483647 h 270"/>
                      <a:gd name="T74" fmla="*/ 2147483647 w 738"/>
                      <a:gd name="T75" fmla="*/ 2147483647 h 270"/>
                      <a:gd name="T76" fmla="*/ 2147483647 w 738"/>
                      <a:gd name="T77" fmla="*/ 2147483647 h 270"/>
                      <a:gd name="T78" fmla="*/ 2147483647 w 738"/>
                      <a:gd name="T79" fmla="*/ 2147483647 h 270"/>
                      <a:gd name="T80" fmla="*/ 2147483647 w 738"/>
                      <a:gd name="T81" fmla="*/ 2147483647 h 270"/>
                      <a:gd name="T82" fmla="*/ 2147483647 w 738"/>
                      <a:gd name="T83" fmla="*/ 2147483647 h 270"/>
                      <a:gd name="T84" fmla="*/ 2147483647 w 738"/>
                      <a:gd name="T85" fmla="*/ 2147483647 h 270"/>
                      <a:gd name="T86" fmla="*/ 2147483647 w 738"/>
                      <a:gd name="T87" fmla="*/ 2147483647 h 270"/>
                      <a:gd name="T88" fmla="*/ 2147483647 w 738"/>
                      <a:gd name="T89" fmla="*/ 2147483647 h 270"/>
                      <a:gd name="T90" fmla="*/ 2147483647 w 738"/>
                      <a:gd name="T91" fmla="*/ 2147483647 h 270"/>
                      <a:gd name="T92" fmla="*/ 2147483647 w 738"/>
                      <a:gd name="T93" fmla="*/ 2147483647 h 270"/>
                      <a:gd name="T94" fmla="*/ 2147483647 w 738"/>
                      <a:gd name="T95" fmla="*/ 2147483647 h 270"/>
                      <a:gd name="T96" fmla="*/ 2147483647 w 738"/>
                      <a:gd name="T97" fmla="*/ 2147483647 h 270"/>
                      <a:gd name="T98" fmla="*/ 2147483647 w 738"/>
                      <a:gd name="T99" fmla="*/ 2147483647 h 270"/>
                      <a:gd name="T100" fmla="*/ 2147483647 w 738"/>
                      <a:gd name="T101" fmla="*/ 2147483647 h 270"/>
                      <a:gd name="T102" fmla="*/ 2147483647 w 738"/>
                      <a:gd name="T103" fmla="*/ 2147483647 h 270"/>
                      <a:gd name="T104" fmla="*/ 2147483647 w 738"/>
                      <a:gd name="T105" fmla="*/ 2147483647 h 270"/>
                      <a:gd name="T106" fmla="*/ 2147483647 w 738"/>
                      <a:gd name="T107" fmla="*/ 2147483647 h 270"/>
                      <a:gd name="T108" fmla="*/ 2147483647 w 738"/>
                      <a:gd name="T109" fmla="*/ 2147483647 h 270"/>
                      <a:gd name="T110" fmla="*/ 2147483647 w 738"/>
                      <a:gd name="T111" fmla="*/ 2147483647 h 270"/>
                      <a:gd name="T112" fmla="*/ 2147483647 w 738"/>
                      <a:gd name="T113" fmla="*/ 2147483647 h 270"/>
                      <a:gd name="T114" fmla="*/ 2147483647 w 738"/>
                      <a:gd name="T115" fmla="*/ 2147483647 h 27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38"/>
                      <a:gd name="T175" fmla="*/ 0 h 270"/>
                      <a:gd name="T176" fmla="*/ 738 w 738"/>
                      <a:gd name="T177" fmla="*/ 270 h 27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38" h="270">
                        <a:moveTo>
                          <a:pt x="708" y="228"/>
                        </a:moveTo>
                        <a:lnTo>
                          <a:pt x="690" y="222"/>
                        </a:lnTo>
                        <a:lnTo>
                          <a:pt x="666" y="222"/>
                        </a:lnTo>
                        <a:lnTo>
                          <a:pt x="666" y="204"/>
                        </a:lnTo>
                        <a:lnTo>
                          <a:pt x="660" y="198"/>
                        </a:lnTo>
                        <a:lnTo>
                          <a:pt x="648" y="192"/>
                        </a:lnTo>
                        <a:lnTo>
                          <a:pt x="600" y="192"/>
                        </a:lnTo>
                        <a:lnTo>
                          <a:pt x="624" y="168"/>
                        </a:lnTo>
                        <a:lnTo>
                          <a:pt x="612" y="168"/>
                        </a:lnTo>
                        <a:lnTo>
                          <a:pt x="600" y="162"/>
                        </a:lnTo>
                        <a:lnTo>
                          <a:pt x="558" y="162"/>
                        </a:lnTo>
                        <a:lnTo>
                          <a:pt x="534" y="150"/>
                        </a:lnTo>
                        <a:lnTo>
                          <a:pt x="528" y="144"/>
                        </a:lnTo>
                        <a:lnTo>
                          <a:pt x="522" y="144"/>
                        </a:lnTo>
                        <a:lnTo>
                          <a:pt x="528" y="138"/>
                        </a:lnTo>
                        <a:lnTo>
                          <a:pt x="528" y="132"/>
                        </a:lnTo>
                        <a:lnTo>
                          <a:pt x="534" y="126"/>
                        </a:lnTo>
                        <a:lnTo>
                          <a:pt x="534" y="120"/>
                        </a:lnTo>
                        <a:lnTo>
                          <a:pt x="522" y="120"/>
                        </a:lnTo>
                        <a:lnTo>
                          <a:pt x="510" y="114"/>
                        </a:lnTo>
                        <a:lnTo>
                          <a:pt x="504" y="114"/>
                        </a:lnTo>
                        <a:lnTo>
                          <a:pt x="474" y="84"/>
                        </a:lnTo>
                        <a:lnTo>
                          <a:pt x="462" y="78"/>
                        </a:lnTo>
                        <a:lnTo>
                          <a:pt x="450" y="66"/>
                        </a:lnTo>
                        <a:lnTo>
                          <a:pt x="432" y="66"/>
                        </a:lnTo>
                        <a:lnTo>
                          <a:pt x="432" y="84"/>
                        </a:lnTo>
                        <a:lnTo>
                          <a:pt x="444" y="96"/>
                        </a:lnTo>
                        <a:lnTo>
                          <a:pt x="450" y="96"/>
                        </a:lnTo>
                        <a:lnTo>
                          <a:pt x="378" y="60"/>
                        </a:lnTo>
                        <a:lnTo>
                          <a:pt x="372" y="54"/>
                        </a:lnTo>
                        <a:lnTo>
                          <a:pt x="360" y="48"/>
                        </a:lnTo>
                        <a:lnTo>
                          <a:pt x="354" y="36"/>
                        </a:lnTo>
                        <a:lnTo>
                          <a:pt x="342" y="30"/>
                        </a:lnTo>
                        <a:lnTo>
                          <a:pt x="330" y="18"/>
                        </a:lnTo>
                        <a:lnTo>
                          <a:pt x="270" y="18"/>
                        </a:lnTo>
                        <a:lnTo>
                          <a:pt x="258" y="12"/>
                        </a:lnTo>
                        <a:lnTo>
                          <a:pt x="228" y="6"/>
                        </a:lnTo>
                        <a:lnTo>
                          <a:pt x="174" y="0"/>
                        </a:lnTo>
                        <a:lnTo>
                          <a:pt x="126" y="6"/>
                        </a:lnTo>
                        <a:lnTo>
                          <a:pt x="96" y="18"/>
                        </a:lnTo>
                        <a:lnTo>
                          <a:pt x="72" y="42"/>
                        </a:lnTo>
                        <a:lnTo>
                          <a:pt x="60" y="48"/>
                        </a:lnTo>
                        <a:lnTo>
                          <a:pt x="42" y="60"/>
                        </a:lnTo>
                        <a:lnTo>
                          <a:pt x="24" y="66"/>
                        </a:lnTo>
                        <a:lnTo>
                          <a:pt x="12" y="72"/>
                        </a:lnTo>
                        <a:lnTo>
                          <a:pt x="6" y="78"/>
                        </a:lnTo>
                        <a:lnTo>
                          <a:pt x="0" y="78"/>
                        </a:lnTo>
                        <a:lnTo>
                          <a:pt x="72" y="72"/>
                        </a:lnTo>
                        <a:lnTo>
                          <a:pt x="72" y="60"/>
                        </a:lnTo>
                        <a:lnTo>
                          <a:pt x="150" y="54"/>
                        </a:lnTo>
                        <a:lnTo>
                          <a:pt x="174" y="42"/>
                        </a:lnTo>
                        <a:lnTo>
                          <a:pt x="198" y="42"/>
                        </a:lnTo>
                        <a:lnTo>
                          <a:pt x="222" y="54"/>
                        </a:lnTo>
                        <a:lnTo>
                          <a:pt x="222" y="60"/>
                        </a:lnTo>
                        <a:lnTo>
                          <a:pt x="216" y="60"/>
                        </a:lnTo>
                        <a:lnTo>
                          <a:pt x="210" y="66"/>
                        </a:lnTo>
                        <a:lnTo>
                          <a:pt x="198" y="66"/>
                        </a:lnTo>
                        <a:lnTo>
                          <a:pt x="192" y="72"/>
                        </a:lnTo>
                        <a:lnTo>
                          <a:pt x="186" y="72"/>
                        </a:lnTo>
                        <a:lnTo>
                          <a:pt x="204" y="78"/>
                        </a:lnTo>
                        <a:lnTo>
                          <a:pt x="210" y="78"/>
                        </a:lnTo>
                        <a:lnTo>
                          <a:pt x="216" y="84"/>
                        </a:lnTo>
                        <a:lnTo>
                          <a:pt x="228" y="90"/>
                        </a:lnTo>
                        <a:lnTo>
                          <a:pt x="246" y="96"/>
                        </a:lnTo>
                        <a:lnTo>
                          <a:pt x="258" y="102"/>
                        </a:lnTo>
                        <a:lnTo>
                          <a:pt x="276" y="102"/>
                        </a:lnTo>
                        <a:lnTo>
                          <a:pt x="282" y="96"/>
                        </a:lnTo>
                        <a:lnTo>
                          <a:pt x="282" y="90"/>
                        </a:lnTo>
                        <a:lnTo>
                          <a:pt x="294" y="96"/>
                        </a:lnTo>
                        <a:lnTo>
                          <a:pt x="300" y="102"/>
                        </a:lnTo>
                        <a:lnTo>
                          <a:pt x="318" y="114"/>
                        </a:lnTo>
                        <a:lnTo>
                          <a:pt x="342" y="126"/>
                        </a:lnTo>
                        <a:lnTo>
                          <a:pt x="372" y="126"/>
                        </a:lnTo>
                        <a:lnTo>
                          <a:pt x="390" y="120"/>
                        </a:lnTo>
                        <a:lnTo>
                          <a:pt x="402" y="120"/>
                        </a:lnTo>
                        <a:lnTo>
                          <a:pt x="390" y="144"/>
                        </a:lnTo>
                        <a:lnTo>
                          <a:pt x="450" y="168"/>
                        </a:lnTo>
                        <a:lnTo>
                          <a:pt x="474" y="204"/>
                        </a:lnTo>
                        <a:lnTo>
                          <a:pt x="480" y="210"/>
                        </a:lnTo>
                        <a:lnTo>
                          <a:pt x="492" y="216"/>
                        </a:lnTo>
                        <a:lnTo>
                          <a:pt x="498" y="222"/>
                        </a:lnTo>
                        <a:lnTo>
                          <a:pt x="498" y="228"/>
                        </a:lnTo>
                        <a:lnTo>
                          <a:pt x="474" y="252"/>
                        </a:lnTo>
                        <a:lnTo>
                          <a:pt x="474" y="258"/>
                        </a:lnTo>
                        <a:lnTo>
                          <a:pt x="480" y="264"/>
                        </a:lnTo>
                        <a:lnTo>
                          <a:pt x="492" y="258"/>
                        </a:lnTo>
                        <a:lnTo>
                          <a:pt x="504" y="258"/>
                        </a:lnTo>
                        <a:lnTo>
                          <a:pt x="528" y="246"/>
                        </a:lnTo>
                        <a:lnTo>
                          <a:pt x="558" y="246"/>
                        </a:lnTo>
                        <a:lnTo>
                          <a:pt x="558" y="252"/>
                        </a:lnTo>
                        <a:lnTo>
                          <a:pt x="552" y="252"/>
                        </a:lnTo>
                        <a:lnTo>
                          <a:pt x="546" y="258"/>
                        </a:lnTo>
                        <a:lnTo>
                          <a:pt x="546" y="264"/>
                        </a:lnTo>
                        <a:lnTo>
                          <a:pt x="558" y="264"/>
                        </a:lnTo>
                        <a:lnTo>
                          <a:pt x="564" y="270"/>
                        </a:lnTo>
                        <a:lnTo>
                          <a:pt x="612" y="270"/>
                        </a:lnTo>
                        <a:lnTo>
                          <a:pt x="636" y="264"/>
                        </a:lnTo>
                        <a:lnTo>
                          <a:pt x="684" y="258"/>
                        </a:lnTo>
                        <a:lnTo>
                          <a:pt x="720" y="252"/>
                        </a:lnTo>
                        <a:lnTo>
                          <a:pt x="738" y="246"/>
                        </a:lnTo>
                        <a:lnTo>
                          <a:pt x="738" y="240"/>
                        </a:lnTo>
                        <a:lnTo>
                          <a:pt x="732" y="234"/>
                        </a:lnTo>
                        <a:lnTo>
                          <a:pt x="720" y="228"/>
                        </a:lnTo>
                        <a:lnTo>
                          <a:pt x="708" y="228"/>
                        </a:lnTo>
                        <a:close/>
                        <a:moveTo>
                          <a:pt x="114" y="126"/>
                        </a:moveTo>
                        <a:lnTo>
                          <a:pt x="114" y="132"/>
                        </a:lnTo>
                        <a:lnTo>
                          <a:pt x="120" y="138"/>
                        </a:lnTo>
                        <a:lnTo>
                          <a:pt x="132" y="144"/>
                        </a:lnTo>
                        <a:lnTo>
                          <a:pt x="144" y="138"/>
                        </a:lnTo>
                        <a:lnTo>
                          <a:pt x="150" y="138"/>
                        </a:lnTo>
                        <a:lnTo>
                          <a:pt x="156" y="126"/>
                        </a:lnTo>
                        <a:lnTo>
                          <a:pt x="156" y="120"/>
                        </a:lnTo>
                        <a:lnTo>
                          <a:pt x="150" y="114"/>
                        </a:lnTo>
                        <a:lnTo>
                          <a:pt x="138" y="114"/>
                        </a:lnTo>
                        <a:lnTo>
                          <a:pt x="126" y="120"/>
                        </a:lnTo>
                        <a:lnTo>
                          <a:pt x="120" y="120"/>
                        </a:lnTo>
                        <a:lnTo>
                          <a:pt x="114" y="12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55" name="Croatia"/>
                  <p:cNvSpPr>
                    <a:spLocks/>
                  </p:cNvSpPr>
                  <p:nvPr/>
                </p:nvSpPr>
                <p:spPr bwMode="gray">
                  <a:xfrm>
                    <a:off x="2894" y="1354"/>
                    <a:ext cx="94" cy="70"/>
                  </a:xfrm>
                  <a:custGeom>
                    <a:avLst/>
                    <a:gdLst>
                      <a:gd name="T0" fmla="*/ 2147483647 w 366"/>
                      <a:gd name="T1" fmla="*/ 2147483647 h 276"/>
                      <a:gd name="T2" fmla="*/ 2147483647 w 366"/>
                      <a:gd name="T3" fmla="*/ 2147483647 h 276"/>
                      <a:gd name="T4" fmla="*/ 2147483647 w 366"/>
                      <a:gd name="T5" fmla="*/ 2147483647 h 276"/>
                      <a:gd name="T6" fmla="*/ 2147483647 w 366"/>
                      <a:gd name="T7" fmla="*/ 2147483647 h 276"/>
                      <a:gd name="T8" fmla="*/ 2147483647 w 366"/>
                      <a:gd name="T9" fmla="*/ 2147483647 h 276"/>
                      <a:gd name="T10" fmla="*/ 2147483647 w 366"/>
                      <a:gd name="T11" fmla="*/ 2147483647 h 276"/>
                      <a:gd name="T12" fmla="*/ 2147483647 w 366"/>
                      <a:gd name="T13" fmla="*/ 2147483647 h 276"/>
                      <a:gd name="T14" fmla="*/ 2147483647 w 366"/>
                      <a:gd name="T15" fmla="*/ 2147483647 h 276"/>
                      <a:gd name="T16" fmla="*/ 2147483647 w 366"/>
                      <a:gd name="T17" fmla="*/ 2147483647 h 276"/>
                      <a:gd name="T18" fmla="*/ 2147483647 w 366"/>
                      <a:gd name="T19" fmla="*/ 2147483647 h 276"/>
                      <a:gd name="T20" fmla="*/ 2147483647 w 366"/>
                      <a:gd name="T21" fmla="*/ 2147483647 h 276"/>
                      <a:gd name="T22" fmla="*/ 2147483647 w 366"/>
                      <a:gd name="T23" fmla="*/ 0 h 276"/>
                      <a:gd name="T24" fmla="*/ 2147483647 w 366"/>
                      <a:gd name="T25" fmla="*/ 2147483647 h 276"/>
                      <a:gd name="T26" fmla="*/ 2147483647 w 366"/>
                      <a:gd name="T27" fmla="*/ 2147483647 h 276"/>
                      <a:gd name="T28" fmla="*/ 2147483647 w 366"/>
                      <a:gd name="T29" fmla="*/ 2147483647 h 276"/>
                      <a:gd name="T30" fmla="*/ 2147483647 w 366"/>
                      <a:gd name="T31" fmla="*/ 2147483647 h 276"/>
                      <a:gd name="T32" fmla="*/ 2147483647 w 366"/>
                      <a:gd name="T33" fmla="*/ 2147483647 h 276"/>
                      <a:gd name="T34" fmla="*/ 2147483647 w 366"/>
                      <a:gd name="T35" fmla="*/ 2147483647 h 276"/>
                      <a:gd name="T36" fmla="*/ 2147483647 w 366"/>
                      <a:gd name="T37" fmla="*/ 2147483647 h 276"/>
                      <a:gd name="T38" fmla="*/ 2147483647 w 366"/>
                      <a:gd name="T39" fmla="*/ 2147483647 h 276"/>
                      <a:gd name="T40" fmla="*/ 0 w 366"/>
                      <a:gd name="T41" fmla="*/ 2147483647 h 276"/>
                      <a:gd name="T42" fmla="*/ 2147483647 w 366"/>
                      <a:gd name="T43" fmla="*/ 2147483647 h 276"/>
                      <a:gd name="T44" fmla="*/ 2147483647 w 366"/>
                      <a:gd name="T45" fmla="*/ 2147483647 h 276"/>
                      <a:gd name="T46" fmla="*/ 2147483647 w 366"/>
                      <a:gd name="T47" fmla="*/ 2147483647 h 276"/>
                      <a:gd name="T48" fmla="*/ 2147483647 w 366"/>
                      <a:gd name="T49" fmla="*/ 2147483647 h 276"/>
                      <a:gd name="T50" fmla="*/ 2147483647 w 366"/>
                      <a:gd name="T51" fmla="*/ 2147483647 h 276"/>
                      <a:gd name="T52" fmla="*/ 2147483647 w 366"/>
                      <a:gd name="T53" fmla="*/ 2147483647 h 276"/>
                      <a:gd name="T54" fmla="*/ 2147483647 w 366"/>
                      <a:gd name="T55" fmla="*/ 2147483647 h 276"/>
                      <a:gd name="T56" fmla="*/ 2147483647 w 366"/>
                      <a:gd name="T57" fmla="*/ 2147483647 h 276"/>
                      <a:gd name="T58" fmla="*/ 2147483647 w 366"/>
                      <a:gd name="T59" fmla="*/ 2147483647 h 276"/>
                      <a:gd name="T60" fmla="*/ 2147483647 w 366"/>
                      <a:gd name="T61" fmla="*/ 2147483647 h 276"/>
                      <a:gd name="T62" fmla="*/ 2147483647 w 366"/>
                      <a:gd name="T63" fmla="*/ 2147483647 h 276"/>
                      <a:gd name="T64" fmla="*/ 2147483647 w 366"/>
                      <a:gd name="T65" fmla="*/ 2147483647 h 276"/>
                      <a:gd name="T66" fmla="*/ 2147483647 w 366"/>
                      <a:gd name="T67" fmla="*/ 2147483647 h 276"/>
                      <a:gd name="T68" fmla="*/ 2147483647 w 366"/>
                      <a:gd name="T69" fmla="*/ 2147483647 h 276"/>
                      <a:gd name="T70" fmla="*/ 2147483647 w 366"/>
                      <a:gd name="T71" fmla="*/ 2147483647 h 276"/>
                      <a:gd name="T72" fmla="*/ 2147483647 w 366"/>
                      <a:gd name="T73" fmla="*/ 2147483647 h 276"/>
                      <a:gd name="T74" fmla="*/ 2147483647 w 366"/>
                      <a:gd name="T75" fmla="*/ 2147483647 h 276"/>
                      <a:gd name="T76" fmla="*/ 2147483647 w 366"/>
                      <a:gd name="T77" fmla="*/ 2147483647 h 276"/>
                      <a:gd name="T78" fmla="*/ 2147483647 w 366"/>
                      <a:gd name="T79" fmla="*/ 2147483647 h 276"/>
                      <a:gd name="T80" fmla="*/ 2147483647 w 366"/>
                      <a:gd name="T81" fmla="*/ 2147483647 h 276"/>
                      <a:gd name="T82" fmla="*/ 2147483647 w 366"/>
                      <a:gd name="T83" fmla="*/ 2147483647 h 276"/>
                      <a:gd name="T84" fmla="*/ 2147483647 w 366"/>
                      <a:gd name="T85" fmla="*/ 2147483647 h 276"/>
                      <a:gd name="T86" fmla="*/ 2147483647 w 366"/>
                      <a:gd name="T87" fmla="*/ 2147483647 h 276"/>
                      <a:gd name="T88" fmla="*/ 2147483647 w 366"/>
                      <a:gd name="T89" fmla="*/ 2147483647 h 276"/>
                      <a:gd name="T90" fmla="*/ 2147483647 w 366"/>
                      <a:gd name="T91" fmla="*/ 2147483647 h 27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366"/>
                      <a:gd name="T139" fmla="*/ 0 h 276"/>
                      <a:gd name="T140" fmla="*/ 366 w 366"/>
                      <a:gd name="T141" fmla="*/ 276 h 27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366" h="276">
                        <a:moveTo>
                          <a:pt x="342" y="126"/>
                        </a:moveTo>
                        <a:lnTo>
                          <a:pt x="342" y="114"/>
                        </a:lnTo>
                        <a:lnTo>
                          <a:pt x="348" y="114"/>
                        </a:lnTo>
                        <a:lnTo>
                          <a:pt x="354" y="108"/>
                        </a:lnTo>
                        <a:lnTo>
                          <a:pt x="360" y="108"/>
                        </a:lnTo>
                        <a:lnTo>
                          <a:pt x="366" y="102"/>
                        </a:lnTo>
                        <a:lnTo>
                          <a:pt x="360" y="102"/>
                        </a:lnTo>
                        <a:lnTo>
                          <a:pt x="348" y="96"/>
                        </a:lnTo>
                        <a:lnTo>
                          <a:pt x="336" y="96"/>
                        </a:lnTo>
                        <a:lnTo>
                          <a:pt x="342" y="78"/>
                        </a:lnTo>
                        <a:lnTo>
                          <a:pt x="336" y="78"/>
                        </a:lnTo>
                        <a:lnTo>
                          <a:pt x="330" y="48"/>
                        </a:lnTo>
                        <a:lnTo>
                          <a:pt x="324" y="48"/>
                        </a:lnTo>
                        <a:lnTo>
                          <a:pt x="312" y="54"/>
                        </a:lnTo>
                        <a:lnTo>
                          <a:pt x="270" y="60"/>
                        </a:lnTo>
                        <a:lnTo>
                          <a:pt x="264" y="48"/>
                        </a:lnTo>
                        <a:lnTo>
                          <a:pt x="246" y="48"/>
                        </a:lnTo>
                        <a:lnTo>
                          <a:pt x="234" y="42"/>
                        </a:lnTo>
                        <a:lnTo>
                          <a:pt x="228" y="36"/>
                        </a:lnTo>
                        <a:lnTo>
                          <a:pt x="216" y="30"/>
                        </a:lnTo>
                        <a:lnTo>
                          <a:pt x="204" y="18"/>
                        </a:lnTo>
                        <a:lnTo>
                          <a:pt x="204" y="12"/>
                        </a:lnTo>
                        <a:lnTo>
                          <a:pt x="198" y="6"/>
                        </a:lnTo>
                        <a:lnTo>
                          <a:pt x="186" y="0"/>
                        </a:lnTo>
                        <a:lnTo>
                          <a:pt x="162" y="0"/>
                        </a:lnTo>
                        <a:lnTo>
                          <a:pt x="162" y="12"/>
                        </a:lnTo>
                        <a:lnTo>
                          <a:pt x="150" y="18"/>
                        </a:lnTo>
                        <a:lnTo>
                          <a:pt x="120" y="18"/>
                        </a:lnTo>
                        <a:lnTo>
                          <a:pt x="120" y="30"/>
                        </a:lnTo>
                        <a:lnTo>
                          <a:pt x="126" y="36"/>
                        </a:lnTo>
                        <a:lnTo>
                          <a:pt x="126" y="42"/>
                        </a:lnTo>
                        <a:lnTo>
                          <a:pt x="114" y="54"/>
                        </a:lnTo>
                        <a:lnTo>
                          <a:pt x="102" y="60"/>
                        </a:lnTo>
                        <a:lnTo>
                          <a:pt x="102" y="78"/>
                        </a:lnTo>
                        <a:lnTo>
                          <a:pt x="60" y="78"/>
                        </a:lnTo>
                        <a:lnTo>
                          <a:pt x="54" y="72"/>
                        </a:lnTo>
                        <a:lnTo>
                          <a:pt x="54" y="66"/>
                        </a:lnTo>
                        <a:lnTo>
                          <a:pt x="48" y="78"/>
                        </a:lnTo>
                        <a:lnTo>
                          <a:pt x="30" y="78"/>
                        </a:lnTo>
                        <a:lnTo>
                          <a:pt x="18" y="72"/>
                        </a:lnTo>
                        <a:lnTo>
                          <a:pt x="18" y="84"/>
                        </a:lnTo>
                        <a:lnTo>
                          <a:pt x="0" y="84"/>
                        </a:lnTo>
                        <a:lnTo>
                          <a:pt x="0" y="132"/>
                        </a:lnTo>
                        <a:lnTo>
                          <a:pt x="6" y="132"/>
                        </a:lnTo>
                        <a:lnTo>
                          <a:pt x="12" y="120"/>
                        </a:lnTo>
                        <a:lnTo>
                          <a:pt x="24" y="114"/>
                        </a:lnTo>
                        <a:lnTo>
                          <a:pt x="30" y="102"/>
                        </a:lnTo>
                        <a:lnTo>
                          <a:pt x="42" y="102"/>
                        </a:lnTo>
                        <a:lnTo>
                          <a:pt x="48" y="114"/>
                        </a:lnTo>
                        <a:lnTo>
                          <a:pt x="48" y="132"/>
                        </a:lnTo>
                        <a:lnTo>
                          <a:pt x="78" y="126"/>
                        </a:lnTo>
                        <a:lnTo>
                          <a:pt x="78" y="132"/>
                        </a:lnTo>
                        <a:lnTo>
                          <a:pt x="72" y="144"/>
                        </a:lnTo>
                        <a:lnTo>
                          <a:pt x="72" y="150"/>
                        </a:lnTo>
                        <a:lnTo>
                          <a:pt x="84" y="162"/>
                        </a:lnTo>
                        <a:lnTo>
                          <a:pt x="96" y="168"/>
                        </a:lnTo>
                        <a:lnTo>
                          <a:pt x="96" y="180"/>
                        </a:lnTo>
                        <a:lnTo>
                          <a:pt x="144" y="216"/>
                        </a:lnTo>
                        <a:lnTo>
                          <a:pt x="144" y="240"/>
                        </a:lnTo>
                        <a:lnTo>
                          <a:pt x="198" y="240"/>
                        </a:lnTo>
                        <a:lnTo>
                          <a:pt x="210" y="246"/>
                        </a:lnTo>
                        <a:lnTo>
                          <a:pt x="216" y="252"/>
                        </a:lnTo>
                        <a:lnTo>
                          <a:pt x="216" y="276"/>
                        </a:lnTo>
                        <a:lnTo>
                          <a:pt x="246" y="276"/>
                        </a:lnTo>
                        <a:lnTo>
                          <a:pt x="252" y="270"/>
                        </a:lnTo>
                        <a:lnTo>
                          <a:pt x="252" y="264"/>
                        </a:lnTo>
                        <a:lnTo>
                          <a:pt x="246" y="252"/>
                        </a:lnTo>
                        <a:lnTo>
                          <a:pt x="234" y="246"/>
                        </a:lnTo>
                        <a:lnTo>
                          <a:pt x="216" y="234"/>
                        </a:lnTo>
                        <a:lnTo>
                          <a:pt x="204" y="228"/>
                        </a:lnTo>
                        <a:lnTo>
                          <a:pt x="192" y="216"/>
                        </a:lnTo>
                        <a:lnTo>
                          <a:pt x="180" y="186"/>
                        </a:lnTo>
                        <a:lnTo>
                          <a:pt x="162" y="180"/>
                        </a:lnTo>
                        <a:lnTo>
                          <a:pt x="162" y="162"/>
                        </a:lnTo>
                        <a:lnTo>
                          <a:pt x="156" y="156"/>
                        </a:lnTo>
                        <a:lnTo>
                          <a:pt x="150" y="156"/>
                        </a:lnTo>
                        <a:lnTo>
                          <a:pt x="150" y="144"/>
                        </a:lnTo>
                        <a:lnTo>
                          <a:pt x="132" y="138"/>
                        </a:lnTo>
                        <a:lnTo>
                          <a:pt x="120" y="126"/>
                        </a:lnTo>
                        <a:lnTo>
                          <a:pt x="138" y="120"/>
                        </a:lnTo>
                        <a:lnTo>
                          <a:pt x="138" y="96"/>
                        </a:lnTo>
                        <a:lnTo>
                          <a:pt x="144" y="96"/>
                        </a:lnTo>
                        <a:lnTo>
                          <a:pt x="150" y="102"/>
                        </a:lnTo>
                        <a:lnTo>
                          <a:pt x="162" y="108"/>
                        </a:lnTo>
                        <a:lnTo>
                          <a:pt x="186" y="102"/>
                        </a:lnTo>
                        <a:lnTo>
                          <a:pt x="210" y="102"/>
                        </a:lnTo>
                        <a:lnTo>
                          <a:pt x="228" y="108"/>
                        </a:lnTo>
                        <a:lnTo>
                          <a:pt x="240" y="102"/>
                        </a:lnTo>
                        <a:lnTo>
                          <a:pt x="252" y="102"/>
                        </a:lnTo>
                        <a:lnTo>
                          <a:pt x="258" y="108"/>
                        </a:lnTo>
                        <a:lnTo>
                          <a:pt x="312" y="108"/>
                        </a:lnTo>
                        <a:lnTo>
                          <a:pt x="324" y="126"/>
                        </a:lnTo>
                        <a:lnTo>
                          <a:pt x="342" y="12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56" name="Côte d'Ivoire"/>
                  <p:cNvSpPr>
                    <a:spLocks/>
                  </p:cNvSpPr>
                  <p:nvPr/>
                </p:nvSpPr>
                <p:spPr bwMode="gray">
                  <a:xfrm>
                    <a:off x="2495" y="2089"/>
                    <a:ext cx="112" cy="132"/>
                  </a:xfrm>
                  <a:custGeom>
                    <a:avLst/>
                    <a:gdLst>
                      <a:gd name="T0" fmla="*/ 2147483647 w 438"/>
                      <a:gd name="T1" fmla="*/ 2147483647 h 516"/>
                      <a:gd name="T2" fmla="*/ 2147483647 w 438"/>
                      <a:gd name="T3" fmla="*/ 2147483647 h 516"/>
                      <a:gd name="T4" fmla="*/ 2147483647 w 438"/>
                      <a:gd name="T5" fmla="*/ 2147483647 h 516"/>
                      <a:gd name="T6" fmla="*/ 2147483647 w 438"/>
                      <a:gd name="T7" fmla="*/ 2147483647 h 516"/>
                      <a:gd name="T8" fmla="*/ 2147483647 w 438"/>
                      <a:gd name="T9" fmla="*/ 2147483647 h 516"/>
                      <a:gd name="T10" fmla="*/ 2147483647 w 438"/>
                      <a:gd name="T11" fmla="*/ 2147483647 h 516"/>
                      <a:gd name="T12" fmla="*/ 2147483647 w 438"/>
                      <a:gd name="T13" fmla="*/ 2147483647 h 516"/>
                      <a:gd name="T14" fmla="*/ 2147483647 w 438"/>
                      <a:gd name="T15" fmla="*/ 2147483647 h 516"/>
                      <a:gd name="T16" fmla="*/ 2147483647 w 438"/>
                      <a:gd name="T17" fmla="*/ 2147483647 h 516"/>
                      <a:gd name="T18" fmla="*/ 2147483647 w 438"/>
                      <a:gd name="T19" fmla="*/ 2147483647 h 516"/>
                      <a:gd name="T20" fmla="*/ 2147483647 w 438"/>
                      <a:gd name="T21" fmla="*/ 2147483647 h 516"/>
                      <a:gd name="T22" fmla="*/ 2147483647 w 438"/>
                      <a:gd name="T23" fmla="*/ 2147483647 h 516"/>
                      <a:gd name="T24" fmla="*/ 2147483647 w 438"/>
                      <a:gd name="T25" fmla="*/ 2147483647 h 516"/>
                      <a:gd name="T26" fmla="*/ 2147483647 w 438"/>
                      <a:gd name="T27" fmla="*/ 2147483647 h 516"/>
                      <a:gd name="T28" fmla="*/ 2147483647 w 438"/>
                      <a:gd name="T29" fmla="*/ 2147483647 h 516"/>
                      <a:gd name="T30" fmla="*/ 2147483647 w 438"/>
                      <a:gd name="T31" fmla="*/ 2147483647 h 516"/>
                      <a:gd name="T32" fmla="*/ 2147483647 w 438"/>
                      <a:gd name="T33" fmla="*/ 0 h 516"/>
                      <a:gd name="T34" fmla="*/ 2147483647 w 438"/>
                      <a:gd name="T35" fmla="*/ 2147483647 h 516"/>
                      <a:gd name="T36" fmla="*/ 2147483647 w 438"/>
                      <a:gd name="T37" fmla="*/ 2147483647 h 516"/>
                      <a:gd name="T38" fmla="*/ 2147483647 w 438"/>
                      <a:gd name="T39" fmla="*/ 2147483647 h 516"/>
                      <a:gd name="T40" fmla="*/ 2147483647 w 438"/>
                      <a:gd name="T41" fmla="*/ 2147483647 h 516"/>
                      <a:gd name="T42" fmla="*/ 2147483647 w 438"/>
                      <a:gd name="T43" fmla="*/ 2147483647 h 516"/>
                      <a:gd name="T44" fmla="*/ 2147483647 w 438"/>
                      <a:gd name="T45" fmla="*/ 2147483647 h 516"/>
                      <a:gd name="T46" fmla="*/ 2147483647 w 438"/>
                      <a:gd name="T47" fmla="*/ 2147483647 h 516"/>
                      <a:gd name="T48" fmla="*/ 2147483647 w 438"/>
                      <a:gd name="T49" fmla="*/ 2147483647 h 516"/>
                      <a:gd name="T50" fmla="*/ 2147483647 w 438"/>
                      <a:gd name="T51" fmla="*/ 2147483647 h 516"/>
                      <a:gd name="T52" fmla="*/ 2147483647 w 438"/>
                      <a:gd name="T53" fmla="*/ 2147483647 h 516"/>
                      <a:gd name="T54" fmla="*/ 2147483647 w 438"/>
                      <a:gd name="T55" fmla="*/ 2147483647 h 516"/>
                      <a:gd name="T56" fmla="*/ 2147483647 w 438"/>
                      <a:gd name="T57" fmla="*/ 2147483647 h 516"/>
                      <a:gd name="T58" fmla="*/ 2147483647 w 438"/>
                      <a:gd name="T59" fmla="*/ 2147483647 h 516"/>
                      <a:gd name="T60" fmla="*/ 2147483647 w 438"/>
                      <a:gd name="T61" fmla="*/ 2147483647 h 516"/>
                      <a:gd name="T62" fmla="*/ 2147483647 w 438"/>
                      <a:gd name="T63" fmla="*/ 2147483647 h 516"/>
                      <a:gd name="T64" fmla="*/ 2147483647 w 438"/>
                      <a:gd name="T65" fmla="*/ 2147483647 h 516"/>
                      <a:gd name="T66" fmla="*/ 2147483647 w 438"/>
                      <a:gd name="T67" fmla="*/ 2147483647 h 516"/>
                      <a:gd name="T68" fmla="*/ 2147483647 w 438"/>
                      <a:gd name="T69" fmla="*/ 2147483647 h 516"/>
                      <a:gd name="T70" fmla="*/ 2147483647 w 438"/>
                      <a:gd name="T71" fmla="*/ 2147483647 h 516"/>
                      <a:gd name="T72" fmla="*/ 2147483647 w 438"/>
                      <a:gd name="T73" fmla="*/ 2147483647 h 516"/>
                      <a:gd name="T74" fmla="*/ 2147483647 w 438"/>
                      <a:gd name="T75" fmla="*/ 2147483647 h 516"/>
                      <a:gd name="T76" fmla="*/ 2147483647 w 438"/>
                      <a:gd name="T77" fmla="*/ 2147483647 h 516"/>
                      <a:gd name="T78" fmla="*/ 2147483647 w 438"/>
                      <a:gd name="T79" fmla="*/ 2147483647 h 516"/>
                      <a:gd name="T80" fmla="*/ 2147483647 w 438"/>
                      <a:gd name="T81" fmla="*/ 2147483647 h 516"/>
                      <a:gd name="T82" fmla="*/ 2147483647 w 438"/>
                      <a:gd name="T83" fmla="*/ 2147483647 h 516"/>
                      <a:gd name="T84" fmla="*/ 2147483647 w 438"/>
                      <a:gd name="T85" fmla="*/ 2147483647 h 516"/>
                      <a:gd name="T86" fmla="*/ 2147483647 w 438"/>
                      <a:gd name="T87" fmla="*/ 2147483647 h 516"/>
                      <a:gd name="T88" fmla="*/ 2147483647 w 438"/>
                      <a:gd name="T89" fmla="*/ 2147483647 h 51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38"/>
                      <a:gd name="T136" fmla="*/ 0 h 516"/>
                      <a:gd name="T137" fmla="*/ 438 w 438"/>
                      <a:gd name="T138" fmla="*/ 516 h 51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38" h="516">
                        <a:moveTo>
                          <a:pt x="402" y="408"/>
                        </a:moveTo>
                        <a:lnTo>
                          <a:pt x="402" y="402"/>
                        </a:lnTo>
                        <a:lnTo>
                          <a:pt x="396" y="396"/>
                        </a:lnTo>
                        <a:lnTo>
                          <a:pt x="390" y="384"/>
                        </a:lnTo>
                        <a:lnTo>
                          <a:pt x="390" y="372"/>
                        </a:lnTo>
                        <a:lnTo>
                          <a:pt x="384" y="354"/>
                        </a:lnTo>
                        <a:lnTo>
                          <a:pt x="378" y="342"/>
                        </a:lnTo>
                        <a:lnTo>
                          <a:pt x="378" y="318"/>
                        </a:lnTo>
                        <a:lnTo>
                          <a:pt x="384" y="312"/>
                        </a:lnTo>
                        <a:lnTo>
                          <a:pt x="390" y="300"/>
                        </a:lnTo>
                        <a:lnTo>
                          <a:pt x="408" y="282"/>
                        </a:lnTo>
                        <a:lnTo>
                          <a:pt x="408" y="270"/>
                        </a:lnTo>
                        <a:lnTo>
                          <a:pt x="414" y="258"/>
                        </a:lnTo>
                        <a:lnTo>
                          <a:pt x="414" y="240"/>
                        </a:lnTo>
                        <a:lnTo>
                          <a:pt x="420" y="228"/>
                        </a:lnTo>
                        <a:lnTo>
                          <a:pt x="426" y="222"/>
                        </a:lnTo>
                        <a:lnTo>
                          <a:pt x="438" y="198"/>
                        </a:lnTo>
                        <a:lnTo>
                          <a:pt x="438" y="186"/>
                        </a:lnTo>
                        <a:lnTo>
                          <a:pt x="432" y="174"/>
                        </a:lnTo>
                        <a:lnTo>
                          <a:pt x="432" y="162"/>
                        </a:lnTo>
                        <a:lnTo>
                          <a:pt x="426" y="150"/>
                        </a:lnTo>
                        <a:lnTo>
                          <a:pt x="426" y="138"/>
                        </a:lnTo>
                        <a:lnTo>
                          <a:pt x="420" y="132"/>
                        </a:lnTo>
                        <a:lnTo>
                          <a:pt x="420" y="126"/>
                        </a:lnTo>
                        <a:lnTo>
                          <a:pt x="432" y="126"/>
                        </a:lnTo>
                        <a:lnTo>
                          <a:pt x="426" y="96"/>
                        </a:lnTo>
                        <a:lnTo>
                          <a:pt x="408" y="102"/>
                        </a:lnTo>
                        <a:lnTo>
                          <a:pt x="408" y="90"/>
                        </a:lnTo>
                        <a:lnTo>
                          <a:pt x="390" y="72"/>
                        </a:lnTo>
                        <a:lnTo>
                          <a:pt x="372" y="66"/>
                        </a:lnTo>
                        <a:lnTo>
                          <a:pt x="342" y="66"/>
                        </a:lnTo>
                        <a:lnTo>
                          <a:pt x="318" y="78"/>
                        </a:lnTo>
                        <a:lnTo>
                          <a:pt x="318" y="84"/>
                        </a:lnTo>
                        <a:lnTo>
                          <a:pt x="312" y="90"/>
                        </a:lnTo>
                        <a:lnTo>
                          <a:pt x="300" y="90"/>
                        </a:lnTo>
                        <a:lnTo>
                          <a:pt x="294" y="84"/>
                        </a:lnTo>
                        <a:lnTo>
                          <a:pt x="282" y="84"/>
                        </a:lnTo>
                        <a:lnTo>
                          <a:pt x="276" y="78"/>
                        </a:lnTo>
                        <a:lnTo>
                          <a:pt x="264" y="72"/>
                        </a:lnTo>
                        <a:lnTo>
                          <a:pt x="258" y="60"/>
                        </a:lnTo>
                        <a:lnTo>
                          <a:pt x="258" y="48"/>
                        </a:lnTo>
                        <a:lnTo>
                          <a:pt x="252" y="42"/>
                        </a:lnTo>
                        <a:lnTo>
                          <a:pt x="252" y="36"/>
                        </a:lnTo>
                        <a:lnTo>
                          <a:pt x="228" y="42"/>
                        </a:lnTo>
                        <a:lnTo>
                          <a:pt x="228" y="18"/>
                        </a:lnTo>
                        <a:lnTo>
                          <a:pt x="216" y="18"/>
                        </a:lnTo>
                        <a:lnTo>
                          <a:pt x="210" y="24"/>
                        </a:lnTo>
                        <a:lnTo>
                          <a:pt x="204" y="36"/>
                        </a:lnTo>
                        <a:lnTo>
                          <a:pt x="198" y="42"/>
                        </a:lnTo>
                        <a:lnTo>
                          <a:pt x="174" y="36"/>
                        </a:lnTo>
                        <a:lnTo>
                          <a:pt x="174" y="0"/>
                        </a:lnTo>
                        <a:lnTo>
                          <a:pt x="162" y="24"/>
                        </a:lnTo>
                        <a:lnTo>
                          <a:pt x="150" y="6"/>
                        </a:lnTo>
                        <a:lnTo>
                          <a:pt x="144" y="30"/>
                        </a:lnTo>
                        <a:lnTo>
                          <a:pt x="126" y="30"/>
                        </a:lnTo>
                        <a:lnTo>
                          <a:pt x="120" y="48"/>
                        </a:lnTo>
                        <a:lnTo>
                          <a:pt x="102" y="30"/>
                        </a:lnTo>
                        <a:lnTo>
                          <a:pt x="84" y="24"/>
                        </a:lnTo>
                        <a:lnTo>
                          <a:pt x="72" y="24"/>
                        </a:lnTo>
                        <a:lnTo>
                          <a:pt x="66" y="30"/>
                        </a:lnTo>
                        <a:lnTo>
                          <a:pt x="66" y="48"/>
                        </a:lnTo>
                        <a:lnTo>
                          <a:pt x="54" y="42"/>
                        </a:lnTo>
                        <a:lnTo>
                          <a:pt x="36" y="66"/>
                        </a:lnTo>
                        <a:lnTo>
                          <a:pt x="42" y="102"/>
                        </a:lnTo>
                        <a:lnTo>
                          <a:pt x="60" y="108"/>
                        </a:lnTo>
                        <a:lnTo>
                          <a:pt x="48" y="126"/>
                        </a:lnTo>
                        <a:lnTo>
                          <a:pt x="66" y="132"/>
                        </a:lnTo>
                        <a:lnTo>
                          <a:pt x="60" y="138"/>
                        </a:lnTo>
                        <a:lnTo>
                          <a:pt x="54" y="150"/>
                        </a:lnTo>
                        <a:lnTo>
                          <a:pt x="54" y="162"/>
                        </a:lnTo>
                        <a:lnTo>
                          <a:pt x="60" y="162"/>
                        </a:lnTo>
                        <a:lnTo>
                          <a:pt x="72" y="168"/>
                        </a:lnTo>
                        <a:lnTo>
                          <a:pt x="78" y="168"/>
                        </a:lnTo>
                        <a:lnTo>
                          <a:pt x="78" y="180"/>
                        </a:lnTo>
                        <a:lnTo>
                          <a:pt x="72" y="186"/>
                        </a:lnTo>
                        <a:lnTo>
                          <a:pt x="72" y="192"/>
                        </a:lnTo>
                        <a:lnTo>
                          <a:pt x="66" y="186"/>
                        </a:lnTo>
                        <a:lnTo>
                          <a:pt x="54" y="186"/>
                        </a:lnTo>
                        <a:lnTo>
                          <a:pt x="48" y="180"/>
                        </a:lnTo>
                        <a:lnTo>
                          <a:pt x="30" y="180"/>
                        </a:lnTo>
                        <a:lnTo>
                          <a:pt x="30" y="192"/>
                        </a:lnTo>
                        <a:lnTo>
                          <a:pt x="36" y="204"/>
                        </a:lnTo>
                        <a:lnTo>
                          <a:pt x="48" y="210"/>
                        </a:lnTo>
                        <a:lnTo>
                          <a:pt x="54" y="222"/>
                        </a:lnTo>
                        <a:lnTo>
                          <a:pt x="36" y="222"/>
                        </a:lnTo>
                        <a:lnTo>
                          <a:pt x="36" y="228"/>
                        </a:lnTo>
                        <a:lnTo>
                          <a:pt x="42" y="234"/>
                        </a:lnTo>
                        <a:lnTo>
                          <a:pt x="42" y="252"/>
                        </a:lnTo>
                        <a:lnTo>
                          <a:pt x="36" y="258"/>
                        </a:lnTo>
                        <a:lnTo>
                          <a:pt x="30" y="258"/>
                        </a:lnTo>
                        <a:lnTo>
                          <a:pt x="18" y="252"/>
                        </a:lnTo>
                        <a:lnTo>
                          <a:pt x="12" y="246"/>
                        </a:lnTo>
                        <a:lnTo>
                          <a:pt x="6" y="246"/>
                        </a:lnTo>
                        <a:lnTo>
                          <a:pt x="24" y="282"/>
                        </a:lnTo>
                        <a:lnTo>
                          <a:pt x="24" y="306"/>
                        </a:lnTo>
                        <a:lnTo>
                          <a:pt x="18" y="324"/>
                        </a:lnTo>
                        <a:lnTo>
                          <a:pt x="6" y="330"/>
                        </a:lnTo>
                        <a:lnTo>
                          <a:pt x="0" y="342"/>
                        </a:lnTo>
                        <a:lnTo>
                          <a:pt x="6" y="348"/>
                        </a:lnTo>
                        <a:lnTo>
                          <a:pt x="24" y="348"/>
                        </a:lnTo>
                        <a:lnTo>
                          <a:pt x="24" y="360"/>
                        </a:lnTo>
                        <a:lnTo>
                          <a:pt x="60" y="354"/>
                        </a:lnTo>
                        <a:lnTo>
                          <a:pt x="60" y="384"/>
                        </a:lnTo>
                        <a:lnTo>
                          <a:pt x="90" y="414"/>
                        </a:lnTo>
                        <a:lnTo>
                          <a:pt x="90" y="438"/>
                        </a:lnTo>
                        <a:lnTo>
                          <a:pt x="84" y="450"/>
                        </a:lnTo>
                        <a:lnTo>
                          <a:pt x="84" y="462"/>
                        </a:lnTo>
                        <a:lnTo>
                          <a:pt x="78" y="468"/>
                        </a:lnTo>
                        <a:lnTo>
                          <a:pt x="78" y="516"/>
                        </a:lnTo>
                        <a:lnTo>
                          <a:pt x="90" y="516"/>
                        </a:lnTo>
                        <a:lnTo>
                          <a:pt x="96" y="510"/>
                        </a:lnTo>
                        <a:lnTo>
                          <a:pt x="102" y="498"/>
                        </a:lnTo>
                        <a:lnTo>
                          <a:pt x="114" y="498"/>
                        </a:lnTo>
                        <a:lnTo>
                          <a:pt x="126" y="486"/>
                        </a:lnTo>
                        <a:lnTo>
                          <a:pt x="138" y="480"/>
                        </a:lnTo>
                        <a:lnTo>
                          <a:pt x="198" y="456"/>
                        </a:lnTo>
                        <a:lnTo>
                          <a:pt x="228" y="450"/>
                        </a:lnTo>
                        <a:lnTo>
                          <a:pt x="264" y="450"/>
                        </a:lnTo>
                        <a:lnTo>
                          <a:pt x="270" y="444"/>
                        </a:lnTo>
                        <a:lnTo>
                          <a:pt x="282" y="444"/>
                        </a:lnTo>
                        <a:lnTo>
                          <a:pt x="294" y="438"/>
                        </a:lnTo>
                        <a:lnTo>
                          <a:pt x="330" y="438"/>
                        </a:lnTo>
                        <a:lnTo>
                          <a:pt x="336" y="444"/>
                        </a:lnTo>
                        <a:lnTo>
                          <a:pt x="342" y="444"/>
                        </a:lnTo>
                        <a:lnTo>
                          <a:pt x="348" y="450"/>
                        </a:lnTo>
                        <a:lnTo>
                          <a:pt x="366" y="450"/>
                        </a:lnTo>
                        <a:lnTo>
                          <a:pt x="378" y="438"/>
                        </a:lnTo>
                        <a:lnTo>
                          <a:pt x="384" y="438"/>
                        </a:lnTo>
                        <a:lnTo>
                          <a:pt x="384" y="444"/>
                        </a:lnTo>
                        <a:lnTo>
                          <a:pt x="396" y="456"/>
                        </a:lnTo>
                        <a:lnTo>
                          <a:pt x="408" y="462"/>
                        </a:lnTo>
                        <a:lnTo>
                          <a:pt x="420" y="462"/>
                        </a:lnTo>
                        <a:lnTo>
                          <a:pt x="426" y="468"/>
                        </a:lnTo>
                        <a:lnTo>
                          <a:pt x="426" y="414"/>
                        </a:lnTo>
                        <a:lnTo>
                          <a:pt x="402" y="40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57" name="Costa Rica"/>
                  <p:cNvSpPr>
                    <a:spLocks/>
                  </p:cNvSpPr>
                  <p:nvPr/>
                </p:nvSpPr>
                <p:spPr bwMode="gray">
                  <a:xfrm>
                    <a:off x="1095" y="2079"/>
                    <a:ext cx="61" cy="59"/>
                  </a:xfrm>
                  <a:custGeom>
                    <a:avLst/>
                    <a:gdLst>
                      <a:gd name="T0" fmla="*/ 2147483647 w 240"/>
                      <a:gd name="T1" fmla="*/ 2147483647 h 228"/>
                      <a:gd name="T2" fmla="*/ 2147483647 w 240"/>
                      <a:gd name="T3" fmla="*/ 2147483647 h 228"/>
                      <a:gd name="T4" fmla="*/ 2147483647 w 240"/>
                      <a:gd name="T5" fmla="*/ 2147483647 h 228"/>
                      <a:gd name="T6" fmla="*/ 2147483647 w 240"/>
                      <a:gd name="T7" fmla="*/ 2147483647 h 228"/>
                      <a:gd name="T8" fmla="*/ 2147483647 w 240"/>
                      <a:gd name="T9" fmla="*/ 2147483647 h 228"/>
                      <a:gd name="T10" fmla="*/ 2147483647 w 240"/>
                      <a:gd name="T11" fmla="*/ 2147483647 h 228"/>
                      <a:gd name="T12" fmla="*/ 2147483647 w 240"/>
                      <a:gd name="T13" fmla="*/ 2147483647 h 228"/>
                      <a:gd name="T14" fmla="*/ 2147483647 w 240"/>
                      <a:gd name="T15" fmla="*/ 2147483647 h 228"/>
                      <a:gd name="T16" fmla="*/ 2147483647 w 240"/>
                      <a:gd name="T17" fmla="*/ 2147483647 h 228"/>
                      <a:gd name="T18" fmla="*/ 2147483647 w 240"/>
                      <a:gd name="T19" fmla="*/ 2147483647 h 228"/>
                      <a:gd name="T20" fmla="*/ 2147483647 w 240"/>
                      <a:gd name="T21" fmla="*/ 2147483647 h 228"/>
                      <a:gd name="T22" fmla="*/ 2147483647 w 240"/>
                      <a:gd name="T23" fmla="*/ 2147483647 h 228"/>
                      <a:gd name="T24" fmla="*/ 2147483647 w 240"/>
                      <a:gd name="T25" fmla="*/ 2147483647 h 228"/>
                      <a:gd name="T26" fmla="*/ 2147483647 w 240"/>
                      <a:gd name="T27" fmla="*/ 2147483647 h 228"/>
                      <a:gd name="T28" fmla="*/ 2147483647 w 240"/>
                      <a:gd name="T29" fmla="*/ 2147483647 h 228"/>
                      <a:gd name="T30" fmla="*/ 2147483647 w 240"/>
                      <a:gd name="T31" fmla="*/ 0 h 228"/>
                      <a:gd name="T32" fmla="*/ 2147483647 w 240"/>
                      <a:gd name="T33" fmla="*/ 2147483647 h 228"/>
                      <a:gd name="T34" fmla="*/ 2147483647 w 240"/>
                      <a:gd name="T35" fmla="*/ 2147483647 h 228"/>
                      <a:gd name="T36" fmla="*/ 0 w 240"/>
                      <a:gd name="T37" fmla="*/ 2147483647 h 228"/>
                      <a:gd name="T38" fmla="*/ 2147483647 w 240"/>
                      <a:gd name="T39" fmla="*/ 2147483647 h 228"/>
                      <a:gd name="T40" fmla="*/ 2147483647 w 240"/>
                      <a:gd name="T41" fmla="*/ 2147483647 h 228"/>
                      <a:gd name="T42" fmla="*/ 2147483647 w 240"/>
                      <a:gd name="T43" fmla="*/ 2147483647 h 228"/>
                      <a:gd name="T44" fmla="*/ 2147483647 w 240"/>
                      <a:gd name="T45" fmla="*/ 2147483647 h 228"/>
                      <a:gd name="T46" fmla="*/ 2147483647 w 240"/>
                      <a:gd name="T47" fmla="*/ 2147483647 h 228"/>
                      <a:gd name="T48" fmla="*/ 2147483647 w 240"/>
                      <a:gd name="T49" fmla="*/ 2147483647 h 228"/>
                      <a:gd name="T50" fmla="*/ 2147483647 w 240"/>
                      <a:gd name="T51" fmla="*/ 2147483647 h 228"/>
                      <a:gd name="T52" fmla="*/ 2147483647 w 240"/>
                      <a:gd name="T53" fmla="*/ 2147483647 h 228"/>
                      <a:gd name="T54" fmla="*/ 2147483647 w 240"/>
                      <a:gd name="T55" fmla="*/ 2147483647 h 228"/>
                      <a:gd name="T56" fmla="*/ 2147483647 w 240"/>
                      <a:gd name="T57" fmla="*/ 2147483647 h 228"/>
                      <a:gd name="T58" fmla="*/ 2147483647 w 240"/>
                      <a:gd name="T59" fmla="*/ 2147483647 h 228"/>
                      <a:gd name="T60" fmla="*/ 2147483647 w 240"/>
                      <a:gd name="T61" fmla="*/ 2147483647 h 228"/>
                      <a:gd name="T62" fmla="*/ 2147483647 w 240"/>
                      <a:gd name="T63" fmla="*/ 2147483647 h 228"/>
                      <a:gd name="T64" fmla="*/ 2147483647 w 240"/>
                      <a:gd name="T65" fmla="*/ 2147483647 h 228"/>
                      <a:gd name="T66" fmla="*/ 2147483647 w 240"/>
                      <a:gd name="T67" fmla="*/ 2147483647 h 228"/>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40"/>
                      <a:gd name="T103" fmla="*/ 0 h 228"/>
                      <a:gd name="T104" fmla="*/ 240 w 240"/>
                      <a:gd name="T105" fmla="*/ 228 h 228"/>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40" h="228">
                        <a:moveTo>
                          <a:pt x="210" y="198"/>
                        </a:moveTo>
                        <a:lnTo>
                          <a:pt x="216" y="198"/>
                        </a:lnTo>
                        <a:lnTo>
                          <a:pt x="234" y="180"/>
                        </a:lnTo>
                        <a:lnTo>
                          <a:pt x="228" y="174"/>
                        </a:lnTo>
                        <a:lnTo>
                          <a:pt x="210" y="174"/>
                        </a:lnTo>
                        <a:lnTo>
                          <a:pt x="210" y="168"/>
                        </a:lnTo>
                        <a:lnTo>
                          <a:pt x="204" y="162"/>
                        </a:lnTo>
                        <a:lnTo>
                          <a:pt x="204" y="144"/>
                        </a:lnTo>
                        <a:lnTo>
                          <a:pt x="210" y="138"/>
                        </a:lnTo>
                        <a:lnTo>
                          <a:pt x="222" y="138"/>
                        </a:lnTo>
                        <a:lnTo>
                          <a:pt x="228" y="132"/>
                        </a:lnTo>
                        <a:lnTo>
                          <a:pt x="240" y="132"/>
                        </a:lnTo>
                        <a:lnTo>
                          <a:pt x="228" y="126"/>
                        </a:lnTo>
                        <a:lnTo>
                          <a:pt x="210" y="108"/>
                        </a:lnTo>
                        <a:lnTo>
                          <a:pt x="198" y="84"/>
                        </a:lnTo>
                        <a:lnTo>
                          <a:pt x="192" y="78"/>
                        </a:lnTo>
                        <a:lnTo>
                          <a:pt x="186" y="66"/>
                        </a:lnTo>
                        <a:lnTo>
                          <a:pt x="180" y="60"/>
                        </a:lnTo>
                        <a:lnTo>
                          <a:pt x="174" y="36"/>
                        </a:lnTo>
                        <a:lnTo>
                          <a:pt x="138" y="36"/>
                        </a:lnTo>
                        <a:lnTo>
                          <a:pt x="126" y="24"/>
                        </a:lnTo>
                        <a:lnTo>
                          <a:pt x="126" y="18"/>
                        </a:lnTo>
                        <a:lnTo>
                          <a:pt x="120" y="18"/>
                        </a:lnTo>
                        <a:lnTo>
                          <a:pt x="114" y="12"/>
                        </a:lnTo>
                        <a:lnTo>
                          <a:pt x="84" y="12"/>
                        </a:lnTo>
                        <a:lnTo>
                          <a:pt x="84" y="18"/>
                        </a:lnTo>
                        <a:lnTo>
                          <a:pt x="78" y="18"/>
                        </a:lnTo>
                        <a:lnTo>
                          <a:pt x="72" y="12"/>
                        </a:lnTo>
                        <a:lnTo>
                          <a:pt x="60" y="6"/>
                        </a:lnTo>
                        <a:lnTo>
                          <a:pt x="48" y="6"/>
                        </a:lnTo>
                        <a:lnTo>
                          <a:pt x="42" y="0"/>
                        </a:lnTo>
                        <a:lnTo>
                          <a:pt x="24" y="0"/>
                        </a:lnTo>
                        <a:lnTo>
                          <a:pt x="6" y="30"/>
                        </a:lnTo>
                        <a:lnTo>
                          <a:pt x="18" y="42"/>
                        </a:lnTo>
                        <a:lnTo>
                          <a:pt x="24" y="42"/>
                        </a:lnTo>
                        <a:lnTo>
                          <a:pt x="24" y="48"/>
                        </a:lnTo>
                        <a:lnTo>
                          <a:pt x="6" y="66"/>
                        </a:lnTo>
                        <a:lnTo>
                          <a:pt x="0" y="78"/>
                        </a:lnTo>
                        <a:lnTo>
                          <a:pt x="6" y="90"/>
                        </a:lnTo>
                        <a:lnTo>
                          <a:pt x="18" y="102"/>
                        </a:lnTo>
                        <a:lnTo>
                          <a:pt x="30" y="108"/>
                        </a:lnTo>
                        <a:lnTo>
                          <a:pt x="42" y="108"/>
                        </a:lnTo>
                        <a:lnTo>
                          <a:pt x="60" y="126"/>
                        </a:lnTo>
                        <a:lnTo>
                          <a:pt x="72" y="126"/>
                        </a:lnTo>
                        <a:lnTo>
                          <a:pt x="72" y="102"/>
                        </a:lnTo>
                        <a:lnTo>
                          <a:pt x="66" y="96"/>
                        </a:lnTo>
                        <a:lnTo>
                          <a:pt x="54" y="90"/>
                        </a:lnTo>
                        <a:lnTo>
                          <a:pt x="42" y="78"/>
                        </a:lnTo>
                        <a:lnTo>
                          <a:pt x="42" y="72"/>
                        </a:lnTo>
                        <a:lnTo>
                          <a:pt x="48" y="72"/>
                        </a:lnTo>
                        <a:lnTo>
                          <a:pt x="60" y="78"/>
                        </a:lnTo>
                        <a:lnTo>
                          <a:pt x="66" y="84"/>
                        </a:lnTo>
                        <a:lnTo>
                          <a:pt x="90" y="96"/>
                        </a:lnTo>
                        <a:lnTo>
                          <a:pt x="96" y="102"/>
                        </a:lnTo>
                        <a:lnTo>
                          <a:pt x="96" y="132"/>
                        </a:lnTo>
                        <a:lnTo>
                          <a:pt x="114" y="132"/>
                        </a:lnTo>
                        <a:lnTo>
                          <a:pt x="126" y="138"/>
                        </a:lnTo>
                        <a:lnTo>
                          <a:pt x="138" y="138"/>
                        </a:lnTo>
                        <a:lnTo>
                          <a:pt x="156" y="180"/>
                        </a:lnTo>
                        <a:lnTo>
                          <a:pt x="150" y="186"/>
                        </a:lnTo>
                        <a:lnTo>
                          <a:pt x="150" y="198"/>
                        </a:lnTo>
                        <a:lnTo>
                          <a:pt x="168" y="216"/>
                        </a:lnTo>
                        <a:lnTo>
                          <a:pt x="180" y="222"/>
                        </a:lnTo>
                        <a:lnTo>
                          <a:pt x="192" y="222"/>
                        </a:lnTo>
                        <a:lnTo>
                          <a:pt x="174" y="198"/>
                        </a:lnTo>
                        <a:lnTo>
                          <a:pt x="204" y="228"/>
                        </a:lnTo>
                        <a:lnTo>
                          <a:pt x="210" y="222"/>
                        </a:lnTo>
                        <a:lnTo>
                          <a:pt x="210" y="198"/>
                        </a:lnTo>
                        <a:close/>
                      </a:path>
                    </a:pathLst>
                  </a:custGeom>
                  <a:no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58" name="Congo"/>
                  <p:cNvSpPr>
                    <a:spLocks/>
                  </p:cNvSpPr>
                  <p:nvPr/>
                </p:nvSpPr>
                <p:spPr bwMode="gray">
                  <a:xfrm>
                    <a:off x="2876" y="2199"/>
                    <a:ext cx="345" cy="388"/>
                  </a:xfrm>
                  <a:custGeom>
                    <a:avLst/>
                    <a:gdLst>
                      <a:gd name="T0" fmla="*/ 2147483647 w 1350"/>
                      <a:gd name="T1" fmla="*/ 2147483647 h 1518"/>
                      <a:gd name="T2" fmla="*/ 2147483647 w 1350"/>
                      <a:gd name="T3" fmla="*/ 2147483647 h 1518"/>
                      <a:gd name="T4" fmla="*/ 2147483647 w 1350"/>
                      <a:gd name="T5" fmla="*/ 2147483647 h 1518"/>
                      <a:gd name="T6" fmla="*/ 2147483647 w 1350"/>
                      <a:gd name="T7" fmla="*/ 2147483647 h 1518"/>
                      <a:gd name="T8" fmla="*/ 2147483647 w 1350"/>
                      <a:gd name="T9" fmla="*/ 2147483647 h 1518"/>
                      <a:gd name="T10" fmla="*/ 2147483647 w 1350"/>
                      <a:gd name="T11" fmla="*/ 2147483647 h 1518"/>
                      <a:gd name="T12" fmla="*/ 2147483647 w 1350"/>
                      <a:gd name="T13" fmla="*/ 2147483647 h 1518"/>
                      <a:gd name="T14" fmla="*/ 2147483647 w 1350"/>
                      <a:gd name="T15" fmla="*/ 2147483647 h 1518"/>
                      <a:gd name="T16" fmla="*/ 2147483647 w 1350"/>
                      <a:gd name="T17" fmla="*/ 2147483647 h 1518"/>
                      <a:gd name="T18" fmla="*/ 2147483647 w 1350"/>
                      <a:gd name="T19" fmla="*/ 2147483647 h 1518"/>
                      <a:gd name="T20" fmla="*/ 2147483647 w 1350"/>
                      <a:gd name="T21" fmla="*/ 2147483647 h 1518"/>
                      <a:gd name="T22" fmla="*/ 2147483647 w 1350"/>
                      <a:gd name="T23" fmla="*/ 2147483647 h 1518"/>
                      <a:gd name="T24" fmla="*/ 2147483647 w 1350"/>
                      <a:gd name="T25" fmla="*/ 2147483647 h 1518"/>
                      <a:gd name="T26" fmla="*/ 2147483647 w 1350"/>
                      <a:gd name="T27" fmla="*/ 2147483647 h 1518"/>
                      <a:gd name="T28" fmla="*/ 2147483647 w 1350"/>
                      <a:gd name="T29" fmla="*/ 2147483647 h 1518"/>
                      <a:gd name="T30" fmla="*/ 2147483647 w 1350"/>
                      <a:gd name="T31" fmla="*/ 2147483647 h 1518"/>
                      <a:gd name="T32" fmla="*/ 2147483647 w 1350"/>
                      <a:gd name="T33" fmla="*/ 2147483647 h 1518"/>
                      <a:gd name="T34" fmla="*/ 2147483647 w 1350"/>
                      <a:gd name="T35" fmla="*/ 2147483647 h 1518"/>
                      <a:gd name="T36" fmla="*/ 2147483647 w 1350"/>
                      <a:gd name="T37" fmla="*/ 2147483647 h 1518"/>
                      <a:gd name="T38" fmla="*/ 2147483647 w 1350"/>
                      <a:gd name="T39" fmla="*/ 2147483647 h 1518"/>
                      <a:gd name="T40" fmla="*/ 2147483647 w 1350"/>
                      <a:gd name="T41" fmla="*/ 2147483647 h 1518"/>
                      <a:gd name="T42" fmla="*/ 2147483647 w 1350"/>
                      <a:gd name="T43" fmla="*/ 2147483647 h 1518"/>
                      <a:gd name="T44" fmla="*/ 2147483647 w 1350"/>
                      <a:gd name="T45" fmla="*/ 2147483647 h 1518"/>
                      <a:gd name="T46" fmla="*/ 2147483647 w 1350"/>
                      <a:gd name="T47" fmla="*/ 2147483647 h 1518"/>
                      <a:gd name="T48" fmla="*/ 2147483647 w 1350"/>
                      <a:gd name="T49" fmla="*/ 2147483647 h 1518"/>
                      <a:gd name="T50" fmla="*/ 2147483647 w 1350"/>
                      <a:gd name="T51" fmla="*/ 2147483647 h 1518"/>
                      <a:gd name="T52" fmla="*/ 2147483647 w 1350"/>
                      <a:gd name="T53" fmla="*/ 2147483647 h 1518"/>
                      <a:gd name="T54" fmla="*/ 2147483647 w 1350"/>
                      <a:gd name="T55" fmla="*/ 2147483647 h 1518"/>
                      <a:gd name="T56" fmla="*/ 2147483647 w 1350"/>
                      <a:gd name="T57" fmla="*/ 2147483647 h 1518"/>
                      <a:gd name="T58" fmla="*/ 2147483647 w 1350"/>
                      <a:gd name="T59" fmla="*/ 2147483647 h 1518"/>
                      <a:gd name="T60" fmla="*/ 2147483647 w 1350"/>
                      <a:gd name="T61" fmla="*/ 2147483647 h 1518"/>
                      <a:gd name="T62" fmla="*/ 2147483647 w 1350"/>
                      <a:gd name="T63" fmla="*/ 2147483647 h 1518"/>
                      <a:gd name="T64" fmla="*/ 2147483647 w 1350"/>
                      <a:gd name="T65" fmla="*/ 2147483647 h 1518"/>
                      <a:gd name="T66" fmla="*/ 2147483647 w 1350"/>
                      <a:gd name="T67" fmla="*/ 2147483647 h 1518"/>
                      <a:gd name="T68" fmla="*/ 2147483647 w 1350"/>
                      <a:gd name="T69" fmla="*/ 2147483647 h 1518"/>
                      <a:gd name="T70" fmla="*/ 2147483647 w 1350"/>
                      <a:gd name="T71" fmla="*/ 2147483647 h 1518"/>
                      <a:gd name="T72" fmla="*/ 2147483647 w 1350"/>
                      <a:gd name="T73" fmla="*/ 2147483647 h 1518"/>
                      <a:gd name="T74" fmla="*/ 2147483647 w 1350"/>
                      <a:gd name="T75" fmla="*/ 2147483647 h 1518"/>
                      <a:gd name="T76" fmla="*/ 2147483647 w 1350"/>
                      <a:gd name="T77" fmla="*/ 2147483647 h 1518"/>
                      <a:gd name="T78" fmla="*/ 2147483647 w 1350"/>
                      <a:gd name="T79" fmla="*/ 2147483647 h 1518"/>
                      <a:gd name="T80" fmla="*/ 2147483647 w 1350"/>
                      <a:gd name="T81" fmla="*/ 2147483647 h 1518"/>
                      <a:gd name="T82" fmla="*/ 2147483647 w 1350"/>
                      <a:gd name="T83" fmla="*/ 2147483647 h 1518"/>
                      <a:gd name="T84" fmla="*/ 2147483647 w 1350"/>
                      <a:gd name="T85" fmla="*/ 2147483647 h 1518"/>
                      <a:gd name="T86" fmla="*/ 2147483647 w 1350"/>
                      <a:gd name="T87" fmla="*/ 2147483647 h 1518"/>
                      <a:gd name="T88" fmla="*/ 2147483647 w 1350"/>
                      <a:gd name="T89" fmla="*/ 2147483647 h 1518"/>
                      <a:gd name="T90" fmla="*/ 2147483647 w 1350"/>
                      <a:gd name="T91" fmla="*/ 2147483647 h 1518"/>
                      <a:gd name="T92" fmla="*/ 2147483647 w 1350"/>
                      <a:gd name="T93" fmla="*/ 2147483647 h 1518"/>
                      <a:gd name="T94" fmla="*/ 2147483647 w 1350"/>
                      <a:gd name="T95" fmla="*/ 2147483647 h 1518"/>
                      <a:gd name="T96" fmla="*/ 2147483647 w 1350"/>
                      <a:gd name="T97" fmla="*/ 2147483647 h 1518"/>
                      <a:gd name="T98" fmla="*/ 2147483647 w 1350"/>
                      <a:gd name="T99" fmla="*/ 2147483647 h 1518"/>
                      <a:gd name="T100" fmla="*/ 2147483647 w 1350"/>
                      <a:gd name="T101" fmla="*/ 2147483647 h 1518"/>
                      <a:gd name="T102" fmla="*/ 2147483647 w 1350"/>
                      <a:gd name="T103" fmla="*/ 2147483647 h 1518"/>
                      <a:gd name="T104" fmla="*/ 2147483647 w 1350"/>
                      <a:gd name="T105" fmla="*/ 2147483647 h 1518"/>
                      <a:gd name="T106" fmla="*/ 2147483647 w 1350"/>
                      <a:gd name="T107" fmla="*/ 2147483647 h 1518"/>
                      <a:gd name="T108" fmla="*/ 2147483647 w 1350"/>
                      <a:gd name="T109" fmla="*/ 2147483647 h 1518"/>
                      <a:gd name="T110" fmla="*/ 2147483647 w 1350"/>
                      <a:gd name="T111" fmla="*/ 2147483647 h 1518"/>
                      <a:gd name="T112" fmla="*/ 2147483647 w 1350"/>
                      <a:gd name="T113" fmla="*/ 2147483647 h 1518"/>
                      <a:gd name="T114" fmla="*/ 2147483647 w 1350"/>
                      <a:gd name="T115" fmla="*/ 2147483647 h 1518"/>
                      <a:gd name="T116" fmla="*/ 2147483647 w 1350"/>
                      <a:gd name="T117" fmla="*/ 2147483647 h 1518"/>
                      <a:gd name="T118" fmla="*/ 2147483647 w 1350"/>
                      <a:gd name="T119" fmla="*/ 2147483647 h 1518"/>
                      <a:gd name="T120" fmla="*/ 2147483647 w 1350"/>
                      <a:gd name="T121" fmla="*/ 2147483647 h 1518"/>
                      <a:gd name="T122" fmla="*/ 2147483647 w 1350"/>
                      <a:gd name="T123" fmla="*/ 2147483647 h 1518"/>
                      <a:gd name="T124" fmla="*/ 2147483647 w 1350"/>
                      <a:gd name="T125" fmla="*/ 2147483647 h 151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350"/>
                      <a:gd name="T190" fmla="*/ 0 h 1518"/>
                      <a:gd name="T191" fmla="*/ 1350 w 1350"/>
                      <a:gd name="T192" fmla="*/ 1518 h 1518"/>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350" h="1518">
                        <a:moveTo>
                          <a:pt x="1242" y="468"/>
                        </a:moveTo>
                        <a:lnTo>
                          <a:pt x="1242" y="438"/>
                        </a:lnTo>
                        <a:lnTo>
                          <a:pt x="1260" y="366"/>
                        </a:lnTo>
                        <a:lnTo>
                          <a:pt x="1278" y="354"/>
                        </a:lnTo>
                        <a:lnTo>
                          <a:pt x="1278" y="342"/>
                        </a:lnTo>
                        <a:lnTo>
                          <a:pt x="1302" y="330"/>
                        </a:lnTo>
                        <a:lnTo>
                          <a:pt x="1308" y="318"/>
                        </a:lnTo>
                        <a:lnTo>
                          <a:pt x="1320" y="312"/>
                        </a:lnTo>
                        <a:lnTo>
                          <a:pt x="1332" y="288"/>
                        </a:lnTo>
                        <a:lnTo>
                          <a:pt x="1344" y="276"/>
                        </a:lnTo>
                        <a:lnTo>
                          <a:pt x="1350" y="264"/>
                        </a:lnTo>
                        <a:lnTo>
                          <a:pt x="1350" y="252"/>
                        </a:lnTo>
                        <a:lnTo>
                          <a:pt x="1344" y="246"/>
                        </a:lnTo>
                        <a:lnTo>
                          <a:pt x="1332" y="240"/>
                        </a:lnTo>
                        <a:lnTo>
                          <a:pt x="1320" y="240"/>
                        </a:lnTo>
                        <a:lnTo>
                          <a:pt x="1314" y="234"/>
                        </a:lnTo>
                        <a:lnTo>
                          <a:pt x="1314" y="222"/>
                        </a:lnTo>
                        <a:lnTo>
                          <a:pt x="1320" y="210"/>
                        </a:lnTo>
                        <a:lnTo>
                          <a:pt x="1326" y="204"/>
                        </a:lnTo>
                        <a:lnTo>
                          <a:pt x="1326" y="198"/>
                        </a:lnTo>
                        <a:lnTo>
                          <a:pt x="1320" y="192"/>
                        </a:lnTo>
                        <a:lnTo>
                          <a:pt x="1308" y="186"/>
                        </a:lnTo>
                        <a:lnTo>
                          <a:pt x="1326" y="168"/>
                        </a:lnTo>
                        <a:lnTo>
                          <a:pt x="1320" y="144"/>
                        </a:lnTo>
                        <a:lnTo>
                          <a:pt x="1302" y="144"/>
                        </a:lnTo>
                        <a:lnTo>
                          <a:pt x="1296" y="120"/>
                        </a:lnTo>
                        <a:lnTo>
                          <a:pt x="1290" y="120"/>
                        </a:lnTo>
                        <a:lnTo>
                          <a:pt x="1284" y="114"/>
                        </a:lnTo>
                        <a:lnTo>
                          <a:pt x="1272" y="108"/>
                        </a:lnTo>
                        <a:lnTo>
                          <a:pt x="1260" y="96"/>
                        </a:lnTo>
                        <a:lnTo>
                          <a:pt x="1254" y="84"/>
                        </a:lnTo>
                        <a:lnTo>
                          <a:pt x="1248" y="66"/>
                        </a:lnTo>
                        <a:lnTo>
                          <a:pt x="1236" y="60"/>
                        </a:lnTo>
                        <a:lnTo>
                          <a:pt x="1230" y="54"/>
                        </a:lnTo>
                        <a:lnTo>
                          <a:pt x="1218" y="66"/>
                        </a:lnTo>
                        <a:lnTo>
                          <a:pt x="1218" y="72"/>
                        </a:lnTo>
                        <a:lnTo>
                          <a:pt x="1206" y="84"/>
                        </a:lnTo>
                        <a:lnTo>
                          <a:pt x="1200" y="84"/>
                        </a:lnTo>
                        <a:lnTo>
                          <a:pt x="1188" y="78"/>
                        </a:lnTo>
                        <a:lnTo>
                          <a:pt x="1188" y="72"/>
                        </a:lnTo>
                        <a:lnTo>
                          <a:pt x="1176" y="66"/>
                        </a:lnTo>
                        <a:lnTo>
                          <a:pt x="1164" y="66"/>
                        </a:lnTo>
                        <a:lnTo>
                          <a:pt x="1158" y="72"/>
                        </a:lnTo>
                        <a:lnTo>
                          <a:pt x="1152" y="84"/>
                        </a:lnTo>
                        <a:lnTo>
                          <a:pt x="1146" y="90"/>
                        </a:lnTo>
                        <a:lnTo>
                          <a:pt x="1098" y="66"/>
                        </a:lnTo>
                        <a:lnTo>
                          <a:pt x="1098" y="42"/>
                        </a:lnTo>
                        <a:lnTo>
                          <a:pt x="1068" y="18"/>
                        </a:lnTo>
                        <a:lnTo>
                          <a:pt x="1062" y="6"/>
                        </a:lnTo>
                        <a:lnTo>
                          <a:pt x="1044" y="24"/>
                        </a:lnTo>
                        <a:lnTo>
                          <a:pt x="1026" y="30"/>
                        </a:lnTo>
                        <a:lnTo>
                          <a:pt x="1002" y="30"/>
                        </a:lnTo>
                        <a:lnTo>
                          <a:pt x="990" y="18"/>
                        </a:lnTo>
                        <a:lnTo>
                          <a:pt x="990" y="12"/>
                        </a:lnTo>
                        <a:lnTo>
                          <a:pt x="954" y="18"/>
                        </a:lnTo>
                        <a:lnTo>
                          <a:pt x="942" y="6"/>
                        </a:lnTo>
                        <a:lnTo>
                          <a:pt x="942" y="0"/>
                        </a:lnTo>
                        <a:lnTo>
                          <a:pt x="936" y="0"/>
                        </a:lnTo>
                        <a:lnTo>
                          <a:pt x="918" y="18"/>
                        </a:lnTo>
                        <a:lnTo>
                          <a:pt x="918" y="30"/>
                        </a:lnTo>
                        <a:lnTo>
                          <a:pt x="906" y="30"/>
                        </a:lnTo>
                        <a:lnTo>
                          <a:pt x="900" y="36"/>
                        </a:lnTo>
                        <a:lnTo>
                          <a:pt x="876" y="36"/>
                        </a:lnTo>
                        <a:lnTo>
                          <a:pt x="864" y="24"/>
                        </a:lnTo>
                        <a:lnTo>
                          <a:pt x="840" y="42"/>
                        </a:lnTo>
                        <a:lnTo>
                          <a:pt x="822" y="42"/>
                        </a:lnTo>
                        <a:lnTo>
                          <a:pt x="810" y="54"/>
                        </a:lnTo>
                        <a:lnTo>
                          <a:pt x="798" y="60"/>
                        </a:lnTo>
                        <a:lnTo>
                          <a:pt x="792" y="66"/>
                        </a:lnTo>
                        <a:lnTo>
                          <a:pt x="786" y="66"/>
                        </a:lnTo>
                        <a:lnTo>
                          <a:pt x="762" y="42"/>
                        </a:lnTo>
                        <a:lnTo>
                          <a:pt x="756" y="54"/>
                        </a:lnTo>
                        <a:lnTo>
                          <a:pt x="738" y="72"/>
                        </a:lnTo>
                        <a:lnTo>
                          <a:pt x="738" y="84"/>
                        </a:lnTo>
                        <a:lnTo>
                          <a:pt x="732" y="90"/>
                        </a:lnTo>
                        <a:lnTo>
                          <a:pt x="726" y="102"/>
                        </a:lnTo>
                        <a:lnTo>
                          <a:pt x="720" y="108"/>
                        </a:lnTo>
                        <a:lnTo>
                          <a:pt x="708" y="102"/>
                        </a:lnTo>
                        <a:lnTo>
                          <a:pt x="702" y="96"/>
                        </a:lnTo>
                        <a:lnTo>
                          <a:pt x="690" y="90"/>
                        </a:lnTo>
                        <a:lnTo>
                          <a:pt x="642" y="90"/>
                        </a:lnTo>
                        <a:lnTo>
                          <a:pt x="630" y="84"/>
                        </a:lnTo>
                        <a:lnTo>
                          <a:pt x="624" y="78"/>
                        </a:lnTo>
                        <a:lnTo>
                          <a:pt x="582" y="78"/>
                        </a:lnTo>
                        <a:lnTo>
                          <a:pt x="582" y="48"/>
                        </a:lnTo>
                        <a:lnTo>
                          <a:pt x="576" y="42"/>
                        </a:lnTo>
                        <a:lnTo>
                          <a:pt x="558" y="42"/>
                        </a:lnTo>
                        <a:lnTo>
                          <a:pt x="558" y="30"/>
                        </a:lnTo>
                        <a:lnTo>
                          <a:pt x="546" y="24"/>
                        </a:lnTo>
                        <a:lnTo>
                          <a:pt x="534" y="24"/>
                        </a:lnTo>
                        <a:lnTo>
                          <a:pt x="516" y="18"/>
                        </a:lnTo>
                        <a:lnTo>
                          <a:pt x="504" y="18"/>
                        </a:lnTo>
                        <a:lnTo>
                          <a:pt x="492" y="24"/>
                        </a:lnTo>
                        <a:lnTo>
                          <a:pt x="486" y="30"/>
                        </a:lnTo>
                        <a:lnTo>
                          <a:pt x="486" y="36"/>
                        </a:lnTo>
                        <a:lnTo>
                          <a:pt x="480" y="48"/>
                        </a:lnTo>
                        <a:lnTo>
                          <a:pt x="480" y="54"/>
                        </a:lnTo>
                        <a:lnTo>
                          <a:pt x="474" y="66"/>
                        </a:lnTo>
                        <a:lnTo>
                          <a:pt x="462" y="78"/>
                        </a:lnTo>
                        <a:lnTo>
                          <a:pt x="456" y="78"/>
                        </a:lnTo>
                        <a:lnTo>
                          <a:pt x="444" y="90"/>
                        </a:lnTo>
                        <a:lnTo>
                          <a:pt x="444" y="102"/>
                        </a:lnTo>
                        <a:lnTo>
                          <a:pt x="450" y="102"/>
                        </a:lnTo>
                        <a:lnTo>
                          <a:pt x="450" y="120"/>
                        </a:lnTo>
                        <a:lnTo>
                          <a:pt x="438" y="138"/>
                        </a:lnTo>
                        <a:lnTo>
                          <a:pt x="450" y="150"/>
                        </a:lnTo>
                        <a:lnTo>
                          <a:pt x="450" y="186"/>
                        </a:lnTo>
                        <a:lnTo>
                          <a:pt x="444" y="198"/>
                        </a:lnTo>
                        <a:lnTo>
                          <a:pt x="438" y="216"/>
                        </a:lnTo>
                        <a:lnTo>
                          <a:pt x="426" y="228"/>
                        </a:lnTo>
                        <a:lnTo>
                          <a:pt x="414" y="252"/>
                        </a:lnTo>
                        <a:lnTo>
                          <a:pt x="408" y="258"/>
                        </a:lnTo>
                        <a:lnTo>
                          <a:pt x="408" y="288"/>
                        </a:lnTo>
                        <a:lnTo>
                          <a:pt x="414" y="300"/>
                        </a:lnTo>
                        <a:lnTo>
                          <a:pt x="414" y="324"/>
                        </a:lnTo>
                        <a:lnTo>
                          <a:pt x="396" y="360"/>
                        </a:lnTo>
                        <a:lnTo>
                          <a:pt x="396" y="372"/>
                        </a:lnTo>
                        <a:lnTo>
                          <a:pt x="402" y="378"/>
                        </a:lnTo>
                        <a:lnTo>
                          <a:pt x="408" y="390"/>
                        </a:lnTo>
                        <a:lnTo>
                          <a:pt x="408" y="414"/>
                        </a:lnTo>
                        <a:lnTo>
                          <a:pt x="402" y="426"/>
                        </a:lnTo>
                        <a:lnTo>
                          <a:pt x="390" y="432"/>
                        </a:lnTo>
                        <a:lnTo>
                          <a:pt x="390" y="486"/>
                        </a:lnTo>
                        <a:lnTo>
                          <a:pt x="384" y="492"/>
                        </a:lnTo>
                        <a:lnTo>
                          <a:pt x="372" y="498"/>
                        </a:lnTo>
                        <a:lnTo>
                          <a:pt x="366" y="510"/>
                        </a:lnTo>
                        <a:lnTo>
                          <a:pt x="318" y="534"/>
                        </a:lnTo>
                        <a:lnTo>
                          <a:pt x="312" y="540"/>
                        </a:lnTo>
                        <a:lnTo>
                          <a:pt x="306" y="552"/>
                        </a:lnTo>
                        <a:lnTo>
                          <a:pt x="306" y="588"/>
                        </a:lnTo>
                        <a:lnTo>
                          <a:pt x="282" y="612"/>
                        </a:lnTo>
                        <a:lnTo>
                          <a:pt x="276" y="612"/>
                        </a:lnTo>
                        <a:lnTo>
                          <a:pt x="282" y="714"/>
                        </a:lnTo>
                        <a:lnTo>
                          <a:pt x="252" y="756"/>
                        </a:lnTo>
                        <a:lnTo>
                          <a:pt x="246" y="762"/>
                        </a:lnTo>
                        <a:lnTo>
                          <a:pt x="228" y="762"/>
                        </a:lnTo>
                        <a:lnTo>
                          <a:pt x="216" y="774"/>
                        </a:lnTo>
                        <a:lnTo>
                          <a:pt x="210" y="786"/>
                        </a:lnTo>
                        <a:lnTo>
                          <a:pt x="192" y="804"/>
                        </a:lnTo>
                        <a:lnTo>
                          <a:pt x="186" y="816"/>
                        </a:lnTo>
                        <a:lnTo>
                          <a:pt x="180" y="822"/>
                        </a:lnTo>
                        <a:lnTo>
                          <a:pt x="168" y="828"/>
                        </a:lnTo>
                        <a:lnTo>
                          <a:pt x="150" y="828"/>
                        </a:lnTo>
                        <a:lnTo>
                          <a:pt x="144" y="822"/>
                        </a:lnTo>
                        <a:lnTo>
                          <a:pt x="150" y="810"/>
                        </a:lnTo>
                        <a:lnTo>
                          <a:pt x="150" y="780"/>
                        </a:lnTo>
                        <a:lnTo>
                          <a:pt x="144" y="780"/>
                        </a:lnTo>
                        <a:lnTo>
                          <a:pt x="126" y="798"/>
                        </a:lnTo>
                        <a:lnTo>
                          <a:pt x="102" y="792"/>
                        </a:lnTo>
                        <a:lnTo>
                          <a:pt x="102" y="810"/>
                        </a:lnTo>
                        <a:lnTo>
                          <a:pt x="96" y="822"/>
                        </a:lnTo>
                        <a:lnTo>
                          <a:pt x="90" y="828"/>
                        </a:lnTo>
                        <a:lnTo>
                          <a:pt x="78" y="828"/>
                        </a:lnTo>
                        <a:lnTo>
                          <a:pt x="72" y="822"/>
                        </a:lnTo>
                        <a:lnTo>
                          <a:pt x="72" y="816"/>
                        </a:lnTo>
                        <a:lnTo>
                          <a:pt x="66" y="810"/>
                        </a:lnTo>
                        <a:lnTo>
                          <a:pt x="66" y="804"/>
                        </a:lnTo>
                        <a:lnTo>
                          <a:pt x="54" y="804"/>
                        </a:lnTo>
                        <a:lnTo>
                          <a:pt x="48" y="816"/>
                        </a:lnTo>
                        <a:lnTo>
                          <a:pt x="12" y="846"/>
                        </a:lnTo>
                        <a:lnTo>
                          <a:pt x="18" y="858"/>
                        </a:lnTo>
                        <a:lnTo>
                          <a:pt x="18" y="864"/>
                        </a:lnTo>
                        <a:lnTo>
                          <a:pt x="24" y="876"/>
                        </a:lnTo>
                        <a:lnTo>
                          <a:pt x="24" y="882"/>
                        </a:lnTo>
                        <a:lnTo>
                          <a:pt x="18" y="888"/>
                        </a:lnTo>
                        <a:lnTo>
                          <a:pt x="6" y="894"/>
                        </a:lnTo>
                        <a:lnTo>
                          <a:pt x="0" y="900"/>
                        </a:lnTo>
                        <a:lnTo>
                          <a:pt x="6" y="906"/>
                        </a:lnTo>
                        <a:lnTo>
                          <a:pt x="6" y="912"/>
                        </a:lnTo>
                        <a:lnTo>
                          <a:pt x="18" y="918"/>
                        </a:lnTo>
                        <a:lnTo>
                          <a:pt x="18" y="924"/>
                        </a:lnTo>
                        <a:lnTo>
                          <a:pt x="54" y="906"/>
                        </a:lnTo>
                        <a:lnTo>
                          <a:pt x="78" y="912"/>
                        </a:lnTo>
                        <a:lnTo>
                          <a:pt x="84" y="906"/>
                        </a:lnTo>
                        <a:lnTo>
                          <a:pt x="96" y="912"/>
                        </a:lnTo>
                        <a:lnTo>
                          <a:pt x="120" y="906"/>
                        </a:lnTo>
                        <a:lnTo>
                          <a:pt x="132" y="912"/>
                        </a:lnTo>
                        <a:lnTo>
                          <a:pt x="162" y="912"/>
                        </a:lnTo>
                        <a:lnTo>
                          <a:pt x="174" y="906"/>
                        </a:lnTo>
                        <a:lnTo>
                          <a:pt x="186" y="906"/>
                        </a:lnTo>
                        <a:lnTo>
                          <a:pt x="198" y="912"/>
                        </a:lnTo>
                        <a:lnTo>
                          <a:pt x="228" y="912"/>
                        </a:lnTo>
                        <a:lnTo>
                          <a:pt x="246" y="906"/>
                        </a:lnTo>
                        <a:lnTo>
                          <a:pt x="270" y="906"/>
                        </a:lnTo>
                        <a:lnTo>
                          <a:pt x="276" y="900"/>
                        </a:lnTo>
                        <a:lnTo>
                          <a:pt x="294" y="900"/>
                        </a:lnTo>
                        <a:lnTo>
                          <a:pt x="300" y="906"/>
                        </a:lnTo>
                        <a:lnTo>
                          <a:pt x="306" y="918"/>
                        </a:lnTo>
                        <a:lnTo>
                          <a:pt x="318" y="930"/>
                        </a:lnTo>
                        <a:lnTo>
                          <a:pt x="318" y="972"/>
                        </a:lnTo>
                        <a:lnTo>
                          <a:pt x="336" y="990"/>
                        </a:lnTo>
                        <a:lnTo>
                          <a:pt x="336" y="1014"/>
                        </a:lnTo>
                        <a:lnTo>
                          <a:pt x="330" y="1020"/>
                        </a:lnTo>
                        <a:lnTo>
                          <a:pt x="330" y="1026"/>
                        </a:lnTo>
                        <a:lnTo>
                          <a:pt x="336" y="1032"/>
                        </a:lnTo>
                        <a:lnTo>
                          <a:pt x="342" y="1032"/>
                        </a:lnTo>
                        <a:lnTo>
                          <a:pt x="354" y="1044"/>
                        </a:lnTo>
                        <a:lnTo>
                          <a:pt x="354" y="1056"/>
                        </a:lnTo>
                        <a:lnTo>
                          <a:pt x="360" y="1062"/>
                        </a:lnTo>
                        <a:lnTo>
                          <a:pt x="372" y="1086"/>
                        </a:lnTo>
                        <a:lnTo>
                          <a:pt x="402" y="1086"/>
                        </a:lnTo>
                        <a:lnTo>
                          <a:pt x="414" y="1092"/>
                        </a:lnTo>
                        <a:lnTo>
                          <a:pt x="420" y="1080"/>
                        </a:lnTo>
                        <a:lnTo>
                          <a:pt x="444" y="1080"/>
                        </a:lnTo>
                        <a:lnTo>
                          <a:pt x="456" y="1074"/>
                        </a:lnTo>
                        <a:lnTo>
                          <a:pt x="462" y="1080"/>
                        </a:lnTo>
                        <a:lnTo>
                          <a:pt x="504" y="1074"/>
                        </a:lnTo>
                        <a:lnTo>
                          <a:pt x="504" y="1056"/>
                        </a:lnTo>
                        <a:lnTo>
                          <a:pt x="510" y="1050"/>
                        </a:lnTo>
                        <a:lnTo>
                          <a:pt x="510" y="1044"/>
                        </a:lnTo>
                        <a:lnTo>
                          <a:pt x="522" y="1044"/>
                        </a:lnTo>
                        <a:lnTo>
                          <a:pt x="522" y="1032"/>
                        </a:lnTo>
                        <a:lnTo>
                          <a:pt x="516" y="1020"/>
                        </a:lnTo>
                        <a:lnTo>
                          <a:pt x="510" y="1014"/>
                        </a:lnTo>
                        <a:lnTo>
                          <a:pt x="510" y="1008"/>
                        </a:lnTo>
                        <a:lnTo>
                          <a:pt x="516" y="1002"/>
                        </a:lnTo>
                        <a:lnTo>
                          <a:pt x="564" y="1002"/>
                        </a:lnTo>
                        <a:lnTo>
                          <a:pt x="564" y="996"/>
                        </a:lnTo>
                        <a:lnTo>
                          <a:pt x="576" y="996"/>
                        </a:lnTo>
                        <a:lnTo>
                          <a:pt x="588" y="1002"/>
                        </a:lnTo>
                        <a:lnTo>
                          <a:pt x="588" y="1026"/>
                        </a:lnTo>
                        <a:lnTo>
                          <a:pt x="678" y="1026"/>
                        </a:lnTo>
                        <a:lnTo>
                          <a:pt x="678" y="1050"/>
                        </a:lnTo>
                        <a:lnTo>
                          <a:pt x="666" y="1068"/>
                        </a:lnTo>
                        <a:lnTo>
                          <a:pt x="672" y="1086"/>
                        </a:lnTo>
                        <a:lnTo>
                          <a:pt x="684" y="1098"/>
                        </a:lnTo>
                        <a:lnTo>
                          <a:pt x="690" y="1110"/>
                        </a:lnTo>
                        <a:lnTo>
                          <a:pt x="690" y="1122"/>
                        </a:lnTo>
                        <a:lnTo>
                          <a:pt x="684" y="1134"/>
                        </a:lnTo>
                        <a:lnTo>
                          <a:pt x="678" y="1140"/>
                        </a:lnTo>
                        <a:lnTo>
                          <a:pt x="684" y="1164"/>
                        </a:lnTo>
                        <a:lnTo>
                          <a:pt x="684" y="1176"/>
                        </a:lnTo>
                        <a:lnTo>
                          <a:pt x="678" y="1182"/>
                        </a:lnTo>
                        <a:lnTo>
                          <a:pt x="678" y="1194"/>
                        </a:lnTo>
                        <a:lnTo>
                          <a:pt x="684" y="1212"/>
                        </a:lnTo>
                        <a:lnTo>
                          <a:pt x="696" y="1230"/>
                        </a:lnTo>
                        <a:lnTo>
                          <a:pt x="708" y="1254"/>
                        </a:lnTo>
                        <a:lnTo>
                          <a:pt x="714" y="1260"/>
                        </a:lnTo>
                        <a:lnTo>
                          <a:pt x="714" y="1278"/>
                        </a:lnTo>
                        <a:lnTo>
                          <a:pt x="708" y="1290"/>
                        </a:lnTo>
                        <a:lnTo>
                          <a:pt x="708" y="1302"/>
                        </a:lnTo>
                        <a:lnTo>
                          <a:pt x="702" y="1308"/>
                        </a:lnTo>
                        <a:lnTo>
                          <a:pt x="702" y="1332"/>
                        </a:lnTo>
                        <a:lnTo>
                          <a:pt x="708" y="1338"/>
                        </a:lnTo>
                        <a:lnTo>
                          <a:pt x="714" y="1338"/>
                        </a:lnTo>
                        <a:lnTo>
                          <a:pt x="720" y="1344"/>
                        </a:lnTo>
                        <a:lnTo>
                          <a:pt x="726" y="1326"/>
                        </a:lnTo>
                        <a:lnTo>
                          <a:pt x="756" y="1332"/>
                        </a:lnTo>
                        <a:lnTo>
                          <a:pt x="780" y="1326"/>
                        </a:lnTo>
                        <a:lnTo>
                          <a:pt x="780" y="1314"/>
                        </a:lnTo>
                        <a:lnTo>
                          <a:pt x="792" y="1314"/>
                        </a:lnTo>
                        <a:lnTo>
                          <a:pt x="804" y="1326"/>
                        </a:lnTo>
                        <a:lnTo>
                          <a:pt x="828" y="1326"/>
                        </a:lnTo>
                        <a:lnTo>
                          <a:pt x="834" y="1308"/>
                        </a:lnTo>
                        <a:lnTo>
                          <a:pt x="840" y="1320"/>
                        </a:lnTo>
                        <a:lnTo>
                          <a:pt x="858" y="1320"/>
                        </a:lnTo>
                        <a:lnTo>
                          <a:pt x="858" y="1350"/>
                        </a:lnTo>
                        <a:lnTo>
                          <a:pt x="864" y="1356"/>
                        </a:lnTo>
                        <a:lnTo>
                          <a:pt x="882" y="1356"/>
                        </a:lnTo>
                        <a:lnTo>
                          <a:pt x="882" y="1350"/>
                        </a:lnTo>
                        <a:lnTo>
                          <a:pt x="876" y="1344"/>
                        </a:lnTo>
                        <a:lnTo>
                          <a:pt x="918" y="1338"/>
                        </a:lnTo>
                        <a:lnTo>
                          <a:pt x="918" y="1356"/>
                        </a:lnTo>
                        <a:lnTo>
                          <a:pt x="924" y="1368"/>
                        </a:lnTo>
                        <a:lnTo>
                          <a:pt x="930" y="1374"/>
                        </a:lnTo>
                        <a:lnTo>
                          <a:pt x="948" y="1386"/>
                        </a:lnTo>
                        <a:lnTo>
                          <a:pt x="984" y="1392"/>
                        </a:lnTo>
                        <a:lnTo>
                          <a:pt x="1014" y="1398"/>
                        </a:lnTo>
                        <a:lnTo>
                          <a:pt x="1032" y="1398"/>
                        </a:lnTo>
                        <a:lnTo>
                          <a:pt x="1032" y="1392"/>
                        </a:lnTo>
                        <a:lnTo>
                          <a:pt x="1038" y="1386"/>
                        </a:lnTo>
                        <a:lnTo>
                          <a:pt x="1038" y="1368"/>
                        </a:lnTo>
                        <a:lnTo>
                          <a:pt x="1044" y="1362"/>
                        </a:lnTo>
                        <a:lnTo>
                          <a:pt x="1050" y="1362"/>
                        </a:lnTo>
                        <a:lnTo>
                          <a:pt x="1062" y="1374"/>
                        </a:lnTo>
                        <a:lnTo>
                          <a:pt x="1062" y="1386"/>
                        </a:lnTo>
                        <a:lnTo>
                          <a:pt x="1068" y="1392"/>
                        </a:lnTo>
                        <a:lnTo>
                          <a:pt x="1080" y="1392"/>
                        </a:lnTo>
                        <a:lnTo>
                          <a:pt x="1080" y="1404"/>
                        </a:lnTo>
                        <a:lnTo>
                          <a:pt x="1074" y="1404"/>
                        </a:lnTo>
                        <a:lnTo>
                          <a:pt x="1074" y="1416"/>
                        </a:lnTo>
                        <a:lnTo>
                          <a:pt x="1104" y="1416"/>
                        </a:lnTo>
                        <a:lnTo>
                          <a:pt x="1110" y="1422"/>
                        </a:lnTo>
                        <a:lnTo>
                          <a:pt x="1110" y="1434"/>
                        </a:lnTo>
                        <a:lnTo>
                          <a:pt x="1122" y="1434"/>
                        </a:lnTo>
                        <a:lnTo>
                          <a:pt x="1128" y="1428"/>
                        </a:lnTo>
                        <a:lnTo>
                          <a:pt x="1134" y="1428"/>
                        </a:lnTo>
                        <a:lnTo>
                          <a:pt x="1140" y="1434"/>
                        </a:lnTo>
                        <a:lnTo>
                          <a:pt x="1146" y="1446"/>
                        </a:lnTo>
                        <a:lnTo>
                          <a:pt x="1146" y="1452"/>
                        </a:lnTo>
                        <a:lnTo>
                          <a:pt x="1152" y="1464"/>
                        </a:lnTo>
                        <a:lnTo>
                          <a:pt x="1164" y="1464"/>
                        </a:lnTo>
                        <a:lnTo>
                          <a:pt x="1176" y="1476"/>
                        </a:lnTo>
                        <a:lnTo>
                          <a:pt x="1176" y="1488"/>
                        </a:lnTo>
                        <a:lnTo>
                          <a:pt x="1182" y="1500"/>
                        </a:lnTo>
                        <a:lnTo>
                          <a:pt x="1182" y="1512"/>
                        </a:lnTo>
                        <a:lnTo>
                          <a:pt x="1200" y="1512"/>
                        </a:lnTo>
                        <a:lnTo>
                          <a:pt x="1218" y="1500"/>
                        </a:lnTo>
                        <a:lnTo>
                          <a:pt x="1224" y="1512"/>
                        </a:lnTo>
                        <a:lnTo>
                          <a:pt x="1224" y="1518"/>
                        </a:lnTo>
                        <a:lnTo>
                          <a:pt x="1230" y="1518"/>
                        </a:lnTo>
                        <a:lnTo>
                          <a:pt x="1236" y="1500"/>
                        </a:lnTo>
                        <a:lnTo>
                          <a:pt x="1242" y="1464"/>
                        </a:lnTo>
                        <a:lnTo>
                          <a:pt x="1242" y="1416"/>
                        </a:lnTo>
                        <a:lnTo>
                          <a:pt x="1218" y="1416"/>
                        </a:lnTo>
                        <a:lnTo>
                          <a:pt x="1218" y="1434"/>
                        </a:lnTo>
                        <a:lnTo>
                          <a:pt x="1212" y="1440"/>
                        </a:lnTo>
                        <a:lnTo>
                          <a:pt x="1206" y="1440"/>
                        </a:lnTo>
                        <a:lnTo>
                          <a:pt x="1194" y="1434"/>
                        </a:lnTo>
                        <a:lnTo>
                          <a:pt x="1164" y="1404"/>
                        </a:lnTo>
                        <a:lnTo>
                          <a:pt x="1158" y="1404"/>
                        </a:lnTo>
                        <a:lnTo>
                          <a:pt x="1158" y="1398"/>
                        </a:lnTo>
                        <a:lnTo>
                          <a:pt x="1152" y="1398"/>
                        </a:lnTo>
                        <a:lnTo>
                          <a:pt x="1140" y="1386"/>
                        </a:lnTo>
                        <a:lnTo>
                          <a:pt x="1140" y="1362"/>
                        </a:lnTo>
                        <a:lnTo>
                          <a:pt x="1146" y="1350"/>
                        </a:lnTo>
                        <a:lnTo>
                          <a:pt x="1152" y="1332"/>
                        </a:lnTo>
                        <a:lnTo>
                          <a:pt x="1158" y="1320"/>
                        </a:lnTo>
                        <a:lnTo>
                          <a:pt x="1170" y="1308"/>
                        </a:lnTo>
                        <a:lnTo>
                          <a:pt x="1170" y="1254"/>
                        </a:lnTo>
                        <a:lnTo>
                          <a:pt x="1164" y="1236"/>
                        </a:lnTo>
                        <a:lnTo>
                          <a:pt x="1164" y="1212"/>
                        </a:lnTo>
                        <a:lnTo>
                          <a:pt x="1158" y="1206"/>
                        </a:lnTo>
                        <a:lnTo>
                          <a:pt x="1158" y="1200"/>
                        </a:lnTo>
                        <a:lnTo>
                          <a:pt x="1152" y="1194"/>
                        </a:lnTo>
                        <a:lnTo>
                          <a:pt x="1152" y="1188"/>
                        </a:lnTo>
                        <a:lnTo>
                          <a:pt x="1140" y="1176"/>
                        </a:lnTo>
                        <a:lnTo>
                          <a:pt x="1146" y="1176"/>
                        </a:lnTo>
                        <a:lnTo>
                          <a:pt x="1152" y="1170"/>
                        </a:lnTo>
                        <a:lnTo>
                          <a:pt x="1164" y="1164"/>
                        </a:lnTo>
                        <a:lnTo>
                          <a:pt x="1182" y="1146"/>
                        </a:lnTo>
                        <a:lnTo>
                          <a:pt x="1182" y="1116"/>
                        </a:lnTo>
                        <a:lnTo>
                          <a:pt x="1194" y="1116"/>
                        </a:lnTo>
                        <a:lnTo>
                          <a:pt x="1212" y="1110"/>
                        </a:lnTo>
                        <a:lnTo>
                          <a:pt x="1230" y="1110"/>
                        </a:lnTo>
                        <a:lnTo>
                          <a:pt x="1242" y="1104"/>
                        </a:lnTo>
                        <a:lnTo>
                          <a:pt x="1260" y="1104"/>
                        </a:lnTo>
                        <a:lnTo>
                          <a:pt x="1284" y="1092"/>
                        </a:lnTo>
                        <a:lnTo>
                          <a:pt x="1290" y="1092"/>
                        </a:lnTo>
                        <a:lnTo>
                          <a:pt x="1290" y="1086"/>
                        </a:lnTo>
                        <a:lnTo>
                          <a:pt x="1284" y="1074"/>
                        </a:lnTo>
                        <a:lnTo>
                          <a:pt x="1272" y="1062"/>
                        </a:lnTo>
                        <a:lnTo>
                          <a:pt x="1272" y="1014"/>
                        </a:lnTo>
                        <a:lnTo>
                          <a:pt x="1248" y="1014"/>
                        </a:lnTo>
                        <a:lnTo>
                          <a:pt x="1248" y="1008"/>
                        </a:lnTo>
                        <a:lnTo>
                          <a:pt x="1242" y="996"/>
                        </a:lnTo>
                        <a:lnTo>
                          <a:pt x="1242" y="978"/>
                        </a:lnTo>
                        <a:lnTo>
                          <a:pt x="1236" y="972"/>
                        </a:lnTo>
                        <a:lnTo>
                          <a:pt x="1224" y="966"/>
                        </a:lnTo>
                        <a:lnTo>
                          <a:pt x="1218" y="960"/>
                        </a:lnTo>
                        <a:lnTo>
                          <a:pt x="1206" y="936"/>
                        </a:lnTo>
                        <a:lnTo>
                          <a:pt x="1206" y="906"/>
                        </a:lnTo>
                        <a:lnTo>
                          <a:pt x="1212" y="900"/>
                        </a:lnTo>
                        <a:lnTo>
                          <a:pt x="1212" y="876"/>
                        </a:lnTo>
                        <a:lnTo>
                          <a:pt x="1200" y="864"/>
                        </a:lnTo>
                        <a:lnTo>
                          <a:pt x="1194" y="852"/>
                        </a:lnTo>
                        <a:lnTo>
                          <a:pt x="1194" y="804"/>
                        </a:lnTo>
                        <a:lnTo>
                          <a:pt x="1200" y="780"/>
                        </a:lnTo>
                        <a:lnTo>
                          <a:pt x="1200" y="750"/>
                        </a:lnTo>
                        <a:lnTo>
                          <a:pt x="1212" y="738"/>
                        </a:lnTo>
                        <a:lnTo>
                          <a:pt x="1218" y="744"/>
                        </a:lnTo>
                        <a:lnTo>
                          <a:pt x="1218" y="732"/>
                        </a:lnTo>
                        <a:lnTo>
                          <a:pt x="1224" y="726"/>
                        </a:lnTo>
                        <a:lnTo>
                          <a:pt x="1224" y="696"/>
                        </a:lnTo>
                        <a:lnTo>
                          <a:pt x="1218" y="690"/>
                        </a:lnTo>
                        <a:lnTo>
                          <a:pt x="1206" y="684"/>
                        </a:lnTo>
                        <a:lnTo>
                          <a:pt x="1200" y="678"/>
                        </a:lnTo>
                        <a:lnTo>
                          <a:pt x="1188" y="648"/>
                        </a:lnTo>
                        <a:lnTo>
                          <a:pt x="1182" y="642"/>
                        </a:lnTo>
                        <a:lnTo>
                          <a:pt x="1176" y="642"/>
                        </a:lnTo>
                        <a:lnTo>
                          <a:pt x="1176" y="636"/>
                        </a:lnTo>
                        <a:lnTo>
                          <a:pt x="1182" y="624"/>
                        </a:lnTo>
                        <a:lnTo>
                          <a:pt x="1194" y="618"/>
                        </a:lnTo>
                        <a:lnTo>
                          <a:pt x="1206" y="606"/>
                        </a:lnTo>
                        <a:lnTo>
                          <a:pt x="1206" y="594"/>
                        </a:lnTo>
                        <a:lnTo>
                          <a:pt x="1200" y="588"/>
                        </a:lnTo>
                        <a:lnTo>
                          <a:pt x="1194" y="576"/>
                        </a:lnTo>
                        <a:lnTo>
                          <a:pt x="1194" y="570"/>
                        </a:lnTo>
                        <a:lnTo>
                          <a:pt x="1200" y="564"/>
                        </a:lnTo>
                        <a:lnTo>
                          <a:pt x="1224" y="552"/>
                        </a:lnTo>
                        <a:lnTo>
                          <a:pt x="1230" y="546"/>
                        </a:lnTo>
                        <a:lnTo>
                          <a:pt x="1236" y="546"/>
                        </a:lnTo>
                        <a:lnTo>
                          <a:pt x="1242" y="4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59" name="Congo (Brazzaville)"/>
                  <p:cNvSpPr>
                    <a:spLocks/>
                  </p:cNvSpPr>
                  <p:nvPr/>
                </p:nvSpPr>
                <p:spPr bwMode="gray">
                  <a:xfrm>
                    <a:off x="2854" y="2233"/>
                    <a:ext cx="137" cy="179"/>
                  </a:xfrm>
                  <a:custGeom>
                    <a:avLst/>
                    <a:gdLst>
                      <a:gd name="T0" fmla="*/ 2147483647 w 534"/>
                      <a:gd name="T1" fmla="*/ 2147483647 h 702"/>
                      <a:gd name="T2" fmla="*/ 2147483647 w 534"/>
                      <a:gd name="T3" fmla="*/ 2147483647 h 702"/>
                      <a:gd name="T4" fmla="*/ 2147483647 w 534"/>
                      <a:gd name="T5" fmla="*/ 2147483647 h 702"/>
                      <a:gd name="T6" fmla="*/ 2147483647 w 534"/>
                      <a:gd name="T7" fmla="*/ 2147483647 h 702"/>
                      <a:gd name="T8" fmla="*/ 2147483647 w 534"/>
                      <a:gd name="T9" fmla="*/ 2147483647 h 702"/>
                      <a:gd name="T10" fmla="*/ 2147483647 w 534"/>
                      <a:gd name="T11" fmla="*/ 2147483647 h 702"/>
                      <a:gd name="T12" fmla="*/ 2147483647 w 534"/>
                      <a:gd name="T13" fmla="*/ 2147483647 h 702"/>
                      <a:gd name="T14" fmla="*/ 2147483647 w 534"/>
                      <a:gd name="T15" fmla="*/ 2147483647 h 702"/>
                      <a:gd name="T16" fmla="*/ 2147483647 w 534"/>
                      <a:gd name="T17" fmla="*/ 2147483647 h 702"/>
                      <a:gd name="T18" fmla="*/ 2147483647 w 534"/>
                      <a:gd name="T19" fmla="*/ 2147483647 h 702"/>
                      <a:gd name="T20" fmla="*/ 2147483647 w 534"/>
                      <a:gd name="T21" fmla="*/ 2147483647 h 702"/>
                      <a:gd name="T22" fmla="*/ 2147483647 w 534"/>
                      <a:gd name="T23" fmla="*/ 2147483647 h 702"/>
                      <a:gd name="T24" fmla="*/ 2147483647 w 534"/>
                      <a:gd name="T25" fmla="*/ 2147483647 h 702"/>
                      <a:gd name="T26" fmla="*/ 2147483647 w 534"/>
                      <a:gd name="T27" fmla="*/ 2147483647 h 702"/>
                      <a:gd name="T28" fmla="*/ 2147483647 w 534"/>
                      <a:gd name="T29" fmla="*/ 2147483647 h 702"/>
                      <a:gd name="T30" fmla="*/ 2147483647 w 534"/>
                      <a:gd name="T31" fmla="*/ 2147483647 h 702"/>
                      <a:gd name="T32" fmla="*/ 2147483647 w 534"/>
                      <a:gd name="T33" fmla="*/ 2147483647 h 702"/>
                      <a:gd name="T34" fmla="*/ 2147483647 w 534"/>
                      <a:gd name="T35" fmla="*/ 2147483647 h 702"/>
                      <a:gd name="T36" fmla="*/ 2147483647 w 534"/>
                      <a:gd name="T37" fmla="*/ 2147483647 h 702"/>
                      <a:gd name="T38" fmla="*/ 2147483647 w 534"/>
                      <a:gd name="T39" fmla="*/ 2147483647 h 702"/>
                      <a:gd name="T40" fmla="*/ 2147483647 w 534"/>
                      <a:gd name="T41" fmla="*/ 2147483647 h 702"/>
                      <a:gd name="T42" fmla="*/ 2147483647 w 534"/>
                      <a:gd name="T43" fmla="*/ 2147483647 h 702"/>
                      <a:gd name="T44" fmla="*/ 2147483647 w 534"/>
                      <a:gd name="T45" fmla="*/ 2147483647 h 702"/>
                      <a:gd name="T46" fmla="*/ 2147483647 w 534"/>
                      <a:gd name="T47" fmla="*/ 2147483647 h 702"/>
                      <a:gd name="T48" fmla="*/ 2147483647 w 534"/>
                      <a:gd name="T49" fmla="*/ 2147483647 h 702"/>
                      <a:gd name="T50" fmla="*/ 0 w 534"/>
                      <a:gd name="T51" fmla="*/ 2147483647 h 702"/>
                      <a:gd name="T52" fmla="*/ 2147483647 w 534"/>
                      <a:gd name="T53" fmla="*/ 2147483647 h 702"/>
                      <a:gd name="T54" fmla="*/ 2147483647 w 534"/>
                      <a:gd name="T55" fmla="*/ 2147483647 h 702"/>
                      <a:gd name="T56" fmla="*/ 2147483647 w 534"/>
                      <a:gd name="T57" fmla="*/ 2147483647 h 702"/>
                      <a:gd name="T58" fmla="*/ 2147483647 w 534"/>
                      <a:gd name="T59" fmla="*/ 2147483647 h 702"/>
                      <a:gd name="T60" fmla="*/ 2147483647 w 534"/>
                      <a:gd name="T61" fmla="*/ 2147483647 h 702"/>
                      <a:gd name="T62" fmla="*/ 2147483647 w 534"/>
                      <a:gd name="T63" fmla="*/ 2147483647 h 702"/>
                      <a:gd name="T64" fmla="*/ 2147483647 w 534"/>
                      <a:gd name="T65" fmla="*/ 2147483647 h 702"/>
                      <a:gd name="T66" fmla="*/ 2147483647 w 534"/>
                      <a:gd name="T67" fmla="*/ 2147483647 h 702"/>
                      <a:gd name="T68" fmla="*/ 2147483647 w 534"/>
                      <a:gd name="T69" fmla="*/ 2147483647 h 702"/>
                      <a:gd name="T70" fmla="*/ 2147483647 w 534"/>
                      <a:gd name="T71" fmla="*/ 2147483647 h 702"/>
                      <a:gd name="T72" fmla="*/ 2147483647 w 534"/>
                      <a:gd name="T73" fmla="*/ 2147483647 h 702"/>
                      <a:gd name="T74" fmla="*/ 2147483647 w 534"/>
                      <a:gd name="T75" fmla="*/ 2147483647 h 702"/>
                      <a:gd name="T76" fmla="*/ 2147483647 w 534"/>
                      <a:gd name="T77" fmla="*/ 2147483647 h 702"/>
                      <a:gd name="T78" fmla="*/ 2147483647 w 534"/>
                      <a:gd name="T79" fmla="*/ 2147483647 h 702"/>
                      <a:gd name="T80" fmla="*/ 2147483647 w 534"/>
                      <a:gd name="T81" fmla="*/ 2147483647 h 702"/>
                      <a:gd name="T82" fmla="*/ 2147483647 w 534"/>
                      <a:gd name="T83" fmla="*/ 2147483647 h 702"/>
                      <a:gd name="T84" fmla="*/ 2147483647 w 534"/>
                      <a:gd name="T85" fmla="*/ 2147483647 h 702"/>
                      <a:gd name="T86" fmla="*/ 2147483647 w 534"/>
                      <a:gd name="T87" fmla="*/ 2147483647 h 702"/>
                      <a:gd name="T88" fmla="*/ 2147483647 w 534"/>
                      <a:gd name="T89" fmla="*/ 2147483647 h 702"/>
                      <a:gd name="T90" fmla="*/ 2147483647 w 534"/>
                      <a:gd name="T91" fmla="*/ 2147483647 h 702"/>
                      <a:gd name="T92" fmla="*/ 2147483647 w 534"/>
                      <a:gd name="T93" fmla="*/ 2147483647 h 702"/>
                      <a:gd name="T94" fmla="*/ 2147483647 w 534"/>
                      <a:gd name="T95" fmla="*/ 2147483647 h 702"/>
                      <a:gd name="T96" fmla="*/ 2147483647 w 534"/>
                      <a:gd name="T97" fmla="*/ 2147483647 h 702"/>
                      <a:gd name="T98" fmla="*/ 2147483647 w 534"/>
                      <a:gd name="T99" fmla="*/ 2147483647 h 702"/>
                      <a:gd name="T100" fmla="*/ 2147483647 w 534"/>
                      <a:gd name="T101" fmla="*/ 2147483647 h 702"/>
                      <a:gd name="T102" fmla="*/ 2147483647 w 534"/>
                      <a:gd name="T103" fmla="*/ 2147483647 h 70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34"/>
                      <a:gd name="T157" fmla="*/ 0 h 702"/>
                      <a:gd name="T158" fmla="*/ 534 w 534"/>
                      <a:gd name="T159" fmla="*/ 702 h 702"/>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34" h="702">
                        <a:moveTo>
                          <a:pt x="366" y="120"/>
                        </a:moveTo>
                        <a:lnTo>
                          <a:pt x="360" y="126"/>
                        </a:lnTo>
                        <a:lnTo>
                          <a:pt x="354" y="168"/>
                        </a:lnTo>
                        <a:lnTo>
                          <a:pt x="330" y="144"/>
                        </a:lnTo>
                        <a:lnTo>
                          <a:pt x="294" y="144"/>
                        </a:lnTo>
                        <a:lnTo>
                          <a:pt x="288" y="138"/>
                        </a:lnTo>
                        <a:lnTo>
                          <a:pt x="276" y="138"/>
                        </a:lnTo>
                        <a:lnTo>
                          <a:pt x="270" y="132"/>
                        </a:lnTo>
                        <a:lnTo>
                          <a:pt x="258" y="126"/>
                        </a:lnTo>
                        <a:lnTo>
                          <a:pt x="210" y="126"/>
                        </a:lnTo>
                        <a:lnTo>
                          <a:pt x="192" y="132"/>
                        </a:lnTo>
                        <a:lnTo>
                          <a:pt x="162" y="132"/>
                        </a:lnTo>
                        <a:lnTo>
                          <a:pt x="144" y="162"/>
                        </a:lnTo>
                        <a:lnTo>
                          <a:pt x="150" y="198"/>
                        </a:lnTo>
                        <a:lnTo>
                          <a:pt x="156" y="204"/>
                        </a:lnTo>
                        <a:lnTo>
                          <a:pt x="180" y="204"/>
                        </a:lnTo>
                        <a:lnTo>
                          <a:pt x="186" y="198"/>
                        </a:lnTo>
                        <a:lnTo>
                          <a:pt x="186" y="180"/>
                        </a:lnTo>
                        <a:lnTo>
                          <a:pt x="204" y="180"/>
                        </a:lnTo>
                        <a:lnTo>
                          <a:pt x="210" y="186"/>
                        </a:lnTo>
                        <a:lnTo>
                          <a:pt x="222" y="186"/>
                        </a:lnTo>
                        <a:lnTo>
                          <a:pt x="222" y="192"/>
                        </a:lnTo>
                        <a:lnTo>
                          <a:pt x="228" y="198"/>
                        </a:lnTo>
                        <a:lnTo>
                          <a:pt x="228" y="216"/>
                        </a:lnTo>
                        <a:lnTo>
                          <a:pt x="240" y="222"/>
                        </a:lnTo>
                        <a:lnTo>
                          <a:pt x="240" y="234"/>
                        </a:lnTo>
                        <a:lnTo>
                          <a:pt x="234" y="240"/>
                        </a:lnTo>
                        <a:lnTo>
                          <a:pt x="228" y="252"/>
                        </a:lnTo>
                        <a:lnTo>
                          <a:pt x="222" y="258"/>
                        </a:lnTo>
                        <a:lnTo>
                          <a:pt x="210" y="258"/>
                        </a:lnTo>
                        <a:lnTo>
                          <a:pt x="198" y="282"/>
                        </a:lnTo>
                        <a:lnTo>
                          <a:pt x="198" y="318"/>
                        </a:lnTo>
                        <a:lnTo>
                          <a:pt x="216" y="324"/>
                        </a:lnTo>
                        <a:lnTo>
                          <a:pt x="222" y="342"/>
                        </a:lnTo>
                        <a:lnTo>
                          <a:pt x="240" y="342"/>
                        </a:lnTo>
                        <a:lnTo>
                          <a:pt x="246" y="348"/>
                        </a:lnTo>
                        <a:lnTo>
                          <a:pt x="246" y="360"/>
                        </a:lnTo>
                        <a:lnTo>
                          <a:pt x="240" y="366"/>
                        </a:lnTo>
                        <a:lnTo>
                          <a:pt x="240" y="414"/>
                        </a:lnTo>
                        <a:lnTo>
                          <a:pt x="234" y="426"/>
                        </a:lnTo>
                        <a:lnTo>
                          <a:pt x="240" y="450"/>
                        </a:lnTo>
                        <a:lnTo>
                          <a:pt x="234" y="456"/>
                        </a:lnTo>
                        <a:lnTo>
                          <a:pt x="222" y="462"/>
                        </a:lnTo>
                        <a:lnTo>
                          <a:pt x="222" y="486"/>
                        </a:lnTo>
                        <a:lnTo>
                          <a:pt x="216" y="498"/>
                        </a:lnTo>
                        <a:lnTo>
                          <a:pt x="210" y="504"/>
                        </a:lnTo>
                        <a:lnTo>
                          <a:pt x="198" y="504"/>
                        </a:lnTo>
                        <a:lnTo>
                          <a:pt x="192" y="498"/>
                        </a:lnTo>
                        <a:lnTo>
                          <a:pt x="192" y="468"/>
                        </a:lnTo>
                        <a:lnTo>
                          <a:pt x="186" y="468"/>
                        </a:lnTo>
                        <a:lnTo>
                          <a:pt x="180" y="474"/>
                        </a:lnTo>
                        <a:lnTo>
                          <a:pt x="174" y="486"/>
                        </a:lnTo>
                        <a:lnTo>
                          <a:pt x="168" y="492"/>
                        </a:lnTo>
                        <a:lnTo>
                          <a:pt x="138" y="492"/>
                        </a:lnTo>
                        <a:lnTo>
                          <a:pt x="120" y="450"/>
                        </a:lnTo>
                        <a:lnTo>
                          <a:pt x="90" y="450"/>
                        </a:lnTo>
                        <a:lnTo>
                          <a:pt x="90" y="456"/>
                        </a:lnTo>
                        <a:lnTo>
                          <a:pt x="108" y="474"/>
                        </a:lnTo>
                        <a:lnTo>
                          <a:pt x="96" y="480"/>
                        </a:lnTo>
                        <a:lnTo>
                          <a:pt x="90" y="492"/>
                        </a:lnTo>
                        <a:lnTo>
                          <a:pt x="84" y="498"/>
                        </a:lnTo>
                        <a:lnTo>
                          <a:pt x="66" y="498"/>
                        </a:lnTo>
                        <a:lnTo>
                          <a:pt x="54" y="492"/>
                        </a:lnTo>
                        <a:lnTo>
                          <a:pt x="42" y="492"/>
                        </a:lnTo>
                        <a:lnTo>
                          <a:pt x="36" y="486"/>
                        </a:lnTo>
                        <a:lnTo>
                          <a:pt x="30" y="486"/>
                        </a:lnTo>
                        <a:lnTo>
                          <a:pt x="30" y="504"/>
                        </a:lnTo>
                        <a:lnTo>
                          <a:pt x="36" y="510"/>
                        </a:lnTo>
                        <a:lnTo>
                          <a:pt x="36" y="522"/>
                        </a:lnTo>
                        <a:lnTo>
                          <a:pt x="24" y="522"/>
                        </a:lnTo>
                        <a:lnTo>
                          <a:pt x="54" y="540"/>
                        </a:lnTo>
                        <a:lnTo>
                          <a:pt x="36" y="552"/>
                        </a:lnTo>
                        <a:lnTo>
                          <a:pt x="54" y="564"/>
                        </a:lnTo>
                        <a:lnTo>
                          <a:pt x="54" y="600"/>
                        </a:lnTo>
                        <a:lnTo>
                          <a:pt x="48" y="606"/>
                        </a:lnTo>
                        <a:lnTo>
                          <a:pt x="30" y="588"/>
                        </a:lnTo>
                        <a:lnTo>
                          <a:pt x="6" y="600"/>
                        </a:lnTo>
                        <a:lnTo>
                          <a:pt x="0" y="618"/>
                        </a:lnTo>
                        <a:lnTo>
                          <a:pt x="54" y="666"/>
                        </a:lnTo>
                        <a:lnTo>
                          <a:pt x="54" y="684"/>
                        </a:lnTo>
                        <a:lnTo>
                          <a:pt x="72" y="702"/>
                        </a:lnTo>
                        <a:lnTo>
                          <a:pt x="72" y="690"/>
                        </a:lnTo>
                        <a:lnTo>
                          <a:pt x="90" y="690"/>
                        </a:lnTo>
                        <a:lnTo>
                          <a:pt x="90" y="672"/>
                        </a:lnTo>
                        <a:lnTo>
                          <a:pt x="102" y="666"/>
                        </a:lnTo>
                        <a:lnTo>
                          <a:pt x="108" y="660"/>
                        </a:lnTo>
                        <a:lnTo>
                          <a:pt x="120" y="654"/>
                        </a:lnTo>
                        <a:lnTo>
                          <a:pt x="126" y="648"/>
                        </a:lnTo>
                        <a:lnTo>
                          <a:pt x="132" y="654"/>
                        </a:lnTo>
                        <a:lnTo>
                          <a:pt x="132" y="660"/>
                        </a:lnTo>
                        <a:lnTo>
                          <a:pt x="138" y="666"/>
                        </a:lnTo>
                        <a:lnTo>
                          <a:pt x="138" y="672"/>
                        </a:lnTo>
                        <a:lnTo>
                          <a:pt x="150" y="672"/>
                        </a:lnTo>
                        <a:lnTo>
                          <a:pt x="150" y="678"/>
                        </a:lnTo>
                        <a:lnTo>
                          <a:pt x="156" y="684"/>
                        </a:lnTo>
                        <a:lnTo>
                          <a:pt x="156" y="690"/>
                        </a:lnTo>
                        <a:lnTo>
                          <a:pt x="162" y="696"/>
                        </a:lnTo>
                        <a:lnTo>
                          <a:pt x="174" y="696"/>
                        </a:lnTo>
                        <a:lnTo>
                          <a:pt x="180" y="690"/>
                        </a:lnTo>
                        <a:lnTo>
                          <a:pt x="186" y="678"/>
                        </a:lnTo>
                        <a:lnTo>
                          <a:pt x="186" y="660"/>
                        </a:lnTo>
                        <a:lnTo>
                          <a:pt x="210" y="666"/>
                        </a:lnTo>
                        <a:lnTo>
                          <a:pt x="228" y="648"/>
                        </a:lnTo>
                        <a:lnTo>
                          <a:pt x="234" y="648"/>
                        </a:lnTo>
                        <a:lnTo>
                          <a:pt x="234" y="678"/>
                        </a:lnTo>
                        <a:lnTo>
                          <a:pt x="228" y="690"/>
                        </a:lnTo>
                        <a:lnTo>
                          <a:pt x="234" y="696"/>
                        </a:lnTo>
                        <a:lnTo>
                          <a:pt x="252" y="696"/>
                        </a:lnTo>
                        <a:lnTo>
                          <a:pt x="264" y="690"/>
                        </a:lnTo>
                        <a:lnTo>
                          <a:pt x="270" y="684"/>
                        </a:lnTo>
                        <a:lnTo>
                          <a:pt x="276" y="672"/>
                        </a:lnTo>
                        <a:lnTo>
                          <a:pt x="294" y="654"/>
                        </a:lnTo>
                        <a:lnTo>
                          <a:pt x="300" y="642"/>
                        </a:lnTo>
                        <a:lnTo>
                          <a:pt x="312" y="630"/>
                        </a:lnTo>
                        <a:lnTo>
                          <a:pt x="330" y="630"/>
                        </a:lnTo>
                        <a:lnTo>
                          <a:pt x="336" y="624"/>
                        </a:lnTo>
                        <a:lnTo>
                          <a:pt x="366" y="582"/>
                        </a:lnTo>
                        <a:lnTo>
                          <a:pt x="360" y="480"/>
                        </a:lnTo>
                        <a:lnTo>
                          <a:pt x="366" y="480"/>
                        </a:lnTo>
                        <a:lnTo>
                          <a:pt x="390" y="456"/>
                        </a:lnTo>
                        <a:lnTo>
                          <a:pt x="390" y="420"/>
                        </a:lnTo>
                        <a:lnTo>
                          <a:pt x="396" y="408"/>
                        </a:lnTo>
                        <a:lnTo>
                          <a:pt x="402" y="402"/>
                        </a:lnTo>
                        <a:lnTo>
                          <a:pt x="450" y="378"/>
                        </a:lnTo>
                        <a:lnTo>
                          <a:pt x="456" y="366"/>
                        </a:lnTo>
                        <a:lnTo>
                          <a:pt x="468" y="360"/>
                        </a:lnTo>
                        <a:lnTo>
                          <a:pt x="474" y="354"/>
                        </a:lnTo>
                        <a:lnTo>
                          <a:pt x="474" y="300"/>
                        </a:lnTo>
                        <a:lnTo>
                          <a:pt x="486" y="294"/>
                        </a:lnTo>
                        <a:lnTo>
                          <a:pt x="492" y="282"/>
                        </a:lnTo>
                        <a:lnTo>
                          <a:pt x="492" y="258"/>
                        </a:lnTo>
                        <a:lnTo>
                          <a:pt x="486" y="246"/>
                        </a:lnTo>
                        <a:lnTo>
                          <a:pt x="480" y="240"/>
                        </a:lnTo>
                        <a:lnTo>
                          <a:pt x="480" y="228"/>
                        </a:lnTo>
                        <a:lnTo>
                          <a:pt x="498" y="192"/>
                        </a:lnTo>
                        <a:lnTo>
                          <a:pt x="498" y="168"/>
                        </a:lnTo>
                        <a:lnTo>
                          <a:pt x="492" y="156"/>
                        </a:lnTo>
                        <a:lnTo>
                          <a:pt x="492" y="126"/>
                        </a:lnTo>
                        <a:lnTo>
                          <a:pt x="498" y="120"/>
                        </a:lnTo>
                        <a:lnTo>
                          <a:pt x="510" y="96"/>
                        </a:lnTo>
                        <a:lnTo>
                          <a:pt x="522" y="84"/>
                        </a:lnTo>
                        <a:lnTo>
                          <a:pt x="528" y="66"/>
                        </a:lnTo>
                        <a:lnTo>
                          <a:pt x="534" y="54"/>
                        </a:lnTo>
                        <a:lnTo>
                          <a:pt x="534" y="18"/>
                        </a:lnTo>
                        <a:lnTo>
                          <a:pt x="522" y="6"/>
                        </a:lnTo>
                        <a:lnTo>
                          <a:pt x="510" y="18"/>
                        </a:lnTo>
                        <a:lnTo>
                          <a:pt x="498" y="18"/>
                        </a:lnTo>
                        <a:lnTo>
                          <a:pt x="462" y="0"/>
                        </a:lnTo>
                        <a:lnTo>
                          <a:pt x="444" y="0"/>
                        </a:lnTo>
                        <a:lnTo>
                          <a:pt x="426" y="18"/>
                        </a:lnTo>
                        <a:lnTo>
                          <a:pt x="396" y="18"/>
                        </a:lnTo>
                        <a:lnTo>
                          <a:pt x="378" y="48"/>
                        </a:lnTo>
                        <a:lnTo>
                          <a:pt x="390" y="60"/>
                        </a:lnTo>
                        <a:lnTo>
                          <a:pt x="390" y="84"/>
                        </a:lnTo>
                        <a:lnTo>
                          <a:pt x="384" y="96"/>
                        </a:lnTo>
                        <a:lnTo>
                          <a:pt x="378" y="102"/>
                        </a:lnTo>
                        <a:lnTo>
                          <a:pt x="372" y="114"/>
                        </a:lnTo>
                        <a:lnTo>
                          <a:pt x="366" y="1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60" name="Colombia"/>
                  <p:cNvSpPr>
                    <a:spLocks/>
                  </p:cNvSpPr>
                  <p:nvPr/>
                </p:nvSpPr>
                <p:spPr bwMode="gray">
                  <a:xfrm>
                    <a:off x="1213" y="2053"/>
                    <a:ext cx="222" cy="344"/>
                  </a:xfrm>
                  <a:custGeom>
                    <a:avLst/>
                    <a:gdLst>
                      <a:gd name="T0" fmla="*/ 2147483647 w 870"/>
                      <a:gd name="T1" fmla="*/ 2147483647 h 1344"/>
                      <a:gd name="T2" fmla="*/ 2147483647 w 870"/>
                      <a:gd name="T3" fmla="*/ 2147483647 h 1344"/>
                      <a:gd name="T4" fmla="*/ 2147483647 w 870"/>
                      <a:gd name="T5" fmla="*/ 2147483647 h 1344"/>
                      <a:gd name="T6" fmla="*/ 2147483647 w 870"/>
                      <a:gd name="T7" fmla="*/ 2147483647 h 1344"/>
                      <a:gd name="T8" fmla="*/ 2147483647 w 870"/>
                      <a:gd name="T9" fmla="*/ 2147483647 h 1344"/>
                      <a:gd name="T10" fmla="*/ 2147483647 w 870"/>
                      <a:gd name="T11" fmla="*/ 2147483647 h 1344"/>
                      <a:gd name="T12" fmla="*/ 2147483647 w 870"/>
                      <a:gd name="T13" fmla="*/ 2147483647 h 1344"/>
                      <a:gd name="T14" fmla="*/ 2147483647 w 870"/>
                      <a:gd name="T15" fmla="*/ 2147483647 h 1344"/>
                      <a:gd name="T16" fmla="*/ 2147483647 w 870"/>
                      <a:gd name="T17" fmla="*/ 2147483647 h 1344"/>
                      <a:gd name="T18" fmla="*/ 2147483647 w 870"/>
                      <a:gd name="T19" fmla="*/ 2147483647 h 1344"/>
                      <a:gd name="T20" fmla="*/ 2147483647 w 870"/>
                      <a:gd name="T21" fmla="*/ 2147483647 h 1344"/>
                      <a:gd name="T22" fmla="*/ 2147483647 w 870"/>
                      <a:gd name="T23" fmla="*/ 2147483647 h 1344"/>
                      <a:gd name="T24" fmla="*/ 2147483647 w 870"/>
                      <a:gd name="T25" fmla="*/ 2147483647 h 1344"/>
                      <a:gd name="T26" fmla="*/ 2147483647 w 870"/>
                      <a:gd name="T27" fmla="*/ 2147483647 h 1344"/>
                      <a:gd name="T28" fmla="*/ 2147483647 w 870"/>
                      <a:gd name="T29" fmla="*/ 2147483647 h 1344"/>
                      <a:gd name="T30" fmla="*/ 2147483647 w 870"/>
                      <a:gd name="T31" fmla="*/ 2147483647 h 1344"/>
                      <a:gd name="T32" fmla="*/ 2147483647 w 870"/>
                      <a:gd name="T33" fmla="*/ 2147483647 h 1344"/>
                      <a:gd name="T34" fmla="*/ 2147483647 w 870"/>
                      <a:gd name="T35" fmla="*/ 2147483647 h 1344"/>
                      <a:gd name="T36" fmla="*/ 2147483647 w 870"/>
                      <a:gd name="T37" fmla="*/ 2147483647 h 1344"/>
                      <a:gd name="T38" fmla="*/ 2147483647 w 870"/>
                      <a:gd name="T39" fmla="*/ 2147483647 h 1344"/>
                      <a:gd name="T40" fmla="*/ 2147483647 w 870"/>
                      <a:gd name="T41" fmla="*/ 2147483647 h 1344"/>
                      <a:gd name="T42" fmla="*/ 2147483647 w 870"/>
                      <a:gd name="T43" fmla="*/ 2147483647 h 1344"/>
                      <a:gd name="T44" fmla="*/ 2147483647 w 870"/>
                      <a:gd name="T45" fmla="*/ 2147483647 h 1344"/>
                      <a:gd name="T46" fmla="*/ 2147483647 w 870"/>
                      <a:gd name="T47" fmla="*/ 2147483647 h 1344"/>
                      <a:gd name="T48" fmla="*/ 2147483647 w 870"/>
                      <a:gd name="T49" fmla="*/ 2147483647 h 1344"/>
                      <a:gd name="T50" fmla="*/ 2147483647 w 870"/>
                      <a:gd name="T51" fmla="*/ 2147483647 h 1344"/>
                      <a:gd name="T52" fmla="*/ 2147483647 w 870"/>
                      <a:gd name="T53" fmla="*/ 2147483647 h 1344"/>
                      <a:gd name="T54" fmla="*/ 2147483647 w 870"/>
                      <a:gd name="T55" fmla="*/ 2147483647 h 1344"/>
                      <a:gd name="T56" fmla="*/ 2147483647 w 870"/>
                      <a:gd name="T57" fmla="*/ 2147483647 h 1344"/>
                      <a:gd name="T58" fmla="*/ 2147483647 w 870"/>
                      <a:gd name="T59" fmla="*/ 2147483647 h 1344"/>
                      <a:gd name="T60" fmla="*/ 2147483647 w 870"/>
                      <a:gd name="T61" fmla="*/ 2147483647 h 1344"/>
                      <a:gd name="T62" fmla="*/ 2147483647 w 870"/>
                      <a:gd name="T63" fmla="*/ 2147483647 h 1344"/>
                      <a:gd name="T64" fmla="*/ 2147483647 w 870"/>
                      <a:gd name="T65" fmla="*/ 2147483647 h 1344"/>
                      <a:gd name="T66" fmla="*/ 2147483647 w 870"/>
                      <a:gd name="T67" fmla="*/ 2147483647 h 1344"/>
                      <a:gd name="T68" fmla="*/ 2147483647 w 870"/>
                      <a:gd name="T69" fmla="*/ 2147483647 h 1344"/>
                      <a:gd name="T70" fmla="*/ 2147483647 w 870"/>
                      <a:gd name="T71" fmla="*/ 2147483647 h 1344"/>
                      <a:gd name="T72" fmla="*/ 2147483647 w 870"/>
                      <a:gd name="T73" fmla="*/ 0 h 1344"/>
                      <a:gd name="T74" fmla="*/ 2147483647 w 870"/>
                      <a:gd name="T75" fmla="*/ 2147483647 h 1344"/>
                      <a:gd name="T76" fmla="*/ 2147483647 w 870"/>
                      <a:gd name="T77" fmla="*/ 2147483647 h 1344"/>
                      <a:gd name="T78" fmla="*/ 2147483647 w 870"/>
                      <a:gd name="T79" fmla="*/ 2147483647 h 1344"/>
                      <a:gd name="T80" fmla="*/ 2147483647 w 870"/>
                      <a:gd name="T81" fmla="*/ 2147483647 h 1344"/>
                      <a:gd name="T82" fmla="*/ 2147483647 w 870"/>
                      <a:gd name="T83" fmla="*/ 2147483647 h 1344"/>
                      <a:gd name="T84" fmla="*/ 2147483647 w 870"/>
                      <a:gd name="T85" fmla="*/ 2147483647 h 1344"/>
                      <a:gd name="T86" fmla="*/ 2147483647 w 870"/>
                      <a:gd name="T87" fmla="*/ 2147483647 h 1344"/>
                      <a:gd name="T88" fmla="*/ 2147483647 w 870"/>
                      <a:gd name="T89" fmla="*/ 2147483647 h 1344"/>
                      <a:gd name="T90" fmla="*/ 2147483647 w 870"/>
                      <a:gd name="T91" fmla="*/ 2147483647 h 1344"/>
                      <a:gd name="T92" fmla="*/ 2147483647 w 870"/>
                      <a:gd name="T93" fmla="*/ 2147483647 h 1344"/>
                      <a:gd name="T94" fmla="*/ 2147483647 w 870"/>
                      <a:gd name="T95" fmla="*/ 2147483647 h 1344"/>
                      <a:gd name="T96" fmla="*/ 2147483647 w 870"/>
                      <a:gd name="T97" fmla="*/ 2147483647 h 1344"/>
                      <a:gd name="T98" fmla="*/ 2147483647 w 870"/>
                      <a:gd name="T99" fmla="*/ 2147483647 h 1344"/>
                      <a:gd name="T100" fmla="*/ 2147483647 w 870"/>
                      <a:gd name="T101" fmla="*/ 2147483647 h 1344"/>
                      <a:gd name="T102" fmla="*/ 2147483647 w 870"/>
                      <a:gd name="T103" fmla="*/ 2147483647 h 1344"/>
                      <a:gd name="T104" fmla="*/ 2147483647 w 870"/>
                      <a:gd name="T105" fmla="*/ 2147483647 h 1344"/>
                      <a:gd name="T106" fmla="*/ 2147483647 w 870"/>
                      <a:gd name="T107" fmla="*/ 2147483647 h 134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870"/>
                      <a:gd name="T163" fmla="*/ 0 h 1344"/>
                      <a:gd name="T164" fmla="*/ 870 w 870"/>
                      <a:gd name="T165" fmla="*/ 1344 h 1344"/>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870" h="1344">
                        <a:moveTo>
                          <a:pt x="36" y="912"/>
                        </a:moveTo>
                        <a:lnTo>
                          <a:pt x="60" y="924"/>
                        </a:lnTo>
                        <a:lnTo>
                          <a:pt x="66" y="936"/>
                        </a:lnTo>
                        <a:lnTo>
                          <a:pt x="84" y="936"/>
                        </a:lnTo>
                        <a:lnTo>
                          <a:pt x="96" y="942"/>
                        </a:lnTo>
                        <a:lnTo>
                          <a:pt x="102" y="948"/>
                        </a:lnTo>
                        <a:lnTo>
                          <a:pt x="108" y="960"/>
                        </a:lnTo>
                        <a:lnTo>
                          <a:pt x="108" y="966"/>
                        </a:lnTo>
                        <a:lnTo>
                          <a:pt x="114" y="972"/>
                        </a:lnTo>
                        <a:lnTo>
                          <a:pt x="126" y="978"/>
                        </a:lnTo>
                        <a:lnTo>
                          <a:pt x="138" y="978"/>
                        </a:lnTo>
                        <a:lnTo>
                          <a:pt x="144" y="972"/>
                        </a:lnTo>
                        <a:lnTo>
                          <a:pt x="156" y="978"/>
                        </a:lnTo>
                        <a:lnTo>
                          <a:pt x="162" y="984"/>
                        </a:lnTo>
                        <a:lnTo>
                          <a:pt x="186" y="984"/>
                        </a:lnTo>
                        <a:lnTo>
                          <a:pt x="186" y="972"/>
                        </a:lnTo>
                        <a:lnTo>
                          <a:pt x="192" y="966"/>
                        </a:lnTo>
                        <a:lnTo>
                          <a:pt x="198" y="966"/>
                        </a:lnTo>
                        <a:lnTo>
                          <a:pt x="210" y="972"/>
                        </a:lnTo>
                        <a:lnTo>
                          <a:pt x="210" y="978"/>
                        </a:lnTo>
                        <a:lnTo>
                          <a:pt x="216" y="984"/>
                        </a:lnTo>
                        <a:lnTo>
                          <a:pt x="216" y="990"/>
                        </a:lnTo>
                        <a:lnTo>
                          <a:pt x="228" y="1002"/>
                        </a:lnTo>
                        <a:lnTo>
                          <a:pt x="264" y="1002"/>
                        </a:lnTo>
                        <a:lnTo>
                          <a:pt x="276" y="1008"/>
                        </a:lnTo>
                        <a:lnTo>
                          <a:pt x="282" y="1014"/>
                        </a:lnTo>
                        <a:lnTo>
                          <a:pt x="294" y="1020"/>
                        </a:lnTo>
                        <a:lnTo>
                          <a:pt x="312" y="1038"/>
                        </a:lnTo>
                        <a:lnTo>
                          <a:pt x="324" y="1044"/>
                        </a:lnTo>
                        <a:lnTo>
                          <a:pt x="330" y="1050"/>
                        </a:lnTo>
                        <a:lnTo>
                          <a:pt x="342" y="1086"/>
                        </a:lnTo>
                        <a:lnTo>
                          <a:pt x="360" y="1086"/>
                        </a:lnTo>
                        <a:lnTo>
                          <a:pt x="372" y="1104"/>
                        </a:lnTo>
                        <a:lnTo>
                          <a:pt x="384" y="1104"/>
                        </a:lnTo>
                        <a:lnTo>
                          <a:pt x="390" y="1110"/>
                        </a:lnTo>
                        <a:lnTo>
                          <a:pt x="390" y="1134"/>
                        </a:lnTo>
                        <a:lnTo>
                          <a:pt x="396" y="1140"/>
                        </a:lnTo>
                        <a:lnTo>
                          <a:pt x="396" y="1146"/>
                        </a:lnTo>
                        <a:lnTo>
                          <a:pt x="408" y="1146"/>
                        </a:lnTo>
                        <a:lnTo>
                          <a:pt x="420" y="1152"/>
                        </a:lnTo>
                        <a:lnTo>
                          <a:pt x="426" y="1158"/>
                        </a:lnTo>
                        <a:lnTo>
                          <a:pt x="426" y="1164"/>
                        </a:lnTo>
                        <a:lnTo>
                          <a:pt x="420" y="1170"/>
                        </a:lnTo>
                        <a:lnTo>
                          <a:pt x="420" y="1194"/>
                        </a:lnTo>
                        <a:lnTo>
                          <a:pt x="432" y="1200"/>
                        </a:lnTo>
                        <a:lnTo>
                          <a:pt x="456" y="1206"/>
                        </a:lnTo>
                        <a:lnTo>
                          <a:pt x="492" y="1206"/>
                        </a:lnTo>
                        <a:lnTo>
                          <a:pt x="492" y="1194"/>
                        </a:lnTo>
                        <a:lnTo>
                          <a:pt x="504" y="1182"/>
                        </a:lnTo>
                        <a:lnTo>
                          <a:pt x="528" y="1182"/>
                        </a:lnTo>
                        <a:lnTo>
                          <a:pt x="534" y="1188"/>
                        </a:lnTo>
                        <a:lnTo>
                          <a:pt x="540" y="1188"/>
                        </a:lnTo>
                        <a:lnTo>
                          <a:pt x="546" y="1194"/>
                        </a:lnTo>
                        <a:lnTo>
                          <a:pt x="558" y="1194"/>
                        </a:lnTo>
                        <a:lnTo>
                          <a:pt x="570" y="1188"/>
                        </a:lnTo>
                        <a:lnTo>
                          <a:pt x="576" y="1182"/>
                        </a:lnTo>
                        <a:lnTo>
                          <a:pt x="588" y="1182"/>
                        </a:lnTo>
                        <a:lnTo>
                          <a:pt x="588" y="1188"/>
                        </a:lnTo>
                        <a:lnTo>
                          <a:pt x="594" y="1200"/>
                        </a:lnTo>
                        <a:lnTo>
                          <a:pt x="600" y="1206"/>
                        </a:lnTo>
                        <a:lnTo>
                          <a:pt x="624" y="1206"/>
                        </a:lnTo>
                        <a:lnTo>
                          <a:pt x="636" y="1212"/>
                        </a:lnTo>
                        <a:lnTo>
                          <a:pt x="642" y="1218"/>
                        </a:lnTo>
                        <a:lnTo>
                          <a:pt x="642" y="1236"/>
                        </a:lnTo>
                        <a:lnTo>
                          <a:pt x="636" y="1248"/>
                        </a:lnTo>
                        <a:lnTo>
                          <a:pt x="630" y="1254"/>
                        </a:lnTo>
                        <a:lnTo>
                          <a:pt x="624" y="1254"/>
                        </a:lnTo>
                        <a:lnTo>
                          <a:pt x="618" y="1260"/>
                        </a:lnTo>
                        <a:lnTo>
                          <a:pt x="618" y="1266"/>
                        </a:lnTo>
                        <a:lnTo>
                          <a:pt x="606" y="1290"/>
                        </a:lnTo>
                        <a:lnTo>
                          <a:pt x="606" y="1308"/>
                        </a:lnTo>
                        <a:lnTo>
                          <a:pt x="612" y="1314"/>
                        </a:lnTo>
                        <a:lnTo>
                          <a:pt x="630" y="1314"/>
                        </a:lnTo>
                        <a:lnTo>
                          <a:pt x="642" y="1332"/>
                        </a:lnTo>
                        <a:lnTo>
                          <a:pt x="660" y="1344"/>
                        </a:lnTo>
                        <a:lnTo>
                          <a:pt x="660" y="1308"/>
                        </a:lnTo>
                        <a:lnTo>
                          <a:pt x="666" y="1236"/>
                        </a:lnTo>
                        <a:lnTo>
                          <a:pt x="684" y="1188"/>
                        </a:lnTo>
                        <a:lnTo>
                          <a:pt x="678" y="1140"/>
                        </a:lnTo>
                        <a:lnTo>
                          <a:pt x="690" y="1128"/>
                        </a:lnTo>
                        <a:lnTo>
                          <a:pt x="696" y="1116"/>
                        </a:lnTo>
                        <a:lnTo>
                          <a:pt x="696" y="1104"/>
                        </a:lnTo>
                        <a:lnTo>
                          <a:pt x="690" y="1092"/>
                        </a:lnTo>
                        <a:lnTo>
                          <a:pt x="678" y="1080"/>
                        </a:lnTo>
                        <a:lnTo>
                          <a:pt x="678" y="1074"/>
                        </a:lnTo>
                        <a:lnTo>
                          <a:pt x="672" y="1068"/>
                        </a:lnTo>
                        <a:lnTo>
                          <a:pt x="672" y="1044"/>
                        </a:lnTo>
                        <a:lnTo>
                          <a:pt x="666" y="1038"/>
                        </a:lnTo>
                        <a:lnTo>
                          <a:pt x="654" y="1032"/>
                        </a:lnTo>
                        <a:lnTo>
                          <a:pt x="642" y="1020"/>
                        </a:lnTo>
                        <a:lnTo>
                          <a:pt x="636" y="1020"/>
                        </a:lnTo>
                        <a:lnTo>
                          <a:pt x="642" y="954"/>
                        </a:lnTo>
                        <a:lnTo>
                          <a:pt x="672" y="948"/>
                        </a:lnTo>
                        <a:lnTo>
                          <a:pt x="678" y="954"/>
                        </a:lnTo>
                        <a:lnTo>
                          <a:pt x="708" y="954"/>
                        </a:lnTo>
                        <a:lnTo>
                          <a:pt x="714" y="948"/>
                        </a:lnTo>
                        <a:lnTo>
                          <a:pt x="714" y="942"/>
                        </a:lnTo>
                        <a:lnTo>
                          <a:pt x="708" y="936"/>
                        </a:lnTo>
                        <a:lnTo>
                          <a:pt x="708" y="930"/>
                        </a:lnTo>
                        <a:lnTo>
                          <a:pt x="696" y="918"/>
                        </a:lnTo>
                        <a:lnTo>
                          <a:pt x="684" y="924"/>
                        </a:lnTo>
                        <a:lnTo>
                          <a:pt x="660" y="912"/>
                        </a:lnTo>
                        <a:lnTo>
                          <a:pt x="660" y="900"/>
                        </a:lnTo>
                        <a:lnTo>
                          <a:pt x="654" y="888"/>
                        </a:lnTo>
                        <a:lnTo>
                          <a:pt x="654" y="876"/>
                        </a:lnTo>
                        <a:lnTo>
                          <a:pt x="660" y="864"/>
                        </a:lnTo>
                        <a:lnTo>
                          <a:pt x="666" y="858"/>
                        </a:lnTo>
                        <a:lnTo>
                          <a:pt x="684" y="858"/>
                        </a:lnTo>
                        <a:lnTo>
                          <a:pt x="696" y="870"/>
                        </a:lnTo>
                        <a:lnTo>
                          <a:pt x="762" y="864"/>
                        </a:lnTo>
                        <a:lnTo>
                          <a:pt x="762" y="846"/>
                        </a:lnTo>
                        <a:lnTo>
                          <a:pt x="768" y="840"/>
                        </a:lnTo>
                        <a:lnTo>
                          <a:pt x="774" y="840"/>
                        </a:lnTo>
                        <a:lnTo>
                          <a:pt x="798" y="864"/>
                        </a:lnTo>
                        <a:lnTo>
                          <a:pt x="828" y="834"/>
                        </a:lnTo>
                        <a:lnTo>
                          <a:pt x="834" y="834"/>
                        </a:lnTo>
                        <a:lnTo>
                          <a:pt x="834" y="846"/>
                        </a:lnTo>
                        <a:lnTo>
                          <a:pt x="840" y="852"/>
                        </a:lnTo>
                        <a:lnTo>
                          <a:pt x="840" y="864"/>
                        </a:lnTo>
                        <a:lnTo>
                          <a:pt x="846" y="876"/>
                        </a:lnTo>
                        <a:lnTo>
                          <a:pt x="846" y="906"/>
                        </a:lnTo>
                        <a:lnTo>
                          <a:pt x="870" y="906"/>
                        </a:lnTo>
                        <a:lnTo>
                          <a:pt x="864" y="900"/>
                        </a:lnTo>
                        <a:lnTo>
                          <a:pt x="864" y="882"/>
                        </a:lnTo>
                        <a:lnTo>
                          <a:pt x="858" y="870"/>
                        </a:lnTo>
                        <a:lnTo>
                          <a:pt x="858" y="852"/>
                        </a:lnTo>
                        <a:lnTo>
                          <a:pt x="852" y="846"/>
                        </a:lnTo>
                        <a:lnTo>
                          <a:pt x="852" y="828"/>
                        </a:lnTo>
                        <a:lnTo>
                          <a:pt x="846" y="822"/>
                        </a:lnTo>
                        <a:lnTo>
                          <a:pt x="846" y="798"/>
                        </a:lnTo>
                        <a:lnTo>
                          <a:pt x="834" y="798"/>
                        </a:lnTo>
                        <a:lnTo>
                          <a:pt x="822" y="786"/>
                        </a:lnTo>
                        <a:lnTo>
                          <a:pt x="798" y="774"/>
                        </a:lnTo>
                        <a:lnTo>
                          <a:pt x="804" y="774"/>
                        </a:lnTo>
                        <a:lnTo>
                          <a:pt x="834" y="744"/>
                        </a:lnTo>
                        <a:lnTo>
                          <a:pt x="840" y="732"/>
                        </a:lnTo>
                        <a:lnTo>
                          <a:pt x="840" y="726"/>
                        </a:lnTo>
                        <a:lnTo>
                          <a:pt x="834" y="714"/>
                        </a:lnTo>
                        <a:lnTo>
                          <a:pt x="822" y="708"/>
                        </a:lnTo>
                        <a:lnTo>
                          <a:pt x="816" y="696"/>
                        </a:lnTo>
                        <a:lnTo>
                          <a:pt x="816" y="672"/>
                        </a:lnTo>
                        <a:lnTo>
                          <a:pt x="804" y="672"/>
                        </a:lnTo>
                        <a:lnTo>
                          <a:pt x="798" y="666"/>
                        </a:lnTo>
                        <a:lnTo>
                          <a:pt x="798" y="654"/>
                        </a:lnTo>
                        <a:lnTo>
                          <a:pt x="804" y="642"/>
                        </a:lnTo>
                        <a:lnTo>
                          <a:pt x="804" y="612"/>
                        </a:lnTo>
                        <a:lnTo>
                          <a:pt x="798" y="600"/>
                        </a:lnTo>
                        <a:lnTo>
                          <a:pt x="798" y="576"/>
                        </a:lnTo>
                        <a:lnTo>
                          <a:pt x="810" y="564"/>
                        </a:lnTo>
                        <a:lnTo>
                          <a:pt x="816" y="564"/>
                        </a:lnTo>
                        <a:lnTo>
                          <a:pt x="822" y="558"/>
                        </a:lnTo>
                        <a:lnTo>
                          <a:pt x="822" y="534"/>
                        </a:lnTo>
                        <a:lnTo>
                          <a:pt x="840" y="516"/>
                        </a:lnTo>
                        <a:lnTo>
                          <a:pt x="840" y="504"/>
                        </a:lnTo>
                        <a:lnTo>
                          <a:pt x="834" y="498"/>
                        </a:lnTo>
                        <a:lnTo>
                          <a:pt x="816" y="498"/>
                        </a:lnTo>
                        <a:lnTo>
                          <a:pt x="804" y="504"/>
                        </a:lnTo>
                        <a:lnTo>
                          <a:pt x="798" y="510"/>
                        </a:lnTo>
                        <a:lnTo>
                          <a:pt x="774" y="504"/>
                        </a:lnTo>
                        <a:lnTo>
                          <a:pt x="768" y="510"/>
                        </a:lnTo>
                        <a:lnTo>
                          <a:pt x="744" y="510"/>
                        </a:lnTo>
                        <a:lnTo>
                          <a:pt x="738" y="504"/>
                        </a:lnTo>
                        <a:lnTo>
                          <a:pt x="720" y="504"/>
                        </a:lnTo>
                        <a:lnTo>
                          <a:pt x="720" y="510"/>
                        </a:lnTo>
                        <a:lnTo>
                          <a:pt x="696" y="510"/>
                        </a:lnTo>
                        <a:lnTo>
                          <a:pt x="672" y="486"/>
                        </a:lnTo>
                        <a:lnTo>
                          <a:pt x="666" y="468"/>
                        </a:lnTo>
                        <a:lnTo>
                          <a:pt x="660" y="456"/>
                        </a:lnTo>
                        <a:lnTo>
                          <a:pt x="654" y="450"/>
                        </a:lnTo>
                        <a:lnTo>
                          <a:pt x="654" y="444"/>
                        </a:lnTo>
                        <a:lnTo>
                          <a:pt x="630" y="444"/>
                        </a:lnTo>
                        <a:lnTo>
                          <a:pt x="618" y="438"/>
                        </a:lnTo>
                        <a:lnTo>
                          <a:pt x="612" y="432"/>
                        </a:lnTo>
                        <a:lnTo>
                          <a:pt x="600" y="432"/>
                        </a:lnTo>
                        <a:lnTo>
                          <a:pt x="600" y="438"/>
                        </a:lnTo>
                        <a:lnTo>
                          <a:pt x="594" y="444"/>
                        </a:lnTo>
                        <a:lnTo>
                          <a:pt x="582" y="444"/>
                        </a:lnTo>
                        <a:lnTo>
                          <a:pt x="570" y="438"/>
                        </a:lnTo>
                        <a:lnTo>
                          <a:pt x="564" y="438"/>
                        </a:lnTo>
                        <a:lnTo>
                          <a:pt x="552" y="432"/>
                        </a:lnTo>
                        <a:lnTo>
                          <a:pt x="540" y="432"/>
                        </a:lnTo>
                        <a:lnTo>
                          <a:pt x="534" y="438"/>
                        </a:lnTo>
                        <a:lnTo>
                          <a:pt x="510" y="438"/>
                        </a:lnTo>
                        <a:lnTo>
                          <a:pt x="504" y="432"/>
                        </a:lnTo>
                        <a:lnTo>
                          <a:pt x="498" y="420"/>
                        </a:lnTo>
                        <a:lnTo>
                          <a:pt x="498" y="408"/>
                        </a:lnTo>
                        <a:lnTo>
                          <a:pt x="486" y="408"/>
                        </a:lnTo>
                        <a:lnTo>
                          <a:pt x="486" y="366"/>
                        </a:lnTo>
                        <a:lnTo>
                          <a:pt x="498" y="342"/>
                        </a:lnTo>
                        <a:lnTo>
                          <a:pt x="498" y="330"/>
                        </a:lnTo>
                        <a:lnTo>
                          <a:pt x="492" y="324"/>
                        </a:lnTo>
                        <a:lnTo>
                          <a:pt x="480" y="318"/>
                        </a:lnTo>
                        <a:lnTo>
                          <a:pt x="474" y="312"/>
                        </a:lnTo>
                        <a:lnTo>
                          <a:pt x="474" y="276"/>
                        </a:lnTo>
                        <a:lnTo>
                          <a:pt x="468" y="264"/>
                        </a:lnTo>
                        <a:lnTo>
                          <a:pt x="456" y="252"/>
                        </a:lnTo>
                        <a:lnTo>
                          <a:pt x="450" y="252"/>
                        </a:lnTo>
                        <a:lnTo>
                          <a:pt x="438" y="264"/>
                        </a:lnTo>
                        <a:lnTo>
                          <a:pt x="438" y="270"/>
                        </a:lnTo>
                        <a:lnTo>
                          <a:pt x="432" y="264"/>
                        </a:lnTo>
                        <a:lnTo>
                          <a:pt x="432" y="252"/>
                        </a:lnTo>
                        <a:lnTo>
                          <a:pt x="438" y="240"/>
                        </a:lnTo>
                        <a:lnTo>
                          <a:pt x="462" y="216"/>
                        </a:lnTo>
                        <a:lnTo>
                          <a:pt x="462" y="192"/>
                        </a:lnTo>
                        <a:lnTo>
                          <a:pt x="468" y="186"/>
                        </a:lnTo>
                        <a:lnTo>
                          <a:pt x="468" y="168"/>
                        </a:lnTo>
                        <a:lnTo>
                          <a:pt x="480" y="132"/>
                        </a:lnTo>
                        <a:lnTo>
                          <a:pt x="504" y="108"/>
                        </a:lnTo>
                        <a:lnTo>
                          <a:pt x="522" y="102"/>
                        </a:lnTo>
                        <a:lnTo>
                          <a:pt x="534" y="90"/>
                        </a:lnTo>
                        <a:lnTo>
                          <a:pt x="540" y="78"/>
                        </a:lnTo>
                        <a:lnTo>
                          <a:pt x="540" y="72"/>
                        </a:lnTo>
                        <a:lnTo>
                          <a:pt x="546" y="66"/>
                        </a:lnTo>
                        <a:lnTo>
                          <a:pt x="558" y="66"/>
                        </a:lnTo>
                        <a:lnTo>
                          <a:pt x="564" y="60"/>
                        </a:lnTo>
                        <a:lnTo>
                          <a:pt x="570" y="60"/>
                        </a:lnTo>
                        <a:lnTo>
                          <a:pt x="576" y="54"/>
                        </a:lnTo>
                        <a:lnTo>
                          <a:pt x="582" y="54"/>
                        </a:lnTo>
                        <a:lnTo>
                          <a:pt x="600" y="36"/>
                        </a:lnTo>
                        <a:lnTo>
                          <a:pt x="600" y="12"/>
                        </a:lnTo>
                        <a:lnTo>
                          <a:pt x="594" y="6"/>
                        </a:lnTo>
                        <a:lnTo>
                          <a:pt x="582" y="0"/>
                        </a:lnTo>
                        <a:lnTo>
                          <a:pt x="570" y="6"/>
                        </a:lnTo>
                        <a:lnTo>
                          <a:pt x="546" y="6"/>
                        </a:lnTo>
                        <a:lnTo>
                          <a:pt x="540" y="12"/>
                        </a:lnTo>
                        <a:lnTo>
                          <a:pt x="534" y="12"/>
                        </a:lnTo>
                        <a:lnTo>
                          <a:pt x="522" y="24"/>
                        </a:lnTo>
                        <a:lnTo>
                          <a:pt x="522" y="36"/>
                        </a:lnTo>
                        <a:lnTo>
                          <a:pt x="516" y="48"/>
                        </a:lnTo>
                        <a:lnTo>
                          <a:pt x="504" y="60"/>
                        </a:lnTo>
                        <a:lnTo>
                          <a:pt x="492" y="60"/>
                        </a:lnTo>
                        <a:lnTo>
                          <a:pt x="480" y="54"/>
                        </a:lnTo>
                        <a:lnTo>
                          <a:pt x="474" y="54"/>
                        </a:lnTo>
                        <a:lnTo>
                          <a:pt x="444" y="84"/>
                        </a:lnTo>
                        <a:lnTo>
                          <a:pt x="444" y="90"/>
                        </a:lnTo>
                        <a:lnTo>
                          <a:pt x="408" y="102"/>
                        </a:lnTo>
                        <a:lnTo>
                          <a:pt x="402" y="96"/>
                        </a:lnTo>
                        <a:lnTo>
                          <a:pt x="390" y="90"/>
                        </a:lnTo>
                        <a:lnTo>
                          <a:pt x="384" y="90"/>
                        </a:lnTo>
                        <a:lnTo>
                          <a:pt x="378" y="102"/>
                        </a:lnTo>
                        <a:lnTo>
                          <a:pt x="378" y="120"/>
                        </a:lnTo>
                        <a:lnTo>
                          <a:pt x="372" y="132"/>
                        </a:lnTo>
                        <a:lnTo>
                          <a:pt x="366" y="138"/>
                        </a:lnTo>
                        <a:lnTo>
                          <a:pt x="354" y="138"/>
                        </a:lnTo>
                        <a:lnTo>
                          <a:pt x="354" y="132"/>
                        </a:lnTo>
                        <a:lnTo>
                          <a:pt x="360" y="126"/>
                        </a:lnTo>
                        <a:lnTo>
                          <a:pt x="354" y="120"/>
                        </a:lnTo>
                        <a:lnTo>
                          <a:pt x="342" y="120"/>
                        </a:lnTo>
                        <a:lnTo>
                          <a:pt x="330" y="126"/>
                        </a:lnTo>
                        <a:lnTo>
                          <a:pt x="318" y="126"/>
                        </a:lnTo>
                        <a:lnTo>
                          <a:pt x="312" y="132"/>
                        </a:lnTo>
                        <a:lnTo>
                          <a:pt x="306" y="132"/>
                        </a:lnTo>
                        <a:lnTo>
                          <a:pt x="300" y="144"/>
                        </a:lnTo>
                        <a:lnTo>
                          <a:pt x="288" y="150"/>
                        </a:lnTo>
                        <a:lnTo>
                          <a:pt x="282" y="162"/>
                        </a:lnTo>
                        <a:lnTo>
                          <a:pt x="276" y="168"/>
                        </a:lnTo>
                        <a:lnTo>
                          <a:pt x="276" y="186"/>
                        </a:lnTo>
                        <a:lnTo>
                          <a:pt x="282" y="192"/>
                        </a:lnTo>
                        <a:lnTo>
                          <a:pt x="264" y="222"/>
                        </a:lnTo>
                        <a:lnTo>
                          <a:pt x="276" y="246"/>
                        </a:lnTo>
                        <a:lnTo>
                          <a:pt x="252" y="246"/>
                        </a:lnTo>
                        <a:lnTo>
                          <a:pt x="240" y="252"/>
                        </a:lnTo>
                        <a:lnTo>
                          <a:pt x="228" y="264"/>
                        </a:lnTo>
                        <a:lnTo>
                          <a:pt x="228" y="276"/>
                        </a:lnTo>
                        <a:lnTo>
                          <a:pt x="222" y="288"/>
                        </a:lnTo>
                        <a:lnTo>
                          <a:pt x="216" y="294"/>
                        </a:lnTo>
                        <a:lnTo>
                          <a:pt x="204" y="294"/>
                        </a:lnTo>
                        <a:lnTo>
                          <a:pt x="198" y="300"/>
                        </a:lnTo>
                        <a:lnTo>
                          <a:pt x="192" y="300"/>
                        </a:lnTo>
                        <a:lnTo>
                          <a:pt x="174" y="306"/>
                        </a:lnTo>
                        <a:lnTo>
                          <a:pt x="186" y="330"/>
                        </a:lnTo>
                        <a:lnTo>
                          <a:pt x="186" y="366"/>
                        </a:lnTo>
                        <a:lnTo>
                          <a:pt x="168" y="366"/>
                        </a:lnTo>
                        <a:lnTo>
                          <a:pt x="168" y="360"/>
                        </a:lnTo>
                        <a:lnTo>
                          <a:pt x="174" y="354"/>
                        </a:lnTo>
                        <a:lnTo>
                          <a:pt x="174" y="342"/>
                        </a:lnTo>
                        <a:lnTo>
                          <a:pt x="144" y="312"/>
                        </a:lnTo>
                        <a:lnTo>
                          <a:pt x="138" y="312"/>
                        </a:lnTo>
                        <a:lnTo>
                          <a:pt x="132" y="318"/>
                        </a:lnTo>
                        <a:lnTo>
                          <a:pt x="132" y="336"/>
                        </a:lnTo>
                        <a:lnTo>
                          <a:pt x="138" y="348"/>
                        </a:lnTo>
                        <a:lnTo>
                          <a:pt x="150" y="354"/>
                        </a:lnTo>
                        <a:lnTo>
                          <a:pt x="150" y="366"/>
                        </a:lnTo>
                        <a:lnTo>
                          <a:pt x="138" y="390"/>
                        </a:lnTo>
                        <a:lnTo>
                          <a:pt x="132" y="396"/>
                        </a:lnTo>
                        <a:lnTo>
                          <a:pt x="120" y="390"/>
                        </a:lnTo>
                        <a:lnTo>
                          <a:pt x="114" y="384"/>
                        </a:lnTo>
                        <a:lnTo>
                          <a:pt x="102" y="414"/>
                        </a:lnTo>
                        <a:lnTo>
                          <a:pt x="114" y="438"/>
                        </a:lnTo>
                        <a:lnTo>
                          <a:pt x="114" y="450"/>
                        </a:lnTo>
                        <a:lnTo>
                          <a:pt x="126" y="462"/>
                        </a:lnTo>
                        <a:lnTo>
                          <a:pt x="132" y="474"/>
                        </a:lnTo>
                        <a:lnTo>
                          <a:pt x="132" y="480"/>
                        </a:lnTo>
                        <a:lnTo>
                          <a:pt x="120" y="492"/>
                        </a:lnTo>
                        <a:lnTo>
                          <a:pt x="114" y="492"/>
                        </a:lnTo>
                        <a:lnTo>
                          <a:pt x="132" y="516"/>
                        </a:lnTo>
                        <a:lnTo>
                          <a:pt x="138" y="552"/>
                        </a:lnTo>
                        <a:lnTo>
                          <a:pt x="114" y="558"/>
                        </a:lnTo>
                        <a:lnTo>
                          <a:pt x="132" y="576"/>
                        </a:lnTo>
                        <a:lnTo>
                          <a:pt x="132" y="636"/>
                        </a:lnTo>
                        <a:lnTo>
                          <a:pt x="120" y="642"/>
                        </a:lnTo>
                        <a:lnTo>
                          <a:pt x="114" y="654"/>
                        </a:lnTo>
                        <a:lnTo>
                          <a:pt x="114" y="678"/>
                        </a:lnTo>
                        <a:lnTo>
                          <a:pt x="138" y="702"/>
                        </a:lnTo>
                        <a:lnTo>
                          <a:pt x="138" y="720"/>
                        </a:lnTo>
                        <a:lnTo>
                          <a:pt x="132" y="732"/>
                        </a:lnTo>
                        <a:lnTo>
                          <a:pt x="120" y="738"/>
                        </a:lnTo>
                        <a:lnTo>
                          <a:pt x="114" y="750"/>
                        </a:lnTo>
                        <a:lnTo>
                          <a:pt x="102" y="756"/>
                        </a:lnTo>
                        <a:lnTo>
                          <a:pt x="96" y="762"/>
                        </a:lnTo>
                        <a:lnTo>
                          <a:pt x="114" y="774"/>
                        </a:lnTo>
                        <a:lnTo>
                          <a:pt x="84" y="798"/>
                        </a:lnTo>
                        <a:lnTo>
                          <a:pt x="66" y="798"/>
                        </a:lnTo>
                        <a:lnTo>
                          <a:pt x="54" y="804"/>
                        </a:lnTo>
                        <a:lnTo>
                          <a:pt x="36" y="810"/>
                        </a:lnTo>
                        <a:lnTo>
                          <a:pt x="30" y="822"/>
                        </a:lnTo>
                        <a:lnTo>
                          <a:pt x="30" y="846"/>
                        </a:lnTo>
                        <a:lnTo>
                          <a:pt x="36" y="852"/>
                        </a:lnTo>
                        <a:lnTo>
                          <a:pt x="36" y="858"/>
                        </a:lnTo>
                        <a:lnTo>
                          <a:pt x="6" y="858"/>
                        </a:lnTo>
                        <a:lnTo>
                          <a:pt x="0" y="864"/>
                        </a:lnTo>
                        <a:lnTo>
                          <a:pt x="0" y="876"/>
                        </a:lnTo>
                        <a:lnTo>
                          <a:pt x="6" y="888"/>
                        </a:lnTo>
                        <a:lnTo>
                          <a:pt x="18" y="894"/>
                        </a:lnTo>
                        <a:lnTo>
                          <a:pt x="24" y="906"/>
                        </a:lnTo>
                        <a:lnTo>
                          <a:pt x="36" y="9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61" name="Chile"/>
                  <p:cNvSpPr>
                    <a:spLocks noEditPoints="1"/>
                  </p:cNvSpPr>
                  <p:nvPr/>
                </p:nvSpPr>
                <p:spPr bwMode="gray">
                  <a:xfrm>
                    <a:off x="1392" y="2673"/>
                    <a:ext cx="296" cy="775"/>
                  </a:xfrm>
                  <a:custGeom>
                    <a:avLst/>
                    <a:gdLst>
                      <a:gd name="T0" fmla="*/ 2147483647 w 1158"/>
                      <a:gd name="T1" fmla="*/ 2147483647 h 3030"/>
                      <a:gd name="T2" fmla="*/ 2147483647 w 1158"/>
                      <a:gd name="T3" fmla="*/ 2147483647 h 3030"/>
                      <a:gd name="T4" fmla="*/ 2147483647 w 1158"/>
                      <a:gd name="T5" fmla="*/ 2147483647 h 3030"/>
                      <a:gd name="T6" fmla="*/ 2147483647 w 1158"/>
                      <a:gd name="T7" fmla="*/ 2147483647 h 3030"/>
                      <a:gd name="T8" fmla="*/ 2147483647 w 1158"/>
                      <a:gd name="T9" fmla="*/ 2147483647 h 3030"/>
                      <a:gd name="T10" fmla="*/ 2147483647 w 1158"/>
                      <a:gd name="T11" fmla="*/ 2147483647 h 3030"/>
                      <a:gd name="T12" fmla="*/ 2147483647 w 1158"/>
                      <a:gd name="T13" fmla="*/ 2147483647 h 3030"/>
                      <a:gd name="T14" fmla="*/ 2147483647 w 1158"/>
                      <a:gd name="T15" fmla="*/ 2147483647 h 3030"/>
                      <a:gd name="T16" fmla="*/ 2147483647 w 1158"/>
                      <a:gd name="T17" fmla="*/ 2147483647 h 3030"/>
                      <a:gd name="T18" fmla="*/ 2147483647 w 1158"/>
                      <a:gd name="T19" fmla="*/ 2147483647 h 3030"/>
                      <a:gd name="T20" fmla="*/ 2147483647 w 1158"/>
                      <a:gd name="T21" fmla="*/ 2147483647 h 3030"/>
                      <a:gd name="T22" fmla="*/ 2147483647 w 1158"/>
                      <a:gd name="T23" fmla="*/ 2147483647 h 3030"/>
                      <a:gd name="T24" fmla="*/ 2147483647 w 1158"/>
                      <a:gd name="T25" fmla="*/ 2147483647 h 3030"/>
                      <a:gd name="T26" fmla="*/ 2147483647 w 1158"/>
                      <a:gd name="T27" fmla="*/ 2147483647 h 3030"/>
                      <a:gd name="T28" fmla="*/ 2147483647 w 1158"/>
                      <a:gd name="T29" fmla="*/ 2147483647 h 3030"/>
                      <a:gd name="T30" fmla="*/ 2147483647 w 1158"/>
                      <a:gd name="T31" fmla="*/ 2147483647 h 3030"/>
                      <a:gd name="T32" fmla="*/ 2147483647 w 1158"/>
                      <a:gd name="T33" fmla="*/ 2147483647 h 3030"/>
                      <a:gd name="T34" fmla="*/ 2147483647 w 1158"/>
                      <a:gd name="T35" fmla="*/ 2147483647 h 3030"/>
                      <a:gd name="T36" fmla="*/ 2147483647 w 1158"/>
                      <a:gd name="T37" fmla="*/ 2147483647 h 3030"/>
                      <a:gd name="T38" fmla="*/ 2147483647 w 1158"/>
                      <a:gd name="T39" fmla="*/ 2147483647 h 3030"/>
                      <a:gd name="T40" fmla="*/ 2147483647 w 1158"/>
                      <a:gd name="T41" fmla="*/ 2147483647 h 3030"/>
                      <a:gd name="T42" fmla="*/ 2147483647 w 1158"/>
                      <a:gd name="T43" fmla="*/ 2147483647 h 3030"/>
                      <a:gd name="T44" fmla="*/ 2147483647 w 1158"/>
                      <a:gd name="T45" fmla="*/ 2147483647 h 3030"/>
                      <a:gd name="T46" fmla="*/ 2147483647 w 1158"/>
                      <a:gd name="T47" fmla="*/ 2147483647 h 3030"/>
                      <a:gd name="T48" fmla="*/ 2147483647 w 1158"/>
                      <a:gd name="T49" fmla="*/ 2147483647 h 3030"/>
                      <a:gd name="T50" fmla="*/ 2147483647 w 1158"/>
                      <a:gd name="T51" fmla="*/ 2147483647 h 3030"/>
                      <a:gd name="T52" fmla="*/ 2147483647 w 1158"/>
                      <a:gd name="T53" fmla="*/ 2147483647 h 3030"/>
                      <a:gd name="T54" fmla="*/ 2147483647 w 1158"/>
                      <a:gd name="T55" fmla="*/ 2147483647 h 3030"/>
                      <a:gd name="T56" fmla="*/ 2147483647 w 1158"/>
                      <a:gd name="T57" fmla="*/ 2147483647 h 3030"/>
                      <a:gd name="T58" fmla="*/ 2147483647 w 1158"/>
                      <a:gd name="T59" fmla="*/ 2147483647 h 3030"/>
                      <a:gd name="T60" fmla="*/ 2147483647 w 1158"/>
                      <a:gd name="T61" fmla="*/ 2147483647 h 3030"/>
                      <a:gd name="T62" fmla="*/ 2147483647 w 1158"/>
                      <a:gd name="T63" fmla="*/ 2147483647 h 3030"/>
                      <a:gd name="T64" fmla="*/ 2147483647 w 1158"/>
                      <a:gd name="T65" fmla="*/ 2147483647 h 3030"/>
                      <a:gd name="T66" fmla="*/ 2147483647 w 1158"/>
                      <a:gd name="T67" fmla="*/ 2147483647 h 3030"/>
                      <a:gd name="T68" fmla="*/ 2147483647 w 1158"/>
                      <a:gd name="T69" fmla="*/ 2147483647 h 3030"/>
                      <a:gd name="T70" fmla="*/ 2147483647 w 1158"/>
                      <a:gd name="T71" fmla="*/ 2147483647 h 3030"/>
                      <a:gd name="T72" fmla="*/ 2147483647 w 1158"/>
                      <a:gd name="T73" fmla="*/ 2147483647 h 3030"/>
                      <a:gd name="T74" fmla="*/ 2147483647 w 1158"/>
                      <a:gd name="T75" fmla="*/ 2147483647 h 3030"/>
                      <a:gd name="T76" fmla="*/ 2147483647 w 1158"/>
                      <a:gd name="T77" fmla="*/ 2147483647 h 3030"/>
                      <a:gd name="T78" fmla="*/ 0 w 1158"/>
                      <a:gd name="T79" fmla="*/ 2147483647 h 3030"/>
                      <a:gd name="T80" fmla="*/ 2147483647 w 1158"/>
                      <a:gd name="T81" fmla="*/ 2147483647 h 3030"/>
                      <a:gd name="T82" fmla="*/ 2147483647 w 1158"/>
                      <a:gd name="T83" fmla="*/ 2147483647 h 3030"/>
                      <a:gd name="T84" fmla="*/ 2147483647 w 1158"/>
                      <a:gd name="T85" fmla="*/ 2147483647 h 3030"/>
                      <a:gd name="T86" fmla="*/ 2147483647 w 1158"/>
                      <a:gd name="T87" fmla="*/ 2147483647 h 3030"/>
                      <a:gd name="T88" fmla="*/ 2147483647 w 1158"/>
                      <a:gd name="T89" fmla="*/ 2147483647 h 3030"/>
                      <a:gd name="T90" fmla="*/ 2147483647 w 1158"/>
                      <a:gd name="T91" fmla="*/ 2147483647 h 3030"/>
                      <a:gd name="T92" fmla="*/ 2147483647 w 1158"/>
                      <a:gd name="T93" fmla="*/ 2147483647 h 3030"/>
                      <a:gd name="T94" fmla="*/ 2147483647 w 1158"/>
                      <a:gd name="T95" fmla="*/ 2147483647 h 3030"/>
                      <a:gd name="T96" fmla="*/ 2147483647 w 1158"/>
                      <a:gd name="T97" fmla="*/ 2147483647 h 3030"/>
                      <a:gd name="T98" fmla="*/ 2147483647 w 1158"/>
                      <a:gd name="T99" fmla="*/ 2147483647 h 3030"/>
                      <a:gd name="T100" fmla="*/ 2147483647 w 1158"/>
                      <a:gd name="T101" fmla="*/ 2147483647 h 3030"/>
                      <a:gd name="T102" fmla="*/ 2147483647 w 1158"/>
                      <a:gd name="T103" fmla="*/ 2147483647 h 3030"/>
                      <a:gd name="T104" fmla="*/ 2147483647 w 1158"/>
                      <a:gd name="T105" fmla="*/ 2147483647 h 3030"/>
                      <a:gd name="T106" fmla="*/ 2147483647 w 1158"/>
                      <a:gd name="T107" fmla="*/ 2147483647 h 3030"/>
                      <a:gd name="T108" fmla="*/ 2147483647 w 1158"/>
                      <a:gd name="T109" fmla="*/ 2147483647 h 3030"/>
                      <a:gd name="T110" fmla="*/ 2147483647 w 1158"/>
                      <a:gd name="T111" fmla="*/ 2147483647 h 3030"/>
                      <a:gd name="T112" fmla="*/ 2147483647 w 1158"/>
                      <a:gd name="T113" fmla="*/ 2147483647 h 3030"/>
                      <a:gd name="T114" fmla="*/ 2147483647 w 1158"/>
                      <a:gd name="T115" fmla="*/ 2147483647 h 3030"/>
                      <a:gd name="T116" fmla="*/ 2147483647 w 1158"/>
                      <a:gd name="T117" fmla="*/ 2147483647 h 3030"/>
                      <a:gd name="T118" fmla="*/ 2147483647 w 1158"/>
                      <a:gd name="T119" fmla="*/ 2147483647 h 3030"/>
                      <a:gd name="T120" fmla="*/ 2147483647 w 1158"/>
                      <a:gd name="T121" fmla="*/ 2147483647 h 3030"/>
                      <a:gd name="T122" fmla="*/ 2147483647 w 1158"/>
                      <a:gd name="T123" fmla="*/ 2147483647 h 303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158"/>
                      <a:gd name="T187" fmla="*/ 0 h 3030"/>
                      <a:gd name="T188" fmla="*/ 1158 w 1158"/>
                      <a:gd name="T189" fmla="*/ 3030 h 303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158" h="3030">
                        <a:moveTo>
                          <a:pt x="1014" y="2910"/>
                        </a:moveTo>
                        <a:lnTo>
                          <a:pt x="984" y="2898"/>
                        </a:lnTo>
                        <a:lnTo>
                          <a:pt x="966" y="2880"/>
                        </a:lnTo>
                        <a:lnTo>
                          <a:pt x="948" y="2874"/>
                        </a:lnTo>
                        <a:lnTo>
                          <a:pt x="942" y="2862"/>
                        </a:lnTo>
                        <a:lnTo>
                          <a:pt x="936" y="2856"/>
                        </a:lnTo>
                        <a:lnTo>
                          <a:pt x="936" y="2850"/>
                        </a:lnTo>
                        <a:lnTo>
                          <a:pt x="906" y="2850"/>
                        </a:lnTo>
                        <a:lnTo>
                          <a:pt x="912" y="2832"/>
                        </a:lnTo>
                        <a:lnTo>
                          <a:pt x="870" y="2796"/>
                        </a:lnTo>
                        <a:lnTo>
                          <a:pt x="840" y="2802"/>
                        </a:lnTo>
                        <a:lnTo>
                          <a:pt x="828" y="2796"/>
                        </a:lnTo>
                        <a:lnTo>
                          <a:pt x="816" y="2808"/>
                        </a:lnTo>
                        <a:lnTo>
                          <a:pt x="792" y="2814"/>
                        </a:lnTo>
                        <a:lnTo>
                          <a:pt x="798" y="2832"/>
                        </a:lnTo>
                        <a:lnTo>
                          <a:pt x="780" y="2832"/>
                        </a:lnTo>
                        <a:lnTo>
                          <a:pt x="780" y="2862"/>
                        </a:lnTo>
                        <a:lnTo>
                          <a:pt x="786" y="2868"/>
                        </a:lnTo>
                        <a:lnTo>
                          <a:pt x="798" y="2868"/>
                        </a:lnTo>
                        <a:lnTo>
                          <a:pt x="810" y="2862"/>
                        </a:lnTo>
                        <a:lnTo>
                          <a:pt x="816" y="2856"/>
                        </a:lnTo>
                        <a:lnTo>
                          <a:pt x="828" y="2850"/>
                        </a:lnTo>
                        <a:lnTo>
                          <a:pt x="834" y="2844"/>
                        </a:lnTo>
                        <a:lnTo>
                          <a:pt x="858" y="2856"/>
                        </a:lnTo>
                        <a:lnTo>
                          <a:pt x="858" y="2874"/>
                        </a:lnTo>
                        <a:lnTo>
                          <a:pt x="846" y="2880"/>
                        </a:lnTo>
                        <a:lnTo>
                          <a:pt x="828" y="2898"/>
                        </a:lnTo>
                        <a:lnTo>
                          <a:pt x="822" y="2898"/>
                        </a:lnTo>
                        <a:lnTo>
                          <a:pt x="828" y="2904"/>
                        </a:lnTo>
                        <a:lnTo>
                          <a:pt x="882" y="2922"/>
                        </a:lnTo>
                        <a:lnTo>
                          <a:pt x="912" y="2928"/>
                        </a:lnTo>
                        <a:lnTo>
                          <a:pt x="924" y="2934"/>
                        </a:lnTo>
                        <a:lnTo>
                          <a:pt x="906" y="2958"/>
                        </a:lnTo>
                        <a:lnTo>
                          <a:pt x="906" y="2952"/>
                        </a:lnTo>
                        <a:lnTo>
                          <a:pt x="894" y="2940"/>
                        </a:lnTo>
                        <a:lnTo>
                          <a:pt x="876" y="2940"/>
                        </a:lnTo>
                        <a:lnTo>
                          <a:pt x="870" y="2946"/>
                        </a:lnTo>
                        <a:lnTo>
                          <a:pt x="870" y="2952"/>
                        </a:lnTo>
                        <a:lnTo>
                          <a:pt x="852" y="2928"/>
                        </a:lnTo>
                        <a:lnTo>
                          <a:pt x="834" y="2934"/>
                        </a:lnTo>
                        <a:lnTo>
                          <a:pt x="846" y="2946"/>
                        </a:lnTo>
                        <a:lnTo>
                          <a:pt x="816" y="2940"/>
                        </a:lnTo>
                        <a:lnTo>
                          <a:pt x="822" y="2946"/>
                        </a:lnTo>
                        <a:lnTo>
                          <a:pt x="828" y="2958"/>
                        </a:lnTo>
                        <a:lnTo>
                          <a:pt x="834" y="2964"/>
                        </a:lnTo>
                        <a:lnTo>
                          <a:pt x="894" y="2964"/>
                        </a:lnTo>
                        <a:lnTo>
                          <a:pt x="906" y="2970"/>
                        </a:lnTo>
                        <a:lnTo>
                          <a:pt x="1050" y="2970"/>
                        </a:lnTo>
                        <a:lnTo>
                          <a:pt x="1074" y="2982"/>
                        </a:lnTo>
                        <a:lnTo>
                          <a:pt x="1080" y="2988"/>
                        </a:lnTo>
                        <a:lnTo>
                          <a:pt x="1086" y="2988"/>
                        </a:lnTo>
                        <a:lnTo>
                          <a:pt x="1122" y="2970"/>
                        </a:lnTo>
                        <a:lnTo>
                          <a:pt x="1140" y="2976"/>
                        </a:lnTo>
                        <a:lnTo>
                          <a:pt x="1152" y="2976"/>
                        </a:lnTo>
                        <a:lnTo>
                          <a:pt x="1158" y="2952"/>
                        </a:lnTo>
                        <a:lnTo>
                          <a:pt x="1140" y="2952"/>
                        </a:lnTo>
                        <a:lnTo>
                          <a:pt x="1086" y="2940"/>
                        </a:lnTo>
                        <a:lnTo>
                          <a:pt x="1014" y="2910"/>
                        </a:lnTo>
                        <a:close/>
                        <a:moveTo>
                          <a:pt x="990" y="2988"/>
                        </a:moveTo>
                        <a:lnTo>
                          <a:pt x="1014" y="3000"/>
                        </a:lnTo>
                        <a:lnTo>
                          <a:pt x="1068" y="3006"/>
                        </a:lnTo>
                        <a:lnTo>
                          <a:pt x="1038" y="2982"/>
                        </a:lnTo>
                        <a:lnTo>
                          <a:pt x="990" y="2988"/>
                        </a:lnTo>
                        <a:close/>
                        <a:moveTo>
                          <a:pt x="960" y="2994"/>
                        </a:moveTo>
                        <a:lnTo>
                          <a:pt x="966" y="2982"/>
                        </a:lnTo>
                        <a:lnTo>
                          <a:pt x="888" y="2982"/>
                        </a:lnTo>
                        <a:lnTo>
                          <a:pt x="906" y="3012"/>
                        </a:lnTo>
                        <a:lnTo>
                          <a:pt x="936" y="3018"/>
                        </a:lnTo>
                        <a:lnTo>
                          <a:pt x="930" y="3006"/>
                        </a:lnTo>
                        <a:lnTo>
                          <a:pt x="936" y="3000"/>
                        </a:lnTo>
                        <a:lnTo>
                          <a:pt x="948" y="3012"/>
                        </a:lnTo>
                        <a:lnTo>
                          <a:pt x="996" y="3012"/>
                        </a:lnTo>
                        <a:lnTo>
                          <a:pt x="1008" y="3030"/>
                        </a:lnTo>
                        <a:lnTo>
                          <a:pt x="1026" y="3030"/>
                        </a:lnTo>
                        <a:lnTo>
                          <a:pt x="996" y="3000"/>
                        </a:lnTo>
                        <a:lnTo>
                          <a:pt x="960" y="2994"/>
                        </a:lnTo>
                        <a:close/>
                        <a:moveTo>
                          <a:pt x="804" y="2946"/>
                        </a:moveTo>
                        <a:lnTo>
                          <a:pt x="744" y="2940"/>
                        </a:lnTo>
                        <a:lnTo>
                          <a:pt x="750" y="2958"/>
                        </a:lnTo>
                        <a:lnTo>
                          <a:pt x="792" y="2958"/>
                        </a:lnTo>
                        <a:lnTo>
                          <a:pt x="804" y="2976"/>
                        </a:lnTo>
                        <a:lnTo>
                          <a:pt x="864" y="3000"/>
                        </a:lnTo>
                        <a:lnTo>
                          <a:pt x="828" y="2970"/>
                        </a:lnTo>
                        <a:lnTo>
                          <a:pt x="804" y="2946"/>
                        </a:lnTo>
                        <a:close/>
                        <a:moveTo>
                          <a:pt x="804" y="2880"/>
                        </a:moveTo>
                        <a:lnTo>
                          <a:pt x="786" y="2898"/>
                        </a:lnTo>
                        <a:lnTo>
                          <a:pt x="792" y="2928"/>
                        </a:lnTo>
                        <a:lnTo>
                          <a:pt x="816" y="2922"/>
                        </a:lnTo>
                        <a:lnTo>
                          <a:pt x="804" y="2880"/>
                        </a:lnTo>
                        <a:close/>
                        <a:moveTo>
                          <a:pt x="774" y="2928"/>
                        </a:moveTo>
                        <a:lnTo>
                          <a:pt x="768" y="2910"/>
                        </a:lnTo>
                        <a:lnTo>
                          <a:pt x="720" y="2898"/>
                        </a:lnTo>
                        <a:lnTo>
                          <a:pt x="708" y="2916"/>
                        </a:lnTo>
                        <a:lnTo>
                          <a:pt x="708" y="2934"/>
                        </a:lnTo>
                        <a:lnTo>
                          <a:pt x="744" y="2922"/>
                        </a:lnTo>
                        <a:lnTo>
                          <a:pt x="774" y="2928"/>
                        </a:lnTo>
                        <a:close/>
                        <a:moveTo>
                          <a:pt x="612" y="2772"/>
                        </a:moveTo>
                        <a:lnTo>
                          <a:pt x="606" y="2766"/>
                        </a:lnTo>
                        <a:lnTo>
                          <a:pt x="594" y="2766"/>
                        </a:lnTo>
                        <a:lnTo>
                          <a:pt x="588" y="2760"/>
                        </a:lnTo>
                        <a:lnTo>
                          <a:pt x="570" y="2760"/>
                        </a:lnTo>
                        <a:lnTo>
                          <a:pt x="570" y="2766"/>
                        </a:lnTo>
                        <a:lnTo>
                          <a:pt x="564" y="2778"/>
                        </a:lnTo>
                        <a:lnTo>
                          <a:pt x="564" y="2808"/>
                        </a:lnTo>
                        <a:lnTo>
                          <a:pt x="570" y="2808"/>
                        </a:lnTo>
                        <a:lnTo>
                          <a:pt x="576" y="2802"/>
                        </a:lnTo>
                        <a:lnTo>
                          <a:pt x="588" y="2802"/>
                        </a:lnTo>
                        <a:lnTo>
                          <a:pt x="594" y="2796"/>
                        </a:lnTo>
                        <a:lnTo>
                          <a:pt x="600" y="2820"/>
                        </a:lnTo>
                        <a:lnTo>
                          <a:pt x="630" y="2808"/>
                        </a:lnTo>
                        <a:lnTo>
                          <a:pt x="612" y="2790"/>
                        </a:lnTo>
                        <a:lnTo>
                          <a:pt x="618" y="2772"/>
                        </a:lnTo>
                        <a:lnTo>
                          <a:pt x="612" y="2772"/>
                        </a:lnTo>
                        <a:close/>
                        <a:moveTo>
                          <a:pt x="552" y="2826"/>
                        </a:moveTo>
                        <a:lnTo>
                          <a:pt x="516" y="2808"/>
                        </a:lnTo>
                        <a:lnTo>
                          <a:pt x="546" y="2832"/>
                        </a:lnTo>
                        <a:lnTo>
                          <a:pt x="588" y="2844"/>
                        </a:lnTo>
                        <a:lnTo>
                          <a:pt x="606" y="2850"/>
                        </a:lnTo>
                        <a:lnTo>
                          <a:pt x="588" y="2832"/>
                        </a:lnTo>
                        <a:lnTo>
                          <a:pt x="552" y="2826"/>
                        </a:lnTo>
                        <a:close/>
                        <a:moveTo>
                          <a:pt x="552" y="2748"/>
                        </a:moveTo>
                        <a:lnTo>
                          <a:pt x="534" y="2730"/>
                        </a:lnTo>
                        <a:lnTo>
                          <a:pt x="528" y="2766"/>
                        </a:lnTo>
                        <a:lnTo>
                          <a:pt x="504" y="2772"/>
                        </a:lnTo>
                        <a:lnTo>
                          <a:pt x="546" y="2784"/>
                        </a:lnTo>
                        <a:lnTo>
                          <a:pt x="552" y="2748"/>
                        </a:lnTo>
                        <a:close/>
                        <a:moveTo>
                          <a:pt x="444" y="2736"/>
                        </a:moveTo>
                        <a:lnTo>
                          <a:pt x="480" y="2772"/>
                        </a:lnTo>
                        <a:lnTo>
                          <a:pt x="492" y="2760"/>
                        </a:lnTo>
                        <a:lnTo>
                          <a:pt x="462" y="2724"/>
                        </a:lnTo>
                        <a:lnTo>
                          <a:pt x="444" y="2736"/>
                        </a:lnTo>
                        <a:close/>
                        <a:moveTo>
                          <a:pt x="516" y="2724"/>
                        </a:moveTo>
                        <a:lnTo>
                          <a:pt x="504" y="2718"/>
                        </a:lnTo>
                        <a:lnTo>
                          <a:pt x="492" y="2730"/>
                        </a:lnTo>
                        <a:lnTo>
                          <a:pt x="504" y="2748"/>
                        </a:lnTo>
                        <a:lnTo>
                          <a:pt x="516" y="2724"/>
                        </a:lnTo>
                        <a:close/>
                        <a:moveTo>
                          <a:pt x="456" y="2706"/>
                        </a:moveTo>
                        <a:lnTo>
                          <a:pt x="462" y="2676"/>
                        </a:lnTo>
                        <a:lnTo>
                          <a:pt x="456" y="2640"/>
                        </a:lnTo>
                        <a:lnTo>
                          <a:pt x="438" y="2634"/>
                        </a:lnTo>
                        <a:lnTo>
                          <a:pt x="438" y="2652"/>
                        </a:lnTo>
                        <a:lnTo>
                          <a:pt x="408" y="2646"/>
                        </a:lnTo>
                        <a:lnTo>
                          <a:pt x="432" y="2682"/>
                        </a:lnTo>
                        <a:lnTo>
                          <a:pt x="426" y="2724"/>
                        </a:lnTo>
                        <a:lnTo>
                          <a:pt x="456" y="2706"/>
                        </a:lnTo>
                        <a:close/>
                        <a:moveTo>
                          <a:pt x="366" y="2622"/>
                        </a:moveTo>
                        <a:lnTo>
                          <a:pt x="384" y="2628"/>
                        </a:lnTo>
                        <a:lnTo>
                          <a:pt x="390" y="2658"/>
                        </a:lnTo>
                        <a:lnTo>
                          <a:pt x="396" y="2628"/>
                        </a:lnTo>
                        <a:lnTo>
                          <a:pt x="402" y="2604"/>
                        </a:lnTo>
                        <a:lnTo>
                          <a:pt x="372" y="2598"/>
                        </a:lnTo>
                        <a:lnTo>
                          <a:pt x="366" y="2622"/>
                        </a:lnTo>
                        <a:close/>
                        <a:moveTo>
                          <a:pt x="372" y="2586"/>
                        </a:moveTo>
                        <a:lnTo>
                          <a:pt x="378" y="2586"/>
                        </a:lnTo>
                        <a:lnTo>
                          <a:pt x="378" y="2580"/>
                        </a:lnTo>
                        <a:lnTo>
                          <a:pt x="384" y="2574"/>
                        </a:lnTo>
                        <a:lnTo>
                          <a:pt x="414" y="2598"/>
                        </a:lnTo>
                        <a:lnTo>
                          <a:pt x="414" y="2574"/>
                        </a:lnTo>
                        <a:lnTo>
                          <a:pt x="384" y="2544"/>
                        </a:lnTo>
                        <a:lnTo>
                          <a:pt x="378" y="2532"/>
                        </a:lnTo>
                        <a:lnTo>
                          <a:pt x="372" y="2526"/>
                        </a:lnTo>
                        <a:lnTo>
                          <a:pt x="360" y="2502"/>
                        </a:lnTo>
                        <a:lnTo>
                          <a:pt x="360" y="2490"/>
                        </a:lnTo>
                        <a:lnTo>
                          <a:pt x="342" y="2454"/>
                        </a:lnTo>
                        <a:lnTo>
                          <a:pt x="330" y="2448"/>
                        </a:lnTo>
                        <a:lnTo>
                          <a:pt x="324" y="2442"/>
                        </a:lnTo>
                        <a:lnTo>
                          <a:pt x="318" y="2442"/>
                        </a:lnTo>
                        <a:lnTo>
                          <a:pt x="312" y="2448"/>
                        </a:lnTo>
                        <a:lnTo>
                          <a:pt x="312" y="2454"/>
                        </a:lnTo>
                        <a:lnTo>
                          <a:pt x="294" y="2448"/>
                        </a:lnTo>
                        <a:lnTo>
                          <a:pt x="288" y="2454"/>
                        </a:lnTo>
                        <a:lnTo>
                          <a:pt x="288" y="2466"/>
                        </a:lnTo>
                        <a:lnTo>
                          <a:pt x="282" y="2472"/>
                        </a:lnTo>
                        <a:lnTo>
                          <a:pt x="282" y="2490"/>
                        </a:lnTo>
                        <a:lnTo>
                          <a:pt x="330" y="2490"/>
                        </a:lnTo>
                        <a:lnTo>
                          <a:pt x="312" y="2532"/>
                        </a:lnTo>
                        <a:lnTo>
                          <a:pt x="324" y="2532"/>
                        </a:lnTo>
                        <a:lnTo>
                          <a:pt x="348" y="2508"/>
                        </a:lnTo>
                        <a:lnTo>
                          <a:pt x="342" y="2532"/>
                        </a:lnTo>
                        <a:lnTo>
                          <a:pt x="342" y="2538"/>
                        </a:lnTo>
                        <a:lnTo>
                          <a:pt x="348" y="2544"/>
                        </a:lnTo>
                        <a:lnTo>
                          <a:pt x="366" y="2580"/>
                        </a:lnTo>
                        <a:lnTo>
                          <a:pt x="366" y="2586"/>
                        </a:lnTo>
                        <a:lnTo>
                          <a:pt x="372" y="2586"/>
                        </a:lnTo>
                        <a:close/>
                        <a:moveTo>
                          <a:pt x="246" y="2082"/>
                        </a:moveTo>
                        <a:lnTo>
                          <a:pt x="246" y="2034"/>
                        </a:lnTo>
                        <a:lnTo>
                          <a:pt x="216" y="2004"/>
                        </a:lnTo>
                        <a:lnTo>
                          <a:pt x="234" y="1992"/>
                        </a:lnTo>
                        <a:lnTo>
                          <a:pt x="210" y="1968"/>
                        </a:lnTo>
                        <a:lnTo>
                          <a:pt x="174" y="1956"/>
                        </a:lnTo>
                        <a:lnTo>
                          <a:pt x="174" y="1986"/>
                        </a:lnTo>
                        <a:lnTo>
                          <a:pt x="180" y="1998"/>
                        </a:lnTo>
                        <a:lnTo>
                          <a:pt x="180" y="2004"/>
                        </a:lnTo>
                        <a:lnTo>
                          <a:pt x="192" y="2016"/>
                        </a:lnTo>
                        <a:lnTo>
                          <a:pt x="198" y="2028"/>
                        </a:lnTo>
                        <a:lnTo>
                          <a:pt x="204" y="2034"/>
                        </a:lnTo>
                        <a:lnTo>
                          <a:pt x="204" y="2046"/>
                        </a:lnTo>
                        <a:lnTo>
                          <a:pt x="198" y="2064"/>
                        </a:lnTo>
                        <a:lnTo>
                          <a:pt x="246" y="2082"/>
                        </a:lnTo>
                        <a:close/>
                        <a:moveTo>
                          <a:pt x="246" y="2178"/>
                        </a:moveTo>
                        <a:lnTo>
                          <a:pt x="258" y="2190"/>
                        </a:lnTo>
                        <a:lnTo>
                          <a:pt x="282" y="2190"/>
                        </a:lnTo>
                        <a:lnTo>
                          <a:pt x="294" y="2172"/>
                        </a:lnTo>
                        <a:lnTo>
                          <a:pt x="264" y="2178"/>
                        </a:lnTo>
                        <a:lnTo>
                          <a:pt x="246" y="2178"/>
                        </a:lnTo>
                        <a:close/>
                        <a:moveTo>
                          <a:pt x="282" y="2220"/>
                        </a:moveTo>
                        <a:lnTo>
                          <a:pt x="282" y="2238"/>
                        </a:lnTo>
                        <a:lnTo>
                          <a:pt x="306" y="2256"/>
                        </a:lnTo>
                        <a:lnTo>
                          <a:pt x="306" y="2232"/>
                        </a:lnTo>
                        <a:lnTo>
                          <a:pt x="294" y="2208"/>
                        </a:lnTo>
                        <a:lnTo>
                          <a:pt x="258" y="2208"/>
                        </a:lnTo>
                        <a:lnTo>
                          <a:pt x="282" y="2220"/>
                        </a:lnTo>
                        <a:close/>
                        <a:moveTo>
                          <a:pt x="318" y="2190"/>
                        </a:moveTo>
                        <a:lnTo>
                          <a:pt x="324" y="2184"/>
                        </a:lnTo>
                        <a:lnTo>
                          <a:pt x="336" y="2178"/>
                        </a:lnTo>
                        <a:lnTo>
                          <a:pt x="348" y="2166"/>
                        </a:lnTo>
                        <a:lnTo>
                          <a:pt x="336" y="2154"/>
                        </a:lnTo>
                        <a:lnTo>
                          <a:pt x="324" y="2154"/>
                        </a:lnTo>
                        <a:lnTo>
                          <a:pt x="312" y="2160"/>
                        </a:lnTo>
                        <a:lnTo>
                          <a:pt x="306" y="2166"/>
                        </a:lnTo>
                        <a:lnTo>
                          <a:pt x="306" y="2184"/>
                        </a:lnTo>
                        <a:lnTo>
                          <a:pt x="312" y="2190"/>
                        </a:lnTo>
                        <a:lnTo>
                          <a:pt x="318" y="2190"/>
                        </a:lnTo>
                        <a:close/>
                        <a:moveTo>
                          <a:pt x="252" y="2112"/>
                        </a:moveTo>
                        <a:lnTo>
                          <a:pt x="240" y="2118"/>
                        </a:lnTo>
                        <a:lnTo>
                          <a:pt x="240" y="2136"/>
                        </a:lnTo>
                        <a:lnTo>
                          <a:pt x="252" y="2136"/>
                        </a:lnTo>
                        <a:lnTo>
                          <a:pt x="264" y="2124"/>
                        </a:lnTo>
                        <a:lnTo>
                          <a:pt x="264" y="2106"/>
                        </a:lnTo>
                        <a:lnTo>
                          <a:pt x="258" y="2106"/>
                        </a:lnTo>
                        <a:lnTo>
                          <a:pt x="252" y="2112"/>
                        </a:lnTo>
                        <a:close/>
                        <a:moveTo>
                          <a:pt x="234" y="2154"/>
                        </a:moveTo>
                        <a:lnTo>
                          <a:pt x="216" y="2154"/>
                        </a:lnTo>
                        <a:lnTo>
                          <a:pt x="228" y="2178"/>
                        </a:lnTo>
                        <a:lnTo>
                          <a:pt x="234" y="2154"/>
                        </a:lnTo>
                        <a:close/>
                        <a:moveTo>
                          <a:pt x="714" y="2874"/>
                        </a:moveTo>
                        <a:lnTo>
                          <a:pt x="726" y="2874"/>
                        </a:lnTo>
                        <a:lnTo>
                          <a:pt x="726" y="2886"/>
                        </a:lnTo>
                        <a:lnTo>
                          <a:pt x="768" y="2886"/>
                        </a:lnTo>
                        <a:lnTo>
                          <a:pt x="774" y="2880"/>
                        </a:lnTo>
                        <a:lnTo>
                          <a:pt x="774" y="2874"/>
                        </a:lnTo>
                        <a:lnTo>
                          <a:pt x="744" y="2844"/>
                        </a:lnTo>
                        <a:lnTo>
                          <a:pt x="744" y="2808"/>
                        </a:lnTo>
                        <a:lnTo>
                          <a:pt x="786" y="2802"/>
                        </a:lnTo>
                        <a:lnTo>
                          <a:pt x="780" y="2790"/>
                        </a:lnTo>
                        <a:lnTo>
                          <a:pt x="804" y="2790"/>
                        </a:lnTo>
                        <a:lnTo>
                          <a:pt x="816" y="2772"/>
                        </a:lnTo>
                        <a:lnTo>
                          <a:pt x="792" y="2754"/>
                        </a:lnTo>
                        <a:lnTo>
                          <a:pt x="696" y="2754"/>
                        </a:lnTo>
                        <a:lnTo>
                          <a:pt x="684" y="2760"/>
                        </a:lnTo>
                        <a:lnTo>
                          <a:pt x="672" y="2760"/>
                        </a:lnTo>
                        <a:lnTo>
                          <a:pt x="654" y="2742"/>
                        </a:lnTo>
                        <a:lnTo>
                          <a:pt x="618" y="2724"/>
                        </a:lnTo>
                        <a:lnTo>
                          <a:pt x="606" y="2706"/>
                        </a:lnTo>
                        <a:lnTo>
                          <a:pt x="588" y="2682"/>
                        </a:lnTo>
                        <a:lnTo>
                          <a:pt x="588" y="2658"/>
                        </a:lnTo>
                        <a:lnTo>
                          <a:pt x="576" y="2646"/>
                        </a:lnTo>
                        <a:lnTo>
                          <a:pt x="564" y="2640"/>
                        </a:lnTo>
                        <a:lnTo>
                          <a:pt x="546" y="2640"/>
                        </a:lnTo>
                        <a:lnTo>
                          <a:pt x="534" y="2652"/>
                        </a:lnTo>
                        <a:lnTo>
                          <a:pt x="528" y="2652"/>
                        </a:lnTo>
                        <a:lnTo>
                          <a:pt x="516" y="2646"/>
                        </a:lnTo>
                        <a:lnTo>
                          <a:pt x="510" y="2640"/>
                        </a:lnTo>
                        <a:lnTo>
                          <a:pt x="510" y="2628"/>
                        </a:lnTo>
                        <a:lnTo>
                          <a:pt x="504" y="2622"/>
                        </a:lnTo>
                        <a:lnTo>
                          <a:pt x="504" y="2616"/>
                        </a:lnTo>
                        <a:lnTo>
                          <a:pt x="474" y="2610"/>
                        </a:lnTo>
                        <a:lnTo>
                          <a:pt x="474" y="2574"/>
                        </a:lnTo>
                        <a:lnTo>
                          <a:pt x="468" y="2568"/>
                        </a:lnTo>
                        <a:lnTo>
                          <a:pt x="462" y="2556"/>
                        </a:lnTo>
                        <a:lnTo>
                          <a:pt x="462" y="2544"/>
                        </a:lnTo>
                        <a:lnTo>
                          <a:pt x="474" y="2538"/>
                        </a:lnTo>
                        <a:lnTo>
                          <a:pt x="474" y="2514"/>
                        </a:lnTo>
                        <a:lnTo>
                          <a:pt x="480" y="2514"/>
                        </a:lnTo>
                        <a:lnTo>
                          <a:pt x="486" y="2508"/>
                        </a:lnTo>
                        <a:lnTo>
                          <a:pt x="492" y="2508"/>
                        </a:lnTo>
                        <a:lnTo>
                          <a:pt x="498" y="2502"/>
                        </a:lnTo>
                        <a:lnTo>
                          <a:pt x="498" y="2496"/>
                        </a:lnTo>
                        <a:lnTo>
                          <a:pt x="474" y="2472"/>
                        </a:lnTo>
                        <a:lnTo>
                          <a:pt x="480" y="2466"/>
                        </a:lnTo>
                        <a:lnTo>
                          <a:pt x="492" y="2460"/>
                        </a:lnTo>
                        <a:lnTo>
                          <a:pt x="498" y="2460"/>
                        </a:lnTo>
                        <a:lnTo>
                          <a:pt x="498" y="2454"/>
                        </a:lnTo>
                        <a:lnTo>
                          <a:pt x="474" y="2430"/>
                        </a:lnTo>
                        <a:lnTo>
                          <a:pt x="468" y="2430"/>
                        </a:lnTo>
                        <a:lnTo>
                          <a:pt x="474" y="2388"/>
                        </a:lnTo>
                        <a:lnTo>
                          <a:pt x="486" y="2382"/>
                        </a:lnTo>
                        <a:lnTo>
                          <a:pt x="474" y="2358"/>
                        </a:lnTo>
                        <a:lnTo>
                          <a:pt x="480" y="2322"/>
                        </a:lnTo>
                        <a:lnTo>
                          <a:pt x="456" y="2298"/>
                        </a:lnTo>
                        <a:lnTo>
                          <a:pt x="462" y="2274"/>
                        </a:lnTo>
                        <a:lnTo>
                          <a:pt x="438" y="2256"/>
                        </a:lnTo>
                        <a:lnTo>
                          <a:pt x="450" y="2244"/>
                        </a:lnTo>
                        <a:lnTo>
                          <a:pt x="456" y="2232"/>
                        </a:lnTo>
                        <a:lnTo>
                          <a:pt x="462" y="2226"/>
                        </a:lnTo>
                        <a:lnTo>
                          <a:pt x="438" y="2202"/>
                        </a:lnTo>
                        <a:lnTo>
                          <a:pt x="426" y="2202"/>
                        </a:lnTo>
                        <a:lnTo>
                          <a:pt x="420" y="2196"/>
                        </a:lnTo>
                        <a:lnTo>
                          <a:pt x="408" y="2190"/>
                        </a:lnTo>
                        <a:lnTo>
                          <a:pt x="402" y="2190"/>
                        </a:lnTo>
                        <a:lnTo>
                          <a:pt x="396" y="2184"/>
                        </a:lnTo>
                        <a:lnTo>
                          <a:pt x="414" y="2184"/>
                        </a:lnTo>
                        <a:lnTo>
                          <a:pt x="426" y="2178"/>
                        </a:lnTo>
                        <a:lnTo>
                          <a:pt x="438" y="2178"/>
                        </a:lnTo>
                        <a:lnTo>
                          <a:pt x="444" y="2172"/>
                        </a:lnTo>
                        <a:lnTo>
                          <a:pt x="444" y="2166"/>
                        </a:lnTo>
                        <a:lnTo>
                          <a:pt x="432" y="2160"/>
                        </a:lnTo>
                        <a:lnTo>
                          <a:pt x="402" y="2160"/>
                        </a:lnTo>
                        <a:lnTo>
                          <a:pt x="390" y="2148"/>
                        </a:lnTo>
                        <a:lnTo>
                          <a:pt x="390" y="2118"/>
                        </a:lnTo>
                        <a:lnTo>
                          <a:pt x="384" y="2106"/>
                        </a:lnTo>
                        <a:lnTo>
                          <a:pt x="384" y="2100"/>
                        </a:lnTo>
                        <a:lnTo>
                          <a:pt x="378" y="2094"/>
                        </a:lnTo>
                        <a:lnTo>
                          <a:pt x="366" y="2088"/>
                        </a:lnTo>
                        <a:lnTo>
                          <a:pt x="360" y="2088"/>
                        </a:lnTo>
                        <a:lnTo>
                          <a:pt x="366" y="2058"/>
                        </a:lnTo>
                        <a:lnTo>
                          <a:pt x="342" y="2046"/>
                        </a:lnTo>
                        <a:lnTo>
                          <a:pt x="336" y="2040"/>
                        </a:lnTo>
                        <a:lnTo>
                          <a:pt x="336" y="2028"/>
                        </a:lnTo>
                        <a:lnTo>
                          <a:pt x="330" y="2016"/>
                        </a:lnTo>
                        <a:lnTo>
                          <a:pt x="330" y="1998"/>
                        </a:lnTo>
                        <a:lnTo>
                          <a:pt x="324" y="1986"/>
                        </a:lnTo>
                        <a:lnTo>
                          <a:pt x="324" y="1974"/>
                        </a:lnTo>
                        <a:lnTo>
                          <a:pt x="330" y="1968"/>
                        </a:lnTo>
                        <a:lnTo>
                          <a:pt x="342" y="1962"/>
                        </a:lnTo>
                        <a:lnTo>
                          <a:pt x="348" y="1962"/>
                        </a:lnTo>
                        <a:lnTo>
                          <a:pt x="336" y="1950"/>
                        </a:lnTo>
                        <a:lnTo>
                          <a:pt x="324" y="1944"/>
                        </a:lnTo>
                        <a:lnTo>
                          <a:pt x="306" y="1926"/>
                        </a:lnTo>
                        <a:lnTo>
                          <a:pt x="300" y="1914"/>
                        </a:lnTo>
                        <a:lnTo>
                          <a:pt x="300" y="1890"/>
                        </a:lnTo>
                        <a:lnTo>
                          <a:pt x="294" y="1878"/>
                        </a:lnTo>
                        <a:lnTo>
                          <a:pt x="288" y="1872"/>
                        </a:lnTo>
                        <a:lnTo>
                          <a:pt x="288" y="1842"/>
                        </a:lnTo>
                        <a:lnTo>
                          <a:pt x="294" y="1836"/>
                        </a:lnTo>
                        <a:lnTo>
                          <a:pt x="294" y="1824"/>
                        </a:lnTo>
                        <a:lnTo>
                          <a:pt x="276" y="1812"/>
                        </a:lnTo>
                        <a:lnTo>
                          <a:pt x="276" y="1806"/>
                        </a:lnTo>
                        <a:lnTo>
                          <a:pt x="282" y="1794"/>
                        </a:lnTo>
                        <a:lnTo>
                          <a:pt x="282" y="1788"/>
                        </a:lnTo>
                        <a:lnTo>
                          <a:pt x="264" y="1770"/>
                        </a:lnTo>
                        <a:lnTo>
                          <a:pt x="282" y="1758"/>
                        </a:lnTo>
                        <a:lnTo>
                          <a:pt x="270" y="1716"/>
                        </a:lnTo>
                        <a:lnTo>
                          <a:pt x="276" y="1716"/>
                        </a:lnTo>
                        <a:lnTo>
                          <a:pt x="282" y="1710"/>
                        </a:lnTo>
                        <a:lnTo>
                          <a:pt x="294" y="1704"/>
                        </a:lnTo>
                        <a:lnTo>
                          <a:pt x="300" y="1692"/>
                        </a:lnTo>
                        <a:lnTo>
                          <a:pt x="300" y="1686"/>
                        </a:lnTo>
                        <a:lnTo>
                          <a:pt x="282" y="1668"/>
                        </a:lnTo>
                        <a:lnTo>
                          <a:pt x="276" y="1668"/>
                        </a:lnTo>
                        <a:lnTo>
                          <a:pt x="276" y="1650"/>
                        </a:lnTo>
                        <a:lnTo>
                          <a:pt x="246" y="1626"/>
                        </a:lnTo>
                        <a:lnTo>
                          <a:pt x="246" y="1578"/>
                        </a:lnTo>
                        <a:lnTo>
                          <a:pt x="240" y="1566"/>
                        </a:lnTo>
                        <a:lnTo>
                          <a:pt x="234" y="1548"/>
                        </a:lnTo>
                        <a:lnTo>
                          <a:pt x="234" y="1536"/>
                        </a:lnTo>
                        <a:lnTo>
                          <a:pt x="228" y="1530"/>
                        </a:lnTo>
                        <a:lnTo>
                          <a:pt x="228" y="1524"/>
                        </a:lnTo>
                        <a:lnTo>
                          <a:pt x="252" y="1518"/>
                        </a:lnTo>
                        <a:lnTo>
                          <a:pt x="258" y="1500"/>
                        </a:lnTo>
                        <a:lnTo>
                          <a:pt x="258" y="1494"/>
                        </a:lnTo>
                        <a:lnTo>
                          <a:pt x="264" y="1482"/>
                        </a:lnTo>
                        <a:lnTo>
                          <a:pt x="264" y="1470"/>
                        </a:lnTo>
                        <a:lnTo>
                          <a:pt x="258" y="1464"/>
                        </a:lnTo>
                        <a:lnTo>
                          <a:pt x="252" y="1452"/>
                        </a:lnTo>
                        <a:lnTo>
                          <a:pt x="246" y="1446"/>
                        </a:lnTo>
                        <a:lnTo>
                          <a:pt x="240" y="1434"/>
                        </a:lnTo>
                        <a:lnTo>
                          <a:pt x="234" y="1428"/>
                        </a:lnTo>
                        <a:lnTo>
                          <a:pt x="246" y="1428"/>
                        </a:lnTo>
                        <a:lnTo>
                          <a:pt x="246" y="1398"/>
                        </a:lnTo>
                        <a:lnTo>
                          <a:pt x="252" y="1380"/>
                        </a:lnTo>
                        <a:lnTo>
                          <a:pt x="252" y="1356"/>
                        </a:lnTo>
                        <a:lnTo>
                          <a:pt x="270" y="1338"/>
                        </a:lnTo>
                        <a:lnTo>
                          <a:pt x="270" y="1332"/>
                        </a:lnTo>
                        <a:lnTo>
                          <a:pt x="264" y="1320"/>
                        </a:lnTo>
                        <a:lnTo>
                          <a:pt x="258" y="1314"/>
                        </a:lnTo>
                        <a:lnTo>
                          <a:pt x="252" y="1302"/>
                        </a:lnTo>
                        <a:lnTo>
                          <a:pt x="246" y="1260"/>
                        </a:lnTo>
                        <a:lnTo>
                          <a:pt x="222" y="1260"/>
                        </a:lnTo>
                        <a:lnTo>
                          <a:pt x="210" y="1248"/>
                        </a:lnTo>
                        <a:lnTo>
                          <a:pt x="210" y="1236"/>
                        </a:lnTo>
                        <a:lnTo>
                          <a:pt x="216" y="1230"/>
                        </a:lnTo>
                        <a:lnTo>
                          <a:pt x="210" y="1218"/>
                        </a:lnTo>
                        <a:lnTo>
                          <a:pt x="198" y="1188"/>
                        </a:lnTo>
                        <a:lnTo>
                          <a:pt x="180" y="1170"/>
                        </a:lnTo>
                        <a:lnTo>
                          <a:pt x="180" y="1164"/>
                        </a:lnTo>
                        <a:lnTo>
                          <a:pt x="186" y="1158"/>
                        </a:lnTo>
                        <a:lnTo>
                          <a:pt x="186" y="1146"/>
                        </a:lnTo>
                        <a:lnTo>
                          <a:pt x="168" y="1128"/>
                        </a:lnTo>
                        <a:lnTo>
                          <a:pt x="156" y="1122"/>
                        </a:lnTo>
                        <a:lnTo>
                          <a:pt x="156" y="1116"/>
                        </a:lnTo>
                        <a:lnTo>
                          <a:pt x="150" y="1110"/>
                        </a:lnTo>
                        <a:lnTo>
                          <a:pt x="150" y="1086"/>
                        </a:lnTo>
                        <a:lnTo>
                          <a:pt x="156" y="1086"/>
                        </a:lnTo>
                        <a:lnTo>
                          <a:pt x="168" y="1080"/>
                        </a:lnTo>
                        <a:lnTo>
                          <a:pt x="162" y="1026"/>
                        </a:lnTo>
                        <a:lnTo>
                          <a:pt x="186" y="1026"/>
                        </a:lnTo>
                        <a:lnTo>
                          <a:pt x="186" y="1020"/>
                        </a:lnTo>
                        <a:lnTo>
                          <a:pt x="180" y="1008"/>
                        </a:lnTo>
                        <a:lnTo>
                          <a:pt x="168" y="972"/>
                        </a:lnTo>
                        <a:lnTo>
                          <a:pt x="156" y="948"/>
                        </a:lnTo>
                        <a:lnTo>
                          <a:pt x="156" y="936"/>
                        </a:lnTo>
                        <a:lnTo>
                          <a:pt x="168" y="924"/>
                        </a:lnTo>
                        <a:lnTo>
                          <a:pt x="168" y="858"/>
                        </a:lnTo>
                        <a:lnTo>
                          <a:pt x="174" y="852"/>
                        </a:lnTo>
                        <a:lnTo>
                          <a:pt x="180" y="840"/>
                        </a:lnTo>
                        <a:lnTo>
                          <a:pt x="192" y="828"/>
                        </a:lnTo>
                        <a:lnTo>
                          <a:pt x="192" y="816"/>
                        </a:lnTo>
                        <a:lnTo>
                          <a:pt x="198" y="804"/>
                        </a:lnTo>
                        <a:lnTo>
                          <a:pt x="198" y="792"/>
                        </a:lnTo>
                        <a:lnTo>
                          <a:pt x="204" y="774"/>
                        </a:lnTo>
                        <a:lnTo>
                          <a:pt x="204" y="762"/>
                        </a:lnTo>
                        <a:lnTo>
                          <a:pt x="222" y="762"/>
                        </a:lnTo>
                        <a:lnTo>
                          <a:pt x="228" y="756"/>
                        </a:lnTo>
                        <a:lnTo>
                          <a:pt x="240" y="750"/>
                        </a:lnTo>
                        <a:lnTo>
                          <a:pt x="240" y="738"/>
                        </a:lnTo>
                        <a:lnTo>
                          <a:pt x="234" y="726"/>
                        </a:lnTo>
                        <a:lnTo>
                          <a:pt x="210" y="714"/>
                        </a:lnTo>
                        <a:lnTo>
                          <a:pt x="204" y="708"/>
                        </a:lnTo>
                        <a:lnTo>
                          <a:pt x="198" y="708"/>
                        </a:lnTo>
                        <a:lnTo>
                          <a:pt x="204" y="708"/>
                        </a:lnTo>
                        <a:lnTo>
                          <a:pt x="216" y="696"/>
                        </a:lnTo>
                        <a:lnTo>
                          <a:pt x="222" y="684"/>
                        </a:lnTo>
                        <a:lnTo>
                          <a:pt x="228" y="678"/>
                        </a:lnTo>
                        <a:lnTo>
                          <a:pt x="222" y="666"/>
                        </a:lnTo>
                        <a:lnTo>
                          <a:pt x="210" y="654"/>
                        </a:lnTo>
                        <a:lnTo>
                          <a:pt x="198" y="648"/>
                        </a:lnTo>
                        <a:lnTo>
                          <a:pt x="192" y="642"/>
                        </a:lnTo>
                        <a:lnTo>
                          <a:pt x="192" y="624"/>
                        </a:lnTo>
                        <a:lnTo>
                          <a:pt x="216" y="600"/>
                        </a:lnTo>
                        <a:lnTo>
                          <a:pt x="216" y="594"/>
                        </a:lnTo>
                        <a:lnTo>
                          <a:pt x="204" y="594"/>
                        </a:lnTo>
                        <a:lnTo>
                          <a:pt x="192" y="588"/>
                        </a:lnTo>
                        <a:lnTo>
                          <a:pt x="186" y="582"/>
                        </a:lnTo>
                        <a:lnTo>
                          <a:pt x="186" y="576"/>
                        </a:lnTo>
                        <a:lnTo>
                          <a:pt x="192" y="570"/>
                        </a:lnTo>
                        <a:lnTo>
                          <a:pt x="198" y="558"/>
                        </a:lnTo>
                        <a:lnTo>
                          <a:pt x="210" y="552"/>
                        </a:lnTo>
                        <a:lnTo>
                          <a:pt x="222" y="540"/>
                        </a:lnTo>
                        <a:lnTo>
                          <a:pt x="240" y="534"/>
                        </a:lnTo>
                        <a:lnTo>
                          <a:pt x="252" y="528"/>
                        </a:lnTo>
                        <a:lnTo>
                          <a:pt x="258" y="522"/>
                        </a:lnTo>
                        <a:lnTo>
                          <a:pt x="264" y="522"/>
                        </a:lnTo>
                        <a:lnTo>
                          <a:pt x="276" y="438"/>
                        </a:lnTo>
                        <a:lnTo>
                          <a:pt x="264" y="420"/>
                        </a:lnTo>
                        <a:lnTo>
                          <a:pt x="222" y="420"/>
                        </a:lnTo>
                        <a:lnTo>
                          <a:pt x="216" y="408"/>
                        </a:lnTo>
                        <a:lnTo>
                          <a:pt x="216" y="384"/>
                        </a:lnTo>
                        <a:lnTo>
                          <a:pt x="192" y="360"/>
                        </a:lnTo>
                        <a:lnTo>
                          <a:pt x="192" y="294"/>
                        </a:lnTo>
                        <a:lnTo>
                          <a:pt x="186" y="288"/>
                        </a:lnTo>
                        <a:lnTo>
                          <a:pt x="174" y="282"/>
                        </a:lnTo>
                        <a:lnTo>
                          <a:pt x="168" y="276"/>
                        </a:lnTo>
                        <a:lnTo>
                          <a:pt x="156" y="270"/>
                        </a:lnTo>
                        <a:lnTo>
                          <a:pt x="150" y="264"/>
                        </a:lnTo>
                        <a:lnTo>
                          <a:pt x="144" y="264"/>
                        </a:lnTo>
                        <a:lnTo>
                          <a:pt x="144" y="240"/>
                        </a:lnTo>
                        <a:lnTo>
                          <a:pt x="138" y="234"/>
                        </a:lnTo>
                        <a:lnTo>
                          <a:pt x="132" y="222"/>
                        </a:lnTo>
                        <a:lnTo>
                          <a:pt x="132" y="210"/>
                        </a:lnTo>
                        <a:lnTo>
                          <a:pt x="138" y="204"/>
                        </a:lnTo>
                        <a:lnTo>
                          <a:pt x="144" y="192"/>
                        </a:lnTo>
                        <a:lnTo>
                          <a:pt x="150" y="186"/>
                        </a:lnTo>
                        <a:lnTo>
                          <a:pt x="132" y="168"/>
                        </a:lnTo>
                        <a:lnTo>
                          <a:pt x="144" y="156"/>
                        </a:lnTo>
                        <a:lnTo>
                          <a:pt x="150" y="144"/>
                        </a:lnTo>
                        <a:lnTo>
                          <a:pt x="150" y="138"/>
                        </a:lnTo>
                        <a:lnTo>
                          <a:pt x="144" y="126"/>
                        </a:lnTo>
                        <a:lnTo>
                          <a:pt x="120" y="114"/>
                        </a:lnTo>
                        <a:lnTo>
                          <a:pt x="114" y="114"/>
                        </a:lnTo>
                        <a:lnTo>
                          <a:pt x="102" y="108"/>
                        </a:lnTo>
                        <a:lnTo>
                          <a:pt x="90" y="30"/>
                        </a:lnTo>
                        <a:lnTo>
                          <a:pt x="66" y="30"/>
                        </a:lnTo>
                        <a:lnTo>
                          <a:pt x="48" y="0"/>
                        </a:lnTo>
                        <a:lnTo>
                          <a:pt x="36" y="6"/>
                        </a:lnTo>
                        <a:lnTo>
                          <a:pt x="42" y="18"/>
                        </a:lnTo>
                        <a:lnTo>
                          <a:pt x="42" y="36"/>
                        </a:lnTo>
                        <a:lnTo>
                          <a:pt x="36" y="42"/>
                        </a:lnTo>
                        <a:lnTo>
                          <a:pt x="0" y="66"/>
                        </a:lnTo>
                        <a:lnTo>
                          <a:pt x="0" y="108"/>
                        </a:lnTo>
                        <a:lnTo>
                          <a:pt x="24" y="156"/>
                        </a:lnTo>
                        <a:lnTo>
                          <a:pt x="30" y="174"/>
                        </a:lnTo>
                        <a:lnTo>
                          <a:pt x="36" y="228"/>
                        </a:lnTo>
                        <a:lnTo>
                          <a:pt x="36" y="282"/>
                        </a:lnTo>
                        <a:lnTo>
                          <a:pt x="48" y="318"/>
                        </a:lnTo>
                        <a:lnTo>
                          <a:pt x="48" y="360"/>
                        </a:lnTo>
                        <a:lnTo>
                          <a:pt x="54" y="384"/>
                        </a:lnTo>
                        <a:lnTo>
                          <a:pt x="54" y="432"/>
                        </a:lnTo>
                        <a:lnTo>
                          <a:pt x="30" y="444"/>
                        </a:lnTo>
                        <a:lnTo>
                          <a:pt x="36" y="474"/>
                        </a:lnTo>
                        <a:lnTo>
                          <a:pt x="54" y="486"/>
                        </a:lnTo>
                        <a:lnTo>
                          <a:pt x="48" y="582"/>
                        </a:lnTo>
                        <a:lnTo>
                          <a:pt x="72" y="624"/>
                        </a:lnTo>
                        <a:lnTo>
                          <a:pt x="54" y="642"/>
                        </a:lnTo>
                        <a:lnTo>
                          <a:pt x="60" y="702"/>
                        </a:lnTo>
                        <a:lnTo>
                          <a:pt x="66" y="708"/>
                        </a:lnTo>
                        <a:lnTo>
                          <a:pt x="78" y="732"/>
                        </a:lnTo>
                        <a:lnTo>
                          <a:pt x="78" y="744"/>
                        </a:lnTo>
                        <a:lnTo>
                          <a:pt x="72" y="756"/>
                        </a:lnTo>
                        <a:lnTo>
                          <a:pt x="66" y="762"/>
                        </a:lnTo>
                        <a:lnTo>
                          <a:pt x="60" y="762"/>
                        </a:lnTo>
                        <a:lnTo>
                          <a:pt x="60" y="792"/>
                        </a:lnTo>
                        <a:lnTo>
                          <a:pt x="72" y="810"/>
                        </a:lnTo>
                        <a:lnTo>
                          <a:pt x="60" y="822"/>
                        </a:lnTo>
                        <a:lnTo>
                          <a:pt x="48" y="846"/>
                        </a:lnTo>
                        <a:lnTo>
                          <a:pt x="48" y="852"/>
                        </a:lnTo>
                        <a:lnTo>
                          <a:pt x="60" y="852"/>
                        </a:lnTo>
                        <a:lnTo>
                          <a:pt x="60" y="864"/>
                        </a:lnTo>
                        <a:lnTo>
                          <a:pt x="66" y="870"/>
                        </a:lnTo>
                        <a:lnTo>
                          <a:pt x="66" y="888"/>
                        </a:lnTo>
                        <a:lnTo>
                          <a:pt x="54" y="900"/>
                        </a:lnTo>
                        <a:lnTo>
                          <a:pt x="54" y="906"/>
                        </a:lnTo>
                        <a:lnTo>
                          <a:pt x="48" y="912"/>
                        </a:lnTo>
                        <a:lnTo>
                          <a:pt x="48" y="936"/>
                        </a:lnTo>
                        <a:lnTo>
                          <a:pt x="54" y="948"/>
                        </a:lnTo>
                        <a:lnTo>
                          <a:pt x="60" y="954"/>
                        </a:lnTo>
                        <a:lnTo>
                          <a:pt x="66" y="954"/>
                        </a:lnTo>
                        <a:lnTo>
                          <a:pt x="78" y="966"/>
                        </a:lnTo>
                        <a:lnTo>
                          <a:pt x="78" y="1020"/>
                        </a:lnTo>
                        <a:lnTo>
                          <a:pt x="60" y="1020"/>
                        </a:lnTo>
                        <a:lnTo>
                          <a:pt x="60" y="1044"/>
                        </a:lnTo>
                        <a:lnTo>
                          <a:pt x="66" y="1056"/>
                        </a:lnTo>
                        <a:lnTo>
                          <a:pt x="90" y="1128"/>
                        </a:lnTo>
                        <a:lnTo>
                          <a:pt x="96" y="1140"/>
                        </a:lnTo>
                        <a:lnTo>
                          <a:pt x="102" y="1146"/>
                        </a:lnTo>
                        <a:lnTo>
                          <a:pt x="102" y="1164"/>
                        </a:lnTo>
                        <a:lnTo>
                          <a:pt x="108" y="1170"/>
                        </a:lnTo>
                        <a:lnTo>
                          <a:pt x="114" y="1182"/>
                        </a:lnTo>
                        <a:lnTo>
                          <a:pt x="120" y="1188"/>
                        </a:lnTo>
                        <a:lnTo>
                          <a:pt x="120" y="1236"/>
                        </a:lnTo>
                        <a:lnTo>
                          <a:pt x="114" y="1266"/>
                        </a:lnTo>
                        <a:lnTo>
                          <a:pt x="138" y="1290"/>
                        </a:lnTo>
                        <a:lnTo>
                          <a:pt x="138" y="1296"/>
                        </a:lnTo>
                        <a:lnTo>
                          <a:pt x="132" y="1302"/>
                        </a:lnTo>
                        <a:lnTo>
                          <a:pt x="126" y="1314"/>
                        </a:lnTo>
                        <a:lnTo>
                          <a:pt x="126" y="1326"/>
                        </a:lnTo>
                        <a:lnTo>
                          <a:pt x="120" y="1338"/>
                        </a:lnTo>
                        <a:lnTo>
                          <a:pt x="120" y="1416"/>
                        </a:lnTo>
                        <a:lnTo>
                          <a:pt x="102" y="1452"/>
                        </a:lnTo>
                        <a:lnTo>
                          <a:pt x="114" y="1464"/>
                        </a:lnTo>
                        <a:lnTo>
                          <a:pt x="114" y="1470"/>
                        </a:lnTo>
                        <a:lnTo>
                          <a:pt x="108" y="1476"/>
                        </a:lnTo>
                        <a:lnTo>
                          <a:pt x="108" y="1536"/>
                        </a:lnTo>
                        <a:lnTo>
                          <a:pt x="102" y="1554"/>
                        </a:lnTo>
                        <a:lnTo>
                          <a:pt x="102" y="1578"/>
                        </a:lnTo>
                        <a:lnTo>
                          <a:pt x="84" y="1584"/>
                        </a:lnTo>
                        <a:lnTo>
                          <a:pt x="84" y="1608"/>
                        </a:lnTo>
                        <a:lnTo>
                          <a:pt x="108" y="1650"/>
                        </a:lnTo>
                        <a:lnTo>
                          <a:pt x="108" y="1692"/>
                        </a:lnTo>
                        <a:lnTo>
                          <a:pt x="114" y="1704"/>
                        </a:lnTo>
                        <a:lnTo>
                          <a:pt x="144" y="1734"/>
                        </a:lnTo>
                        <a:lnTo>
                          <a:pt x="156" y="1758"/>
                        </a:lnTo>
                        <a:lnTo>
                          <a:pt x="156" y="1800"/>
                        </a:lnTo>
                        <a:lnTo>
                          <a:pt x="150" y="1812"/>
                        </a:lnTo>
                        <a:lnTo>
                          <a:pt x="150" y="1824"/>
                        </a:lnTo>
                        <a:lnTo>
                          <a:pt x="162" y="1836"/>
                        </a:lnTo>
                        <a:lnTo>
                          <a:pt x="162" y="1896"/>
                        </a:lnTo>
                        <a:lnTo>
                          <a:pt x="168" y="1908"/>
                        </a:lnTo>
                        <a:lnTo>
                          <a:pt x="174" y="1914"/>
                        </a:lnTo>
                        <a:lnTo>
                          <a:pt x="186" y="1920"/>
                        </a:lnTo>
                        <a:lnTo>
                          <a:pt x="192" y="1926"/>
                        </a:lnTo>
                        <a:lnTo>
                          <a:pt x="198" y="1926"/>
                        </a:lnTo>
                        <a:lnTo>
                          <a:pt x="192" y="1944"/>
                        </a:lnTo>
                        <a:lnTo>
                          <a:pt x="234" y="1944"/>
                        </a:lnTo>
                        <a:lnTo>
                          <a:pt x="234" y="1914"/>
                        </a:lnTo>
                        <a:lnTo>
                          <a:pt x="246" y="1926"/>
                        </a:lnTo>
                        <a:lnTo>
                          <a:pt x="258" y="1932"/>
                        </a:lnTo>
                        <a:lnTo>
                          <a:pt x="270" y="1932"/>
                        </a:lnTo>
                        <a:lnTo>
                          <a:pt x="276" y="1926"/>
                        </a:lnTo>
                        <a:lnTo>
                          <a:pt x="276" y="1914"/>
                        </a:lnTo>
                        <a:lnTo>
                          <a:pt x="288" y="1932"/>
                        </a:lnTo>
                        <a:lnTo>
                          <a:pt x="282" y="1938"/>
                        </a:lnTo>
                        <a:lnTo>
                          <a:pt x="270" y="1944"/>
                        </a:lnTo>
                        <a:lnTo>
                          <a:pt x="264" y="1956"/>
                        </a:lnTo>
                        <a:lnTo>
                          <a:pt x="258" y="1962"/>
                        </a:lnTo>
                        <a:lnTo>
                          <a:pt x="258" y="1968"/>
                        </a:lnTo>
                        <a:lnTo>
                          <a:pt x="288" y="1968"/>
                        </a:lnTo>
                        <a:lnTo>
                          <a:pt x="294" y="1974"/>
                        </a:lnTo>
                        <a:lnTo>
                          <a:pt x="294" y="1992"/>
                        </a:lnTo>
                        <a:lnTo>
                          <a:pt x="270" y="1986"/>
                        </a:lnTo>
                        <a:lnTo>
                          <a:pt x="288" y="2010"/>
                        </a:lnTo>
                        <a:lnTo>
                          <a:pt x="276" y="2022"/>
                        </a:lnTo>
                        <a:lnTo>
                          <a:pt x="294" y="2046"/>
                        </a:lnTo>
                        <a:lnTo>
                          <a:pt x="276" y="2064"/>
                        </a:lnTo>
                        <a:lnTo>
                          <a:pt x="270" y="2076"/>
                        </a:lnTo>
                        <a:lnTo>
                          <a:pt x="270" y="2082"/>
                        </a:lnTo>
                        <a:lnTo>
                          <a:pt x="276" y="2088"/>
                        </a:lnTo>
                        <a:lnTo>
                          <a:pt x="282" y="2088"/>
                        </a:lnTo>
                        <a:lnTo>
                          <a:pt x="306" y="2100"/>
                        </a:lnTo>
                        <a:lnTo>
                          <a:pt x="318" y="2100"/>
                        </a:lnTo>
                        <a:lnTo>
                          <a:pt x="300" y="2118"/>
                        </a:lnTo>
                        <a:lnTo>
                          <a:pt x="300" y="2130"/>
                        </a:lnTo>
                        <a:lnTo>
                          <a:pt x="312" y="2136"/>
                        </a:lnTo>
                        <a:lnTo>
                          <a:pt x="318" y="2142"/>
                        </a:lnTo>
                        <a:lnTo>
                          <a:pt x="330" y="2148"/>
                        </a:lnTo>
                        <a:lnTo>
                          <a:pt x="354" y="2148"/>
                        </a:lnTo>
                        <a:lnTo>
                          <a:pt x="360" y="2184"/>
                        </a:lnTo>
                        <a:lnTo>
                          <a:pt x="354" y="2184"/>
                        </a:lnTo>
                        <a:lnTo>
                          <a:pt x="324" y="2214"/>
                        </a:lnTo>
                        <a:lnTo>
                          <a:pt x="324" y="2220"/>
                        </a:lnTo>
                        <a:lnTo>
                          <a:pt x="330" y="2226"/>
                        </a:lnTo>
                        <a:lnTo>
                          <a:pt x="354" y="2226"/>
                        </a:lnTo>
                        <a:lnTo>
                          <a:pt x="366" y="2232"/>
                        </a:lnTo>
                        <a:lnTo>
                          <a:pt x="378" y="2244"/>
                        </a:lnTo>
                        <a:lnTo>
                          <a:pt x="348" y="2244"/>
                        </a:lnTo>
                        <a:lnTo>
                          <a:pt x="342" y="2238"/>
                        </a:lnTo>
                        <a:lnTo>
                          <a:pt x="330" y="2238"/>
                        </a:lnTo>
                        <a:lnTo>
                          <a:pt x="324" y="2244"/>
                        </a:lnTo>
                        <a:lnTo>
                          <a:pt x="324" y="2250"/>
                        </a:lnTo>
                        <a:lnTo>
                          <a:pt x="354" y="2256"/>
                        </a:lnTo>
                        <a:lnTo>
                          <a:pt x="330" y="2268"/>
                        </a:lnTo>
                        <a:lnTo>
                          <a:pt x="336" y="2292"/>
                        </a:lnTo>
                        <a:lnTo>
                          <a:pt x="348" y="2292"/>
                        </a:lnTo>
                        <a:lnTo>
                          <a:pt x="348" y="2316"/>
                        </a:lnTo>
                        <a:lnTo>
                          <a:pt x="336" y="2328"/>
                        </a:lnTo>
                        <a:lnTo>
                          <a:pt x="336" y="2322"/>
                        </a:lnTo>
                        <a:lnTo>
                          <a:pt x="330" y="2316"/>
                        </a:lnTo>
                        <a:lnTo>
                          <a:pt x="324" y="2304"/>
                        </a:lnTo>
                        <a:lnTo>
                          <a:pt x="324" y="2298"/>
                        </a:lnTo>
                        <a:lnTo>
                          <a:pt x="288" y="2298"/>
                        </a:lnTo>
                        <a:lnTo>
                          <a:pt x="306" y="2292"/>
                        </a:lnTo>
                        <a:lnTo>
                          <a:pt x="282" y="2268"/>
                        </a:lnTo>
                        <a:lnTo>
                          <a:pt x="276" y="2268"/>
                        </a:lnTo>
                        <a:lnTo>
                          <a:pt x="276" y="2280"/>
                        </a:lnTo>
                        <a:lnTo>
                          <a:pt x="270" y="2268"/>
                        </a:lnTo>
                        <a:lnTo>
                          <a:pt x="228" y="2280"/>
                        </a:lnTo>
                        <a:lnTo>
                          <a:pt x="264" y="2286"/>
                        </a:lnTo>
                        <a:lnTo>
                          <a:pt x="258" y="2292"/>
                        </a:lnTo>
                        <a:lnTo>
                          <a:pt x="252" y="2304"/>
                        </a:lnTo>
                        <a:lnTo>
                          <a:pt x="246" y="2310"/>
                        </a:lnTo>
                        <a:lnTo>
                          <a:pt x="234" y="2316"/>
                        </a:lnTo>
                        <a:lnTo>
                          <a:pt x="228" y="2328"/>
                        </a:lnTo>
                        <a:lnTo>
                          <a:pt x="222" y="2334"/>
                        </a:lnTo>
                        <a:lnTo>
                          <a:pt x="222" y="2340"/>
                        </a:lnTo>
                        <a:lnTo>
                          <a:pt x="228" y="2346"/>
                        </a:lnTo>
                        <a:lnTo>
                          <a:pt x="240" y="2352"/>
                        </a:lnTo>
                        <a:lnTo>
                          <a:pt x="252" y="2352"/>
                        </a:lnTo>
                        <a:lnTo>
                          <a:pt x="252" y="2346"/>
                        </a:lnTo>
                        <a:lnTo>
                          <a:pt x="240" y="2334"/>
                        </a:lnTo>
                        <a:lnTo>
                          <a:pt x="264" y="2328"/>
                        </a:lnTo>
                        <a:lnTo>
                          <a:pt x="282" y="2346"/>
                        </a:lnTo>
                        <a:lnTo>
                          <a:pt x="324" y="2346"/>
                        </a:lnTo>
                        <a:lnTo>
                          <a:pt x="336" y="2352"/>
                        </a:lnTo>
                        <a:lnTo>
                          <a:pt x="342" y="2364"/>
                        </a:lnTo>
                        <a:lnTo>
                          <a:pt x="354" y="2370"/>
                        </a:lnTo>
                        <a:lnTo>
                          <a:pt x="354" y="2376"/>
                        </a:lnTo>
                        <a:lnTo>
                          <a:pt x="336" y="2394"/>
                        </a:lnTo>
                        <a:lnTo>
                          <a:pt x="342" y="2406"/>
                        </a:lnTo>
                        <a:lnTo>
                          <a:pt x="360" y="2406"/>
                        </a:lnTo>
                        <a:lnTo>
                          <a:pt x="360" y="2418"/>
                        </a:lnTo>
                        <a:lnTo>
                          <a:pt x="378" y="2424"/>
                        </a:lnTo>
                        <a:lnTo>
                          <a:pt x="384" y="2406"/>
                        </a:lnTo>
                        <a:lnTo>
                          <a:pt x="402" y="2424"/>
                        </a:lnTo>
                        <a:lnTo>
                          <a:pt x="408" y="2424"/>
                        </a:lnTo>
                        <a:lnTo>
                          <a:pt x="420" y="2430"/>
                        </a:lnTo>
                        <a:lnTo>
                          <a:pt x="426" y="2436"/>
                        </a:lnTo>
                        <a:lnTo>
                          <a:pt x="426" y="2448"/>
                        </a:lnTo>
                        <a:lnTo>
                          <a:pt x="414" y="2460"/>
                        </a:lnTo>
                        <a:lnTo>
                          <a:pt x="408" y="2454"/>
                        </a:lnTo>
                        <a:lnTo>
                          <a:pt x="396" y="2454"/>
                        </a:lnTo>
                        <a:lnTo>
                          <a:pt x="384" y="2448"/>
                        </a:lnTo>
                        <a:lnTo>
                          <a:pt x="378" y="2442"/>
                        </a:lnTo>
                        <a:lnTo>
                          <a:pt x="366" y="2442"/>
                        </a:lnTo>
                        <a:lnTo>
                          <a:pt x="366" y="2454"/>
                        </a:lnTo>
                        <a:lnTo>
                          <a:pt x="372" y="2460"/>
                        </a:lnTo>
                        <a:lnTo>
                          <a:pt x="378" y="2460"/>
                        </a:lnTo>
                        <a:lnTo>
                          <a:pt x="390" y="2472"/>
                        </a:lnTo>
                        <a:lnTo>
                          <a:pt x="402" y="2496"/>
                        </a:lnTo>
                        <a:lnTo>
                          <a:pt x="402" y="2508"/>
                        </a:lnTo>
                        <a:lnTo>
                          <a:pt x="384" y="2508"/>
                        </a:lnTo>
                        <a:lnTo>
                          <a:pt x="396" y="2526"/>
                        </a:lnTo>
                        <a:lnTo>
                          <a:pt x="414" y="2562"/>
                        </a:lnTo>
                        <a:lnTo>
                          <a:pt x="426" y="2520"/>
                        </a:lnTo>
                        <a:lnTo>
                          <a:pt x="426" y="2550"/>
                        </a:lnTo>
                        <a:lnTo>
                          <a:pt x="444" y="2574"/>
                        </a:lnTo>
                        <a:lnTo>
                          <a:pt x="420" y="2574"/>
                        </a:lnTo>
                        <a:lnTo>
                          <a:pt x="426" y="2592"/>
                        </a:lnTo>
                        <a:lnTo>
                          <a:pt x="450" y="2592"/>
                        </a:lnTo>
                        <a:lnTo>
                          <a:pt x="432" y="2604"/>
                        </a:lnTo>
                        <a:lnTo>
                          <a:pt x="462" y="2616"/>
                        </a:lnTo>
                        <a:lnTo>
                          <a:pt x="444" y="2628"/>
                        </a:lnTo>
                        <a:lnTo>
                          <a:pt x="474" y="2640"/>
                        </a:lnTo>
                        <a:lnTo>
                          <a:pt x="462" y="2652"/>
                        </a:lnTo>
                        <a:lnTo>
                          <a:pt x="480" y="2658"/>
                        </a:lnTo>
                        <a:lnTo>
                          <a:pt x="480" y="2652"/>
                        </a:lnTo>
                        <a:lnTo>
                          <a:pt x="486" y="2640"/>
                        </a:lnTo>
                        <a:lnTo>
                          <a:pt x="486" y="2634"/>
                        </a:lnTo>
                        <a:lnTo>
                          <a:pt x="492" y="2634"/>
                        </a:lnTo>
                        <a:lnTo>
                          <a:pt x="498" y="2640"/>
                        </a:lnTo>
                        <a:lnTo>
                          <a:pt x="504" y="2652"/>
                        </a:lnTo>
                        <a:lnTo>
                          <a:pt x="498" y="2658"/>
                        </a:lnTo>
                        <a:lnTo>
                          <a:pt x="498" y="2664"/>
                        </a:lnTo>
                        <a:lnTo>
                          <a:pt x="492" y="2664"/>
                        </a:lnTo>
                        <a:lnTo>
                          <a:pt x="480" y="2676"/>
                        </a:lnTo>
                        <a:lnTo>
                          <a:pt x="480" y="2682"/>
                        </a:lnTo>
                        <a:lnTo>
                          <a:pt x="486" y="2688"/>
                        </a:lnTo>
                        <a:lnTo>
                          <a:pt x="516" y="2688"/>
                        </a:lnTo>
                        <a:lnTo>
                          <a:pt x="516" y="2700"/>
                        </a:lnTo>
                        <a:lnTo>
                          <a:pt x="540" y="2724"/>
                        </a:lnTo>
                        <a:lnTo>
                          <a:pt x="552" y="2730"/>
                        </a:lnTo>
                        <a:lnTo>
                          <a:pt x="558" y="2736"/>
                        </a:lnTo>
                        <a:lnTo>
                          <a:pt x="558" y="2700"/>
                        </a:lnTo>
                        <a:lnTo>
                          <a:pt x="564" y="2700"/>
                        </a:lnTo>
                        <a:lnTo>
                          <a:pt x="570" y="2706"/>
                        </a:lnTo>
                        <a:lnTo>
                          <a:pt x="582" y="2712"/>
                        </a:lnTo>
                        <a:lnTo>
                          <a:pt x="600" y="2718"/>
                        </a:lnTo>
                        <a:lnTo>
                          <a:pt x="624" y="2742"/>
                        </a:lnTo>
                        <a:lnTo>
                          <a:pt x="618" y="2748"/>
                        </a:lnTo>
                        <a:lnTo>
                          <a:pt x="618" y="2754"/>
                        </a:lnTo>
                        <a:lnTo>
                          <a:pt x="612" y="2760"/>
                        </a:lnTo>
                        <a:lnTo>
                          <a:pt x="630" y="2766"/>
                        </a:lnTo>
                        <a:lnTo>
                          <a:pt x="630" y="2790"/>
                        </a:lnTo>
                        <a:lnTo>
                          <a:pt x="684" y="2790"/>
                        </a:lnTo>
                        <a:lnTo>
                          <a:pt x="696" y="2802"/>
                        </a:lnTo>
                        <a:lnTo>
                          <a:pt x="666" y="2802"/>
                        </a:lnTo>
                        <a:lnTo>
                          <a:pt x="654" y="2814"/>
                        </a:lnTo>
                        <a:lnTo>
                          <a:pt x="630" y="2814"/>
                        </a:lnTo>
                        <a:lnTo>
                          <a:pt x="618" y="2832"/>
                        </a:lnTo>
                        <a:lnTo>
                          <a:pt x="648" y="2832"/>
                        </a:lnTo>
                        <a:lnTo>
                          <a:pt x="636" y="2850"/>
                        </a:lnTo>
                        <a:lnTo>
                          <a:pt x="666" y="2844"/>
                        </a:lnTo>
                        <a:lnTo>
                          <a:pt x="666" y="2826"/>
                        </a:lnTo>
                        <a:lnTo>
                          <a:pt x="690" y="2838"/>
                        </a:lnTo>
                        <a:lnTo>
                          <a:pt x="696" y="2826"/>
                        </a:lnTo>
                        <a:lnTo>
                          <a:pt x="702" y="2820"/>
                        </a:lnTo>
                        <a:lnTo>
                          <a:pt x="714" y="2814"/>
                        </a:lnTo>
                        <a:lnTo>
                          <a:pt x="720" y="2808"/>
                        </a:lnTo>
                        <a:lnTo>
                          <a:pt x="732" y="2808"/>
                        </a:lnTo>
                        <a:lnTo>
                          <a:pt x="732" y="2820"/>
                        </a:lnTo>
                        <a:lnTo>
                          <a:pt x="726" y="2832"/>
                        </a:lnTo>
                        <a:lnTo>
                          <a:pt x="702" y="2856"/>
                        </a:lnTo>
                        <a:lnTo>
                          <a:pt x="696" y="2850"/>
                        </a:lnTo>
                        <a:lnTo>
                          <a:pt x="678" y="2850"/>
                        </a:lnTo>
                        <a:lnTo>
                          <a:pt x="678" y="2868"/>
                        </a:lnTo>
                        <a:lnTo>
                          <a:pt x="642" y="2868"/>
                        </a:lnTo>
                        <a:lnTo>
                          <a:pt x="630" y="2880"/>
                        </a:lnTo>
                        <a:lnTo>
                          <a:pt x="642" y="2886"/>
                        </a:lnTo>
                        <a:lnTo>
                          <a:pt x="648" y="2916"/>
                        </a:lnTo>
                        <a:lnTo>
                          <a:pt x="678" y="2898"/>
                        </a:lnTo>
                        <a:lnTo>
                          <a:pt x="684" y="2910"/>
                        </a:lnTo>
                        <a:lnTo>
                          <a:pt x="684" y="2916"/>
                        </a:lnTo>
                        <a:lnTo>
                          <a:pt x="690" y="2916"/>
                        </a:lnTo>
                        <a:lnTo>
                          <a:pt x="696" y="2910"/>
                        </a:lnTo>
                        <a:lnTo>
                          <a:pt x="702" y="2898"/>
                        </a:lnTo>
                        <a:lnTo>
                          <a:pt x="702" y="2892"/>
                        </a:lnTo>
                        <a:lnTo>
                          <a:pt x="708" y="2880"/>
                        </a:lnTo>
                        <a:lnTo>
                          <a:pt x="714" y="287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62" name="China"/>
                  <p:cNvSpPr>
                    <a:spLocks noEditPoints="1"/>
                  </p:cNvSpPr>
                  <p:nvPr/>
                </p:nvSpPr>
                <p:spPr bwMode="gray">
                  <a:xfrm>
                    <a:off x="3907" y="1211"/>
                    <a:ext cx="936" cy="723"/>
                  </a:xfrm>
                  <a:custGeom>
                    <a:avLst/>
                    <a:gdLst>
                      <a:gd name="T0" fmla="*/ 2147483647 w 3660"/>
                      <a:gd name="T1" fmla="*/ 2147483647 h 2826"/>
                      <a:gd name="T2" fmla="*/ 2147483647 w 3660"/>
                      <a:gd name="T3" fmla="*/ 2147483647 h 2826"/>
                      <a:gd name="T4" fmla="*/ 2147483647 w 3660"/>
                      <a:gd name="T5" fmla="*/ 2147483647 h 2826"/>
                      <a:gd name="T6" fmla="*/ 2147483647 w 3660"/>
                      <a:gd name="T7" fmla="*/ 2147483647 h 2826"/>
                      <a:gd name="T8" fmla="*/ 2147483647 w 3660"/>
                      <a:gd name="T9" fmla="*/ 2147483647 h 2826"/>
                      <a:gd name="T10" fmla="*/ 2147483647 w 3660"/>
                      <a:gd name="T11" fmla="*/ 2147483647 h 2826"/>
                      <a:gd name="T12" fmla="*/ 2147483647 w 3660"/>
                      <a:gd name="T13" fmla="*/ 2147483647 h 2826"/>
                      <a:gd name="T14" fmla="*/ 2147483647 w 3660"/>
                      <a:gd name="T15" fmla="*/ 2147483647 h 2826"/>
                      <a:gd name="T16" fmla="*/ 2147483647 w 3660"/>
                      <a:gd name="T17" fmla="*/ 2147483647 h 2826"/>
                      <a:gd name="T18" fmla="*/ 2147483647 w 3660"/>
                      <a:gd name="T19" fmla="*/ 2147483647 h 2826"/>
                      <a:gd name="T20" fmla="*/ 2147483647 w 3660"/>
                      <a:gd name="T21" fmla="*/ 2147483647 h 2826"/>
                      <a:gd name="T22" fmla="*/ 2147483647 w 3660"/>
                      <a:gd name="T23" fmla="*/ 2147483647 h 2826"/>
                      <a:gd name="T24" fmla="*/ 2147483647 w 3660"/>
                      <a:gd name="T25" fmla="*/ 2147483647 h 2826"/>
                      <a:gd name="T26" fmla="*/ 2147483647 w 3660"/>
                      <a:gd name="T27" fmla="*/ 2147483647 h 2826"/>
                      <a:gd name="T28" fmla="*/ 2147483647 w 3660"/>
                      <a:gd name="T29" fmla="*/ 2147483647 h 2826"/>
                      <a:gd name="T30" fmla="*/ 2147483647 w 3660"/>
                      <a:gd name="T31" fmla="*/ 2147483647 h 2826"/>
                      <a:gd name="T32" fmla="*/ 2147483647 w 3660"/>
                      <a:gd name="T33" fmla="*/ 2147483647 h 2826"/>
                      <a:gd name="T34" fmla="*/ 2147483647 w 3660"/>
                      <a:gd name="T35" fmla="*/ 2147483647 h 2826"/>
                      <a:gd name="T36" fmla="*/ 2147483647 w 3660"/>
                      <a:gd name="T37" fmla="*/ 2147483647 h 2826"/>
                      <a:gd name="T38" fmla="*/ 2147483647 w 3660"/>
                      <a:gd name="T39" fmla="*/ 2147483647 h 2826"/>
                      <a:gd name="T40" fmla="*/ 2147483647 w 3660"/>
                      <a:gd name="T41" fmla="*/ 2147483647 h 2826"/>
                      <a:gd name="T42" fmla="*/ 2147483647 w 3660"/>
                      <a:gd name="T43" fmla="*/ 2147483647 h 2826"/>
                      <a:gd name="T44" fmla="*/ 2147483647 w 3660"/>
                      <a:gd name="T45" fmla="*/ 2147483647 h 2826"/>
                      <a:gd name="T46" fmla="*/ 0 w 3660"/>
                      <a:gd name="T47" fmla="*/ 2147483647 h 2826"/>
                      <a:gd name="T48" fmla="*/ 2147483647 w 3660"/>
                      <a:gd name="T49" fmla="*/ 2147483647 h 2826"/>
                      <a:gd name="T50" fmla="*/ 2147483647 w 3660"/>
                      <a:gd name="T51" fmla="*/ 2147483647 h 2826"/>
                      <a:gd name="T52" fmla="*/ 2147483647 w 3660"/>
                      <a:gd name="T53" fmla="*/ 2147483647 h 2826"/>
                      <a:gd name="T54" fmla="*/ 2147483647 w 3660"/>
                      <a:gd name="T55" fmla="*/ 2147483647 h 2826"/>
                      <a:gd name="T56" fmla="*/ 2147483647 w 3660"/>
                      <a:gd name="T57" fmla="*/ 2147483647 h 2826"/>
                      <a:gd name="T58" fmla="*/ 2147483647 w 3660"/>
                      <a:gd name="T59" fmla="*/ 2147483647 h 2826"/>
                      <a:gd name="T60" fmla="*/ 2147483647 w 3660"/>
                      <a:gd name="T61" fmla="*/ 2147483647 h 2826"/>
                      <a:gd name="T62" fmla="*/ 2147483647 w 3660"/>
                      <a:gd name="T63" fmla="*/ 2147483647 h 2826"/>
                      <a:gd name="T64" fmla="*/ 2147483647 w 3660"/>
                      <a:gd name="T65" fmla="*/ 2147483647 h 2826"/>
                      <a:gd name="T66" fmla="*/ 2147483647 w 3660"/>
                      <a:gd name="T67" fmla="*/ 2147483647 h 2826"/>
                      <a:gd name="T68" fmla="*/ 2147483647 w 3660"/>
                      <a:gd name="T69" fmla="*/ 2147483647 h 2826"/>
                      <a:gd name="T70" fmla="*/ 2147483647 w 3660"/>
                      <a:gd name="T71" fmla="*/ 2147483647 h 2826"/>
                      <a:gd name="T72" fmla="*/ 2147483647 w 3660"/>
                      <a:gd name="T73" fmla="*/ 2147483647 h 2826"/>
                      <a:gd name="T74" fmla="*/ 2147483647 w 3660"/>
                      <a:gd name="T75" fmla="*/ 2147483647 h 2826"/>
                      <a:gd name="T76" fmla="*/ 2147483647 w 3660"/>
                      <a:gd name="T77" fmla="*/ 2147483647 h 2826"/>
                      <a:gd name="T78" fmla="*/ 2147483647 w 3660"/>
                      <a:gd name="T79" fmla="*/ 2147483647 h 2826"/>
                      <a:gd name="T80" fmla="*/ 2147483647 w 3660"/>
                      <a:gd name="T81" fmla="*/ 2147483647 h 2826"/>
                      <a:gd name="T82" fmla="*/ 2147483647 w 3660"/>
                      <a:gd name="T83" fmla="*/ 2147483647 h 2826"/>
                      <a:gd name="T84" fmla="*/ 2147483647 w 3660"/>
                      <a:gd name="T85" fmla="*/ 2147483647 h 2826"/>
                      <a:gd name="T86" fmla="*/ 2147483647 w 3660"/>
                      <a:gd name="T87" fmla="*/ 2147483647 h 2826"/>
                      <a:gd name="T88" fmla="*/ 2147483647 w 3660"/>
                      <a:gd name="T89" fmla="*/ 2147483647 h 2826"/>
                      <a:gd name="T90" fmla="*/ 2147483647 w 3660"/>
                      <a:gd name="T91" fmla="*/ 2147483647 h 2826"/>
                      <a:gd name="T92" fmla="*/ 2147483647 w 3660"/>
                      <a:gd name="T93" fmla="*/ 2147483647 h 2826"/>
                      <a:gd name="T94" fmla="*/ 2147483647 w 3660"/>
                      <a:gd name="T95" fmla="*/ 2147483647 h 2826"/>
                      <a:gd name="T96" fmla="*/ 2147483647 w 3660"/>
                      <a:gd name="T97" fmla="*/ 2147483647 h 2826"/>
                      <a:gd name="T98" fmla="*/ 2147483647 w 3660"/>
                      <a:gd name="T99" fmla="*/ 2147483647 h 2826"/>
                      <a:gd name="T100" fmla="*/ 2147483647 w 3660"/>
                      <a:gd name="T101" fmla="*/ 2147483647 h 2826"/>
                      <a:gd name="T102" fmla="*/ 2147483647 w 3660"/>
                      <a:gd name="T103" fmla="*/ 2147483647 h 2826"/>
                      <a:gd name="T104" fmla="*/ 2147483647 w 3660"/>
                      <a:gd name="T105" fmla="*/ 2147483647 h 2826"/>
                      <a:gd name="T106" fmla="*/ 2147483647 w 3660"/>
                      <a:gd name="T107" fmla="*/ 2147483647 h 2826"/>
                      <a:gd name="T108" fmla="*/ 2147483647 w 3660"/>
                      <a:gd name="T109" fmla="*/ 2147483647 h 2826"/>
                      <a:gd name="T110" fmla="*/ 2147483647 w 3660"/>
                      <a:gd name="T111" fmla="*/ 2147483647 h 2826"/>
                      <a:gd name="T112" fmla="*/ 2147483647 w 3660"/>
                      <a:gd name="T113" fmla="*/ 2147483647 h 2826"/>
                      <a:gd name="T114" fmla="*/ 2147483647 w 3660"/>
                      <a:gd name="T115" fmla="*/ 2147483647 h 2826"/>
                      <a:gd name="T116" fmla="*/ 2147483647 w 3660"/>
                      <a:gd name="T117" fmla="*/ 2147483647 h 2826"/>
                      <a:gd name="T118" fmla="*/ 2147483647 w 3660"/>
                      <a:gd name="T119" fmla="*/ 2147483647 h 2826"/>
                      <a:gd name="T120" fmla="*/ 2147483647 w 3660"/>
                      <a:gd name="T121" fmla="*/ 2147483647 h 2826"/>
                      <a:gd name="T122" fmla="*/ 2147483647 w 3660"/>
                      <a:gd name="T123" fmla="*/ 2147483647 h 28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3660"/>
                      <a:gd name="T187" fmla="*/ 0 h 2826"/>
                      <a:gd name="T188" fmla="*/ 3660 w 3660"/>
                      <a:gd name="T189" fmla="*/ 2826 h 282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3660" h="2826">
                        <a:moveTo>
                          <a:pt x="2862" y="2688"/>
                        </a:moveTo>
                        <a:lnTo>
                          <a:pt x="2850" y="2682"/>
                        </a:lnTo>
                        <a:lnTo>
                          <a:pt x="2772" y="2682"/>
                        </a:lnTo>
                        <a:lnTo>
                          <a:pt x="2766" y="2700"/>
                        </a:lnTo>
                        <a:lnTo>
                          <a:pt x="2748" y="2694"/>
                        </a:lnTo>
                        <a:lnTo>
                          <a:pt x="2736" y="2718"/>
                        </a:lnTo>
                        <a:lnTo>
                          <a:pt x="2730" y="2724"/>
                        </a:lnTo>
                        <a:lnTo>
                          <a:pt x="2712" y="2760"/>
                        </a:lnTo>
                        <a:lnTo>
                          <a:pt x="2718" y="2772"/>
                        </a:lnTo>
                        <a:lnTo>
                          <a:pt x="2724" y="2790"/>
                        </a:lnTo>
                        <a:lnTo>
                          <a:pt x="2754" y="2820"/>
                        </a:lnTo>
                        <a:lnTo>
                          <a:pt x="2766" y="2826"/>
                        </a:lnTo>
                        <a:lnTo>
                          <a:pt x="2772" y="2826"/>
                        </a:lnTo>
                        <a:lnTo>
                          <a:pt x="2802" y="2820"/>
                        </a:lnTo>
                        <a:lnTo>
                          <a:pt x="2820" y="2820"/>
                        </a:lnTo>
                        <a:lnTo>
                          <a:pt x="2844" y="2808"/>
                        </a:lnTo>
                        <a:lnTo>
                          <a:pt x="2850" y="2802"/>
                        </a:lnTo>
                        <a:lnTo>
                          <a:pt x="2850" y="2754"/>
                        </a:lnTo>
                        <a:lnTo>
                          <a:pt x="2856" y="2742"/>
                        </a:lnTo>
                        <a:lnTo>
                          <a:pt x="2862" y="2736"/>
                        </a:lnTo>
                        <a:lnTo>
                          <a:pt x="2868" y="2724"/>
                        </a:lnTo>
                        <a:lnTo>
                          <a:pt x="2868" y="2700"/>
                        </a:lnTo>
                        <a:lnTo>
                          <a:pt x="2862" y="2688"/>
                        </a:lnTo>
                        <a:close/>
                        <a:moveTo>
                          <a:pt x="3660" y="624"/>
                        </a:moveTo>
                        <a:lnTo>
                          <a:pt x="3654" y="600"/>
                        </a:lnTo>
                        <a:lnTo>
                          <a:pt x="3660" y="570"/>
                        </a:lnTo>
                        <a:lnTo>
                          <a:pt x="3642" y="564"/>
                        </a:lnTo>
                        <a:lnTo>
                          <a:pt x="3642" y="540"/>
                        </a:lnTo>
                        <a:lnTo>
                          <a:pt x="3630" y="528"/>
                        </a:lnTo>
                        <a:lnTo>
                          <a:pt x="3630" y="510"/>
                        </a:lnTo>
                        <a:lnTo>
                          <a:pt x="3618" y="492"/>
                        </a:lnTo>
                        <a:lnTo>
                          <a:pt x="3636" y="486"/>
                        </a:lnTo>
                        <a:lnTo>
                          <a:pt x="3636" y="456"/>
                        </a:lnTo>
                        <a:lnTo>
                          <a:pt x="3612" y="444"/>
                        </a:lnTo>
                        <a:lnTo>
                          <a:pt x="3612" y="426"/>
                        </a:lnTo>
                        <a:lnTo>
                          <a:pt x="3606" y="414"/>
                        </a:lnTo>
                        <a:lnTo>
                          <a:pt x="3594" y="408"/>
                        </a:lnTo>
                        <a:lnTo>
                          <a:pt x="3552" y="408"/>
                        </a:lnTo>
                        <a:lnTo>
                          <a:pt x="3546" y="432"/>
                        </a:lnTo>
                        <a:lnTo>
                          <a:pt x="3516" y="432"/>
                        </a:lnTo>
                        <a:lnTo>
                          <a:pt x="3504" y="438"/>
                        </a:lnTo>
                        <a:lnTo>
                          <a:pt x="3498" y="438"/>
                        </a:lnTo>
                        <a:lnTo>
                          <a:pt x="3492" y="444"/>
                        </a:lnTo>
                        <a:lnTo>
                          <a:pt x="3492" y="462"/>
                        </a:lnTo>
                        <a:lnTo>
                          <a:pt x="3462" y="456"/>
                        </a:lnTo>
                        <a:lnTo>
                          <a:pt x="3462" y="468"/>
                        </a:lnTo>
                        <a:lnTo>
                          <a:pt x="3444" y="468"/>
                        </a:lnTo>
                        <a:lnTo>
                          <a:pt x="3432" y="456"/>
                        </a:lnTo>
                        <a:lnTo>
                          <a:pt x="3408" y="462"/>
                        </a:lnTo>
                        <a:lnTo>
                          <a:pt x="3366" y="432"/>
                        </a:lnTo>
                        <a:lnTo>
                          <a:pt x="3366" y="420"/>
                        </a:lnTo>
                        <a:lnTo>
                          <a:pt x="3360" y="408"/>
                        </a:lnTo>
                        <a:lnTo>
                          <a:pt x="3360" y="402"/>
                        </a:lnTo>
                        <a:lnTo>
                          <a:pt x="3354" y="396"/>
                        </a:lnTo>
                        <a:lnTo>
                          <a:pt x="3336" y="396"/>
                        </a:lnTo>
                        <a:lnTo>
                          <a:pt x="3318" y="366"/>
                        </a:lnTo>
                        <a:lnTo>
                          <a:pt x="3276" y="366"/>
                        </a:lnTo>
                        <a:lnTo>
                          <a:pt x="3258" y="348"/>
                        </a:lnTo>
                        <a:lnTo>
                          <a:pt x="3246" y="342"/>
                        </a:lnTo>
                        <a:lnTo>
                          <a:pt x="3228" y="324"/>
                        </a:lnTo>
                        <a:lnTo>
                          <a:pt x="3216" y="324"/>
                        </a:lnTo>
                        <a:lnTo>
                          <a:pt x="3204" y="336"/>
                        </a:lnTo>
                        <a:lnTo>
                          <a:pt x="3192" y="330"/>
                        </a:lnTo>
                        <a:lnTo>
                          <a:pt x="3186" y="324"/>
                        </a:lnTo>
                        <a:lnTo>
                          <a:pt x="3174" y="318"/>
                        </a:lnTo>
                        <a:lnTo>
                          <a:pt x="3126" y="318"/>
                        </a:lnTo>
                        <a:lnTo>
                          <a:pt x="3114" y="312"/>
                        </a:lnTo>
                        <a:lnTo>
                          <a:pt x="3108" y="306"/>
                        </a:lnTo>
                        <a:lnTo>
                          <a:pt x="3084" y="294"/>
                        </a:lnTo>
                        <a:lnTo>
                          <a:pt x="3078" y="288"/>
                        </a:lnTo>
                        <a:lnTo>
                          <a:pt x="3072" y="288"/>
                        </a:lnTo>
                        <a:lnTo>
                          <a:pt x="3066" y="264"/>
                        </a:lnTo>
                        <a:lnTo>
                          <a:pt x="3054" y="264"/>
                        </a:lnTo>
                        <a:lnTo>
                          <a:pt x="3048" y="252"/>
                        </a:lnTo>
                        <a:lnTo>
                          <a:pt x="3030" y="234"/>
                        </a:lnTo>
                        <a:lnTo>
                          <a:pt x="3024" y="222"/>
                        </a:lnTo>
                        <a:lnTo>
                          <a:pt x="2976" y="198"/>
                        </a:lnTo>
                        <a:lnTo>
                          <a:pt x="2964" y="198"/>
                        </a:lnTo>
                        <a:lnTo>
                          <a:pt x="2952" y="168"/>
                        </a:lnTo>
                        <a:lnTo>
                          <a:pt x="2904" y="144"/>
                        </a:lnTo>
                        <a:lnTo>
                          <a:pt x="2898" y="114"/>
                        </a:lnTo>
                        <a:lnTo>
                          <a:pt x="2892" y="114"/>
                        </a:lnTo>
                        <a:lnTo>
                          <a:pt x="2886" y="108"/>
                        </a:lnTo>
                        <a:lnTo>
                          <a:pt x="2874" y="108"/>
                        </a:lnTo>
                        <a:lnTo>
                          <a:pt x="2862" y="96"/>
                        </a:lnTo>
                        <a:lnTo>
                          <a:pt x="2850" y="90"/>
                        </a:lnTo>
                        <a:lnTo>
                          <a:pt x="2838" y="78"/>
                        </a:lnTo>
                        <a:lnTo>
                          <a:pt x="2832" y="78"/>
                        </a:lnTo>
                        <a:lnTo>
                          <a:pt x="2832" y="66"/>
                        </a:lnTo>
                        <a:lnTo>
                          <a:pt x="2820" y="60"/>
                        </a:lnTo>
                        <a:lnTo>
                          <a:pt x="2814" y="54"/>
                        </a:lnTo>
                        <a:lnTo>
                          <a:pt x="2802" y="48"/>
                        </a:lnTo>
                        <a:lnTo>
                          <a:pt x="2796" y="42"/>
                        </a:lnTo>
                        <a:lnTo>
                          <a:pt x="2724" y="42"/>
                        </a:lnTo>
                        <a:lnTo>
                          <a:pt x="2688" y="18"/>
                        </a:lnTo>
                        <a:lnTo>
                          <a:pt x="2652" y="0"/>
                        </a:lnTo>
                        <a:lnTo>
                          <a:pt x="2598" y="12"/>
                        </a:lnTo>
                        <a:lnTo>
                          <a:pt x="2556" y="6"/>
                        </a:lnTo>
                        <a:lnTo>
                          <a:pt x="2550" y="18"/>
                        </a:lnTo>
                        <a:lnTo>
                          <a:pt x="2514" y="24"/>
                        </a:lnTo>
                        <a:lnTo>
                          <a:pt x="2472" y="66"/>
                        </a:lnTo>
                        <a:lnTo>
                          <a:pt x="2466" y="66"/>
                        </a:lnTo>
                        <a:lnTo>
                          <a:pt x="2466" y="78"/>
                        </a:lnTo>
                        <a:lnTo>
                          <a:pt x="2472" y="78"/>
                        </a:lnTo>
                        <a:lnTo>
                          <a:pt x="2490" y="84"/>
                        </a:lnTo>
                        <a:lnTo>
                          <a:pt x="2502" y="84"/>
                        </a:lnTo>
                        <a:lnTo>
                          <a:pt x="2508" y="90"/>
                        </a:lnTo>
                        <a:lnTo>
                          <a:pt x="2520" y="90"/>
                        </a:lnTo>
                        <a:lnTo>
                          <a:pt x="2532" y="102"/>
                        </a:lnTo>
                        <a:lnTo>
                          <a:pt x="2544" y="108"/>
                        </a:lnTo>
                        <a:lnTo>
                          <a:pt x="2550" y="114"/>
                        </a:lnTo>
                        <a:lnTo>
                          <a:pt x="2550" y="126"/>
                        </a:lnTo>
                        <a:lnTo>
                          <a:pt x="2532" y="144"/>
                        </a:lnTo>
                        <a:lnTo>
                          <a:pt x="2532" y="216"/>
                        </a:lnTo>
                        <a:lnTo>
                          <a:pt x="2538" y="258"/>
                        </a:lnTo>
                        <a:lnTo>
                          <a:pt x="2544" y="264"/>
                        </a:lnTo>
                        <a:lnTo>
                          <a:pt x="2556" y="264"/>
                        </a:lnTo>
                        <a:lnTo>
                          <a:pt x="2556" y="276"/>
                        </a:lnTo>
                        <a:lnTo>
                          <a:pt x="2550" y="282"/>
                        </a:lnTo>
                        <a:lnTo>
                          <a:pt x="2538" y="288"/>
                        </a:lnTo>
                        <a:lnTo>
                          <a:pt x="2514" y="288"/>
                        </a:lnTo>
                        <a:lnTo>
                          <a:pt x="2514" y="300"/>
                        </a:lnTo>
                        <a:lnTo>
                          <a:pt x="2496" y="318"/>
                        </a:lnTo>
                        <a:lnTo>
                          <a:pt x="2484" y="318"/>
                        </a:lnTo>
                        <a:lnTo>
                          <a:pt x="2478" y="312"/>
                        </a:lnTo>
                        <a:lnTo>
                          <a:pt x="2442" y="312"/>
                        </a:lnTo>
                        <a:lnTo>
                          <a:pt x="2406" y="288"/>
                        </a:lnTo>
                        <a:lnTo>
                          <a:pt x="2406" y="372"/>
                        </a:lnTo>
                        <a:lnTo>
                          <a:pt x="2412" y="384"/>
                        </a:lnTo>
                        <a:lnTo>
                          <a:pt x="2418" y="408"/>
                        </a:lnTo>
                        <a:lnTo>
                          <a:pt x="2424" y="420"/>
                        </a:lnTo>
                        <a:lnTo>
                          <a:pt x="2418" y="420"/>
                        </a:lnTo>
                        <a:lnTo>
                          <a:pt x="2418" y="438"/>
                        </a:lnTo>
                        <a:lnTo>
                          <a:pt x="2424" y="450"/>
                        </a:lnTo>
                        <a:lnTo>
                          <a:pt x="2436" y="456"/>
                        </a:lnTo>
                        <a:lnTo>
                          <a:pt x="2442" y="462"/>
                        </a:lnTo>
                        <a:lnTo>
                          <a:pt x="2460" y="462"/>
                        </a:lnTo>
                        <a:lnTo>
                          <a:pt x="2460" y="456"/>
                        </a:lnTo>
                        <a:lnTo>
                          <a:pt x="2454" y="456"/>
                        </a:lnTo>
                        <a:lnTo>
                          <a:pt x="2460" y="450"/>
                        </a:lnTo>
                        <a:lnTo>
                          <a:pt x="2514" y="450"/>
                        </a:lnTo>
                        <a:lnTo>
                          <a:pt x="2526" y="462"/>
                        </a:lnTo>
                        <a:lnTo>
                          <a:pt x="2538" y="468"/>
                        </a:lnTo>
                        <a:lnTo>
                          <a:pt x="2544" y="468"/>
                        </a:lnTo>
                        <a:lnTo>
                          <a:pt x="2550" y="462"/>
                        </a:lnTo>
                        <a:lnTo>
                          <a:pt x="2550" y="438"/>
                        </a:lnTo>
                        <a:lnTo>
                          <a:pt x="2616" y="438"/>
                        </a:lnTo>
                        <a:lnTo>
                          <a:pt x="2616" y="450"/>
                        </a:lnTo>
                        <a:lnTo>
                          <a:pt x="2622" y="456"/>
                        </a:lnTo>
                        <a:lnTo>
                          <a:pt x="2634" y="462"/>
                        </a:lnTo>
                        <a:lnTo>
                          <a:pt x="2652" y="462"/>
                        </a:lnTo>
                        <a:lnTo>
                          <a:pt x="2658" y="468"/>
                        </a:lnTo>
                        <a:lnTo>
                          <a:pt x="2670" y="474"/>
                        </a:lnTo>
                        <a:lnTo>
                          <a:pt x="2682" y="486"/>
                        </a:lnTo>
                        <a:lnTo>
                          <a:pt x="2706" y="498"/>
                        </a:lnTo>
                        <a:lnTo>
                          <a:pt x="2718" y="498"/>
                        </a:lnTo>
                        <a:lnTo>
                          <a:pt x="2724" y="510"/>
                        </a:lnTo>
                        <a:lnTo>
                          <a:pt x="2748" y="534"/>
                        </a:lnTo>
                        <a:lnTo>
                          <a:pt x="2748" y="540"/>
                        </a:lnTo>
                        <a:lnTo>
                          <a:pt x="2742" y="546"/>
                        </a:lnTo>
                        <a:lnTo>
                          <a:pt x="2706" y="546"/>
                        </a:lnTo>
                        <a:lnTo>
                          <a:pt x="2700" y="540"/>
                        </a:lnTo>
                        <a:lnTo>
                          <a:pt x="2688" y="534"/>
                        </a:lnTo>
                        <a:lnTo>
                          <a:pt x="2658" y="534"/>
                        </a:lnTo>
                        <a:lnTo>
                          <a:pt x="2652" y="540"/>
                        </a:lnTo>
                        <a:lnTo>
                          <a:pt x="2646" y="540"/>
                        </a:lnTo>
                        <a:lnTo>
                          <a:pt x="2628" y="558"/>
                        </a:lnTo>
                        <a:lnTo>
                          <a:pt x="2598" y="552"/>
                        </a:lnTo>
                        <a:lnTo>
                          <a:pt x="2598" y="570"/>
                        </a:lnTo>
                        <a:lnTo>
                          <a:pt x="2586" y="570"/>
                        </a:lnTo>
                        <a:lnTo>
                          <a:pt x="2550" y="588"/>
                        </a:lnTo>
                        <a:lnTo>
                          <a:pt x="2544" y="594"/>
                        </a:lnTo>
                        <a:lnTo>
                          <a:pt x="2550" y="606"/>
                        </a:lnTo>
                        <a:lnTo>
                          <a:pt x="2562" y="618"/>
                        </a:lnTo>
                        <a:lnTo>
                          <a:pt x="2538" y="642"/>
                        </a:lnTo>
                        <a:lnTo>
                          <a:pt x="2466" y="642"/>
                        </a:lnTo>
                        <a:lnTo>
                          <a:pt x="2466" y="666"/>
                        </a:lnTo>
                        <a:lnTo>
                          <a:pt x="2460" y="672"/>
                        </a:lnTo>
                        <a:lnTo>
                          <a:pt x="2454" y="684"/>
                        </a:lnTo>
                        <a:lnTo>
                          <a:pt x="2442" y="690"/>
                        </a:lnTo>
                        <a:lnTo>
                          <a:pt x="2424" y="690"/>
                        </a:lnTo>
                        <a:lnTo>
                          <a:pt x="2412" y="696"/>
                        </a:lnTo>
                        <a:lnTo>
                          <a:pt x="2388" y="696"/>
                        </a:lnTo>
                        <a:lnTo>
                          <a:pt x="2376" y="690"/>
                        </a:lnTo>
                        <a:lnTo>
                          <a:pt x="2370" y="684"/>
                        </a:lnTo>
                        <a:lnTo>
                          <a:pt x="2358" y="678"/>
                        </a:lnTo>
                        <a:lnTo>
                          <a:pt x="2352" y="672"/>
                        </a:lnTo>
                        <a:lnTo>
                          <a:pt x="2346" y="672"/>
                        </a:lnTo>
                        <a:lnTo>
                          <a:pt x="2340" y="666"/>
                        </a:lnTo>
                        <a:lnTo>
                          <a:pt x="2316" y="666"/>
                        </a:lnTo>
                        <a:lnTo>
                          <a:pt x="2304" y="672"/>
                        </a:lnTo>
                        <a:lnTo>
                          <a:pt x="2304" y="684"/>
                        </a:lnTo>
                        <a:lnTo>
                          <a:pt x="2298" y="696"/>
                        </a:lnTo>
                        <a:lnTo>
                          <a:pt x="2298" y="708"/>
                        </a:lnTo>
                        <a:lnTo>
                          <a:pt x="2304" y="720"/>
                        </a:lnTo>
                        <a:lnTo>
                          <a:pt x="2322" y="738"/>
                        </a:lnTo>
                        <a:lnTo>
                          <a:pt x="2334" y="744"/>
                        </a:lnTo>
                        <a:lnTo>
                          <a:pt x="2352" y="762"/>
                        </a:lnTo>
                        <a:lnTo>
                          <a:pt x="2364" y="768"/>
                        </a:lnTo>
                        <a:lnTo>
                          <a:pt x="2364" y="774"/>
                        </a:lnTo>
                        <a:lnTo>
                          <a:pt x="2358" y="780"/>
                        </a:lnTo>
                        <a:lnTo>
                          <a:pt x="2352" y="792"/>
                        </a:lnTo>
                        <a:lnTo>
                          <a:pt x="2340" y="804"/>
                        </a:lnTo>
                        <a:lnTo>
                          <a:pt x="2316" y="804"/>
                        </a:lnTo>
                        <a:lnTo>
                          <a:pt x="2316" y="810"/>
                        </a:lnTo>
                        <a:lnTo>
                          <a:pt x="2310" y="822"/>
                        </a:lnTo>
                        <a:lnTo>
                          <a:pt x="2310" y="828"/>
                        </a:lnTo>
                        <a:lnTo>
                          <a:pt x="2298" y="852"/>
                        </a:lnTo>
                        <a:lnTo>
                          <a:pt x="2286" y="858"/>
                        </a:lnTo>
                        <a:lnTo>
                          <a:pt x="2262" y="858"/>
                        </a:lnTo>
                        <a:lnTo>
                          <a:pt x="2244" y="882"/>
                        </a:lnTo>
                        <a:lnTo>
                          <a:pt x="2088" y="882"/>
                        </a:lnTo>
                        <a:lnTo>
                          <a:pt x="2070" y="894"/>
                        </a:lnTo>
                        <a:lnTo>
                          <a:pt x="2010" y="930"/>
                        </a:lnTo>
                        <a:lnTo>
                          <a:pt x="1992" y="942"/>
                        </a:lnTo>
                        <a:lnTo>
                          <a:pt x="1986" y="948"/>
                        </a:lnTo>
                        <a:lnTo>
                          <a:pt x="1968" y="948"/>
                        </a:lnTo>
                        <a:lnTo>
                          <a:pt x="1962" y="942"/>
                        </a:lnTo>
                        <a:lnTo>
                          <a:pt x="1956" y="942"/>
                        </a:lnTo>
                        <a:lnTo>
                          <a:pt x="1950" y="930"/>
                        </a:lnTo>
                        <a:lnTo>
                          <a:pt x="1950" y="924"/>
                        </a:lnTo>
                        <a:lnTo>
                          <a:pt x="1938" y="924"/>
                        </a:lnTo>
                        <a:lnTo>
                          <a:pt x="1926" y="930"/>
                        </a:lnTo>
                        <a:lnTo>
                          <a:pt x="1914" y="930"/>
                        </a:lnTo>
                        <a:lnTo>
                          <a:pt x="1908" y="936"/>
                        </a:lnTo>
                        <a:lnTo>
                          <a:pt x="1896" y="936"/>
                        </a:lnTo>
                        <a:lnTo>
                          <a:pt x="1890" y="930"/>
                        </a:lnTo>
                        <a:lnTo>
                          <a:pt x="1866" y="918"/>
                        </a:lnTo>
                        <a:lnTo>
                          <a:pt x="1848" y="912"/>
                        </a:lnTo>
                        <a:lnTo>
                          <a:pt x="1800" y="912"/>
                        </a:lnTo>
                        <a:lnTo>
                          <a:pt x="1776" y="906"/>
                        </a:lnTo>
                        <a:lnTo>
                          <a:pt x="1764" y="900"/>
                        </a:lnTo>
                        <a:lnTo>
                          <a:pt x="1758" y="888"/>
                        </a:lnTo>
                        <a:lnTo>
                          <a:pt x="1740" y="870"/>
                        </a:lnTo>
                        <a:lnTo>
                          <a:pt x="1728" y="870"/>
                        </a:lnTo>
                        <a:lnTo>
                          <a:pt x="1710" y="864"/>
                        </a:lnTo>
                        <a:lnTo>
                          <a:pt x="1656" y="864"/>
                        </a:lnTo>
                        <a:lnTo>
                          <a:pt x="1650" y="858"/>
                        </a:lnTo>
                        <a:lnTo>
                          <a:pt x="1644" y="858"/>
                        </a:lnTo>
                        <a:lnTo>
                          <a:pt x="1632" y="852"/>
                        </a:lnTo>
                        <a:lnTo>
                          <a:pt x="1620" y="852"/>
                        </a:lnTo>
                        <a:lnTo>
                          <a:pt x="1614" y="858"/>
                        </a:lnTo>
                        <a:lnTo>
                          <a:pt x="1602" y="864"/>
                        </a:lnTo>
                        <a:lnTo>
                          <a:pt x="1596" y="870"/>
                        </a:lnTo>
                        <a:lnTo>
                          <a:pt x="1560" y="864"/>
                        </a:lnTo>
                        <a:lnTo>
                          <a:pt x="1512" y="864"/>
                        </a:lnTo>
                        <a:lnTo>
                          <a:pt x="1458" y="858"/>
                        </a:lnTo>
                        <a:lnTo>
                          <a:pt x="1398" y="864"/>
                        </a:lnTo>
                        <a:lnTo>
                          <a:pt x="1386" y="858"/>
                        </a:lnTo>
                        <a:lnTo>
                          <a:pt x="1380" y="846"/>
                        </a:lnTo>
                        <a:lnTo>
                          <a:pt x="1368" y="840"/>
                        </a:lnTo>
                        <a:lnTo>
                          <a:pt x="1338" y="810"/>
                        </a:lnTo>
                        <a:lnTo>
                          <a:pt x="1332" y="798"/>
                        </a:lnTo>
                        <a:lnTo>
                          <a:pt x="1290" y="756"/>
                        </a:lnTo>
                        <a:lnTo>
                          <a:pt x="1278" y="732"/>
                        </a:lnTo>
                        <a:lnTo>
                          <a:pt x="1242" y="732"/>
                        </a:lnTo>
                        <a:lnTo>
                          <a:pt x="1236" y="726"/>
                        </a:lnTo>
                        <a:lnTo>
                          <a:pt x="1224" y="726"/>
                        </a:lnTo>
                        <a:lnTo>
                          <a:pt x="1200" y="714"/>
                        </a:lnTo>
                        <a:lnTo>
                          <a:pt x="1194" y="714"/>
                        </a:lnTo>
                        <a:lnTo>
                          <a:pt x="1188" y="708"/>
                        </a:lnTo>
                        <a:lnTo>
                          <a:pt x="1182" y="708"/>
                        </a:lnTo>
                        <a:lnTo>
                          <a:pt x="1176" y="696"/>
                        </a:lnTo>
                        <a:lnTo>
                          <a:pt x="1164" y="690"/>
                        </a:lnTo>
                        <a:lnTo>
                          <a:pt x="1158" y="690"/>
                        </a:lnTo>
                        <a:lnTo>
                          <a:pt x="1146" y="684"/>
                        </a:lnTo>
                        <a:lnTo>
                          <a:pt x="1140" y="684"/>
                        </a:lnTo>
                        <a:lnTo>
                          <a:pt x="1134" y="678"/>
                        </a:lnTo>
                        <a:lnTo>
                          <a:pt x="1038" y="678"/>
                        </a:lnTo>
                        <a:lnTo>
                          <a:pt x="1014" y="672"/>
                        </a:lnTo>
                        <a:lnTo>
                          <a:pt x="996" y="666"/>
                        </a:lnTo>
                        <a:lnTo>
                          <a:pt x="990" y="666"/>
                        </a:lnTo>
                        <a:lnTo>
                          <a:pt x="978" y="660"/>
                        </a:lnTo>
                        <a:lnTo>
                          <a:pt x="966" y="660"/>
                        </a:lnTo>
                        <a:lnTo>
                          <a:pt x="954" y="654"/>
                        </a:lnTo>
                        <a:lnTo>
                          <a:pt x="948" y="648"/>
                        </a:lnTo>
                        <a:lnTo>
                          <a:pt x="942" y="636"/>
                        </a:lnTo>
                        <a:lnTo>
                          <a:pt x="936" y="618"/>
                        </a:lnTo>
                        <a:lnTo>
                          <a:pt x="936" y="606"/>
                        </a:lnTo>
                        <a:lnTo>
                          <a:pt x="948" y="594"/>
                        </a:lnTo>
                        <a:lnTo>
                          <a:pt x="948" y="588"/>
                        </a:lnTo>
                        <a:lnTo>
                          <a:pt x="942" y="582"/>
                        </a:lnTo>
                        <a:lnTo>
                          <a:pt x="936" y="570"/>
                        </a:lnTo>
                        <a:lnTo>
                          <a:pt x="930" y="564"/>
                        </a:lnTo>
                        <a:lnTo>
                          <a:pt x="930" y="552"/>
                        </a:lnTo>
                        <a:lnTo>
                          <a:pt x="924" y="540"/>
                        </a:lnTo>
                        <a:lnTo>
                          <a:pt x="912" y="528"/>
                        </a:lnTo>
                        <a:lnTo>
                          <a:pt x="888" y="510"/>
                        </a:lnTo>
                        <a:lnTo>
                          <a:pt x="876" y="492"/>
                        </a:lnTo>
                        <a:lnTo>
                          <a:pt x="870" y="480"/>
                        </a:lnTo>
                        <a:lnTo>
                          <a:pt x="852" y="462"/>
                        </a:lnTo>
                        <a:lnTo>
                          <a:pt x="834" y="456"/>
                        </a:lnTo>
                        <a:lnTo>
                          <a:pt x="822" y="450"/>
                        </a:lnTo>
                        <a:lnTo>
                          <a:pt x="810" y="450"/>
                        </a:lnTo>
                        <a:lnTo>
                          <a:pt x="804" y="444"/>
                        </a:lnTo>
                        <a:lnTo>
                          <a:pt x="786" y="432"/>
                        </a:lnTo>
                        <a:lnTo>
                          <a:pt x="750" y="444"/>
                        </a:lnTo>
                        <a:lnTo>
                          <a:pt x="726" y="420"/>
                        </a:lnTo>
                        <a:lnTo>
                          <a:pt x="720" y="408"/>
                        </a:lnTo>
                        <a:lnTo>
                          <a:pt x="708" y="408"/>
                        </a:lnTo>
                        <a:lnTo>
                          <a:pt x="696" y="402"/>
                        </a:lnTo>
                        <a:lnTo>
                          <a:pt x="684" y="402"/>
                        </a:lnTo>
                        <a:lnTo>
                          <a:pt x="672" y="396"/>
                        </a:lnTo>
                        <a:lnTo>
                          <a:pt x="672" y="378"/>
                        </a:lnTo>
                        <a:lnTo>
                          <a:pt x="648" y="378"/>
                        </a:lnTo>
                        <a:lnTo>
                          <a:pt x="654" y="372"/>
                        </a:lnTo>
                        <a:lnTo>
                          <a:pt x="654" y="360"/>
                        </a:lnTo>
                        <a:lnTo>
                          <a:pt x="648" y="354"/>
                        </a:lnTo>
                        <a:lnTo>
                          <a:pt x="612" y="354"/>
                        </a:lnTo>
                        <a:lnTo>
                          <a:pt x="600" y="348"/>
                        </a:lnTo>
                        <a:lnTo>
                          <a:pt x="582" y="348"/>
                        </a:lnTo>
                        <a:lnTo>
                          <a:pt x="576" y="354"/>
                        </a:lnTo>
                        <a:lnTo>
                          <a:pt x="576" y="360"/>
                        </a:lnTo>
                        <a:lnTo>
                          <a:pt x="594" y="378"/>
                        </a:lnTo>
                        <a:lnTo>
                          <a:pt x="594" y="390"/>
                        </a:lnTo>
                        <a:lnTo>
                          <a:pt x="588" y="396"/>
                        </a:lnTo>
                        <a:lnTo>
                          <a:pt x="546" y="396"/>
                        </a:lnTo>
                        <a:lnTo>
                          <a:pt x="534" y="408"/>
                        </a:lnTo>
                        <a:lnTo>
                          <a:pt x="534" y="426"/>
                        </a:lnTo>
                        <a:lnTo>
                          <a:pt x="546" y="450"/>
                        </a:lnTo>
                        <a:lnTo>
                          <a:pt x="558" y="462"/>
                        </a:lnTo>
                        <a:lnTo>
                          <a:pt x="570" y="486"/>
                        </a:lnTo>
                        <a:lnTo>
                          <a:pt x="570" y="504"/>
                        </a:lnTo>
                        <a:lnTo>
                          <a:pt x="564" y="510"/>
                        </a:lnTo>
                        <a:lnTo>
                          <a:pt x="546" y="510"/>
                        </a:lnTo>
                        <a:lnTo>
                          <a:pt x="528" y="528"/>
                        </a:lnTo>
                        <a:lnTo>
                          <a:pt x="516" y="516"/>
                        </a:lnTo>
                        <a:lnTo>
                          <a:pt x="468" y="516"/>
                        </a:lnTo>
                        <a:lnTo>
                          <a:pt x="444" y="504"/>
                        </a:lnTo>
                        <a:lnTo>
                          <a:pt x="432" y="504"/>
                        </a:lnTo>
                        <a:lnTo>
                          <a:pt x="420" y="498"/>
                        </a:lnTo>
                        <a:lnTo>
                          <a:pt x="408" y="498"/>
                        </a:lnTo>
                        <a:lnTo>
                          <a:pt x="408" y="636"/>
                        </a:lnTo>
                        <a:lnTo>
                          <a:pt x="414" y="636"/>
                        </a:lnTo>
                        <a:lnTo>
                          <a:pt x="420" y="642"/>
                        </a:lnTo>
                        <a:lnTo>
                          <a:pt x="426" y="642"/>
                        </a:lnTo>
                        <a:lnTo>
                          <a:pt x="432" y="648"/>
                        </a:lnTo>
                        <a:lnTo>
                          <a:pt x="432" y="660"/>
                        </a:lnTo>
                        <a:lnTo>
                          <a:pt x="426" y="666"/>
                        </a:lnTo>
                        <a:lnTo>
                          <a:pt x="420" y="666"/>
                        </a:lnTo>
                        <a:lnTo>
                          <a:pt x="408" y="654"/>
                        </a:lnTo>
                        <a:lnTo>
                          <a:pt x="390" y="666"/>
                        </a:lnTo>
                        <a:lnTo>
                          <a:pt x="384" y="660"/>
                        </a:lnTo>
                        <a:lnTo>
                          <a:pt x="378" y="648"/>
                        </a:lnTo>
                        <a:lnTo>
                          <a:pt x="372" y="642"/>
                        </a:lnTo>
                        <a:lnTo>
                          <a:pt x="360" y="642"/>
                        </a:lnTo>
                        <a:lnTo>
                          <a:pt x="324" y="660"/>
                        </a:lnTo>
                        <a:lnTo>
                          <a:pt x="312" y="660"/>
                        </a:lnTo>
                        <a:lnTo>
                          <a:pt x="300" y="666"/>
                        </a:lnTo>
                        <a:lnTo>
                          <a:pt x="288" y="666"/>
                        </a:lnTo>
                        <a:lnTo>
                          <a:pt x="276" y="672"/>
                        </a:lnTo>
                        <a:lnTo>
                          <a:pt x="270" y="678"/>
                        </a:lnTo>
                        <a:lnTo>
                          <a:pt x="270" y="684"/>
                        </a:lnTo>
                        <a:lnTo>
                          <a:pt x="276" y="690"/>
                        </a:lnTo>
                        <a:lnTo>
                          <a:pt x="288" y="696"/>
                        </a:lnTo>
                        <a:lnTo>
                          <a:pt x="306" y="696"/>
                        </a:lnTo>
                        <a:lnTo>
                          <a:pt x="306" y="726"/>
                        </a:lnTo>
                        <a:lnTo>
                          <a:pt x="318" y="750"/>
                        </a:lnTo>
                        <a:lnTo>
                          <a:pt x="360" y="792"/>
                        </a:lnTo>
                        <a:lnTo>
                          <a:pt x="366" y="804"/>
                        </a:lnTo>
                        <a:lnTo>
                          <a:pt x="378" y="810"/>
                        </a:lnTo>
                        <a:lnTo>
                          <a:pt x="378" y="822"/>
                        </a:lnTo>
                        <a:lnTo>
                          <a:pt x="360" y="822"/>
                        </a:lnTo>
                        <a:lnTo>
                          <a:pt x="354" y="828"/>
                        </a:lnTo>
                        <a:lnTo>
                          <a:pt x="354" y="834"/>
                        </a:lnTo>
                        <a:lnTo>
                          <a:pt x="372" y="852"/>
                        </a:lnTo>
                        <a:lnTo>
                          <a:pt x="348" y="852"/>
                        </a:lnTo>
                        <a:lnTo>
                          <a:pt x="348" y="864"/>
                        </a:lnTo>
                        <a:lnTo>
                          <a:pt x="354" y="870"/>
                        </a:lnTo>
                        <a:lnTo>
                          <a:pt x="354" y="882"/>
                        </a:lnTo>
                        <a:lnTo>
                          <a:pt x="372" y="900"/>
                        </a:lnTo>
                        <a:lnTo>
                          <a:pt x="372" y="912"/>
                        </a:lnTo>
                        <a:lnTo>
                          <a:pt x="366" y="918"/>
                        </a:lnTo>
                        <a:lnTo>
                          <a:pt x="342" y="918"/>
                        </a:lnTo>
                        <a:lnTo>
                          <a:pt x="294" y="936"/>
                        </a:lnTo>
                        <a:lnTo>
                          <a:pt x="282" y="948"/>
                        </a:lnTo>
                        <a:lnTo>
                          <a:pt x="270" y="954"/>
                        </a:lnTo>
                        <a:lnTo>
                          <a:pt x="264" y="960"/>
                        </a:lnTo>
                        <a:lnTo>
                          <a:pt x="264" y="978"/>
                        </a:lnTo>
                        <a:lnTo>
                          <a:pt x="258" y="990"/>
                        </a:lnTo>
                        <a:lnTo>
                          <a:pt x="252" y="996"/>
                        </a:lnTo>
                        <a:lnTo>
                          <a:pt x="234" y="996"/>
                        </a:lnTo>
                        <a:lnTo>
                          <a:pt x="216" y="990"/>
                        </a:lnTo>
                        <a:lnTo>
                          <a:pt x="186" y="990"/>
                        </a:lnTo>
                        <a:lnTo>
                          <a:pt x="168" y="1008"/>
                        </a:lnTo>
                        <a:lnTo>
                          <a:pt x="162" y="1020"/>
                        </a:lnTo>
                        <a:lnTo>
                          <a:pt x="162" y="1044"/>
                        </a:lnTo>
                        <a:lnTo>
                          <a:pt x="156" y="1050"/>
                        </a:lnTo>
                        <a:lnTo>
                          <a:pt x="126" y="1044"/>
                        </a:lnTo>
                        <a:lnTo>
                          <a:pt x="114" y="1050"/>
                        </a:lnTo>
                        <a:lnTo>
                          <a:pt x="108" y="1044"/>
                        </a:lnTo>
                        <a:lnTo>
                          <a:pt x="102" y="1032"/>
                        </a:lnTo>
                        <a:lnTo>
                          <a:pt x="96" y="1026"/>
                        </a:lnTo>
                        <a:lnTo>
                          <a:pt x="84" y="1026"/>
                        </a:lnTo>
                        <a:lnTo>
                          <a:pt x="72" y="1038"/>
                        </a:lnTo>
                        <a:lnTo>
                          <a:pt x="48" y="1038"/>
                        </a:lnTo>
                        <a:lnTo>
                          <a:pt x="48" y="1056"/>
                        </a:lnTo>
                        <a:lnTo>
                          <a:pt x="36" y="1062"/>
                        </a:lnTo>
                        <a:lnTo>
                          <a:pt x="30" y="1068"/>
                        </a:lnTo>
                        <a:lnTo>
                          <a:pt x="18" y="1068"/>
                        </a:lnTo>
                        <a:lnTo>
                          <a:pt x="6" y="1074"/>
                        </a:lnTo>
                        <a:lnTo>
                          <a:pt x="0" y="1080"/>
                        </a:lnTo>
                        <a:lnTo>
                          <a:pt x="0" y="1086"/>
                        </a:lnTo>
                        <a:lnTo>
                          <a:pt x="12" y="1092"/>
                        </a:lnTo>
                        <a:lnTo>
                          <a:pt x="18" y="1104"/>
                        </a:lnTo>
                        <a:lnTo>
                          <a:pt x="18" y="1116"/>
                        </a:lnTo>
                        <a:lnTo>
                          <a:pt x="0" y="1116"/>
                        </a:lnTo>
                        <a:lnTo>
                          <a:pt x="0" y="1140"/>
                        </a:lnTo>
                        <a:lnTo>
                          <a:pt x="18" y="1140"/>
                        </a:lnTo>
                        <a:lnTo>
                          <a:pt x="18" y="1152"/>
                        </a:lnTo>
                        <a:lnTo>
                          <a:pt x="12" y="1164"/>
                        </a:lnTo>
                        <a:lnTo>
                          <a:pt x="12" y="1176"/>
                        </a:lnTo>
                        <a:lnTo>
                          <a:pt x="24" y="1188"/>
                        </a:lnTo>
                        <a:lnTo>
                          <a:pt x="36" y="1188"/>
                        </a:lnTo>
                        <a:lnTo>
                          <a:pt x="42" y="1182"/>
                        </a:lnTo>
                        <a:lnTo>
                          <a:pt x="66" y="1182"/>
                        </a:lnTo>
                        <a:lnTo>
                          <a:pt x="78" y="1188"/>
                        </a:lnTo>
                        <a:lnTo>
                          <a:pt x="84" y="1188"/>
                        </a:lnTo>
                        <a:lnTo>
                          <a:pt x="96" y="1194"/>
                        </a:lnTo>
                        <a:lnTo>
                          <a:pt x="102" y="1200"/>
                        </a:lnTo>
                        <a:lnTo>
                          <a:pt x="102" y="1242"/>
                        </a:lnTo>
                        <a:lnTo>
                          <a:pt x="114" y="1266"/>
                        </a:lnTo>
                        <a:lnTo>
                          <a:pt x="120" y="1272"/>
                        </a:lnTo>
                        <a:lnTo>
                          <a:pt x="126" y="1272"/>
                        </a:lnTo>
                        <a:lnTo>
                          <a:pt x="138" y="1284"/>
                        </a:lnTo>
                        <a:lnTo>
                          <a:pt x="132" y="1290"/>
                        </a:lnTo>
                        <a:lnTo>
                          <a:pt x="102" y="1290"/>
                        </a:lnTo>
                        <a:lnTo>
                          <a:pt x="96" y="1296"/>
                        </a:lnTo>
                        <a:lnTo>
                          <a:pt x="96" y="1308"/>
                        </a:lnTo>
                        <a:lnTo>
                          <a:pt x="108" y="1314"/>
                        </a:lnTo>
                        <a:lnTo>
                          <a:pt x="114" y="1320"/>
                        </a:lnTo>
                        <a:lnTo>
                          <a:pt x="162" y="1320"/>
                        </a:lnTo>
                        <a:lnTo>
                          <a:pt x="168" y="1332"/>
                        </a:lnTo>
                        <a:lnTo>
                          <a:pt x="180" y="1332"/>
                        </a:lnTo>
                        <a:lnTo>
                          <a:pt x="192" y="1338"/>
                        </a:lnTo>
                        <a:lnTo>
                          <a:pt x="204" y="1350"/>
                        </a:lnTo>
                        <a:lnTo>
                          <a:pt x="216" y="1374"/>
                        </a:lnTo>
                        <a:lnTo>
                          <a:pt x="216" y="1398"/>
                        </a:lnTo>
                        <a:lnTo>
                          <a:pt x="252" y="1410"/>
                        </a:lnTo>
                        <a:lnTo>
                          <a:pt x="264" y="1404"/>
                        </a:lnTo>
                        <a:lnTo>
                          <a:pt x="264" y="1410"/>
                        </a:lnTo>
                        <a:lnTo>
                          <a:pt x="270" y="1416"/>
                        </a:lnTo>
                        <a:lnTo>
                          <a:pt x="276" y="1428"/>
                        </a:lnTo>
                        <a:lnTo>
                          <a:pt x="288" y="1434"/>
                        </a:lnTo>
                        <a:lnTo>
                          <a:pt x="366" y="1434"/>
                        </a:lnTo>
                        <a:lnTo>
                          <a:pt x="378" y="1428"/>
                        </a:lnTo>
                        <a:lnTo>
                          <a:pt x="384" y="1416"/>
                        </a:lnTo>
                        <a:lnTo>
                          <a:pt x="402" y="1410"/>
                        </a:lnTo>
                        <a:lnTo>
                          <a:pt x="426" y="1398"/>
                        </a:lnTo>
                        <a:lnTo>
                          <a:pt x="438" y="1398"/>
                        </a:lnTo>
                        <a:lnTo>
                          <a:pt x="456" y="1410"/>
                        </a:lnTo>
                        <a:lnTo>
                          <a:pt x="480" y="1434"/>
                        </a:lnTo>
                        <a:lnTo>
                          <a:pt x="522" y="1434"/>
                        </a:lnTo>
                        <a:lnTo>
                          <a:pt x="522" y="1494"/>
                        </a:lnTo>
                        <a:lnTo>
                          <a:pt x="516" y="1500"/>
                        </a:lnTo>
                        <a:lnTo>
                          <a:pt x="498" y="1500"/>
                        </a:lnTo>
                        <a:lnTo>
                          <a:pt x="498" y="1506"/>
                        </a:lnTo>
                        <a:lnTo>
                          <a:pt x="504" y="1512"/>
                        </a:lnTo>
                        <a:lnTo>
                          <a:pt x="504" y="1536"/>
                        </a:lnTo>
                        <a:lnTo>
                          <a:pt x="498" y="1548"/>
                        </a:lnTo>
                        <a:lnTo>
                          <a:pt x="486" y="1554"/>
                        </a:lnTo>
                        <a:lnTo>
                          <a:pt x="456" y="1554"/>
                        </a:lnTo>
                        <a:lnTo>
                          <a:pt x="474" y="1578"/>
                        </a:lnTo>
                        <a:lnTo>
                          <a:pt x="456" y="1584"/>
                        </a:lnTo>
                        <a:lnTo>
                          <a:pt x="456" y="1608"/>
                        </a:lnTo>
                        <a:lnTo>
                          <a:pt x="480" y="1620"/>
                        </a:lnTo>
                        <a:lnTo>
                          <a:pt x="492" y="1620"/>
                        </a:lnTo>
                        <a:lnTo>
                          <a:pt x="498" y="1626"/>
                        </a:lnTo>
                        <a:lnTo>
                          <a:pt x="504" y="1638"/>
                        </a:lnTo>
                        <a:lnTo>
                          <a:pt x="522" y="1656"/>
                        </a:lnTo>
                        <a:lnTo>
                          <a:pt x="522" y="1668"/>
                        </a:lnTo>
                        <a:lnTo>
                          <a:pt x="510" y="1674"/>
                        </a:lnTo>
                        <a:lnTo>
                          <a:pt x="504" y="1680"/>
                        </a:lnTo>
                        <a:lnTo>
                          <a:pt x="498" y="1680"/>
                        </a:lnTo>
                        <a:lnTo>
                          <a:pt x="486" y="1698"/>
                        </a:lnTo>
                        <a:lnTo>
                          <a:pt x="474" y="1686"/>
                        </a:lnTo>
                        <a:lnTo>
                          <a:pt x="474" y="1668"/>
                        </a:lnTo>
                        <a:lnTo>
                          <a:pt x="462" y="1668"/>
                        </a:lnTo>
                        <a:lnTo>
                          <a:pt x="456" y="1674"/>
                        </a:lnTo>
                        <a:lnTo>
                          <a:pt x="450" y="1674"/>
                        </a:lnTo>
                        <a:lnTo>
                          <a:pt x="450" y="1692"/>
                        </a:lnTo>
                        <a:lnTo>
                          <a:pt x="456" y="1698"/>
                        </a:lnTo>
                        <a:lnTo>
                          <a:pt x="462" y="1710"/>
                        </a:lnTo>
                        <a:lnTo>
                          <a:pt x="474" y="1722"/>
                        </a:lnTo>
                        <a:lnTo>
                          <a:pt x="480" y="1722"/>
                        </a:lnTo>
                        <a:lnTo>
                          <a:pt x="480" y="1734"/>
                        </a:lnTo>
                        <a:lnTo>
                          <a:pt x="474" y="1740"/>
                        </a:lnTo>
                        <a:lnTo>
                          <a:pt x="474" y="1758"/>
                        </a:lnTo>
                        <a:lnTo>
                          <a:pt x="480" y="1764"/>
                        </a:lnTo>
                        <a:lnTo>
                          <a:pt x="510" y="1764"/>
                        </a:lnTo>
                        <a:lnTo>
                          <a:pt x="516" y="1776"/>
                        </a:lnTo>
                        <a:lnTo>
                          <a:pt x="528" y="1788"/>
                        </a:lnTo>
                        <a:lnTo>
                          <a:pt x="540" y="1794"/>
                        </a:lnTo>
                        <a:lnTo>
                          <a:pt x="552" y="1794"/>
                        </a:lnTo>
                        <a:lnTo>
                          <a:pt x="558" y="1800"/>
                        </a:lnTo>
                        <a:lnTo>
                          <a:pt x="564" y="1800"/>
                        </a:lnTo>
                        <a:lnTo>
                          <a:pt x="582" y="1818"/>
                        </a:lnTo>
                        <a:lnTo>
                          <a:pt x="600" y="1812"/>
                        </a:lnTo>
                        <a:lnTo>
                          <a:pt x="600" y="1830"/>
                        </a:lnTo>
                        <a:lnTo>
                          <a:pt x="612" y="1836"/>
                        </a:lnTo>
                        <a:lnTo>
                          <a:pt x="624" y="1836"/>
                        </a:lnTo>
                        <a:lnTo>
                          <a:pt x="666" y="1872"/>
                        </a:lnTo>
                        <a:lnTo>
                          <a:pt x="690" y="1854"/>
                        </a:lnTo>
                        <a:lnTo>
                          <a:pt x="696" y="1848"/>
                        </a:lnTo>
                        <a:lnTo>
                          <a:pt x="708" y="1842"/>
                        </a:lnTo>
                        <a:lnTo>
                          <a:pt x="720" y="1842"/>
                        </a:lnTo>
                        <a:lnTo>
                          <a:pt x="732" y="1848"/>
                        </a:lnTo>
                        <a:lnTo>
                          <a:pt x="744" y="1860"/>
                        </a:lnTo>
                        <a:lnTo>
                          <a:pt x="750" y="1872"/>
                        </a:lnTo>
                        <a:lnTo>
                          <a:pt x="762" y="1878"/>
                        </a:lnTo>
                        <a:lnTo>
                          <a:pt x="780" y="1896"/>
                        </a:lnTo>
                        <a:lnTo>
                          <a:pt x="822" y="1902"/>
                        </a:lnTo>
                        <a:lnTo>
                          <a:pt x="828" y="1914"/>
                        </a:lnTo>
                        <a:lnTo>
                          <a:pt x="834" y="1920"/>
                        </a:lnTo>
                        <a:lnTo>
                          <a:pt x="840" y="1932"/>
                        </a:lnTo>
                        <a:lnTo>
                          <a:pt x="846" y="1938"/>
                        </a:lnTo>
                        <a:lnTo>
                          <a:pt x="846" y="1950"/>
                        </a:lnTo>
                        <a:lnTo>
                          <a:pt x="858" y="1950"/>
                        </a:lnTo>
                        <a:lnTo>
                          <a:pt x="858" y="1944"/>
                        </a:lnTo>
                        <a:lnTo>
                          <a:pt x="864" y="1938"/>
                        </a:lnTo>
                        <a:lnTo>
                          <a:pt x="870" y="1926"/>
                        </a:lnTo>
                        <a:lnTo>
                          <a:pt x="882" y="1926"/>
                        </a:lnTo>
                        <a:lnTo>
                          <a:pt x="888" y="1932"/>
                        </a:lnTo>
                        <a:lnTo>
                          <a:pt x="894" y="1944"/>
                        </a:lnTo>
                        <a:lnTo>
                          <a:pt x="894" y="1962"/>
                        </a:lnTo>
                        <a:lnTo>
                          <a:pt x="924" y="1992"/>
                        </a:lnTo>
                        <a:lnTo>
                          <a:pt x="936" y="1998"/>
                        </a:lnTo>
                        <a:lnTo>
                          <a:pt x="942" y="1992"/>
                        </a:lnTo>
                        <a:lnTo>
                          <a:pt x="954" y="1986"/>
                        </a:lnTo>
                        <a:lnTo>
                          <a:pt x="960" y="1986"/>
                        </a:lnTo>
                        <a:lnTo>
                          <a:pt x="966" y="1992"/>
                        </a:lnTo>
                        <a:lnTo>
                          <a:pt x="966" y="1998"/>
                        </a:lnTo>
                        <a:lnTo>
                          <a:pt x="960" y="2004"/>
                        </a:lnTo>
                        <a:lnTo>
                          <a:pt x="960" y="2010"/>
                        </a:lnTo>
                        <a:lnTo>
                          <a:pt x="966" y="2010"/>
                        </a:lnTo>
                        <a:lnTo>
                          <a:pt x="972" y="2016"/>
                        </a:lnTo>
                        <a:lnTo>
                          <a:pt x="990" y="2022"/>
                        </a:lnTo>
                        <a:lnTo>
                          <a:pt x="1002" y="2022"/>
                        </a:lnTo>
                        <a:lnTo>
                          <a:pt x="1008" y="2016"/>
                        </a:lnTo>
                        <a:lnTo>
                          <a:pt x="1014" y="2016"/>
                        </a:lnTo>
                        <a:lnTo>
                          <a:pt x="1014" y="2034"/>
                        </a:lnTo>
                        <a:lnTo>
                          <a:pt x="1020" y="2040"/>
                        </a:lnTo>
                        <a:lnTo>
                          <a:pt x="1032" y="2040"/>
                        </a:lnTo>
                        <a:lnTo>
                          <a:pt x="1044" y="2028"/>
                        </a:lnTo>
                        <a:lnTo>
                          <a:pt x="1044" y="2022"/>
                        </a:lnTo>
                        <a:lnTo>
                          <a:pt x="1044" y="2034"/>
                        </a:lnTo>
                        <a:lnTo>
                          <a:pt x="1050" y="2040"/>
                        </a:lnTo>
                        <a:lnTo>
                          <a:pt x="1068" y="2040"/>
                        </a:lnTo>
                        <a:lnTo>
                          <a:pt x="1074" y="2034"/>
                        </a:lnTo>
                        <a:lnTo>
                          <a:pt x="1074" y="2028"/>
                        </a:lnTo>
                        <a:lnTo>
                          <a:pt x="1086" y="2034"/>
                        </a:lnTo>
                        <a:lnTo>
                          <a:pt x="1092" y="2040"/>
                        </a:lnTo>
                        <a:lnTo>
                          <a:pt x="1110" y="2046"/>
                        </a:lnTo>
                        <a:lnTo>
                          <a:pt x="1134" y="2058"/>
                        </a:lnTo>
                        <a:lnTo>
                          <a:pt x="1158" y="2058"/>
                        </a:lnTo>
                        <a:lnTo>
                          <a:pt x="1176" y="2040"/>
                        </a:lnTo>
                        <a:lnTo>
                          <a:pt x="1194" y="2034"/>
                        </a:lnTo>
                        <a:lnTo>
                          <a:pt x="1206" y="2028"/>
                        </a:lnTo>
                        <a:lnTo>
                          <a:pt x="1212" y="2028"/>
                        </a:lnTo>
                        <a:lnTo>
                          <a:pt x="1224" y="2034"/>
                        </a:lnTo>
                        <a:lnTo>
                          <a:pt x="1230" y="2040"/>
                        </a:lnTo>
                        <a:lnTo>
                          <a:pt x="1230" y="2088"/>
                        </a:lnTo>
                        <a:lnTo>
                          <a:pt x="1236" y="2094"/>
                        </a:lnTo>
                        <a:lnTo>
                          <a:pt x="1242" y="2094"/>
                        </a:lnTo>
                        <a:lnTo>
                          <a:pt x="1242" y="2088"/>
                        </a:lnTo>
                        <a:lnTo>
                          <a:pt x="1248" y="2082"/>
                        </a:lnTo>
                        <a:lnTo>
                          <a:pt x="1254" y="2070"/>
                        </a:lnTo>
                        <a:lnTo>
                          <a:pt x="1266" y="2052"/>
                        </a:lnTo>
                        <a:lnTo>
                          <a:pt x="1272" y="2040"/>
                        </a:lnTo>
                        <a:lnTo>
                          <a:pt x="1284" y="2028"/>
                        </a:lnTo>
                        <a:lnTo>
                          <a:pt x="1290" y="2016"/>
                        </a:lnTo>
                        <a:lnTo>
                          <a:pt x="1302" y="2016"/>
                        </a:lnTo>
                        <a:lnTo>
                          <a:pt x="1314" y="2022"/>
                        </a:lnTo>
                        <a:lnTo>
                          <a:pt x="1338" y="2022"/>
                        </a:lnTo>
                        <a:lnTo>
                          <a:pt x="1338" y="2046"/>
                        </a:lnTo>
                        <a:lnTo>
                          <a:pt x="1344" y="2046"/>
                        </a:lnTo>
                        <a:lnTo>
                          <a:pt x="1350" y="2040"/>
                        </a:lnTo>
                        <a:lnTo>
                          <a:pt x="1362" y="2034"/>
                        </a:lnTo>
                        <a:lnTo>
                          <a:pt x="1374" y="2034"/>
                        </a:lnTo>
                        <a:lnTo>
                          <a:pt x="1386" y="2028"/>
                        </a:lnTo>
                        <a:lnTo>
                          <a:pt x="1398" y="2028"/>
                        </a:lnTo>
                        <a:lnTo>
                          <a:pt x="1410" y="2034"/>
                        </a:lnTo>
                        <a:lnTo>
                          <a:pt x="1422" y="2046"/>
                        </a:lnTo>
                        <a:lnTo>
                          <a:pt x="1428" y="2058"/>
                        </a:lnTo>
                        <a:lnTo>
                          <a:pt x="1428" y="2064"/>
                        </a:lnTo>
                        <a:lnTo>
                          <a:pt x="1482" y="2064"/>
                        </a:lnTo>
                        <a:lnTo>
                          <a:pt x="1494" y="2052"/>
                        </a:lnTo>
                        <a:lnTo>
                          <a:pt x="1494" y="2034"/>
                        </a:lnTo>
                        <a:lnTo>
                          <a:pt x="1488" y="2022"/>
                        </a:lnTo>
                        <a:lnTo>
                          <a:pt x="1518" y="2022"/>
                        </a:lnTo>
                        <a:lnTo>
                          <a:pt x="1524" y="2016"/>
                        </a:lnTo>
                        <a:lnTo>
                          <a:pt x="1524" y="1992"/>
                        </a:lnTo>
                        <a:lnTo>
                          <a:pt x="1518" y="1986"/>
                        </a:lnTo>
                        <a:lnTo>
                          <a:pt x="1518" y="1980"/>
                        </a:lnTo>
                        <a:lnTo>
                          <a:pt x="1554" y="1980"/>
                        </a:lnTo>
                        <a:lnTo>
                          <a:pt x="1578" y="1956"/>
                        </a:lnTo>
                        <a:lnTo>
                          <a:pt x="1590" y="1950"/>
                        </a:lnTo>
                        <a:lnTo>
                          <a:pt x="1602" y="1938"/>
                        </a:lnTo>
                        <a:lnTo>
                          <a:pt x="1620" y="1938"/>
                        </a:lnTo>
                        <a:lnTo>
                          <a:pt x="1632" y="1944"/>
                        </a:lnTo>
                        <a:lnTo>
                          <a:pt x="1650" y="1956"/>
                        </a:lnTo>
                        <a:lnTo>
                          <a:pt x="1668" y="1956"/>
                        </a:lnTo>
                        <a:lnTo>
                          <a:pt x="1668" y="1932"/>
                        </a:lnTo>
                        <a:lnTo>
                          <a:pt x="1680" y="1920"/>
                        </a:lnTo>
                        <a:lnTo>
                          <a:pt x="1716" y="1938"/>
                        </a:lnTo>
                        <a:lnTo>
                          <a:pt x="1722" y="1944"/>
                        </a:lnTo>
                        <a:lnTo>
                          <a:pt x="1710" y="1956"/>
                        </a:lnTo>
                        <a:lnTo>
                          <a:pt x="1704" y="1956"/>
                        </a:lnTo>
                        <a:lnTo>
                          <a:pt x="1710" y="1962"/>
                        </a:lnTo>
                        <a:lnTo>
                          <a:pt x="1740" y="1962"/>
                        </a:lnTo>
                        <a:lnTo>
                          <a:pt x="1758" y="1992"/>
                        </a:lnTo>
                        <a:lnTo>
                          <a:pt x="1752" y="1992"/>
                        </a:lnTo>
                        <a:lnTo>
                          <a:pt x="1740" y="2004"/>
                        </a:lnTo>
                        <a:lnTo>
                          <a:pt x="1740" y="2010"/>
                        </a:lnTo>
                        <a:lnTo>
                          <a:pt x="1806" y="2010"/>
                        </a:lnTo>
                        <a:lnTo>
                          <a:pt x="1812" y="2016"/>
                        </a:lnTo>
                        <a:lnTo>
                          <a:pt x="1818" y="2016"/>
                        </a:lnTo>
                        <a:lnTo>
                          <a:pt x="1824" y="1998"/>
                        </a:lnTo>
                        <a:lnTo>
                          <a:pt x="1830" y="1998"/>
                        </a:lnTo>
                        <a:lnTo>
                          <a:pt x="1836" y="2004"/>
                        </a:lnTo>
                        <a:lnTo>
                          <a:pt x="1842" y="2016"/>
                        </a:lnTo>
                        <a:lnTo>
                          <a:pt x="1854" y="2022"/>
                        </a:lnTo>
                        <a:lnTo>
                          <a:pt x="1872" y="2058"/>
                        </a:lnTo>
                        <a:lnTo>
                          <a:pt x="1878" y="2064"/>
                        </a:lnTo>
                        <a:lnTo>
                          <a:pt x="1878" y="2070"/>
                        </a:lnTo>
                        <a:lnTo>
                          <a:pt x="1914" y="2070"/>
                        </a:lnTo>
                        <a:lnTo>
                          <a:pt x="1920" y="2076"/>
                        </a:lnTo>
                        <a:lnTo>
                          <a:pt x="1920" y="2106"/>
                        </a:lnTo>
                        <a:lnTo>
                          <a:pt x="1932" y="2130"/>
                        </a:lnTo>
                        <a:lnTo>
                          <a:pt x="1944" y="2190"/>
                        </a:lnTo>
                        <a:lnTo>
                          <a:pt x="1932" y="2190"/>
                        </a:lnTo>
                        <a:lnTo>
                          <a:pt x="1926" y="2196"/>
                        </a:lnTo>
                        <a:lnTo>
                          <a:pt x="1914" y="2196"/>
                        </a:lnTo>
                        <a:lnTo>
                          <a:pt x="1932" y="2214"/>
                        </a:lnTo>
                        <a:lnTo>
                          <a:pt x="1932" y="2220"/>
                        </a:lnTo>
                        <a:lnTo>
                          <a:pt x="1926" y="2232"/>
                        </a:lnTo>
                        <a:lnTo>
                          <a:pt x="1920" y="2238"/>
                        </a:lnTo>
                        <a:lnTo>
                          <a:pt x="1908" y="2238"/>
                        </a:lnTo>
                        <a:lnTo>
                          <a:pt x="1902" y="2232"/>
                        </a:lnTo>
                        <a:lnTo>
                          <a:pt x="1902" y="2268"/>
                        </a:lnTo>
                        <a:lnTo>
                          <a:pt x="1896" y="2274"/>
                        </a:lnTo>
                        <a:lnTo>
                          <a:pt x="1884" y="2274"/>
                        </a:lnTo>
                        <a:lnTo>
                          <a:pt x="1890" y="2304"/>
                        </a:lnTo>
                        <a:lnTo>
                          <a:pt x="1878" y="2304"/>
                        </a:lnTo>
                        <a:lnTo>
                          <a:pt x="1878" y="2322"/>
                        </a:lnTo>
                        <a:lnTo>
                          <a:pt x="1896" y="2340"/>
                        </a:lnTo>
                        <a:lnTo>
                          <a:pt x="1902" y="2352"/>
                        </a:lnTo>
                        <a:lnTo>
                          <a:pt x="1890" y="2370"/>
                        </a:lnTo>
                        <a:lnTo>
                          <a:pt x="1902" y="2364"/>
                        </a:lnTo>
                        <a:lnTo>
                          <a:pt x="1908" y="2358"/>
                        </a:lnTo>
                        <a:lnTo>
                          <a:pt x="1920" y="2358"/>
                        </a:lnTo>
                        <a:lnTo>
                          <a:pt x="1926" y="2352"/>
                        </a:lnTo>
                        <a:lnTo>
                          <a:pt x="1986" y="2352"/>
                        </a:lnTo>
                        <a:lnTo>
                          <a:pt x="1956" y="2376"/>
                        </a:lnTo>
                        <a:lnTo>
                          <a:pt x="1980" y="2394"/>
                        </a:lnTo>
                        <a:lnTo>
                          <a:pt x="1992" y="2436"/>
                        </a:lnTo>
                        <a:lnTo>
                          <a:pt x="2022" y="2436"/>
                        </a:lnTo>
                        <a:lnTo>
                          <a:pt x="2034" y="2442"/>
                        </a:lnTo>
                        <a:lnTo>
                          <a:pt x="2040" y="2448"/>
                        </a:lnTo>
                        <a:lnTo>
                          <a:pt x="2040" y="2454"/>
                        </a:lnTo>
                        <a:lnTo>
                          <a:pt x="2034" y="2460"/>
                        </a:lnTo>
                        <a:lnTo>
                          <a:pt x="2022" y="2460"/>
                        </a:lnTo>
                        <a:lnTo>
                          <a:pt x="2016" y="2466"/>
                        </a:lnTo>
                        <a:lnTo>
                          <a:pt x="2028" y="2478"/>
                        </a:lnTo>
                        <a:lnTo>
                          <a:pt x="2028" y="2490"/>
                        </a:lnTo>
                        <a:lnTo>
                          <a:pt x="2022" y="2496"/>
                        </a:lnTo>
                        <a:lnTo>
                          <a:pt x="2022" y="2502"/>
                        </a:lnTo>
                        <a:lnTo>
                          <a:pt x="2016" y="2514"/>
                        </a:lnTo>
                        <a:lnTo>
                          <a:pt x="2070" y="2520"/>
                        </a:lnTo>
                        <a:lnTo>
                          <a:pt x="2082" y="2550"/>
                        </a:lnTo>
                        <a:lnTo>
                          <a:pt x="2094" y="2550"/>
                        </a:lnTo>
                        <a:lnTo>
                          <a:pt x="2094" y="2568"/>
                        </a:lnTo>
                        <a:lnTo>
                          <a:pt x="2136" y="2568"/>
                        </a:lnTo>
                        <a:lnTo>
                          <a:pt x="2136" y="2562"/>
                        </a:lnTo>
                        <a:lnTo>
                          <a:pt x="2154" y="2544"/>
                        </a:lnTo>
                        <a:lnTo>
                          <a:pt x="2166" y="2544"/>
                        </a:lnTo>
                        <a:lnTo>
                          <a:pt x="2172" y="2550"/>
                        </a:lnTo>
                        <a:lnTo>
                          <a:pt x="2172" y="2592"/>
                        </a:lnTo>
                        <a:lnTo>
                          <a:pt x="2214" y="2592"/>
                        </a:lnTo>
                        <a:lnTo>
                          <a:pt x="2214" y="2556"/>
                        </a:lnTo>
                        <a:lnTo>
                          <a:pt x="2190" y="2532"/>
                        </a:lnTo>
                        <a:lnTo>
                          <a:pt x="2190" y="2490"/>
                        </a:lnTo>
                        <a:lnTo>
                          <a:pt x="2196" y="2484"/>
                        </a:lnTo>
                        <a:lnTo>
                          <a:pt x="2232" y="2490"/>
                        </a:lnTo>
                        <a:lnTo>
                          <a:pt x="2232" y="2472"/>
                        </a:lnTo>
                        <a:lnTo>
                          <a:pt x="2238" y="2460"/>
                        </a:lnTo>
                        <a:lnTo>
                          <a:pt x="2250" y="2460"/>
                        </a:lnTo>
                        <a:lnTo>
                          <a:pt x="2274" y="2484"/>
                        </a:lnTo>
                        <a:lnTo>
                          <a:pt x="2286" y="2484"/>
                        </a:lnTo>
                        <a:lnTo>
                          <a:pt x="2292" y="2478"/>
                        </a:lnTo>
                        <a:lnTo>
                          <a:pt x="2298" y="2466"/>
                        </a:lnTo>
                        <a:lnTo>
                          <a:pt x="2304" y="2460"/>
                        </a:lnTo>
                        <a:lnTo>
                          <a:pt x="2322" y="2478"/>
                        </a:lnTo>
                        <a:lnTo>
                          <a:pt x="2322" y="2460"/>
                        </a:lnTo>
                        <a:lnTo>
                          <a:pt x="2328" y="2460"/>
                        </a:lnTo>
                        <a:lnTo>
                          <a:pt x="2340" y="2478"/>
                        </a:lnTo>
                        <a:lnTo>
                          <a:pt x="2346" y="2484"/>
                        </a:lnTo>
                        <a:lnTo>
                          <a:pt x="2364" y="2484"/>
                        </a:lnTo>
                        <a:lnTo>
                          <a:pt x="2364" y="2472"/>
                        </a:lnTo>
                        <a:lnTo>
                          <a:pt x="2352" y="2460"/>
                        </a:lnTo>
                        <a:lnTo>
                          <a:pt x="2370" y="2460"/>
                        </a:lnTo>
                        <a:lnTo>
                          <a:pt x="2376" y="2466"/>
                        </a:lnTo>
                        <a:lnTo>
                          <a:pt x="2382" y="2460"/>
                        </a:lnTo>
                        <a:lnTo>
                          <a:pt x="2400" y="2460"/>
                        </a:lnTo>
                        <a:lnTo>
                          <a:pt x="2400" y="2454"/>
                        </a:lnTo>
                        <a:lnTo>
                          <a:pt x="2406" y="2442"/>
                        </a:lnTo>
                        <a:lnTo>
                          <a:pt x="2406" y="2430"/>
                        </a:lnTo>
                        <a:lnTo>
                          <a:pt x="2412" y="2424"/>
                        </a:lnTo>
                        <a:lnTo>
                          <a:pt x="2424" y="2418"/>
                        </a:lnTo>
                        <a:lnTo>
                          <a:pt x="2430" y="2412"/>
                        </a:lnTo>
                        <a:lnTo>
                          <a:pt x="2436" y="2412"/>
                        </a:lnTo>
                        <a:lnTo>
                          <a:pt x="2466" y="2448"/>
                        </a:lnTo>
                        <a:lnTo>
                          <a:pt x="2496" y="2442"/>
                        </a:lnTo>
                        <a:lnTo>
                          <a:pt x="2508" y="2454"/>
                        </a:lnTo>
                        <a:lnTo>
                          <a:pt x="2538" y="2454"/>
                        </a:lnTo>
                        <a:lnTo>
                          <a:pt x="2544" y="2460"/>
                        </a:lnTo>
                        <a:lnTo>
                          <a:pt x="2544" y="2466"/>
                        </a:lnTo>
                        <a:lnTo>
                          <a:pt x="2526" y="2484"/>
                        </a:lnTo>
                        <a:lnTo>
                          <a:pt x="2532" y="2502"/>
                        </a:lnTo>
                        <a:lnTo>
                          <a:pt x="2544" y="2508"/>
                        </a:lnTo>
                        <a:lnTo>
                          <a:pt x="2544" y="2526"/>
                        </a:lnTo>
                        <a:lnTo>
                          <a:pt x="2562" y="2526"/>
                        </a:lnTo>
                        <a:lnTo>
                          <a:pt x="2568" y="2532"/>
                        </a:lnTo>
                        <a:lnTo>
                          <a:pt x="2574" y="2544"/>
                        </a:lnTo>
                        <a:lnTo>
                          <a:pt x="2586" y="2550"/>
                        </a:lnTo>
                        <a:lnTo>
                          <a:pt x="2616" y="2550"/>
                        </a:lnTo>
                        <a:lnTo>
                          <a:pt x="2622" y="2556"/>
                        </a:lnTo>
                        <a:lnTo>
                          <a:pt x="2628" y="2556"/>
                        </a:lnTo>
                        <a:lnTo>
                          <a:pt x="2676" y="2526"/>
                        </a:lnTo>
                        <a:lnTo>
                          <a:pt x="2694" y="2538"/>
                        </a:lnTo>
                        <a:lnTo>
                          <a:pt x="2718" y="2538"/>
                        </a:lnTo>
                        <a:lnTo>
                          <a:pt x="2736" y="2544"/>
                        </a:lnTo>
                        <a:lnTo>
                          <a:pt x="2748" y="2544"/>
                        </a:lnTo>
                        <a:lnTo>
                          <a:pt x="2760" y="2550"/>
                        </a:lnTo>
                        <a:lnTo>
                          <a:pt x="2766" y="2556"/>
                        </a:lnTo>
                        <a:lnTo>
                          <a:pt x="2772" y="2568"/>
                        </a:lnTo>
                        <a:lnTo>
                          <a:pt x="2766" y="2580"/>
                        </a:lnTo>
                        <a:lnTo>
                          <a:pt x="2766" y="2604"/>
                        </a:lnTo>
                        <a:lnTo>
                          <a:pt x="2760" y="2616"/>
                        </a:lnTo>
                        <a:lnTo>
                          <a:pt x="2766" y="2628"/>
                        </a:lnTo>
                        <a:lnTo>
                          <a:pt x="2772" y="2634"/>
                        </a:lnTo>
                        <a:lnTo>
                          <a:pt x="2784" y="2640"/>
                        </a:lnTo>
                        <a:lnTo>
                          <a:pt x="2790" y="2652"/>
                        </a:lnTo>
                        <a:lnTo>
                          <a:pt x="2802" y="2658"/>
                        </a:lnTo>
                        <a:lnTo>
                          <a:pt x="2808" y="2664"/>
                        </a:lnTo>
                        <a:lnTo>
                          <a:pt x="2826" y="2664"/>
                        </a:lnTo>
                        <a:lnTo>
                          <a:pt x="2832" y="2640"/>
                        </a:lnTo>
                        <a:lnTo>
                          <a:pt x="2832" y="2634"/>
                        </a:lnTo>
                        <a:lnTo>
                          <a:pt x="2826" y="2628"/>
                        </a:lnTo>
                        <a:lnTo>
                          <a:pt x="2826" y="2586"/>
                        </a:lnTo>
                        <a:lnTo>
                          <a:pt x="2832" y="2568"/>
                        </a:lnTo>
                        <a:lnTo>
                          <a:pt x="2844" y="2556"/>
                        </a:lnTo>
                        <a:lnTo>
                          <a:pt x="2856" y="2550"/>
                        </a:lnTo>
                        <a:lnTo>
                          <a:pt x="2886" y="2550"/>
                        </a:lnTo>
                        <a:lnTo>
                          <a:pt x="2898" y="2544"/>
                        </a:lnTo>
                        <a:lnTo>
                          <a:pt x="2910" y="2544"/>
                        </a:lnTo>
                        <a:lnTo>
                          <a:pt x="2922" y="2538"/>
                        </a:lnTo>
                        <a:lnTo>
                          <a:pt x="2940" y="2538"/>
                        </a:lnTo>
                        <a:lnTo>
                          <a:pt x="2964" y="2532"/>
                        </a:lnTo>
                        <a:lnTo>
                          <a:pt x="2982" y="2526"/>
                        </a:lnTo>
                        <a:lnTo>
                          <a:pt x="3000" y="2508"/>
                        </a:lnTo>
                        <a:lnTo>
                          <a:pt x="3000" y="2466"/>
                        </a:lnTo>
                        <a:lnTo>
                          <a:pt x="3006" y="2454"/>
                        </a:lnTo>
                        <a:lnTo>
                          <a:pt x="3012" y="2448"/>
                        </a:lnTo>
                        <a:lnTo>
                          <a:pt x="3024" y="2460"/>
                        </a:lnTo>
                        <a:lnTo>
                          <a:pt x="3036" y="2484"/>
                        </a:lnTo>
                        <a:lnTo>
                          <a:pt x="3042" y="2490"/>
                        </a:lnTo>
                        <a:lnTo>
                          <a:pt x="3048" y="2490"/>
                        </a:lnTo>
                        <a:lnTo>
                          <a:pt x="3054" y="2484"/>
                        </a:lnTo>
                        <a:lnTo>
                          <a:pt x="3066" y="2478"/>
                        </a:lnTo>
                        <a:lnTo>
                          <a:pt x="3072" y="2466"/>
                        </a:lnTo>
                        <a:lnTo>
                          <a:pt x="3090" y="2448"/>
                        </a:lnTo>
                        <a:lnTo>
                          <a:pt x="3096" y="2436"/>
                        </a:lnTo>
                        <a:lnTo>
                          <a:pt x="3114" y="2454"/>
                        </a:lnTo>
                        <a:lnTo>
                          <a:pt x="3144" y="2442"/>
                        </a:lnTo>
                        <a:lnTo>
                          <a:pt x="3150" y="2442"/>
                        </a:lnTo>
                        <a:lnTo>
                          <a:pt x="3156" y="2448"/>
                        </a:lnTo>
                        <a:lnTo>
                          <a:pt x="3186" y="2448"/>
                        </a:lnTo>
                        <a:lnTo>
                          <a:pt x="3234" y="2424"/>
                        </a:lnTo>
                        <a:lnTo>
                          <a:pt x="3288" y="2370"/>
                        </a:lnTo>
                        <a:lnTo>
                          <a:pt x="3294" y="2358"/>
                        </a:lnTo>
                        <a:lnTo>
                          <a:pt x="3300" y="2352"/>
                        </a:lnTo>
                        <a:lnTo>
                          <a:pt x="3294" y="2340"/>
                        </a:lnTo>
                        <a:lnTo>
                          <a:pt x="3294" y="2334"/>
                        </a:lnTo>
                        <a:lnTo>
                          <a:pt x="3288" y="2322"/>
                        </a:lnTo>
                        <a:lnTo>
                          <a:pt x="3282" y="2316"/>
                        </a:lnTo>
                        <a:lnTo>
                          <a:pt x="3300" y="2316"/>
                        </a:lnTo>
                        <a:lnTo>
                          <a:pt x="3312" y="2286"/>
                        </a:lnTo>
                        <a:lnTo>
                          <a:pt x="3336" y="2286"/>
                        </a:lnTo>
                        <a:lnTo>
                          <a:pt x="3348" y="2250"/>
                        </a:lnTo>
                        <a:lnTo>
                          <a:pt x="3360" y="2250"/>
                        </a:lnTo>
                        <a:lnTo>
                          <a:pt x="3360" y="2208"/>
                        </a:lnTo>
                        <a:lnTo>
                          <a:pt x="3372" y="2208"/>
                        </a:lnTo>
                        <a:lnTo>
                          <a:pt x="3384" y="2196"/>
                        </a:lnTo>
                        <a:lnTo>
                          <a:pt x="3384" y="2172"/>
                        </a:lnTo>
                        <a:lnTo>
                          <a:pt x="3378" y="2160"/>
                        </a:lnTo>
                        <a:lnTo>
                          <a:pt x="3372" y="2154"/>
                        </a:lnTo>
                        <a:lnTo>
                          <a:pt x="3372" y="2142"/>
                        </a:lnTo>
                        <a:lnTo>
                          <a:pt x="3378" y="2136"/>
                        </a:lnTo>
                        <a:lnTo>
                          <a:pt x="3384" y="2136"/>
                        </a:lnTo>
                        <a:lnTo>
                          <a:pt x="3390" y="2130"/>
                        </a:lnTo>
                        <a:lnTo>
                          <a:pt x="3402" y="2124"/>
                        </a:lnTo>
                        <a:lnTo>
                          <a:pt x="3408" y="2118"/>
                        </a:lnTo>
                        <a:lnTo>
                          <a:pt x="3408" y="2094"/>
                        </a:lnTo>
                        <a:lnTo>
                          <a:pt x="3390" y="2076"/>
                        </a:lnTo>
                        <a:lnTo>
                          <a:pt x="3390" y="2064"/>
                        </a:lnTo>
                        <a:lnTo>
                          <a:pt x="3402" y="2058"/>
                        </a:lnTo>
                        <a:lnTo>
                          <a:pt x="3408" y="2052"/>
                        </a:lnTo>
                        <a:lnTo>
                          <a:pt x="3408" y="2016"/>
                        </a:lnTo>
                        <a:lnTo>
                          <a:pt x="3414" y="2016"/>
                        </a:lnTo>
                        <a:lnTo>
                          <a:pt x="3420" y="2010"/>
                        </a:lnTo>
                        <a:lnTo>
                          <a:pt x="3456" y="1992"/>
                        </a:lnTo>
                        <a:lnTo>
                          <a:pt x="3462" y="1980"/>
                        </a:lnTo>
                        <a:lnTo>
                          <a:pt x="3462" y="1962"/>
                        </a:lnTo>
                        <a:lnTo>
                          <a:pt x="3456" y="1956"/>
                        </a:lnTo>
                        <a:lnTo>
                          <a:pt x="3444" y="1956"/>
                        </a:lnTo>
                        <a:lnTo>
                          <a:pt x="3450" y="1956"/>
                        </a:lnTo>
                        <a:lnTo>
                          <a:pt x="3456" y="1950"/>
                        </a:lnTo>
                        <a:lnTo>
                          <a:pt x="3468" y="1950"/>
                        </a:lnTo>
                        <a:lnTo>
                          <a:pt x="3480" y="1944"/>
                        </a:lnTo>
                        <a:lnTo>
                          <a:pt x="3492" y="1932"/>
                        </a:lnTo>
                        <a:lnTo>
                          <a:pt x="3474" y="1914"/>
                        </a:lnTo>
                        <a:lnTo>
                          <a:pt x="3468" y="1914"/>
                        </a:lnTo>
                        <a:lnTo>
                          <a:pt x="3486" y="1896"/>
                        </a:lnTo>
                        <a:lnTo>
                          <a:pt x="3498" y="1872"/>
                        </a:lnTo>
                        <a:lnTo>
                          <a:pt x="3504" y="1866"/>
                        </a:lnTo>
                        <a:lnTo>
                          <a:pt x="3504" y="1854"/>
                        </a:lnTo>
                        <a:lnTo>
                          <a:pt x="3498" y="1848"/>
                        </a:lnTo>
                        <a:lnTo>
                          <a:pt x="3474" y="1842"/>
                        </a:lnTo>
                        <a:lnTo>
                          <a:pt x="3438" y="1848"/>
                        </a:lnTo>
                        <a:lnTo>
                          <a:pt x="3396" y="1854"/>
                        </a:lnTo>
                        <a:lnTo>
                          <a:pt x="3366" y="1860"/>
                        </a:lnTo>
                        <a:lnTo>
                          <a:pt x="3354" y="1866"/>
                        </a:lnTo>
                        <a:lnTo>
                          <a:pt x="3336" y="1848"/>
                        </a:lnTo>
                        <a:lnTo>
                          <a:pt x="3378" y="1848"/>
                        </a:lnTo>
                        <a:lnTo>
                          <a:pt x="3378" y="1836"/>
                        </a:lnTo>
                        <a:lnTo>
                          <a:pt x="3384" y="1824"/>
                        </a:lnTo>
                        <a:lnTo>
                          <a:pt x="3390" y="1818"/>
                        </a:lnTo>
                        <a:lnTo>
                          <a:pt x="3402" y="1812"/>
                        </a:lnTo>
                        <a:lnTo>
                          <a:pt x="3432" y="1812"/>
                        </a:lnTo>
                        <a:lnTo>
                          <a:pt x="3426" y="1800"/>
                        </a:lnTo>
                        <a:lnTo>
                          <a:pt x="3420" y="1794"/>
                        </a:lnTo>
                        <a:lnTo>
                          <a:pt x="3414" y="1782"/>
                        </a:lnTo>
                        <a:lnTo>
                          <a:pt x="3414" y="1776"/>
                        </a:lnTo>
                        <a:lnTo>
                          <a:pt x="3408" y="1770"/>
                        </a:lnTo>
                        <a:lnTo>
                          <a:pt x="3390" y="1770"/>
                        </a:lnTo>
                        <a:lnTo>
                          <a:pt x="3378" y="1764"/>
                        </a:lnTo>
                        <a:lnTo>
                          <a:pt x="3366" y="1764"/>
                        </a:lnTo>
                        <a:lnTo>
                          <a:pt x="3354" y="1746"/>
                        </a:lnTo>
                        <a:lnTo>
                          <a:pt x="3342" y="1746"/>
                        </a:lnTo>
                        <a:lnTo>
                          <a:pt x="3336" y="1734"/>
                        </a:lnTo>
                        <a:lnTo>
                          <a:pt x="3324" y="1728"/>
                        </a:lnTo>
                        <a:lnTo>
                          <a:pt x="3294" y="1728"/>
                        </a:lnTo>
                        <a:lnTo>
                          <a:pt x="3288" y="1734"/>
                        </a:lnTo>
                        <a:lnTo>
                          <a:pt x="3282" y="1734"/>
                        </a:lnTo>
                        <a:lnTo>
                          <a:pt x="3246" y="1686"/>
                        </a:lnTo>
                        <a:lnTo>
                          <a:pt x="3252" y="1698"/>
                        </a:lnTo>
                        <a:lnTo>
                          <a:pt x="3264" y="1704"/>
                        </a:lnTo>
                        <a:lnTo>
                          <a:pt x="3270" y="1710"/>
                        </a:lnTo>
                        <a:lnTo>
                          <a:pt x="3282" y="1716"/>
                        </a:lnTo>
                        <a:lnTo>
                          <a:pt x="3294" y="1716"/>
                        </a:lnTo>
                        <a:lnTo>
                          <a:pt x="3300" y="1710"/>
                        </a:lnTo>
                        <a:lnTo>
                          <a:pt x="3306" y="1710"/>
                        </a:lnTo>
                        <a:lnTo>
                          <a:pt x="3336" y="1716"/>
                        </a:lnTo>
                        <a:lnTo>
                          <a:pt x="3348" y="1734"/>
                        </a:lnTo>
                        <a:lnTo>
                          <a:pt x="3366" y="1728"/>
                        </a:lnTo>
                        <a:lnTo>
                          <a:pt x="3408" y="1740"/>
                        </a:lnTo>
                        <a:lnTo>
                          <a:pt x="3390" y="1716"/>
                        </a:lnTo>
                        <a:lnTo>
                          <a:pt x="3372" y="1710"/>
                        </a:lnTo>
                        <a:lnTo>
                          <a:pt x="3372" y="1692"/>
                        </a:lnTo>
                        <a:lnTo>
                          <a:pt x="3360" y="1680"/>
                        </a:lnTo>
                        <a:lnTo>
                          <a:pt x="3348" y="1674"/>
                        </a:lnTo>
                        <a:lnTo>
                          <a:pt x="3330" y="1674"/>
                        </a:lnTo>
                        <a:lnTo>
                          <a:pt x="3318" y="1662"/>
                        </a:lnTo>
                        <a:lnTo>
                          <a:pt x="3318" y="1650"/>
                        </a:lnTo>
                        <a:lnTo>
                          <a:pt x="3312" y="1644"/>
                        </a:lnTo>
                        <a:lnTo>
                          <a:pt x="3312" y="1632"/>
                        </a:lnTo>
                        <a:lnTo>
                          <a:pt x="3234" y="1530"/>
                        </a:lnTo>
                        <a:lnTo>
                          <a:pt x="3198" y="1524"/>
                        </a:lnTo>
                        <a:lnTo>
                          <a:pt x="3162" y="1494"/>
                        </a:lnTo>
                        <a:lnTo>
                          <a:pt x="3144" y="1500"/>
                        </a:lnTo>
                        <a:lnTo>
                          <a:pt x="3138" y="1488"/>
                        </a:lnTo>
                        <a:lnTo>
                          <a:pt x="3132" y="1482"/>
                        </a:lnTo>
                        <a:lnTo>
                          <a:pt x="3132" y="1470"/>
                        </a:lnTo>
                        <a:lnTo>
                          <a:pt x="3126" y="1464"/>
                        </a:lnTo>
                        <a:lnTo>
                          <a:pt x="3138" y="1452"/>
                        </a:lnTo>
                        <a:lnTo>
                          <a:pt x="3150" y="1446"/>
                        </a:lnTo>
                        <a:lnTo>
                          <a:pt x="3156" y="1434"/>
                        </a:lnTo>
                        <a:lnTo>
                          <a:pt x="3162" y="1428"/>
                        </a:lnTo>
                        <a:lnTo>
                          <a:pt x="3168" y="1416"/>
                        </a:lnTo>
                        <a:lnTo>
                          <a:pt x="3168" y="1410"/>
                        </a:lnTo>
                        <a:lnTo>
                          <a:pt x="3162" y="1398"/>
                        </a:lnTo>
                        <a:lnTo>
                          <a:pt x="3162" y="1392"/>
                        </a:lnTo>
                        <a:lnTo>
                          <a:pt x="3156" y="1380"/>
                        </a:lnTo>
                        <a:lnTo>
                          <a:pt x="3168" y="1386"/>
                        </a:lnTo>
                        <a:lnTo>
                          <a:pt x="3174" y="1392"/>
                        </a:lnTo>
                        <a:lnTo>
                          <a:pt x="3186" y="1398"/>
                        </a:lnTo>
                        <a:lnTo>
                          <a:pt x="3198" y="1386"/>
                        </a:lnTo>
                        <a:lnTo>
                          <a:pt x="3198" y="1368"/>
                        </a:lnTo>
                        <a:lnTo>
                          <a:pt x="3192" y="1356"/>
                        </a:lnTo>
                        <a:lnTo>
                          <a:pt x="3192" y="1344"/>
                        </a:lnTo>
                        <a:lnTo>
                          <a:pt x="3216" y="1344"/>
                        </a:lnTo>
                        <a:lnTo>
                          <a:pt x="3252" y="1320"/>
                        </a:lnTo>
                        <a:lnTo>
                          <a:pt x="3264" y="1320"/>
                        </a:lnTo>
                        <a:lnTo>
                          <a:pt x="3270" y="1326"/>
                        </a:lnTo>
                        <a:lnTo>
                          <a:pt x="3294" y="1326"/>
                        </a:lnTo>
                        <a:lnTo>
                          <a:pt x="3294" y="1320"/>
                        </a:lnTo>
                        <a:lnTo>
                          <a:pt x="3288" y="1314"/>
                        </a:lnTo>
                        <a:lnTo>
                          <a:pt x="3288" y="1308"/>
                        </a:lnTo>
                        <a:lnTo>
                          <a:pt x="3282" y="1302"/>
                        </a:lnTo>
                        <a:lnTo>
                          <a:pt x="3288" y="1278"/>
                        </a:lnTo>
                        <a:lnTo>
                          <a:pt x="3258" y="1278"/>
                        </a:lnTo>
                        <a:lnTo>
                          <a:pt x="3246" y="1266"/>
                        </a:lnTo>
                        <a:lnTo>
                          <a:pt x="3240" y="1278"/>
                        </a:lnTo>
                        <a:lnTo>
                          <a:pt x="3204" y="1278"/>
                        </a:lnTo>
                        <a:lnTo>
                          <a:pt x="3198" y="1272"/>
                        </a:lnTo>
                        <a:lnTo>
                          <a:pt x="3192" y="1260"/>
                        </a:lnTo>
                        <a:lnTo>
                          <a:pt x="3180" y="1254"/>
                        </a:lnTo>
                        <a:lnTo>
                          <a:pt x="3174" y="1248"/>
                        </a:lnTo>
                        <a:lnTo>
                          <a:pt x="3150" y="1248"/>
                        </a:lnTo>
                        <a:lnTo>
                          <a:pt x="3144" y="1260"/>
                        </a:lnTo>
                        <a:lnTo>
                          <a:pt x="3132" y="1266"/>
                        </a:lnTo>
                        <a:lnTo>
                          <a:pt x="3114" y="1284"/>
                        </a:lnTo>
                        <a:lnTo>
                          <a:pt x="3114" y="1296"/>
                        </a:lnTo>
                        <a:lnTo>
                          <a:pt x="3108" y="1302"/>
                        </a:lnTo>
                        <a:lnTo>
                          <a:pt x="3108" y="1308"/>
                        </a:lnTo>
                        <a:lnTo>
                          <a:pt x="3078" y="1308"/>
                        </a:lnTo>
                        <a:lnTo>
                          <a:pt x="3054" y="1296"/>
                        </a:lnTo>
                        <a:lnTo>
                          <a:pt x="3048" y="1290"/>
                        </a:lnTo>
                        <a:lnTo>
                          <a:pt x="3042" y="1278"/>
                        </a:lnTo>
                        <a:lnTo>
                          <a:pt x="3030" y="1242"/>
                        </a:lnTo>
                        <a:lnTo>
                          <a:pt x="3024" y="1230"/>
                        </a:lnTo>
                        <a:lnTo>
                          <a:pt x="3018" y="1224"/>
                        </a:lnTo>
                        <a:lnTo>
                          <a:pt x="3006" y="1224"/>
                        </a:lnTo>
                        <a:lnTo>
                          <a:pt x="3000" y="1230"/>
                        </a:lnTo>
                        <a:lnTo>
                          <a:pt x="3000" y="1242"/>
                        </a:lnTo>
                        <a:lnTo>
                          <a:pt x="2988" y="1224"/>
                        </a:lnTo>
                        <a:lnTo>
                          <a:pt x="2952" y="1224"/>
                        </a:lnTo>
                        <a:lnTo>
                          <a:pt x="2940" y="1218"/>
                        </a:lnTo>
                        <a:lnTo>
                          <a:pt x="2934" y="1212"/>
                        </a:lnTo>
                        <a:lnTo>
                          <a:pt x="2928" y="1200"/>
                        </a:lnTo>
                        <a:lnTo>
                          <a:pt x="2916" y="1194"/>
                        </a:lnTo>
                        <a:lnTo>
                          <a:pt x="2910" y="1182"/>
                        </a:lnTo>
                        <a:lnTo>
                          <a:pt x="2910" y="1140"/>
                        </a:lnTo>
                        <a:lnTo>
                          <a:pt x="2928" y="1140"/>
                        </a:lnTo>
                        <a:lnTo>
                          <a:pt x="2940" y="1152"/>
                        </a:lnTo>
                        <a:lnTo>
                          <a:pt x="2946" y="1152"/>
                        </a:lnTo>
                        <a:lnTo>
                          <a:pt x="2952" y="1146"/>
                        </a:lnTo>
                        <a:lnTo>
                          <a:pt x="2952" y="1140"/>
                        </a:lnTo>
                        <a:lnTo>
                          <a:pt x="2958" y="1134"/>
                        </a:lnTo>
                        <a:lnTo>
                          <a:pt x="2964" y="1134"/>
                        </a:lnTo>
                        <a:lnTo>
                          <a:pt x="2970" y="1140"/>
                        </a:lnTo>
                        <a:lnTo>
                          <a:pt x="2982" y="1140"/>
                        </a:lnTo>
                        <a:lnTo>
                          <a:pt x="2994" y="1134"/>
                        </a:lnTo>
                        <a:lnTo>
                          <a:pt x="3000" y="1128"/>
                        </a:lnTo>
                        <a:lnTo>
                          <a:pt x="3000" y="1116"/>
                        </a:lnTo>
                        <a:lnTo>
                          <a:pt x="2994" y="1110"/>
                        </a:lnTo>
                        <a:lnTo>
                          <a:pt x="2994" y="1086"/>
                        </a:lnTo>
                        <a:lnTo>
                          <a:pt x="3000" y="1074"/>
                        </a:lnTo>
                        <a:lnTo>
                          <a:pt x="3000" y="1068"/>
                        </a:lnTo>
                        <a:lnTo>
                          <a:pt x="3036" y="1068"/>
                        </a:lnTo>
                        <a:lnTo>
                          <a:pt x="3042" y="1062"/>
                        </a:lnTo>
                        <a:lnTo>
                          <a:pt x="3048" y="1050"/>
                        </a:lnTo>
                        <a:lnTo>
                          <a:pt x="3048" y="1038"/>
                        </a:lnTo>
                        <a:lnTo>
                          <a:pt x="3054" y="1032"/>
                        </a:lnTo>
                        <a:lnTo>
                          <a:pt x="3054" y="1026"/>
                        </a:lnTo>
                        <a:lnTo>
                          <a:pt x="3072" y="1014"/>
                        </a:lnTo>
                        <a:lnTo>
                          <a:pt x="3060" y="1002"/>
                        </a:lnTo>
                        <a:lnTo>
                          <a:pt x="3096" y="1014"/>
                        </a:lnTo>
                        <a:lnTo>
                          <a:pt x="3114" y="996"/>
                        </a:lnTo>
                        <a:lnTo>
                          <a:pt x="3126" y="1002"/>
                        </a:lnTo>
                        <a:lnTo>
                          <a:pt x="3132" y="1014"/>
                        </a:lnTo>
                        <a:lnTo>
                          <a:pt x="3144" y="1020"/>
                        </a:lnTo>
                        <a:lnTo>
                          <a:pt x="3156" y="1044"/>
                        </a:lnTo>
                        <a:lnTo>
                          <a:pt x="3156" y="1050"/>
                        </a:lnTo>
                        <a:lnTo>
                          <a:pt x="3144" y="1074"/>
                        </a:lnTo>
                        <a:lnTo>
                          <a:pt x="3126" y="1092"/>
                        </a:lnTo>
                        <a:lnTo>
                          <a:pt x="3126" y="1104"/>
                        </a:lnTo>
                        <a:lnTo>
                          <a:pt x="3132" y="1116"/>
                        </a:lnTo>
                        <a:lnTo>
                          <a:pt x="3144" y="1128"/>
                        </a:lnTo>
                        <a:lnTo>
                          <a:pt x="3150" y="1128"/>
                        </a:lnTo>
                        <a:lnTo>
                          <a:pt x="3162" y="1122"/>
                        </a:lnTo>
                        <a:lnTo>
                          <a:pt x="3168" y="1122"/>
                        </a:lnTo>
                        <a:lnTo>
                          <a:pt x="3162" y="1152"/>
                        </a:lnTo>
                        <a:lnTo>
                          <a:pt x="3144" y="1170"/>
                        </a:lnTo>
                        <a:lnTo>
                          <a:pt x="3144" y="1176"/>
                        </a:lnTo>
                        <a:lnTo>
                          <a:pt x="3150" y="1176"/>
                        </a:lnTo>
                        <a:lnTo>
                          <a:pt x="3162" y="1170"/>
                        </a:lnTo>
                        <a:lnTo>
                          <a:pt x="3168" y="1164"/>
                        </a:lnTo>
                        <a:lnTo>
                          <a:pt x="3180" y="1158"/>
                        </a:lnTo>
                        <a:lnTo>
                          <a:pt x="3186" y="1158"/>
                        </a:lnTo>
                        <a:lnTo>
                          <a:pt x="3198" y="1146"/>
                        </a:lnTo>
                        <a:lnTo>
                          <a:pt x="3198" y="1122"/>
                        </a:lnTo>
                        <a:lnTo>
                          <a:pt x="3204" y="1122"/>
                        </a:lnTo>
                        <a:lnTo>
                          <a:pt x="3210" y="1116"/>
                        </a:lnTo>
                        <a:lnTo>
                          <a:pt x="3258" y="1092"/>
                        </a:lnTo>
                        <a:lnTo>
                          <a:pt x="3264" y="1086"/>
                        </a:lnTo>
                        <a:lnTo>
                          <a:pt x="3306" y="1086"/>
                        </a:lnTo>
                        <a:lnTo>
                          <a:pt x="3312" y="1074"/>
                        </a:lnTo>
                        <a:lnTo>
                          <a:pt x="3312" y="1062"/>
                        </a:lnTo>
                        <a:lnTo>
                          <a:pt x="3318" y="1056"/>
                        </a:lnTo>
                        <a:lnTo>
                          <a:pt x="3324" y="1044"/>
                        </a:lnTo>
                        <a:lnTo>
                          <a:pt x="3360" y="1026"/>
                        </a:lnTo>
                        <a:lnTo>
                          <a:pt x="3372" y="1014"/>
                        </a:lnTo>
                        <a:lnTo>
                          <a:pt x="3390" y="978"/>
                        </a:lnTo>
                        <a:lnTo>
                          <a:pt x="3390" y="948"/>
                        </a:lnTo>
                        <a:lnTo>
                          <a:pt x="3396" y="942"/>
                        </a:lnTo>
                        <a:lnTo>
                          <a:pt x="3396" y="936"/>
                        </a:lnTo>
                        <a:lnTo>
                          <a:pt x="3408" y="936"/>
                        </a:lnTo>
                        <a:lnTo>
                          <a:pt x="3420" y="942"/>
                        </a:lnTo>
                        <a:lnTo>
                          <a:pt x="3432" y="954"/>
                        </a:lnTo>
                        <a:lnTo>
                          <a:pt x="3444" y="954"/>
                        </a:lnTo>
                        <a:lnTo>
                          <a:pt x="3456" y="960"/>
                        </a:lnTo>
                        <a:lnTo>
                          <a:pt x="3504" y="960"/>
                        </a:lnTo>
                        <a:lnTo>
                          <a:pt x="3504" y="948"/>
                        </a:lnTo>
                        <a:lnTo>
                          <a:pt x="3498" y="948"/>
                        </a:lnTo>
                        <a:lnTo>
                          <a:pt x="3474" y="924"/>
                        </a:lnTo>
                        <a:lnTo>
                          <a:pt x="3474" y="912"/>
                        </a:lnTo>
                        <a:lnTo>
                          <a:pt x="3480" y="906"/>
                        </a:lnTo>
                        <a:lnTo>
                          <a:pt x="3486" y="912"/>
                        </a:lnTo>
                        <a:lnTo>
                          <a:pt x="3510" y="912"/>
                        </a:lnTo>
                        <a:lnTo>
                          <a:pt x="3522" y="918"/>
                        </a:lnTo>
                        <a:lnTo>
                          <a:pt x="3534" y="912"/>
                        </a:lnTo>
                        <a:lnTo>
                          <a:pt x="3540" y="900"/>
                        </a:lnTo>
                        <a:lnTo>
                          <a:pt x="3540" y="894"/>
                        </a:lnTo>
                        <a:lnTo>
                          <a:pt x="3534" y="882"/>
                        </a:lnTo>
                        <a:lnTo>
                          <a:pt x="3558" y="882"/>
                        </a:lnTo>
                        <a:lnTo>
                          <a:pt x="3558" y="864"/>
                        </a:lnTo>
                        <a:lnTo>
                          <a:pt x="3552" y="852"/>
                        </a:lnTo>
                        <a:lnTo>
                          <a:pt x="3546" y="846"/>
                        </a:lnTo>
                        <a:lnTo>
                          <a:pt x="3546" y="840"/>
                        </a:lnTo>
                        <a:lnTo>
                          <a:pt x="3576" y="840"/>
                        </a:lnTo>
                        <a:lnTo>
                          <a:pt x="3594" y="864"/>
                        </a:lnTo>
                        <a:lnTo>
                          <a:pt x="3600" y="840"/>
                        </a:lnTo>
                        <a:lnTo>
                          <a:pt x="3630" y="846"/>
                        </a:lnTo>
                        <a:lnTo>
                          <a:pt x="3624" y="810"/>
                        </a:lnTo>
                        <a:lnTo>
                          <a:pt x="3618" y="798"/>
                        </a:lnTo>
                        <a:lnTo>
                          <a:pt x="3606" y="786"/>
                        </a:lnTo>
                        <a:lnTo>
                          <a:pt x="3606" y="774"/>
                        </a:lnTo>
                        <a:lnTo>
                          <a:pt x="3600" y="756"/>
                        </a:lnTo>
                        <a:lnTo>
                          <a:pt x="3588" y="744"/>
                        </a:lnTo>
                        <a:lnTo>
                          <a:pt x="3576" y="726"/>
                        </a:lnTo>
                        <a:lnTo>
                          <a:pt x="3564" y="720"/>
                        </a:lnTo>
                        <a:lnTo>
                          <a:pt x="3552" y="708"/>
                        </a:lnTo>
                        <a:lnTo>
                          <a:pt x="3546" y="708"/>
                        </a:lnTo>
                        <a:lnTo>
                          <a:pt x="3540" y="696"/>
                        </a:lnTo>
                        <a:lnTo>
                          <a:pt x="3540" y="684"/>
                        </a:lnTo>
                        <a:lnTo>
                          <a:pt x="3564" y="684"/>
                        </a:lnTo>
                        <a:lnTo>
                          <a:pt x="3564" y="672"/>
                        </a:lnTo>
                        <a:lnTo>
                          <a:pt x="3558" y="666"/>
                        </a:lnTo>
                        <a:lnTo>
                          <a:pt x="3564" y="660"/>
                        </a:lnTo>
                        <a:lnTo>
                          <a:pt x="3588" y="660"/>
                        </a:lnTo>
                        <a:lnTo>
                          <a:pt x="3600" y="666"/>
                        </a:lnTo>
                        <a:lnTo>
                          <a:pt x="3618" y="672"/>
                        </a:lnTo>
                        <a:lnTo>
                          <a:pt x="3630" y="672"/>
                        </a:lnTo>
                        <a:lnTo>
                          <a:pt x="3642" y="678"/>
                        </a:lnTo>
                        <a:lnTo>
                          <a:pt x="3648" y="678"/>
                        </a:lnTo>
                        <a:lnTo>
                          <a:pt x="3654" y="672"/>
                        </a:lnTo>
                        <a:lnTo>
                          <a:pt x="3654" y="660"/>
                        </a:lnTo>
                        <a:lnTo>
                          <a:pt x="3648" y="648"/>
                        </a:lnTo>
                        <a:lnTo>
                          <a:pt x="3648" y="630"/>
                        </a:lnTo>
                        <a:lnTo>
                          <a:pt x="3654" y="630"/>
                        </a:lnTo>
                        <a:lnTo>
                          <a:pt x="3660" y="62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63" name="Chad"/>
                  <p:cNvSpPr>
                    <a:spLocks/>
                  </p:cNvSpPr>
                  <p:nvPr/>
                </p:nvSpPr>
                <p:spPr bwMode="gray">
                  <a:xfrm>
                    <a:off x="2896" y="1826"/>
                    <a:ext cx="190" cy="330"/>
                  </a:xfrm>
                  <a:custGeom>
                    <a:avLst/>
                    <a:gdLst>
                      <a:gd name="T0" fmla="*/ 2147483647 w 744"/>
                      <a:gd name="T1" fmla="*/ 2147483647 h 1290"/>
                      <a:gd name="T2" fmla="*/ 2147483647 w 744"/>
                      <a:gd name="T3" fmla="*/ 0 h 1290"/>
                      <a:gd name="T4" fmla="*/ 2147483647 w 744"/>
                      <a:gd name="T5" fmla="*/ 2147483647 h 1290"/>
                      <a:gd name="T6" fmla="*/ 2147483647 w 744"/>
                      <a:gd name="T7" fmla="*/ 2147483647 h 1290"/>
                      <a:gd name="T8" fmla="*/ 2147483647 w 744"/>
                      <a:gd name="T9" fmla="*/ 2147483647 h 1290"/>
                      <a:gd name="T10" fmla="*/ 2147483647 w 744"/>
                      <a:gd name="T11" fmla="*/ 2147483647 h 1290"/>
                      <a:gd name="T12" fmla="*/ 2147483647 w 744"/>
                      <a:gd name="T13" fmla="*/ 2147483647 h 1290"/>
                      <a:gd name="T14" fmla="*/ 2147483647 w 744"/>
                      <a:gd name="T15" fmla="*/ 2147483647 h 1290"/>
                      <a:gd name="T16" fmla="*/ 2147483647 w 744"/>
                      <a:gd name="T17" fmla="*/ 2147483647 h 1290"/>
                      <a:gd name="T18" fmla="*/ 0 w 744"/>
                      <a:gd name="T19" fmla="*/ 2147483647 h 1290"/>
                      <a:gd name="T20" fmla="*/ 2147483647 w 744"/>
                      <a:gd name="T21" fmla="*/ 2147483647 h 1290"/>
                      <a:gd name="T22" fmla="*/ 2147483647 w 744"/>
                      <a:gd name="T23" fmla="*/ 2147483647 h 1290"/>
                      <a:gd name="T24" fmla="*/ 2147483647 w 744"/>
                      <a:gd name="T25" fmla="*/ 2147483647 h 1290"/>
                      <a:gd name="T26" fmla="*/ 2147483647 w 744"/>
                      <a:gd name="T27" fmla="*/ 2147483647 h 1290"/>
                      <a:gd name="T28" fmla="*/ 2147483647 w 744"/>
                      <a:gd name="T29" fmla="*/ 2147483647 h 1290"/>
                      <a:gd name="T30" fmla="*/ 2147483647 w 744"/>
                      <a:gd name="T31" fmla="*/ 2147483647 h 1290"/>
                      <a:gd name="T32" fmla="*/ 2147483647 w 744"/>
                      <a:gd name="T33" fmla="*/ 2147483647 h 1290"/>
                      <a:gd name="T34" fmla="*/ 2147483647 w 744"/>
                      <a:gd name="T35" fmla="*/ 2147483647 h 1290"/>
                      <a:gd name="T36" fmla="*/ 2147483647 w 744"/>
                      <a:gd name="T37" fmla="*/ 2147483647 h 1290"/>
                      <a:gd name="T38" fmla="*/ 2147483647 w 744"/>
                      <a:gd name="T39" fmla="*/ 2147483647 h 1290"/>
                      <a:gd name="T40" fmla="*/ 2147483647 w 744"/>
                      <a:gd name="T41" fmla="*/ 2147483647 h 1290"/>
                      <a:gd name="T42" fmla="*/ 2147483647 w 744"/>
                      <a:gd name="T43" fmla="*/ 2147483647 h 1290"/>
                      <a:gd name="T44" fmla="*/ 2147483647 w 744"/>
                      <a:gd name="T45" fmla="*/ 2147483647 h 1290"/>
                      <a:gd name="T46" fmla="*/ 2147483647 w 744"/>
                      <a:gd name="T47" fmla="*/ 2147483647 h 1290"/>
                      <a:gd name="T48" fmla="*/ 2147483647 w 744"/>
                      <a:gd name="T49" fmla="*/ 2147483647 h 1290"/>
                      <a:gd name="T50" fmla="*/ 2147483647 w 744"/>
                      <a:gd name="T51" fmla="*/ 2147483647 h 1290"/>
                      <a:gd name="T52" fmla="*/ 2147483647 w 744"/>
                      <a:gd name="T53" fmla="*/ 2147483647 h 1290"/>
                      <a:gd name="T54" fmla="*/ 2147483647 w 744"/>
                      <a:gd name="T55" fmla="*/ 2147483647 h 1290"/>
                      <a:gd name="T56" fmla="*/ 2147483647 w 744"/>
                      <a:gd name="T57" fmla="*/ 2147483647 h 1290"/>
                      <a:gd name="T58" fmla="*/ 2147483647 w 744"/>
                      <a:gd name="T59" fmla="*/ 2147483647 h 1290"/>
                      <a:gd name="T60" fmla="*/ 2147483647 w 744"/>
                      <a:gd name="T61" fmla="*/ 2147483647 h 1290"/>
                      <a:gd name="T62" fmla="*/ 2147483647 w 744"/>
                      <a:gd name="T63" fmla="*/ 2147483647 h 1290"/>
                      <a:gd name="T64" fmla="*/ 2147483647 w 744"/>
                      <a:gd name="T65" fmla="*/ 2147483647 h 1290"/>
                      <a:gd name="T66" fmla="*/ 2147483647 w 744"/>
                      <a:gd name="T67" fmla="*/ 2147483647 h 1290"/>
                      <a:gd name="T68" fmla="*/ 2147483647 w 744"/>
                      <a:gd name="T69" fmla="*/ 2147483647 h 1290"/>
                      <a:gd name="T70" fmla="*/ 2147483647 w 744"/>
                      <a:gd name="T71" fmla="*/ 2147483647 h 1290"/>
                      <a:gd name="T72" fmla="*/ 2147483647 w 744"/>
                      <a:gd name="T73" fmla="*/ 2147483647 h 1290"/>
                      <a:gd name="T74" fmla="*/ 2147483647 w 744"/>
                      <a:gd name="T75" fmla="*/ 2147483647 h 1290"/>
                      <a:gd name="T76" fmla="*/ 2147483647 w 744"/>
                      <a:gd name="T77" fmla="*/ 2147483647 h 1290"/>
                      <a:gd name="T78" fmla="*/ 2147483647 w 744"/>
                      <a:gd name="T79" fmla="*/ 2147483647 h 1290"/>
                      <a:gd name="T80" fmla="*/ 2147483647 w 744"/>
                      <a:gd name="T81" fmla="*/ 2147483647 h 1290"/>
                      <a:gd name="T82" fmla="*/ 2147483647 w 744"/>
                      <a:gd name="T83" fmla="*/ 2147483647 h 1290"/>
                      <a:gd name="T84" fmla="*/ 2147483647 w 744"/>
                      <a:gd name="T85" fmla="*/ 2147483647 h 1290"/>
                      <a:gd name="T86" fmla="*/ 2147483647 w 744"/>
                      <a:gd name="T87" fmla="*/ 2147483647 h 1290"/>
                      <a:gd name="T88" fmla="*/ 2147483647 w 744"/>
                      <a:gd name="T89" fmla="*/ 2147483647 h 1290"/>
                      <a:gd name="T90" fmla="*/ 2147483647 w 744"/>
                      <a:gd name="T91" fmla="*/ 2147483647 h 1290"/>
                      <a:gd name="T92" fmla="*/ 2147483647 w 744"/>
                      <a:gd name="T93" fmla="*/ 2147483647 h 1290"/>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744"/>
                      <a:gd name="T142" fmla="*/ 0 h 1290"/>
                      <a:gd name="T143" fmla="*/ 744 w 744"/>
                      <a:gd name="T144" fmla="*/ 1290 h 1290"/>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744" h="1290">
                        <a:moveTo>
                          <a:pt x="678" y="624"/>
                        </a:moveTo>
                        <a:lnTo>
                          <a:pt x="720" y="624"/>
                        </a:lnTo>
                        <a:lnTo>
                          <a:pt x="732" y="630"/>
                        </a:lnTo>
                        <a:lnTo>
                          <a:pt x="744" y="630"/>
                        </a:lnTo>
                        <a:lnTo>
                          <a:pt x="738" y="324"/>
                        </a:lnTo>
                        <a:lnTo>
                          <a:pt x="180" y="0"/>
                        </a:lnTo>
                        <a:lnTo>
                          <a:pt x="156" y="12"/>
                        </a:lnTo>
                        <a:lnTo>
                          <a:pt x="144" y="24"/>
                        </a:lnTo>
                        <a:lnTo>
                          <a:pt x="126" y="30"/>
                        </a:lnTo>
                        <a:lnTo>
                          <a:pt x="108" y="42"/>
                        </a:lnTo>
                        <a:lnTo>
                          <a:pt x="126" y="108"/>
                        </a:lnTo>
                        <a:lnTo>
                          <a:pt x="114" y="156"/>
                        </a:lnTo>
                        <a:lnTo>
                          <a:pt x="144" y="192"/>
                        </a:lnTo>
                        <a:lnTo>
                          <a:pt x="150" y="216"/>
                        </a:lnTo>
                        <a:lnTo>
                          <a:pt x="180" y="252"/>
                        </a:lnTo>
                        <a:lnTo>
                          <a:pt x="162" y="288"/>
                        </a:lnTo>
                        <a:lnTo>
                          <a:pt x="144" y="534"/>
                        </a:lnTo>
                        <a:lnTo>
                          <a:pt x="138" y="540"/>
                        </a:lnTo>
                        <a:lnTo>
                          <a:pt x="120" y="564"/>
                        </a:lnTo>
                        <a:lnTo>
                          <a:pt x="96" y="588"/>
                        </a:lnTo>
                        <a:lnTo>
                          <a:pt x="72" y="618"/>
                        </a:lnTo>
                        <a:lnTo>
                          <a:pt x="54" y="636"/>
                        </a:lnTo>
                        <a:lnTo>
                          <a:pt x="48" y="648"/>
                        </a:lnTo>
                        <a:lnTo>
                          <a:pt x="36" y="666"/>
                        </a:lnTo>
                        <a:lnTo>
                          <a:pt x="30" y="678"/>
                        </a:lnTo>
                        <a:lnTo>
                          <a:pt x="24" y="696"/>
                        </a:lnTo>
                        <a:lnTo>
                          <a:pt x="24" y="708"/>
                        </a:lnTo>
                        <a:lnTo>
                          <a:pt x="18" y="714"/>
                        </a:lnTo>
                        <a:lnTo>
                          <a:pt x="18" y="720"/>
                        </a:lnTo>
                        <a:lnTo>
                          <a:pt x="0" y="726"/>
                        </a:lnTo>
                        <a:lnTo>
                          <a:pt x="6" y="786"/>
                        </a:lnTo>
                        <a:lnTo>
                          <a:pt x="18" y="786"/>
                        </a:lnTo>
                        <a:lnTo>
                          <a:pt x="48" y="834"/>
                        </a:lnTo>
                        <a:lnTo>
                          <a:pt x="48" y="846"/>
                        </a:lnTo>
                        <a:lnTo>
                          <a:pt x="48" y="840"/>
                        </a:lnTo>
                        <a:lnTo>
                          <a:pt x="72" y="834"/>
                        </a:lnTo>
                        <a:lnTo>
                          <a:pt x="72" y="852"/>
                        </a:lnTo>
                        <a:lnTo>
                          <a:pt x="78" y="864"/>
                        </a:lnTo>
                        <a:lnTo>
                          <a:pt x="84" y="870"/>
                        </a:lnTo>
                        <a:lnTo>
                          <a:pt x="96" y="870"/>
                        </a:lnTo>
                        <a:lnTo>
                          <a:pt x="102" y="876"/>
                        </a:lnTo>
                        <a:lnTo>
                          <a:pt x="108" y="876"/>
                        </a:lnTo>
                        <a:lnTo>
                          <a:pt x="102" y="912"/>
                        </a:lnTo>
                        <a:lnTo>
                          <a:pt x="114" y="918"/>
                        </a:lnTo>
                        <a:lnTo>
                          <a:pt x="120" y="930"/>
                        </a:lnTo>
                        <a:lnTo>
                          <a:pt x="120" y="966"/>
                        </a:lnTo>
                        <a:lnTo>
                          <a:pt x="114" y="966"/>
                        </a:lnTo>
                        <a:lnTo>
                          <a:pt x="114" y="1002"/>
                        </a:lnTo>
                        <a:lnTo>
                          <a:pt x="120" y="1020"/>
                        </a:lnTo>
                        <a:lnTo>
                          <a:pt x="120" y="1038"/>
                        </a:lnTo>
                        <a:lnTo>
                          <a:pt x="126" y="1050"/>
                        </a:lnTo>
                        <a:lnTo>
                          <a:pt x="138" y="1056"/>
                        </a:lnTo>
                        <a:lnTo>
                          <a:pt x="144" y="1068"/>
                        </a:lnTo>
                        <a:lnTo>
                          <a:pt x="162" y="1086"/>
                        </a:lnTo>
                        <a:lnTo>
                          <a:pt x="66" y="1086"/>
                        </a:lnTo>
                        <a:lnTo>
                          <a:pt x="54" y="1092"/>
                        </a:lnTo>
                        <a:lnTo>
                          <a:pt x="48" y="1098"/>
                        </a:lnTo>
                        <a:lnTo>
                          <a:pt x="48" y="1110"/>
                        </a:lnTo>
                        <a:lnTo>
                          <a:pt x="60" y="1134"/>
                        </a:lnTo>
                        <a:lnTo>
                          <a:pt x="72" y="1146"/>
                        </a:lnTo>
                        <a:lnTo>
                          <a:pt x="78" y="1158"/>
                        </a:lnTo>
                        <a:lnTo>
                          <a:pt x="90" y="1170"/>
                        </a:lnTo>
                        <a:lnTo>
                          <a:pt x="108" y="1182"/>
                        </a:lnTo>
                        <a:lnTo>
                          <a:pt x="120" y="1188"/>
                        </a:lnTo>
                        <a:lnTo>
                          <a:pt x="132" y="1200"/>
                        </a:lnTo>
                        <a:lnTo>
                          <a:pt x="144" y="1224"/>
                        </a:lnTo>
                        <a:lnTo>
                          <a:pt x="144" y="1242"/>
                        </a:lnTo>
                        <a:lnTo>
                          <a:pt x="150" y="1254"/>
                        </a:lnTo>
                        <a:lnTo>
                          <a:pt x="156" y="1272"/>
                        </a:lnTo>
                        <a:lnTo>
                          <a:pt x="156" y="1284"/>
                        </a:lnTo>
                        <a:lnTo>
                          <a:pt x="162" y="1284"/>
                        </a:lnTo>
                        <a:lnTo>
                          <a:pt x="168" y="1290"/>
                        </a:lnTo>
                        <a:lnTo>
                          <a:pt x="186" y="1290"/>
                        </a:lnTo>
                        <a:lnTo>
                          <a:pt x="198" y="1284"/>
                        </a:lnTo>
                        <a:lnTo>
                          <a:pt x="216" y="1266"/>
                        </a:lnTo>
                        <a:lnTo>
                          <a:pt x="228" y="1260"/>
                        </a:lnTo>
                        <a:lnTo>
                          <a:pt x="234" y="1254"/>
                        </a:lnTo>
                        <a:lnTo>
                          <a:pt x="234" y="1278"/>
                        </a:lnTo>
                        <a:lnTo>
                          <a:pt x="240" y="1284"/>
                        </a:lnTo>
                        <a:lnTo>
                          <a:pt x="246" y="1284"/>
                        </a:lnTo>
                        <a:lnTo>
                          <a:pt x="258" y="1278"/>
                        </a:lnTo>
                        <a:lnTo>
                          <a:pt x="270" y="1266"/>
                        </a:lnTo>
                        <a:lnTo>
                          <a:pt x="276" y="1254"/>
                        </a:lnTo>
                        <a:lnTo>
                          <a:pt x="282" y="1248"/>
                        </a:lnTo>
                        <a:lnTo>
                          <a:pt x="372" y="1248"/>
                        </a:lnTo>
                        <a:lnTo>
                          <a:pt x="378" y="1242"/>
                        </a:lnTo>
                        <a:lnTo>
                          <a:pt x="384" y="1230"/>
                        </a:lnTo>
                        <a:lnTo>
                          <a:pt x="390" y="1224"/>
                        </a:lnTo>
                        <a:lnTo>
                          <a:pt x="396" y="1212"/>
                        </a:lnTo>
                        <a:lnTo>
                          <a:pt x="402" y="1206"/>
                        </a:lnTo>
                        <a:lnTo>
                          <a:pt x="402" y="1194"/>
                        </a:lnTo>
                        <a:lnTo>
                          <a:pt x="390" y="1182"/>
                        </a:lnTo>
                        <a:lnTo>
                          <a:pt x="384" y="1182"/>
                        </a:lnTo>
                        <a:lnTo>
                          <a:pt x="402" y="1170"/>
                        </a:lnTo>
                        <a:lnTo>
                          <a:pt x="420" y="1170"/>
                        </a:lnTo>
                        <a:lnTo>
                          <a:pt x="462" y="1164"/>
                        </a:lnTo>
                        <a:lnTo>
                          <a:pt x="510" y="1146"/>
                        </a:lnTo>
                        <a:lnTo>
                          <a:pt x="528" y="1134"/>
                        </a:lnTo>
                        <a:lnTo>
                          <a:pt x="552" y="1110"/>
                        </a:lnTo>
                        <a:lnTo>
                          <a:pt x="552" y="1092"/>
                        </a:lnTo>
                        <a:lnTo>
                          <a:pt x="588" y="1068"/>
                        </a:lnTo>
                        <a:lnTo>
                          <a:pt x="594" y="1038"/>
                        </a:lnTo>
                        <a:lnTo>
                          <a:pt x="648" y="1008"/>
                        </a:lnTo>
                        <a:lnTo>
                          <a:pt x="672" y="1008"/>
                        </a:lnTo>
                        <a:lnTo>
                          <a:pt x="672" y="996"/>
                        </a:lnTo>
                        <a:lnTo>
                          <a:pt x="684" y="996"/>
                        </a:lnTo>
                        <a:lnTo>
                          <a:pt x="684" y="990"/>
                        </a:lnTo>
                        <a:lnTo>
                          <a:pt x="678" y="984"/>
                        </a:lnTo>
                        <a:lnTo>
                          <a:pt x="666" y="966"/>
                        </a:lnTo>
                        <a:lnTo>
                          <a:pt x="654" y="960"/>
                        </a:lnTo>
                        <a:lnTo>
                          <a:pt x="648" y="960"/>
                        </a:lnTo>
                        <a:lnTo>
                          <a:pt x="642" y="936"/>
                        </a:lnTo>
                        <a:lnTo>
                          <a:pt x="660" y="930"/>
                        </a:lnTo>
                        <a:lnTo>
                          <a:pt x="642" y="918"/>
                        </a:lnTo>
                        <a:lnTo>
                          <a:pt x="642" y="876"/>
                        </a:lnTo>
                        <a:lnTo>
                          <a:pt x="636" y="870"/>
                        </a:lnTo>
                        <a:lnTo>
                          <a:pt x="624" y="870"/>
                        </a:lnTo>
                        <a:lnTo>
                          <a:pt x="618" y="876"/>
                        </a:lnTo>
                        <a:lnTo>
                          <a:pt x="606" y="876"/>
                        </a:lnTo>
                        <a:lnTo>
                          <a:pt x="600" y="870"/>
                        </a:lnTo>
                        <a:lnTo>
                          <a:pt x="600" y="852"/>
                        </a:lnTo>
                        <a:lnTo>
                          <a:pt x="606" y="840"/>
                        </a:lnTo>
                        <a:lnTo>
                          <a:pt x="618" y="834"/>
                        </a:lnTo>
                        <a:lnTo>
                          <a:pt x="630" y="822"/>
                        </a:lnTo>
                        <a:lnTo>
                          <a:pt x="630" y="810"/>
                        </a:lnTo>
                        <a:lnTo>
                          <a:pt x="618" y="786"/>
                        </a:lnTo>
                        <a:lnTo>
                          <a:pt x="612" y="780"/>
                        </a:lnTo>
                        <a:lnTo>
                          <a:pt x="630" y="762"/>
                        </a:lnTo>
                        <a:lnTo>
                          <a:pt x="648" y="750"/>
                        </a:lnTo>
                        <a:lnTo>
                          <a:pt x="642" y="732"/>
                        </a:lnTo>
                        <a:lnTo>
                          <a:pt x="636" y="708"/>
                        </a:lnTo>
                        <a:lnTo>
                          <a:pt x="648" y="708"/>
                        </a:lnTo>
                        <a:lnTo>
                          <a:pt x="648" y="690"/>
                        </a:lnTo>
                        <a:lnTo>
                          <a:pt x="660" y="678"/>
                        </a:lnTo>
                        <a:lnTo>
                          <a:pt x="672" y="672"/>
                        </a:lnTo>
                        <a:lnTo>
                          <a:pt x="678" y="666"/>
                        </a:lnTo>
                        <a:lnTo>
                          <a:pt x="678" y="660"/>
                        </a:lnTo>
                        <a:lnTo>
                          <a:pt x="672" y="654"/>
                        </a:lnTo>
                        <a:lnTo>
                          <a:pt x="672" y="642"/>
                        </a:lnTo>
                        <a:lnTo>
                          <a:pt x="666" y="636"/>
                        </a:lnTo>
                        <a:lnTo>
                          <a:pt x="678" y="6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64" name="Central African Republic"/>
                  <p:cNvSpPr>
                    <a:spLocks/>
                  </p:cNvSpPr>
                  <p:nvPr/>
                </p:nvSpPr>
                <p:spPr bwMode="gray">
                  <a:xfrm>
                    <a:off x="2914" y="2084"/>
                    <a:ext cx="234" cy="179"/>
                  </a:xfrm>
                  <a:custGeom>
                    <a:avLst/>
                    <a:gdLst>
                      <a:gd name="T0" fmla="*/ 2147483647 w 912"/>
                      <a:gd name="T1" fmla="*/ 2147483647 h 702"/>
                      <a:gd name="T2" fmla="*/ 2147483647 w 912"/>
                      <a:gd name="T3" fmla="*/ 2147483647 h 702"/>
                      <a:gd name="T4" fmla="*/ 2147483647 w 912"/>
                      <a:gd name="T5" fmla="*/ 2147483647 h 702"/>
                      <a:gd name="T6" fmla="*/ 2147483647 w 912"/>
                      <a:gd name="T7" fmla="*/ 2147483647 h 702"/>
                      <a:gd name="T8" fmla="*/ 2147483647 w 912"/>
                      <a:gd name="T9" fmla="*/ 2147483647 h 702"/>
                      <a:gd name="T10" fmla="*/ 2147483647 w 912"/>
                      <a:gd name="T11" fmla="*/ 2147483647 h 702"/>
                      <a:gd name="T12" fmla="*/ 2147483647 w 912"/>
                      <a:gd name="T13" fmla="*/ 2147483647 h 702"/>
                      <a:gd name="T14" fmla="*/ 2147483647 w 912"/>
                      <a:gd name="T15" fmla="*/ 2147483647 h 702"/>
                      <a:gd name="T16" fmla="*/ 2147483647 w 912"/>
                      <a:gd name="T17" fmla="*/ 2147483647 h 702"/>
                      <a:gd name="T18" fmla="*/ 2147483647 w 912"/>
                      <a:gd name="T19" fmla="*/ 2147483647 h 702"/>
                      <a:gd name="T20" fmla="*/ 2147483647 w 912"/>
                      <a:gd name="T21" fmla="*/ 2147483647 h 702"/>
                      <a:gd name="T22" fmla="*/ 2147483647 w 912"/>
                      <a:gd name="T23" fmla="*/ 2147483647 h 702"/>
                      <a:gd name="T24" fmla="*/ 2147483647 w 912"/>
                      <a:gd name="T25" fmla="*/ 2147483647 h 702"/>
                      <a:gd name="T26" fmla="*/ 2147483647 w 912"/>
                      <a:gd name="T27" fmla="*/ 2147483647 h 702"/>
                      <a:gd name="T28" fmla="*/ 2147483647 w 912"/>
                      <a:gd name="T29" fmla="*/ 2147483647 h 702"/>
                      <a:gd name="T30" fmla="*/ 2147483647 w 912"/>
                      <a:gd name="T31" fmla="*/ 0 h 702"/>
                      <a:gd name="T32" fmla="*/ 2147483647 w 912"/>
                      <a:gd name="T33" fmla="*/ 2147483647 h 702"/>
                      <a:gd name="T34" fmla="*/ 2147483647 w 912"/>
                      <a:gd name="T35" fmla="*/ 2147483647 h 702"/>
                      <a:gd name="T36" fmla="*/ 2147483647 w 912"/>
                      <a:gd name="T37" fmla="*/ 2147483647 h 702"/>
                      <a:gd name="T38" fmla="*/ 2147483647 w 912"/>
                      <a:gd name="T39" fmla="*/ 2147483647 h 702"/>
                      <a:gd name="T40" fmla="*/ 2147483647 w 912"/>
                      <a:gd name="T41" fmla="*/ 2147483647 h 702"/>
                      <a:gd name="T42" fmla="*/ 2147483647 w 912"/>
                      <a:gd name="T43" fmla="*/ 2147483647 h 702"/>
                      <a:gd name="T44" fmla="*/ 2147483647 w 912"/>
                      <a:gd name="T45" fmla="*/ 2147483647 h 702"/>
                      <a:gd name="T46" fmla="*/ 2147483647 w 912"/>
                      <a:gd name="T47" fmla="*/ 2147483647 h 702"/>
                      <a:gd name="T48" fmla="*/ 2147483647 w 912"/>
                      <a:gd name="T49" fmla="*/ 2147483647 h 702"/>
                      <a:gd name="T50" fmla="*/ 2147483647 w 912"/>
                      <a:gd name="T51" fmla="*/ 2147483647 h 702"/>
                      <a:gd name="T52" fmla="*/ 2147483647 w 912"/>
                      <a:gd name="T53" fmla="*/ 2147483647 h 702"/>
                      <a:gd name="T54" fmla="*/ 2147483647 w 912"/>
                      <a:gd name="T55" fmla="*/ 2147483647 h 702"/>
                      <a:gd name="T56" fmla="*/ 2147483647 w 912"/>
                      <a:gd name="T57" fmla="*/ 2147483647 h 702"/>
                      <a:gd name="T58" fmla="*/ 2147483647 w 912"/>
                      <a:gd name="T59" fmla="*/ 2147483647 h 702"/>
                      <a:gd name="T60" fmla="*/ 0 w 912"/>
                      <a:gd name="T61" fmla="*/ 2147483647 h 702"/>
                      <a:gd name="T62" fmla="*/ 2147483647 w 912"/>
                      <a:gd name="T63" fmla="*/ 2147483647 h 702"/>
                      <a:gd name="T64" fmla="*/ 2147483647 w 912"/>
                      <a:gd name="T65" fmla="*/ 2147483647 h 702"/>
                      <a:gd name="T66" fmla="*/ 2147483647 w 912"/>
                      <a:gd name="T67" fmla="*/ 2147483647 h 702"/>
                      <a:gd name="T68" fmla="*/ 2147483647 w 912"/>
                      <a:gd name="T69" fmla="*/ 2147483647 h 702"/>
                      <a:gd name="T70" fmla="*/ 2147483647 w 912"/>
                      <a:gd name="T71" fmla="*/ 2147483647 h 702"/>
                      <a:gd name="T72" fmla="*/ 2147483647 w 912"/>
                      <a:gd name="T73" fmla="*/ 2147483647 h 702"/>
                      <a:gd name="T74" fmla="*/ 2147483647 w 912"/>
                      <a:gd name="T75" fmla="*/ 2147483647 h 702"/>
                      <a:gd name="T76" fmla="*/ 2147483647 w 912"/>
                      <a:gd name="T77" fmla="*/ 2147483647 h 702"/>
                      <a:gd name="T78" fmla="*/ 2147483647 w 912"/>
                      <a:gd name="T79" fmla="*/ 2147483647 h 702"/>
                      <a:gd name="T80" fmla="*/ 2147483647 w 912"/>
                      <a:gd name="T81" fmla="*/ 2147483647 h 702"/>
                      <a:gd name="T82" fmla="*/ 2147483647 w 912"/>
                      <a:gd name="T83" fmla="*/ 2147483647 h 702"/>
                      <a:gd name="T84" fmla="*/ 2147483647 w 912"/>
                      <a:gd name="T85" fmla="*/ 2147483647 h 702"/>
                      <a:gd name="T86" fmla="*/ 2147483647 w 912"/>
                      <a:gd name="T87" fmla="*/ 2147483647 h 702"/>
                      <a:gd name="T88" fmla="*/ 2147483647 w 912"/>
                      <a:gd name="T89" fmla="*/ 2147483647 h 702"/>
                      <a:gd name="T90" fmla="*/ 2147483647 w 912"/>
                      <a:gd name="T91" fmla="*/ 2147483647 h 702"/>
                      <a:gd name="T92" fmla="*/ 2147483647 w 912"/>
                      <a:gd name="T93" fmla="*/ 2147483647 h 702"/>
                      <a:gd name="T94" fmla="*/ 2147483647 w 912"/>
                      <a:gd name="T95" fmla="*/ 2147483647 h 702"/>
                      <a:gd name="T96" fmla="*/ 2147483647 w 912"/>
                      <a:gd name="T97" fmla="*/ 2147483647 h 702"/>
                      <a:gd name="T98" fmla="*/ 2147483647 w 912"/>
                      <a:gd name="T99" fmla="*/ 2147483647 h 702"/>
                      <a:gd name="T100" fmla="*/ 2147483647 w 912"/>
                      <a:gd name="T101" fmla="*/ 2147483647 h 702"/>
                      <a:gd name="T102" fmla="*/ 2147483647 w 912"/>
                      <a:gd name="T103" fmla="*/ 2147483647 h 702"/>
                      <a:gd name="T104" fmla="*/ 2147483647 w 912"/>
                      <a:gd name="T105" fmla="*/ 2147483647 h 702"/>
                      <a:gd name="T106" fmla="*/ 2147483647 w 912"/>
                      <a:gd name="T107" fmla="*/ 2147483647 h 702"/>
                      <a:gd name="T108" fmla="*/ 2147483647 w 912"/>
                      <a:gd name="T109" fmla="*/ 2147483647 h 702"/>
                      <a:gd name="T110" fmla="*/ 2147483647 w 912"/>
                      <a:gd name="T111" fmla="*/ 2147483647 h 702"/>
                      <a:gd name="T112" fmla="*/ 2147483647 w 912"/>
                      <a:gd name="T113" fmla="*/ 2147483647 h 702"/>
                      <a:gd name="T114" fmla="*/ 2147483647 w 912"/>
                      <a:gd name="T115" fmla="*/ 2147483647 h 702"/>
                      <a:gd name="T116" fmla="*/ 2147483647 w 912"/>
                      <a:gd name="T117" fmla="*/ 2147483647 h 702"/>
                      <a:gd name="T118" fmla="*/ 2147483647 w 912"/>
                      <a:gd name="T119" fmla="*/ 2147483647 h 702"/>
                      <a:gd name="T120" fmla="*/ 2147483647 w 912"/>
                      <a:gd name="T121" fmla="*/ 2147483647 h 702"/>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912"/>
                      <a:gd name="T184" fmla="*/ 0 h 702"/>
                      <a:gd name="T185" fmla="*/ 912 w 912"/>
                      <a:gd name="T186" fmla="*/ 702 h 702"/>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912" h="702">
                        <a:moveTo>
                          <a:pt x="906" y="420"/>
                        </a:moveTo>
                        <a:lnTo>
                          <a:pt x="900" y="414"/>
                        </a:lnTo>
                        <a:lnTo>
                          <a:pt x="888" y="408"/>
                        </a:lnTo>
                        <a:lnTo>
                          <a:pt x="882" y="402"/>
                        </a:lnTo>
                        <a:lnTo>
                          <a:pt x="858" y="396"/>
                        </a:lnTo>
                        <a:lnTo>
                          <a:pt x="858" y="378"/>
                        </a:lnTo>
                        <a:lnTo>
                          <a:pt x="846" y="366"/>
                        </a:lnTo>
                        <a:lnTo>
                          <a:pt x="846" y="360"/>
                        </a:lnTo>
                        <a:lnTo>
                          <a:pt x="858" y="360"/>
                        </a:lnTo>
                        <a:lnTo>
                          <a:pt x="858" y="348"/>
                        </a:lnTo>
                        <a:lnTo>
                          <a:pt x="852" y="342"/>
                        </a:lnTo>
                        <a:lnTo>
                          <a:pt x="834" y="342"/>
                        </a:lnTo>
                        <a:lnTo>
                          <a:pt x="834" y="336"/>
                        </a:lnTo>
                        <a:lnTo>
                          <a:pt x="828" y="330"/>
                        </a:lnTo>
                        <a:lnTo>
                          <a:pt x="822" y="318"/>
                        </a:lnTo>
                        <a:lnTo>
                          <a:pt x="810" y="306"/>
                        </a:lnTo>
                        <a:lnTo>
                          <a:pt x="798" y="300"/>
                        </a:lnTo>
                        <a:lnTo>
                          <a:pt x="792" y="300"/>
                        </a:lnTo>
                        <a:lnTo>
                          <a:pt x="780" y="294"/>
                        </a:lnTo>
                        <a:lnTo>
                          <a:pt x="768" y="282"/>
                        </a:lnTo>
                        <a:lnTo>
                          <a:pt x="768" y="276"/>
                        </a:lnTo>
                        <a:lnTo>
                          <a:pt x="774" y="276"/>
                        </a:lnTo>
                        <a:lnTo>
                          <a:pt x="774" y="270"/>
                        </a:lnTo>
                        <a:lnTo>
                          <a:pt x="780" y="270"/>
                        </a:lnTo>
                        <a:lnTo>
                          <a:pt x="780" y="264"/>
                        </a:lnTo>
                        <a:lnTo>
                          <a:pt x="768" y="252"/>
                        </a:lnTo>
                        <a:lnTo>
                          <a:pt x="756" y="246"/>
                        </a:lnTo>
                        <a:lnTo>
                          <a:pt x="750" y="246"/>
                        </a:lnTo>
                        <a:lnTo>
                          <a:pt x="750" y="228"/>
                        </a:lnTo>
                        <a:lnTo>
                          <a:pt x="720" y="228"/>
                        </a:lnTo>
                        <a:lnTo>
                          <a:pt x="696" y="216"/>
                        </a:lnTo>
                        <a:lnTo>
                          <a:pt x="696" y="186"/>
                        </a:lnTo>
                        <a:lnTo>
                          <a:pt x="648" y="180"/>
                        </a:lnTo>
                        <a:lnTo>
                          <a:pt x="654" y="162"/>
                        </a:lnTo>
                        <a:lnTo>
                          <a:pt x="648" y="162"/>
                        </a:lnTo>
                        <a:lnTo>
                          <a:pt x="642" y="156"/>
                        </a:lnTo>
                        <a:lnTo>
                          <a:pt x="642" y="150"/>
                        </a:lnTo>
                        <a:lnTo>
                          <a:pt x="648" y="144"/>
                        </a:lnTo>
                        <a:lnTo>
                          <a:pt x="654" y="132"/>
                        </a:lnTo>
                        <a:lnTo>
                          <a:pt x="660" y="126"/>
                        </a:lnTo>
                        <a:lnTo>
                          <a:pt x="660" y="96"/>
                        </a:lnTo>
                        <a:lnTo>
                          <a:pt x="654" y="84"/>
                        </a:lnTo>
                        <a:lnTo>
                          <a:pt x="648" y="66"/>
                        </a:lnTo>
                        <a:lnTo>
                          <a:pt x="636" y="54"/>
                        </a:lnTo>
                        <a:lnTo>
                          <a:pt x="630" y="42"/>
                        </a:lnTo>
                        <a:lnTo>
                          <a:pt x="600" y="12"/>
                        </a:lnTo>
                        <a:lnTo>
                          <a:pt x="600" y="0"/>
                        </a:lnTo>
                        <a:lnTo>
                          <a:pt x="576" y="0"/>
                        </a:lnTo>
                        <a:lnTo>
                          <a:pt x="522" y="30"/>
                        </a:lnTo>
                        <a:lnTo>
                          <a:pt x="516" y="60"/>
                        </a:lnTo>
                        <a:lnTo>
                          <a:pt x="480" y="84"/>
                        </a:lnTo>
                        <a:lnTo>
                          <a:pt x="480" y="102"/>
                        </a:lnTo>
                        <a:lnTo>
                          <a:pt x="456" y="126"/>
                        </a:lnTo>
                        <a:lnTo>
                          <a:pt x="438" y="138"/>
                        </a:lnTo>
                        <a:lnTo>
                          <a:pt x="390" y="156"/>
                        </a:lnTo>
                        <a:lnTo>
                          <a:pt x="348" y="162"/>
                        </a:lnTo>
                        <a:lnTo>
                          <a:pt x="330" y="162"/>
                        </a:lnTo>
                        <a:lnTo>
                          <a:pt x="312" y="174"/>
                        </a:lnTo>
                        <a:lnTo>
                          <a:pt x="318" y="174"/>
                        </a:lnTo>
                        <a:lnTo>
                          <a:pt x="330" y="186"/>
                        </a:lnTo>
                        <a:lnTo>
                          <a:pt x="330" y="198"/>
                        </a:lnTo>
                        <a:lnTo>
                          <a:pt x="324" y="204"/>
                        </a:lnTo>
                        <a:lnTo>
                          <a:pt x="318" y="216"/>
                        </a:lnTo>
                        <a:lnTo>
                          <a:pt x="312" y="222"/>
                        </a:lnTo>
                        <a:lnTo>
                          <a:pt x="306" y="234"/>
                        </a:lnTo>
                        <a:lnTo>
                          <a:pt x="300" y="240"/>
                        </a:lnTo>
                        <a:lnTo>
                          <a:pt x="210" y="240"/>
                        </a:lnTo>
                        <a:lnTo>
                          <a:pt x="204" y="246"/>
                        </a:lnTo>
                        <a:lnTo>
                          <a:pt x="198" y="258"/>
                        </a:lnTo>
                        <a:lnTo>
                          <a:pt x="186" y="270"/>
                        </a:lnTo>
                        <a:lnTo>
                          <a:pt x="174" y="276"/>
                        </a:lnTo>
                        <a:lnTo>
                          <a:pt x="168" y="276"/>
                        </a:lnTo>
                        <a:lnTo>
                          <a:pt x="162" y="270"/>
                        </a:lnTo>
                        <a:lnTo>
                          <a:pt x="162" y="246"/>
                        </a:lnTo>
                        <a:lnTo>
                          <a:pt x="156" y="252"/>
                        </a:lnTo>
                        <a:lnTo>
                          <a:pt x="144" y="258"/>
                        </a:lnTo>
                        <a:lnTo>
                          <a:pt x="126" y="276"/>
                        </a:lnTo>
                        <a:lnTo>
                          <a:pt x="114" y="282"/>
                        </a:lnTo>
                        <a:lnTo>
                          <a:pt x="96" y="282"/>
                        </a:lnTo>
                        <a:lnTo>
                          <a:pt x="90" y="276"/>
                        </a:lnTo>
                        <a:lnTo>
                          <a:pt x="78" y="276"/>
                        </a:lnTo>
                        <a:lnTo>
                          <a:pt x="66" y="288"/>
                        </a:lnTo>
                        <a:lnTo>
                          <a:pt x="60" y="300"/>
                        </a:lnTo>
                        <a:lnTo>
                          <a:pt x="54" y="306"/>
                        </a:lnTo>
                        <a:lnTo>
                          <a:pt x="54" y="324"/>
                        </a:lnTo>
                        <a:lnTo>
                          <a:pt x="48" y="336"/>
                        </a:lnTo>
                        <a:lnTo>
                          <a:pt x="42" y="336"/>
                        </a:lnTo>
                        <a:lnTo>
                          <a:pt x="36" y="372"/>
                        </a:lnTo>
                        <a:lnTo>
                          <a:pt x="30" y="372"/>
                        </a:lnTo>
                        <a:lnTo>
                          <a:pt x="24" y="378"/>
                        </a:lnTo>
                        <a:lnTo>
                          <a:pt x="12" y="384"/>
                        </a:lnTo>
                        <a:lnTo>
                          <a:pt x="0" y="396"/>
                        </a:lnTo>
                        <a:lnTo>
                          <a:pt x="0" y="402"/>
                        </a:lnTo>
                        <a:lnTo>
                          <a:pt x="12" y="408"/>
                        </a:lnTo>
                        <a:lnTo>
                          <a:pt x="18" y="408"/>
                        </a:lnTo>
                        <a:lnTo>
                          <a:pt x="18" y="444"/>
                        </a:lnTo>
                        <a:lnTo>
                          <a:pt x="6" y="456"/>
                        </a:lnTo>
                        <a:lnTo>
                          <a:pt x="24" y="468"/>
                        </a:lnTo>
                        <a:lnTo>
                          <a:pt x="24" y="516"/>
                        </a:lnTo>
                        <a:lnTo>
                          <a:pt x="30" y="516"/>
                        </a:lnTo>
                        <a:lnTo>
                          <a:pt x="48" y="534"/>
                        </a:lnTo>
                        <a:lnTo>
                          <a:pt x="54" y="534"/>
                        </a:lnTo>
                        <a:lnTo>
                          <a:pt x="54" y="576"/>
                        </a:lnTo>
                        <a:lnTo>
                          <a:pt x="60" y="582"/>
                        </a:lnTo>
                        <a:lnTo>
                          <a:pt x="72" y="606"/>
                        </a:lnTo>
                        <a:lnTo>
                          <a:pt x="84" y="618"/>
                        </a:lnTo>
                        <a:lnTo>
                          <a:pt x="96" y="624"/>
                        </a:lnTo>
                        <a:lnTo>
                          <a:pt x="102" y="636"/>
                        </a:lnTo>
                        <a:lnTo>
                          <a:pt x="114" y="642"/>
                        </a:lnTo>
                        <a:lnTo>
                          <a:pt x="120" y="660"/>
                        </a:lnTo>
                        <a:lnTo>
                          <a:pt x="120" y="690"/>
                        </a:lnTo>
                        <a:lnTo>
                          <a:pt x="132" y="702"/>
                        </a:lnTo>
                        <a:lnTo>
                          <a:pt x="138" y="696"/>
                        </a:lnTo>
                        <a:lnTo>
                          <a:pt x="144" y="684"/>
                        </a:lnTo>
                        <a:lnTo>
                          <a:pt x="150" y="678"/>
                        </a:lnTo>
                        <a:lnTo>
                          <a:pt x="156" y="666"/>
                        </a:lnTo>
                        <a:lnTo>
                          <a:pt x="156" y="642"/>
                        </a:lnTo>
                        <a:lnTo>
                          <a:pt x="144" y="630"/>
                        </a:lnTo>
                        <a:lnTo>
                          <a:pt x="162" y="600"/>
                        </a:lnTo>
                        <a:lnTo>
                          <a:pt x="192" y="600"/>
                        </a:lnTo>
                        <a:lnTo>
                          <a:pt x="210" y="582"/>
                        </a:lnTo>
                        <a:lnTo>
                          <a:pt x="228" y="582"/>
                        </a:lnTo>
                        <a:lnTo>
                          <a:pt x="264" y="600"/>
                        </a:lnTo>
                        <a:lnTo>
                          <a:pt x="276" y="600"/>
                        </a:lnTo>
                        <a:lnTo>
                          <a:pt x="288" y="588"/>
                        </a:lnTo>
                        <a:lnTo>
                          <a:pt x="300" y="570"/>
                        </a:lnTo>
                        <a:lnTo>
                          <a:pt x="300" y="552"/>
                        </a:lnTo>
                        <a:lnTo>
                          <a:pt x="294" y="552"/>
                        </a:lnTo>
                        <a:lnTo>
                          <a:pt x="294" y="540"/>
                        </a:lnTo>
                        <a:lnTo>
                          <a:pt x="306" y="528"/>
                        </a:lnTo>
                        <a:lnTo>
                          <a:pt x="312" y="528"/>
                        </a:lnTo>
                        <a:lnTo>
                          <a:pt x="324" y="516"/>
                        </a:lnTo>
                        <a:lnTo>
                          <a:pt x="330" y="504"/>
                        </a:lnTo>
                        <a:lnTo>
                          <a:pt x="330" y="498"/>
                        </a:lnTo>
                        <a:lnTo>
                          <a:pt x="336" y="486"/>
                        </a:lnTo>
                        <a:lnTo>
                          <a:pt x="336" y="480"/>
                        </a:lnTo>
                        <a:lnTo>
                          <a:pt x="342" y="474"/>
                        </a:lnTo>
                        <a:lnTo>
                          <a:pt x="354" y="468"/>
                        </a:lnTo>
                        <a:lnTo>
                          <a:pt x="366" y="468"/>
                        </a:lnTo>
                        <a:lnTo>
                          <a:pt x="384" y="474"/>
                        </a:lnTo>
                        <a:lnTo>
                          <a:pt x="396" y="474"/>
                        </a:lnTo>
                        <a:lnTo>
                          <a:pt x="408" y="480"/>
                        </a:lnTo>
                        <a:lnTo>
                          <a:pt x="408" y="492"/>
                        </a:lnTo>
                        <a:lnTo>
                          <a:pt x="426" y="492"/>
                        </a:lnTo>
                        <a:lnTo>
                          <a:pt x="432" y="498"/>
                        </a:lnTo>
                        <a:lnTo>
                          <a:pt x="432" y="528"/>
                        </a:lnTo>
                        <a:lnTo>
                          <a:pt x="474" y="528"/>
                        </a:lnTo>
                        <a:lnTo>
                          <a:pt x="480" y="534"/>
                        </a:lnTo>
                        <a:lnTo>
                          <a:pt x="492" y="540"/>
                        </a:lnTo>
                        <a:lnTo>
                          <a:pt x="540" y="540"/>
                        </a:lnTo>
                        <a:lnTo>
                          <a:pt x="552" y="546"/>
                        </a:lnTo>
                        <a:lnTo>
                          <a:pt x="558" y="552"/>
                        </a:lnTo>
                        <a:lnTo>
                          <a:pt x="570" y="558"/>
                        </a:lnTo>
                        <a:lnTo>
                          <a:pt x="576" y="552"/>
                        </a:lnTo>
                        <a:lnTo>
                          <a:pt x="582" y="540"/>
                        </a:lnTo>
                        <a:lnTo>
                          <a:pt x="588" y="534"/>
                        </a:lnTo>
                        <a:lnTo>
                          <a:pt x="588" y="522"/>
                        </a:lnTo>
                        <a:lnTo>
                          <a:pt x="606" y="504"/>
                        </a:lnTo>
                        <a:lnTo>
                          <a:pt x="612" y="492"/>
                        </a:lnTo>
                        <a:lnTo>
                          <a:pt x="636" y="516"/>
                        </a:lnTo>
                        <a:lnTo>
                          <a:pt x="642" y="516"/>
                        </a:lnTo>
                        <a:lnTo>
                          <a:pt x="648" y="510"/>
                        </a:lnTo>
                        <a:lnTo>
                          <a:pt x="660" y="504"/>
                        </a:lnTo>
                        <a:lnTo>
                          <a:pt x="672" y="492"/>
                        </a:lnTo>
                        <a:lnTo>
                          <a:pt x="690" y="492"/>
                        </a:lnTo>
                        <a:lnTo>
                          <a:pt x="714" y="474"/>
                        </a:lnTo>
                        <a:lnTo>
                          <a:pt x="726" y="486"/>
                        </a:lnTo>
                        <a:lnTo>
                          <a:pt x="750" y="486"/>
                        </a:lnTo>
                        <a:lnTo>
                          <a:pt x="756" y="480"/>
                        </a:lnTo>
                        <a:lnTo>
                          <a:pt x="768" y="480"/>
                        </a:lnTo>
                        <a:lnTo>
                          <a:pt x="768" y="468"/>
                        </a:lnTo>
                        <a:lnTo>
                          <a:pt x="786" y="450"/>
                        </a:lnTo>
                        <a:lnTo>
                          <a:pt x="792" y="450"/>
                        </a:lnTo>
                        <a:lnTo>
                          <a:pt x="792" y="456"/>
                        </a:lnTo>
                        <a:lnTo>
                          <a:pt x="804" y="468"/>
                        </a:lnTo>
                        <a:lnTo>
                          <a:pt x="840" y="462"/>
                        </a:lnTo>
                        <a:lnTo>
                          <a:pt x="840" y="468"/>
                        </a:lnTo>
                        <a:lnTo>
                          <a:pt x="852" y="480"/>
                        </a:lnTo>
                        <a:lnTo>
                          <a:pt x="876" y="480"/>
                        </a:lnTo>
                        <a:lnTo>
                          <a:pt x="894" y="474"/>
                        </a:lnTo>
                        <a:lnTo>
                          <a:pt x="912" y="456"/>
                        </a:lnTo>
                        <a:lnTo>
                          <a:pt x="912" y="432"/>
                        </a:lnTo>
                        <a:lnTo>
                          <a:pt x="906" y="42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65" name="Canada"/>
                  <p:cNvSpPr>
                    <a:spLocks noEditPoints="1"/>
                  </p:cNvSpPr>
                  <p:nvPr/>
                </p:nvSpPr>
                <p:spPr bwMode="gray">
                  <a:xfrm>
                    <a:off x="633" y="708"/>
                    <a:ext cx="1425" cy="738"/>
                  </a:xfrm>
                  <a:custGeom>
                    <a:avLst/>
                    <a:gdLst>
                      <a:gd name="T0" fmla="*/ 2147483647 w 5574"/>
                      <a:gd name="T1" fmla="*/ 2147483647 h 2886"/>
                      <a:gd name="T2" fmla="*/ 2147483647 w 5574"/>
                      <a:gd name="T3" fmla="*/ 2147483647 h 2886"/>
                      <a:gd name="T4" fmla="*/ 2147483647 w 5574"/>
                      <a:gd name="T5" fmla="*/ 2147483647 h 2886"/>
                      <a:gd name="T6" fmla="*/ 2147483647 w 5574"/>
                      <a:gd name="T7" fmla="*/ 2147483647 h 2886"/>
                      <a:gd name="T8" fmla="*/ 2147483647 w 5574"/>
                      <a:gd name="T9" fmla="*/ 2147483647 h 2886"/>
                      <a:gd name="T10" fmla="*/ 2147483647 w 5574"/>
                      <a:gd name="T11" fmla="*/ 2147483647 h 2886"/>
                      <a:gd name="T12" fmla="*/ 2147483647 w 5574"/>
                      <a:gd name="T13" fmla="*/ 2147483647 h 2886"/>
                      <a:gd name="T14" fmla="*/ 2147483647 w 5574"/>
                      <a:gd name="T15" fmla="*/ 2147483647 h 2886"/>
                      <a:gd name="T16" fmla="*/ 2147483647 w 5574"/>
                      <a:gd name="T17" fmla="*/ 2147483647 h 2886"/>
                      <a:gd name="T18" fmla="*/ 2147483647 w 5574"/>
                      <a:gd name="T19" fmla="*/ 2147483647 h 2886"/>
                      <a:gd name="T20" fmla="*/ 2147483647 w 5574"/>
                      <a:gd name="T21" fmla="*/ 2147483647 h 2886"/>
                      <a:gd name="T22" fmla="*/ 2147483647 w 5574"/>
                      <a:gd name="T23" fmla="*/ 2147483647 h 2886"/>
                      <a:gd name="T24" fmla="*/ 2147483647 w 5574"/>
                      <a:gd name="T25" fmla="*/ 2147483647 h 2886"/>
                      <a:gd name="T26" fmla="*/ 2147483647 w 5574"/>
                      <a:gd name="T27" fmla="*/ 2147483647 h 2886"/>
                      <a:gd name="T28" fmla="*/ 2147483647 w 5574"/>
                      <a:gd name="T29" fmla="*/ 2147483647 h 2886"/>
                      <a:gd name="T30" fmla="*/ 2147483647 w 5574"/>
                      <a:gd name="T31" fmla="*/ 2147483647 h 2886"/>
                      <a:gd name="T32" fmla="*/ 2147483647 w 5574"/>
                      <a:gd name="T33" fmla="*/ 2147483647 h 2886"/>
                      <a:gd name="T34" fmla="*/ 2147483647 w 5574"/>
                      <a:gd name="T35" fmla="*/ 2147483647 h 2886"/>
                      <a:gd name="T36" fmla="*/ 2147483647 w 5574"/>
                      <a:gd name="T37" fmla="*/ 2147483647 h 2886"/>
                      <a:gd name="T38" fmla="*/ 2147483647 w 5574"/>
                      <a:gd name="T39" fmla="*/ 2147483647 h 2886"/>
                      <a:gd name="T40" fmla="*/ 2147483647 w 5574"/>
                      <a:gd name="T41" fmla="*/ 2147483647 h 2886"/>
                      <a:gd name="T42" fmla="*/ 2147483647 w 5574"/>
                      <a:gd name="T43" fmla="*/ 2147483647 h 2886"/>
                      <a:gd name="T44" fmla="*/ 2147483647 w 5574"/>
                      <a:gd name="T45" fmla="*/ 2147483647 h 2886"/>
                      <a:gd name="T46" fmla="*/ 2147483647 w 5574"/>
                      <a:gd name="T47" fmla="*/ 2147483647 h 2886"/>
                      <a:gd name="T48" fmla="*/ 2147483647 w 5574"/>
                      <a:gd name="T49" fmla="*/ 2147483647 h 2886"/>
                      <a:gd name="T50" fmla="*/ 2147483647 w 5574"/>
                      <a:gd name="T51" fmla="*/ 2147483647 h 2886"/>
                      <a:gd name="T52" fmla="*/ 2147483647 w 5574"/>
                      <a:gd name="T53" fmla="*/ 2147483647 h 2886"/>
                      <a:gd name="T54" fmla="*/ 2147483647 w 5574"/>
                      <a:gd name="T55" fmla="*/ 2147483647 h 2886"/>
                      <a:gd name="T56" fmla="*/ 2147483647 w 5574"/>
                      <a:gd name="T57" fmla="*/ 2147483647 h 2886"/>
                      <a:gd name="T58" fmla="*/ 2147483647 w 5574"/>
                      <a:gd name="T59" fmla="*/ 2147483647 h 2886"/>
                      <a:gd name="T60" fmla="*/ 2147483647 w 5574"/>
                      <a:gd name="T61" fmla="*/ 2147483647 h 2886"/>
                      <a:gd name="T62" fmla="*/ 2147483647 w 5574"/>
                      <a:gd name="T63" fmla="*/ 2147483647 h 2886"/>
                      <a:gd name="T64" fmla="*/ 2147483647 w 5574"/>
                      <a:gd name="T65" fmla="*/ 2147483647 h 2886"/>
                      <a:gd name="T66" fmla="*/ 2147483647 w 5574"/>
                      <a:gd name="T67" fmla="*/ 2147483647 h 2886"/>
                      <a:gd name="T68" fmla="*/ 2147483647 w 5574"/>
                      <a:gd name="T69" fmla="*/ 2147483647 h 2886"/>
                      <a:gd name="T70" fmla="*/ 2147483647 w 5574"/>
                      <a:gd name="T71" fmla="*/ 2147483647 h 2886"/>
                      <a:gd name="T72" fmla="*/ 2147483647 w 5574"/>
                      <a:gd name="T73" fmla="*/ 2147483647 h 2886"/>
                      <a:gd name="T74" fmla="*/ 2147483647 w 5574"/>
                      <a:gd name="T75" fmla="*/ 2147483647 h 2886"/>
                      <a:gd name="T76" fmla="*/ 2147483647 w 5574"/>
                      <a:gd name="T77" fmla="*/ 2147483647 h 2886"/>
                      <a:gd name="T78" fmla="*/ 2147483647 w 5574"/>
                      <a:gd name="T79" fmla="*/ 2147483647 h 2886"/>
                      <a:gd name="T80" fmla="*/ 2147483647 w 5574"/>
                      <a:gd name="T81" fmla="*/ 2147483647 h 2886"/>
                      <a:gd name="T82" fmla="*/ 2147483647 w 5574"/>
                      <a:gd name="T83" fmla="*/ 2147483647 h 2886"/>
                      <a:gd name="T84" fmla="*/ 2147483647 w 5574"/>
                      <a:gd name="T85" fmla="*/ 2147483647 h 2886"/>
                      <a:gd name="T86" fmla="*/ 2147483647 w 5574"/>
                      <a:gd name="T87" fmla="*/ 2147483647 h 2886"/>
                      <a:gd name="T88" fmla="*/ 2147483647 w 5574"/>
                      <a:gd name="T89" fmla="*/ 2147483647 h 2886"/>
                      <a:gd name="T90" fmla="*/ 2147483647 w 5574"/>
                      <a:gd name="T91" fmla="*/ 2147483647 h 2886"/>
                      <a:gd name="T92" fmla="*/ 2147483647 w 5574"/>
                      <a:gd name="T93" fmla="*/ 2147483647 h 2886"/>
                      <a:gd name="T94" fmla="*/ 2147483647 w 5574"/>
                      <a:gd name="T95" fmla="*/ 2147483647 h 2886"/>
                      <a:gd name="T96" fmla="*/ 2147483647 w 5574"/>
                      <a:gd name="T97" fmla="*/ 2147483647 h 2886"/>
                      <a:gd name="T98" fmla="*/ 2147483647 w 5574"/>
                      <a:gd name="T99" fmla="*/ 2147483647 h 2886"/>
                      <a:gd name="T100" fmla="*/ 2147483647 w 5574"/>
                      <a:gd name="T101" fmla="*/ 2147483647 h 2886"/>
                      <a:gd name="T102" fmla="*/ 2147483647 w 5574"/>
                      <a:gd name="T103" fmla="*/ 2147483647 h 2886"/>
                      <a:gd name="T104" fmla="*/ 2147483647 w 5574"/>
                      <a:gd name="T105" fmla="*/ 2147483647 h 2886"/>
                      <a:gd name="T106" fmla="*/ 2147483647 w 5574"/>
                      <a:gd name="T107" fmla="*/ 2147483647 h 2886"/>
                      <a:gd name="T108" fmla="*/ 2147483647 w 5574"/>
                      <a:gd name="T109" fmla="*/ 2147483647 h 2886"/>
                      <a:gd name="T110" fmla="*/ 2147483647 w 5574"/>
                      <a:gd name="T111" fmla="*/ 2147483647 h 2886"/>
                      <a:gd name="T112" fmla="*/ 2147483647 w 5574"/>
                      <a:gd name="T113" fmla="*/ 2147483647 h 2886"/>
                      <a:gd name="T114" fmla="*/ 2147483647 w 5574"/>
                      <a:gd name="T115" fmla="*/ 2147483647 h 2886"/>
                      <a:gd name="T116" fmla="*/ 2147483647 w 5574"/>
                      <a:gd name="T117" fmla="*/ 2147483647 h 2886"/>
                      <a:gd name="T118" fmla="*/ 2147483647 w 5574"/>
                      <a:gd name="T119" fmla="*/ 2147483647 h 2886"/>
                      <a:gd name="T120" fmla="*/ 2147483647 w 5574"/>
                      <a:gd name="T121" fmla="*/ 2147483647 h 2886"/>
                      <a:gd name="T122" fmla="*/ 2147483647 w 5574"/>
                      <a:gd name="T123" fmla="*/ 2147483647 h 2886"/>
                      <a:gd name="T124" fmla="*/ 2147483647 w 5574"/>
                      <a:gd name="T125" fmla="*/ 2147483647 h 28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5574"/>
                      <a:gd name="T190" fmla="*/ 0 h 2886"/>
                      <a:gd name="T191" fmla="*/ 5574 w 5574"/>
                      <a:gd name="T192" fmla="*/ 2886 h 28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5574" h="2886">
                        <a:moveTo>
                          <a:pt x="3114" y="252"/>
                        </a:moveTo>
                        <a:lnTo>
                          <a:pt x="3138" y="252"/>
                        </a:lnTo>
                        <a:lnTo>
                          <a:pt x="3150" y="258"/>
                        </a:lnTo>
                        <a:lnTo>
                          <a:pt x="3168" y="258"/>
                        </a:lnTo>
                        <a:lnTo>
                          <a:pt x="3174" y="252"/>
                        </a:lnTo>
                        <a:lnTo>
                          <a:pt x="3174" y="246"/>
                        </a:lnTo>
                        <a:lnTo>
                          <a:pt x="3168" y="234"/>
                        </a:lnTo>
                        <a:lnTo>
                          <a:pt x="3156" y="228"/>
                        </a:lnTo>
                        <a:lnTo>
                          <a:pt x="3108" y="228"/>
                        </a:lnTo>
                        <a:lnTo>
                          <a:pt x="3066" y="234"/>
                        </a:lnTo>
                        <a:lnTo>
                          <a:pt x="3036" y="246"/>
                        </a:lnTo>
                        <a:lnTo>
                          <a:pt x="3018" y="246"/>
                        </a:lnTo>
                        <a:lnTo>
                          <a:pt x="3060" y="246"/>
                        </a:lnTo>
                        <a:lnTo>
                          <a:pt x="3096" y="252"/>
                        </a:lnTo>
                        <a:lnTo>
                          <a:pt x="3114" y="252"/>
                        </a:lnTo>
                        <a:close/>
                        <a:moveTo>
                          <a:pt x="2988" y="318"/>
                        </a:moveTo>
                        <a:lnTo>
                          <a:pt x="3036" y="318"/>
                        </a:lnTo>
                        <a:lnTo>
                          <a:pt x="3048" y="312"/>
                        </a:lnTo>
                        <a:lnTo>
                          <a:pt x="3060" y="312"/>
                        </a:lnTo>
                        <a:lnTo>
                          <a:pt x="3072" y="300"/>
                        </a:lnTo>
                        <a:lnTo>
                          <a:pt x="3072" y="294"/>
                        </a:lnTo>
                        <a:lnTo>
                          <a:pt x="3066" y="282"/>
                        </a:lnTo>
                        <a:lnTo>
                          <a:pt x="3138" y="270"/>
                        </a:lnTo>
                        <a:lnTo>
                          <a:pt x="3120" y="264"/>
                        </a:lnTo>
                        <a:lnTo>
                          <a:pt x="3054" y="264"/>
                        </a:lnTo>
                        <a:lnTo>
                          <a:pt x="3042" y="276"/>
                        </a:lnTo>
                        <a:lnTo>
                          <a:pt x="3030" y="276"/>
                        </a:lnTo>
                        <a:lnTo>
                          <a:pt x="2994" y="270"/>
                        </a:lnTo>
                        <a:lnTo>
                          <a:pt x="2958" y="270"/>
                        </a:lnTo>
                        <a:lnTo>
                          <a:pt x="2940" y="282"/>
                        </a:lnTo>
                        <a:lnTo>
                          <a:pt x="2940" y="294"/>
                        </a:lnTo>
                        <a:lnTo>
                          <a:pt x="2946" y="300"/>
                        </a:lnTo>
                        <a:lnTo>
                          <a:pt x="2970" y="312"/>
                        </a:lnTo>
                        <a:lnTo>
                          <a:pt x="2976" y="318"/>
                        </a:lnTo>
                        <a:lnTo>
                          <a:pt x="2988" y="318"/>
                        </a:lnTo>
                        <a:close/>
                        <a:moveTo>
                          <a:pt x="2682" y="384"/>
                        </a:moveTo>
                        <a:lnTo>
                          <a:pt x="2628" y="408"/>
                        </a:lnTo>
                        <a:lnTo>
                          <a:pt x="2634" y="408"/>
                        </a:lnTo>
                        <a:lnTo>
                          <a:pt x="2646" y="414"/>
                        </a:lnTo>
                        <a:lnTo>
                          <a:pt x="2652" y="414"/>
                        </a:lnTo>
                        <a:lnTo>
                          <a:pt x="2658" y="420"/>
                        </a:lnTo>
                        <a:lnTo>
                          <a:pt x="2658" y="426"/>
                        </a:lnTo>
                        <a:lnTo>
                          <a:pt x="2622" y="426"/>
                        </a:lnTo>
                        <a:lnTo>
                          <a:pt x="2586" y="432"/>
                        </a:lnTo>
                        <a:lnTo>
                          <a:pt x="2556" y="438"/>
                        </a:lnTo>
                        <a:lnTo>
                          <a:pt x="2544" y="438"/>
                        </a:lnTo>
                        <a:lnTo>
                          <a:pt x="2520" y="456"/>
                        </a:lnTo>
                        <a:lnTo>
                          <a:pt x="2580" y="450"/>
                        </a:lnTo>
                        <a:lnTo>
                          <a:pt x="2586" y="450"/>
                        </a:lnTo>
                        <a:lnTo>
                          <a:pt x="2592" y="456"/>
                        </a:lnTo>
                        <a:lnTo>
                          <a:pt x="2610" y="456"/>
                        </a:lnTo>
                        <a:lnTo>
                          <a:pt x="2628" y="462"/>
                        </a:lnTo>
                        <a:lnTo>
                          <a:pt x="2658" y="462"/>
                        </a:lnTo>
                        <a:lnTo>
                          <a:pt x="2694" y="450"/>
                        </a:lnTo>
                        <a:lnTo>
                          <a:pt x="2730" y="444"/>
                        </a:lnTo>
                        <a:lnTo>
                          <a:pt x="2742" y="438"/>
                        </a:lnTo>
                        <a:lnTo>
                          <a:pt x="2742" y="450"/>
                        </a:lnTo>
                        <a:lnTo>
                          <a:pt x="2760" y="450"/>
                        </a:lnTo>
                        <a:lnTo>
                          <a:pt x="2796" y="444"/>
                        </a:lnTo>
                        <a:lnTo>
                          <a:pt x="2856" y="444"/>
                        </a:lnTo>
                        <a:lnTo>
                          <a:pt x="2850" y="444"/>
                        </a:lnTo>
                        <a:lnTo>
                          <a:pt x="2844" y="450"/>
                        </a:lnTo>
                        <a:lnTo>
                          <a:pt x="2832" y="450"/>
                        </a:lnTo>
                        <a:lnTo>
                          <a:pt x="2790" y="456"/>
                        </a:lnTo>
                        <a:lnTo>
                          <a:pt x="2730" y="468"/>
                        </a:lnTo>
                        <a:lnTo>
                          <a:pt x="2706" y="468"/>
                        </a:lnTo>
                        <a:lnTo>
                          <a:pt x="2688" y="474"/>
                        </a:lnTo>
                        <a:lnTo>
                          <a:pt x="2670" y="474"/>
                        </a:lnTo>
                        <a:lnTo>
                          <a:pt x="2652" y="480"/>
                        </a:lnTo>
                        <a:lnTo>
                          <a:pt x="2646" y="486"/>
                        </a:lnTo>
                        <a:lnTo>
                          <a:pt x="2640" y="486"/>
                        </a:lnTo>
                        <a:lnTo>
                          <a:pt x="2658" y="486"/>
                        </a:lnTo>
                        <a:lnTo>
                          <a:pt x="2694" y="492"/>
                        </a:lnTo>
                        <a:lnTo>
                          <a:pt x="2760" y="498"/>
                        </a:lnTo>
                        <a:lnTo>
                          <a:pt x="2808" y="492"/>
                        </a:lnTo>
                        <a:lnTo>
                          <a:pt x="2850" y="480"/>
                        </a:lnTo>
                        <a:lnTo>
                          <a:pt x="2874" y="474"/>
                        </a:lnTo>
                        <a:lnTo>
                          <a:pt x="2886" y="468"/>
                        </a:lnTo>
                        <a:lnTo>
                          <a:pt x="2958" y="450"/>
                        </a:lnTo>
                        <a:lnTo>
                          <a:pt x="3000" y="450"/>
                        </a:lnTo>
                        <a:lnTo>
                          <a:pt x="3054" y="444"/>
                        </a:lnTo>
                        <a:lnTo>
                          <a:pt x="3096" y="438"/>
                        </a:lnTo>
                        <a:lnTo>
                          <a:pt x="3120" y="432"/>
                        </a:lnTo>
                        <a:lnTo>
                          <a:pt x="3138" y="420"/>
                        </a:lnTo>
                        <a:lnTo>
                          <a:pt x="3156" y="414"/>
                        </a:lnTo>
                        <a:lnTo>
                          <a:pt x="3168" y="408"/>
                        </a:lnTo>
                        <a:lnTo>
                          <a:pt x="3168" y="396"/>
                        </a:lnTo>
                        <a:lnTo>
                          <a:pt x="3156" y="384"/>
                        </a:lnTo>
                        <a:lnTo>
                          <a:pt x="3144" y="378"/>
                        </a:lnTo>
                        <a:lnTo>
                          <a:pt x="3120" y="378"/>
                        </a:lnTo>
                        <a:lnTo>
                          <a:pt x="3114" y="384"/>
                        </a:lnTo>
                        <a:lnTo>
                          <a:pt x="3108" y="384"/>
                        </a:lnTo>
                        <a:lnTo>
                          <a:pt x="3108" y="396"/>
                        </a:lnTo>
                        <a:lnTo>
                          <a:pt x="3072" y="396"/>
                        </a:lnTo>
                        <a:lnTo>
                          <a:pt x="3078" y="390"/>
                        </a:lnTo>
                        <a:lnTo>
                          <a:pt x="3078" y="378"/>
                        </a:lnTo>
                        <a:lnTo>
                          <a:pt x="3102" y="354"/>
                        </a:lnTo>
                        <a:lnTo>
                          <a:pt x="3102" y="342"/>
                        </a:lnTo>
                        <a:lnTo>
                          <a:pt x="3096" y="342"/>
                        </a:lnTo>
                        <a:lnTo>
                          <a:pt x="3054" y="348"/>
                        </a:lnTo>
                        <a:lnTo>
                          <a:pt x="2988" y="372"/>
                        </a:lnTo>
                        <a:lnTo>
                          <a:pt x="2976" y="378"/>
                        </a:lnTo>
                        <a:lnTo>
                          <a:pt x="3024" y="378"/>
                        </a:lnTo>
                        <a:lnTo>
                          <a:pt x="3018" y="408"/>
                        </a:lnTo>
                        <a:lnTo>
                          <a:pt x="2898" y="420"/>
                        </a:lnTo>
                        <a:lnTo>
                          <a:pt x="2898" y="414"/>
                        </a:lnTo>
                        <a:lnTo>
                          <a:pt x="2892" y="408"/>
                        </a:lnTo>
                        <a:lnTo>
                          <a:pt x="2892" y="372"/>
                        </a:lnTo>
                        <a:lnTo>
                          <a:pt x="2886" y="366"/>
                        </a:lnTo>
                        <a:lnTo>
                          <a:pt x="2874" y="366"/>
                        </a:lnTo>
                        <a:lnTo>
                          <a:pt x="2856" y="360"/>
                        </a:lnTo>
                        <a:lnTo>
                          <a:pt x="2814" y="360"/>
                        </a:lnTo>
                        <a:lnTo>
                          <a:pt x="2682" y="384"/>
                        </a:lnTo>
                        <a:close/>
                        <a:moveTo>
                          <a:pt x="2832" y="342"/>
                        </a:moveTo>
                        <a:lnTo>
                          <a:pt x="2844" y="330"/>
                        </a:lnTo>
                        <a:lnTo>
                          <a:pt x="2844" y="318"/>
                        </a:lnTo>
                        <a:lnTo>
                          <a:pt x="2838" y="312"/>
                        </a:lnTo>
                        <a:lnTo>
                          <a:pt x="2814" y="312"/>
                        </a:lnTo>
                        <a:lnTo>
                          <a:pt x="2802" y="318"/>
                        </a:lnTo>
                        <a:lnTo>
                          <a:pt x="2796" y="324"/>
                        </a:lnTo>
                        <a:lnTo>
                          <a:pt x="2796" y="330"/>
                        </a:lnTo>
                        <a:lnTo>
                          <a:pt x="2802" y="336"/>
                        </a:lnTo>
                        <a:lnTo>
                          <a:pt x="2814" y="336"/>
                        </a:lnTo>
                        <a:lnTo>
                          <a:pt x="2820" y="342"/>
                        </a:lnTo>
                        <a:lnTo>
                          <a:pt x="2832" y="342"/>
                        </a:lnTo>
                        <a:close/>
                        <a:moveTo>
                          <a:pt x="3012" y="564"/>
                        </a:moveTo>
                        <a:lnTo>
                          <a:pt x="2988" y="540"/>
                        </a:lnTo>
                        <a:lnTo>
                          <a:pt x="2958" y="540"/>
                        </a:lnTo>
                        <a:lnTo>
                          <a:pt x="2952" y="534"/>
                        </a:lnTo>
                        <a:lnTo>
                          <a:pt x="2946" y="534"/>
                        </a:lnTo>
                        <a:lnTo>
                          <a:pt x="2934" y="528"/>
                        </a:lnTo>
                        <a:lnTo>
                          <a:pt x="2916" y="528"/>
                        </a:lnTo>
                        <a:lnTo>
                          <a:pt x="2898" y="534"/>
                        </a:lnTo>
                        <a:lnTo>
                          <a:pt x="2892" y="540"/>
                        </a:lnTo>
                        <a:lnTo>
                          <a:pt x="2892" y="552"/>
                        </a:lnTo>
                        <a:lnTo>
                          <a:pt x="2928" y="570"/>
                        </a:lnTo>
                        <a:lnTo>
                          <a:pt x="2934" y="576"/>
                        </a:lnTo>
                        <a:lnTo>
                          <a:pt x="2946" y="582"/>
                        </a:lnTo>
                        <a:lnTo>
                          <a:pt x="3012" y="564"/>
                        </a:lnTo>
                        <a:close/>
                        <a:moveTo>
                          <a:pt x="2460" y="414"/>
                        </a:moveTo>
                        <a:lnTo>
                          <a:pt x="2442" y="420"/>
                        </a:lnTo>
                        <a:lnTo>
                          <a:pt x="2430" y="426"/>
                        </a:lnTo>
                        <a:lnTo>
                          <a:pt x="2430" y="438"/>
                        </a:lnTo>
                        <a:lnTo>
                          <a:pt x="2442" y="438"/>
                        </a:lnTo>
                        <a:lnTo>
                          <a:pt x="2472" y="432"/>
                        </a:lnTo>
                        <a:lnTo>
                          <a:pt x="2490" y="426"/>
                        </a:lnTo>
                        <a:lnTo>
                          <a:pt x="2502" y="420"/>
                        </a:lnTo>
                        <a:lnTo>
                          <a:pt x="2502" y="414"/>
                        </a:lnTo>
                        <a:lnTo>
                          <a:pt x="2496" y="408"/>
                        </a:lnTo>
                        <a:lnTo>
                          <a:pt x="2484" y="408"/>
                        </a:lnTo>
                        <a:lnTo>
                          <a:pt x="2460" y="414"/>
                        </a:lnTo>
                        <a:close/>
                        <a:moveTo>
                          <a:pt x="2970" y="858"/>
                        </a:moveTo>
                        <a:lnTo>
                          <a:pt x="2988" y="858"/>
                        </a:lnTo>
                        <a:lnTo>
                          <a:pt x="3006" y="864"/>
                        </a:lnTo>
                        <a:lnTo>
                          <a:pt x="3018" y="870"/>
                        </a:lnTo>
                        <a:lnTo>
                          <a:pt x="3036" y="876"/>
                        </a:lnTo>
                        <a:lnTo>
                          <a:pt x="3060" y="882"/>
                        </a:lnTo>
                        <a:lnTo>
                          <a:pt x="3096" y="882"/>
                        </a:lnTo>
                        <a:lnTo>
                          <a:pt x="3126" y="876"/>
                        </a:lnTo>
                        <a:lnTo>
                          <a:pt x="3138" y="876"/>
                        </a:lnTo>
                        <a:lnTo>
                          <a:pt x="3120" y="810"/>
                        </a:lnTo>
                        <a:lnTo>
                          <a:pt x="3018" y="792"/>
                        </a:lnTo>
                        <a:lnTo>
                          <a:pt x="2988" y="828"/>
                        </a:lnTo>
                        <a:lnTo>
                          <a:pt x="2958" y="828"/>
                        </a:lnTo>
                        <a:lnTo>
                          <a:pt x="2952" y="834"/>
                        </a:lnTo>
                        <a:lnTo>
                          <a:pt x="2952" y="846"/>
                        </a:lnTo>
                        <a:lnTo>
                          <a:pt x="2958" y="852"/>
                        </a:lnTo>
                        <a:lnTo>
                          <a:pt x="2970" y="858"/>
                        </a:lnTo>
                        <a:close/>
                        <a:moveTo>
                          <a:pt x="168" y="2034"/>
                        </a:moveTo>
                        <a:lnTo>
                          <a:pt x="168" y="2040"/>
                        </a:lnTo>
                        <a:lnTo>
                          <a:pt x="174" y="2046"/>
                        </a:lnTo>
                        <a:lnTo>
                          <a:pt x="192" y="2046"/>
                        </a:lnTo>
                        <a:lnTo>
                          <a:pt x="186" y="2070"/>
                        </a:lnTo>
                        <a:lnTo>
                          <a:pt x="216" y="2052"/>
                        </a:lnTo>
                        <a:lnTo>
                          <a:pt x="216" y="2028"/>
                        </a:lnTo>
                        <a:lnTo>
                          <a:pt x="174" y="2028"/>
                        </a:lnTo>
                        <a:lnTo>
                          <a:pt x="168" y="2034"/>
                        </a:lnTo>
                        <a:close/>
                        <a:moveTo>
                          <a:pt x="252" y="2298"/>
                        </a:moveTo>
                        <a:lnTo>
                          <a:pt x="252" y="2292"/>
                        </a:lnTo>
                        <a:lnTo>
                          <a:pt x="246" y="2286"/>
                        </a:lnTo>
                        <a:lnTo>
                          <a:pt x="246" y="2268"/>
                        </a:lnTo>
                        <a:lnTo>
                          <a:pt x="252" y="2256"/>
                        </a:lnTo>
                        <a:lnTo>
                          <a:pt x="252" y="2238"/>
                        </a:lnTo>
                        <a:lnTo>
                          <a:pt x="246" y="2226"/>
                        </a:lnTo>
                        <a:lnTo>
                          <a:pt x="228" y="2226"/>
                        </a:lnTo>
                        <a:lnTo>
                          <a:pt x="216" y="2220"/>
                        </a:lnTo>
                        <a:lnTo>
                          <a:pt x="204" y="2220"/>
                        </a:lnTo>
                        <a:lnTo>
                          <a:pt x="192" y="2214"/>
                        </a:lnTo>
                        <a:lnTo>
                          <a:pt x="186" y="2208"/>
                        </a:lnTo>
                        <a:lnTo>
                          <a:pt x="174" y="2202"/>
                        </a:lnTo>
                        <a:lnTo>
                          <a:pt x="150" y="2178"/>
                        </a:lnTo>
                        <a:lnTo>
                          <a:pt x="138" y="2172"/>
                        </a:lnTo>
                        <a:lnTo>
                          <a:pt x="126" y="2172"/>
                        </a:lnTo>
                        <a:lnTo>
                          <a:pt x="102" y="2184"/>
                        </a:lnTo>
                        <a:lnTo>
                          <a:pt x="96" y="2196"/>
                        </a:lnTo>
                        <a:lnTo>
                          <a:pt x="96" y="2202"/>
                        </a:lnTo>
                        <a:lnTo>
                          <a:pt x="108" y="2208"/>
                        </a:lnTo>
                        <a:lnTo>
                          <a:pt x="114" y="2214"/>
                        </a:lnTo>
                        <a:lnTo>
                          <a:pt x="120" y="2214"/>
                        </a:lnTo>
                        <a:lnTo>
                          <a:pt x="132" y="2202"/>
                        </a:lnTo>
                        <a:lnTo>
                          <a:pt x="144" y="2208"/>
                        </a:lnTo>
                        <a:lnTo>
                          <a:pt x="132" y="2220"/>
                        </a:lnTo>
                        <a:lnTo>
                          <a:pt x="120" y="2220"/>
                        </a:lnTo>
                        <a:lnTo>
                          <a:pt x="114" y="2226"/>
                        </a:lnTo>
                        <a:lnTo>
                          <a:pt x="102" y="2232"/>
                        </a:lnTo>
                        <a:lnTo>
                          <a:pt x="102" y="2244"/>
                        </a:lnTo>
                        <a:lnTo>
                          <a:pt x="108" y="2250"/>
                        </a:lnTo>
                        <a:lnTo>
                          <a:pt x="126" y="2250"/>
                        </a:lnTo>
                        <a:lnTo>
                          <a:pt x="138" y="2244"/>
                        </a:lnTo>
                        <a:lnTo>
                          <a:pt x="132" y="2262"/>
                        </a:lnTo>
                        <a:lnTo>
                          <a:pt x="150" y="2262"/>
                        </a:lnTo>
                        <a:lnTo>
                          <a:pt x="132" y="2280"/>
                        </a:lnTo>
                        <a:lnTo>
                          <a:pt x="168" y="2274"/>
                        </a:lnTo>
                        <a:lnTo>
                          <a:pt x="156" y="2280"/>
                        </a:lnTo>
                        <a:lnTo>
                          <a:pt x="144" y="2292"/>
                        </a:lnTo>
                        <a:lnTo>
                          <a:pt x="138" y="2292"/>
                        </a:lnTo>
                        <a:lnTo>
                          <a:pt x="138" y="2298"/>
                        </a:lnTo>
                        <a:lnTo>
                          <a:pt x="150" y="2298"/>
                        </a:lnTo>
                        <a:lnTo>
                          <a:pt x="162" y="2286"/>
                        </a:lnTo>
                        <a:lnTo>
                          <a:pt x="168" y="2286"/>
                        </a:lnTo>
                        <a:lnTo>
                          <a:pt x="174" y="2292"/>
                        </a:lnTo>
                        <a:lnTo>
                          <a:pt x="174" y="2304"/>
                        </a:lnTo>
                        <a:lnTo>
                          <a:pt x="162" y="2316"/>
                        </a:lnTo>
                        <a:lnTo>
                          <a:pt x="162" y="2328"/>
                        </a:lnTo>
                        <a:lnTo>
                          <a:pt x="210" y="2328"/>
                        </a:lnTo>
                        <a:lnTo>
                          <a:pt x="228" y="2316"/>
                        </a:lnTo>
                        <a:lnTo>
                          <a:pt x="210" y="2340"/>
                        </a:lnTo>
                        <a:lnTo>
                          <a:pt x="192" y="2340"/>
                        </a:lnTo>
                        <a:lnTo>
                          <a:pt x="186" y="2346"/>
                        </a:lnTo>
                        <a:lnTo>
                          <a:pt x="186" y="2352"/>
                        </a:lnTo>
                        <a:lnTo>
                          <a:pt x="210" y="2364"/>
                        </a:lnTo>
                        <a:lnTo>
                          <a:pt x="216" y="2364"/>
                        </a:lnTo>
                        <a:lnTo>
                          <a:pt x="228" y="2370"/>
                        </a:lnTo>
                        <a:lnTo>
                          <a:pt x="234" y="2376"/>
                        </a:lnTo>
                        <a:lnTo>
                          <a:pt x="246" y="2376"/>
                        </a:lnTo>
                        <a:lnTo>
                          <a:pt x="258" y="2382"/>
                        </a:lnTo>
                        <a:lnTo>
                          <a:pt x="270" y="2376"/>
                        </a:lnTo>
                        <a:lnTo>
                          <a:pt x="288" y="2358"/>
                        </a:lnTo>
                        <a:lnTo>
                          <a:pt x="294" y="2346"/>
                        </a:lnTo>
                        <a:lnTo>
                          <a:pt x="294" y="2340"/>
                        </a:lnTo>
                        <a:lnTo>
                          <a:pt x="288" y="2334"/>
                        </a:lnTo>
                        <a:lnTo>
                          <a:pt x="282" y="2322"/>
                        </a:lnTo>
                        <a:lnTo>
                          <a:pt x="270" y="2316"/>
                        </a:lnTo>
                        <a:lnTo>
                          <a:pt x="264" y="2304"/>
                        </a:lnTo>
                        <a:lnTo>
                          <a:pt x="252" y="2298"/>
                        </a:lnTo>
                        <a:close/>
                        <a:moveTo>
                          <a:pt x="2304" y="372"/>
                        </a:moveTo>
                        <a:lnTo>
                          <a:pt x="2316" y="372"/>
                        </a:lnTo>
                        <a:lnTo>
                          <a:pt x="2328" y="366"/>
                        </a:lnTo>
                        <a:lnTo>
                          <a:pt x="2376" y="366"/>
                        </a:lnTo>
                        <a:lnTo>
                          <a:pt x="2388" y="378"/>
                        </a:lnTo>
                        <a:lnTo>
                          <a:pt x="2388" y="390"/>
                        </a:lnTo>
                        <a:lnTo>
                          <a:pt x="2424" y="390"/>
                        </a:lnTo>
                        <a:lnTo>
                          <a:pt x="2442" y="384"/>
                        </a:lnTo>
                        <a:lnTo>
                          <a:pt x="2454" y="384"/>
                        </a:lnTo>
                        <a:lnTo>
                          <a:pt x="2466" y="390"/>
                        </a:lnTo>
                        <a:lnTo>
                          <a:pt x="2472" y="396"/>
                        </a:lnTo>
                        <a:lnTo>
                          <a:pt x="2490" y="396"/>
                        </a:lnTo>
                        <a:lnTo>
                          <a:pt x="2514" y="384"/>
                        </a:lnTo>
                        <a:lnTo>
                          <a:pt x="2520" y="372"/>
                        </a:lnTo>
                        <a:lnTo>
                          <a:pt x="2520" y="354"/>
                        </a:lnTo>
                        <a:lnTo>
                          <a:pt x="2550" y="354"/>
                        </a:lnTo>
                        <a:lnTo>
                          <a:pt x="2616" y="336"/>
                        </a:lnTo>
                        <a:lnTo>
                          <a:pt x="2580" y="366"/>
                        </a:lnTo>
                        <a:lnTo>
                          <a:pt x="2634" y="378"/>
                        </a:lnTo>
                        <a:lnTo>
                          <a:pt x="2688" y="354"/>
                        </a:lnTo>
                        <a:lnTo>
                          <a:pt x="2784" y="312"/>
                        </a:lnTo>
                        <a:lnTo>
                          <a:pt x="2778" y="312"/>
                        </a:lnTo>
                        <a:lnTo>
                          <a:pt x="2772" y="306"/>
                        </a:lnTo>
                        <a:lnTo>
                          <a:pt x="2754" y="300"/>
                        </a:lnTo>
                        <a:lnTo>
                          <a:pt x="2736" y="300"/>
                        </a:lnTo>
                        <a:lnTo>
                          <a:pt x="2724" y="294"/>
                        </a:lnTo>
                        <a:lnTo>
                          <a:pt x="2706" y="288"/>
                        </a:lnTo>
                        <a:lnTo>
                          <a:pt x="2676" y="288"/>
                        </a:lnTo>
                        <a:lnTo>
                          <a:pt x="2646" y="282"/>
                        </a:lnTo>
                        <a:lnTo>
                          <a:pt x="2604" y="282"/>
                        </a:lnTo>
                        <a:lnTo>
                          <a:pt x="2526" y="294"/>
                        </a:lnTo>
                        <a:lnTo>
                          <a:pt x="2526" y="318"/>
                        </a:lnTo>
                        <a:lnTo>
                          <a:pt x="2406" y="324"/>
                        </a:lnTo>
                        <a:lnTo>
                          <a:pt x="2400" y="324"/>
                        </a:lnTo>
                        <a:lnTo>
                          <a:pt x="2394" y="318"/>
                        </a:lnTo>
                        <a:lnTo>
                          <a:pt x="2334" y="318"/>
                        </a:lnTo>
                        <a:lnTo>
                          <a:pt x="2322" y="324"/>
                        </a:lnTo>
                        <a:lnTo>
                          <a:pt x="2310" y="324"/>
                        </a:lnTo>
                        <a:lnTo>
                          <a:pt x="2304" y="330"/>
                        </a:lnTo>
                        <a:lnTo>
                          <a:pt x="2304" y="372"/>
                        </a:lnTo>
                        <a:close/>
                        <a:moveTo>
                          <a:pt x="150" y="1980"/>
                        </a:moveTo>
                        <a:lnTo>
                          <a:pt x="162" y="2004"/>
                        </a:lnTo>
                        <a:lnTo>
                          <a:pt x="174" y="2010"/>
                        </a:lnTo>
                        <a:lnTo>
                          <a:pt x="186" y="1980"/>
                        </a:lnTo>
                        <a:lnTo>
                          <a:pt x="180" y="1974"/>
                        </a:lnTo>
                        <a:lnTo>
                          <a:pt x="174" y="1974"/>
                        </a:lnTo>
                        <a:lnTo>
                          <a:pt x="162" y="1968"/>
                        </a:lnTo>
                        <a:lnTo>
                          <a:pt x="156" y="1968"/>
                        </a:lnTo>
                        <a:lnTo>
                          <a:pt x="150" y="1974"/>
                        </a:lnTo>
                        <a:lnTo>
                          <a:pt x="150" y="1980"/>
                        </a:lnTo>
                        <a:close/>
                        <a:moveTo>
                          <a:pt x="126" y="1932"/>
                        </a:moveTo>
                        <a:lnTo>
                          <a:pt x="120" y="1932"/>
                        </a:lnTo>
                        <a:lnTo>
                          <a:pt x="108" y="1938"/>
                        </a:lnTo>
                        <a:lnTo>
                          <a:pt x="96" y="1938"/>
                        </a:lnTo>
                        <a:lnTo>
                          <a:pt x="84" y="1944"/>
                        </a:lnTo>
                        <a:lnTo>
                          <a:pt x="78" y="1944"/>
                        </a:lnTo>
                        <a:lnTo>
                          <a:pt x="78" y="1950"/>
                        </a:lnTo>
                        <a:lnTo>
                          <a:pt x="72" y="1962"/>
                        </a:lnTo>
                        <a:lnTo>
                          <a:pt x="66" y="1968"/>
                        </a:lnTo>
                        <a:lnTo>
                          <a:pt x="48" y="1968"/>
                        </a:lnTo>
                        <a:lnTo>
                          <a:pt x="42" y="1962"/>
                        </a:lnTo>
                        <a:lnTo>
                          <a:pt x="48" y="1956"/>
                        </a:lnTo>
                        <a:lnTo>
                          <a:pt x="60" y="1956"/>
                        </a:lnTo>
                        <a:lnTo>
                          <a:pt x="66" y="1950"/>
                        </a:lnTo>
                        <a:lnTo>
                          <a:pt x="72" y="1950"/>
                        </a:lnTo>
                        <a:lnTo>
                          <a:pt x="78" y="1944"/>
                        </a:lnTo>
                        <a:lnTo>
                          <a:pt x="84" y="1944"/>
                        </a:lnTo>
                        <a:lnTo>
                          <a:pt x="78" y="1938"/>
                        </a:lnTo>
                        <a:lnTo>
                          <a:pt x="54" y="1938"/>
                        </a:lnTo>
                        <a:lnTo>
                          <a:pt x="48" y="1944"/>
                        </a:lnTo>
                        <a:lnTo>
                          <a:pt x="48" y="1932"/>
                        </a:lnTo>
                        <a:lnTo>
                          <a:pt x="36" y="1932"/>
                        </a:lnTo>
                        <a:lnTo>
                          <a:pt x="24" y="1944"/>
                        </a:lnTo>
                        <a:lnTo>
                          <a:pt x="6" y="1980"/>
                        </a:lnTo>
                        <a:lnTo>
                          <a:pt x="6" y="2004"/>
                        </a:lnTo>
                        <a:lnTo>
                          <a:pt x="12" y="2004"/>
                        </a:lnTo>
                        <a:lnTo>
                          <a:pt x="12" y="2010"/>
                        </a:lnTo>
                        <a:lnTo>
                          <a:pt x="18" y="2016"/>
                        </a:lnTo>
                        <a:lnTo>
                          <a:pt x="0" y="2022"/>
                        </a:lnTo>
                        <a:lnTo>
                          <a:pt x="12" y="2076"/>
                        </a:lnTo>
                        <a:lnTo>
                          <a:pt x="12" y="2082"/>
                        </a:lnTo>
                        <a:lnTo>
                          <a:pt x="6" y="2082"/>
                        </a:lnTo>
                        <a:lnTo>
                          <a:pt x="12" y="2088"/>
                        </a:lnTo>
                        <a:lnTo>
                          <a:pt x="12" y="2094"/>
                        </a:lnTo>
                        <a:lnTo>
                          <a:pt x="30" y="2094"/>
                        </a:lnTo>
                        <a:lnTo>
                          <a:pt x="30" y="2070"/>
                        </a:lnTo>
                        <a:lnTo>
                          <a:pt x="24" y="2058"/>
                        </a:lnTo>
                        <a:lnTo>
                          <a:pt x="24" y="2040"/>
                        </a:lnTo>
                        <a:lnTo>
                          <a:pt x="36" y="2028"/>
                        </a:lnTo>
                        <a:lnTo>
                          <a:pt x="42" y="2028"/>
                        </a:lnTo>
                        <a:lnTo>
                          <a:pt x="48" y="2016"/>
                        </a:lnTo>
                        <a:lnTo>
                          <a:pt x="54" y="2010"/>
                        </a:lnTo>
                        <a:lnTo>
                          <a:pt x="54" y="1986"/>
                        </a:lnTo>
                        <a:lnTo>
                          <a:pt x="84" y="1956"/>
                        </a:lnTo>
                        <a:lnTo>
                          <a:pt x="108" y="1944"/>
                        </a:lnTo>
                        <a:lnTo>
                          <a:pt x="114" y="1944"/>
                        </a:lnTo>
                        <a:lnTo>
                          <a:pt x="126" y="1938"/>
                        </a:lnTo>
                        <a:lnTo>
                          <a:pt x="126" y="1932"/>
                        </a:lnTo>
                        <a:close/>
                        <a:moveTo>
                          <a:pt x="1896" y="678"/>
                        </a:moveTo>
                        <a:lnTo>
                          <a:pt x="1896" y="690"/>
                        </a:lnTo>
                        <a:lnTo>
                          <a:pt x="1884" y="702"/>
                        </a:lnTo>
                        <a:lnTo>
                          <a:pt x="1884" y="714"/>
                        </a:lnTo>
                        <a:lnTo>
                          <a:pt x="1902" y="714"/>
                        </a:lnTo>
                        <a:lnTo>
                          <a:pt x="1926" y="708"/>
                        </a:lnTo>
                        <a:lnTo>
                          <a:pt x="1944" y="708"/>
                        </a:lnTo>
                        <a:lnTo>
                          <a:pt x="1980" y="696"/>
                        </a:lnTo>
                        <a:lnTo>
                          <a:pt x="1986" y="690"/>
                        </a:lnTo>
                        <a:lnTo>
                          <a:pt x="1992" y="690"/>
                        </a:lnTo>
                        <a:lnTo>
                          <a:pt x="2034" y="702"/>
                        </a:lnTo>
                        <a:lnTo>
                          <a:pt x="2112" y="642"/>
                        </a:lnTo>
                        <a:lnTo>
                          <a:pt x="2244" y="600"/>
                        </a:lnTo>
                        <a:lnTo>
                          <a:pt x="2370" y="564"/>
                        </a:lnTo>
                        <a:lnTo>
                          <a:pt x="2466" y="546"/>
                        </a:lnTo>
                        <a:lnTo>
                          <a:pt x="2454" y="540"/>
                        </a:lnTo>
                        <a:lnTo>
                          <a:pt x="2448" y="528"/>
                        </a:lnTo>
                        <a:lnTo>
                          <a:pt x="2436" y="522"/>
                        </a:lnTo>
                        <a:lnTo>
                          <a:pt x="2424" y="510"/>
                        </a:lnTo>
                        <a:lnTo>
                          <a:pt x="2412" y="504"/>
                        </a:lnTo>
                        <a:lnTo>
                          <a:pt x="2400" y="492"/>
                        </a:lnTo>
                        <a:lnTo>
                          <a:pt x="2352" y="492"/>
                        </a:lnTo>
                        <a:lnTo>
                          <a:pt x="2340" y="498"/>
                        </a:lnTo>
                        <a:lnTo>
                          <a:pt x="2328" y="498"/>
                        </a:lnTo>
                        <a:lnTo>
                          <a:pt x="2262" y="504"/>
                        </a:lnTo>
                        <a:lnTo>
                          <a:pt x="2226" y="480"/>
                        </a:lnTo>
                        <a:lnTo>
                          <a:pt x="2142" y="486"/>
                        </a:lnTo>
                        <a:lnTo>
                          <a:pt x="2094" y="504"/>
                        </a:lnTo>
                        <a:lnTo>
                          <a:pt x="2076" y="522"/>
                        </a:lnTo>
                        <a:lnTo>
                          <a:pt x="2064" y="552"/>
                        </a:lnTo>
                        <a:lnTo>
                          <a:pt x="2010" y="564"/>
                        </a:lnTo>
                        <a:lnTo>
                          <a:pt x="1944" y="588"/>
                        </a:lnTo>
                        <a:lnTo>
                          <a:pt x="1962" y="600"/>
                        </a:lnTo>
                        <a:lnTo>
                          <a:pt x="1842" y="654"/>
                        </a:lnTo>
                        <a:lnTo>
                          <a:pt x="1854" y="654"/>
                        </a:lnTo>
                        <a:lnTo>
                          <a:pt x="1890" y="672"/>
                        </a:lnTo>
                        <a:lnTo>
                          <a:pt x="1896" y="678"/>
                        </a:lnTo>
                        <a:close/>
                        <a:moveTo>
                          <a:pt x="198" y="1968"/>
                        </a:moveTo>
                        <a:lnTo>
                          <a:pt x="192" y="1992"/>
                        </a:lnTo>
                        <a:lnTo>
                          <a:pt x="192" y="2010"/>
                        </a:lnTo>
                        <a:lnTo>
                          <a:pt x="216" y="1998"/>
                        </a:lnTo>
                        <a:lnTo>
                          <a:pt x="198" y="1968"/>
                        </a:lnTo>
                        <a:close/>
                        <a:moveTo>
                          <a:pt x="4182" y="600"/>
                        </a:moveTo>
                        <a:lnTo>
                          <a:pt x="4194" y="606"/>
                        </a:lnTo>
                        <a:lnTo>
                          <a:pt x="4206" y="600"/>
                        </a:lnTo>
                        <a:lnTo>
                          <a:pt x="4218" y="600"/>
                        </a:lnTo>
                        <a:lnTo>
                          <a:pt x="4242" y="588"/>
                        </a:lnTo>
                        <a:lnTo>
                          <a:pt x="4308" y="588"/>
                        </a:lnTo>
                        <a:lnTo>
                          <a:pt x="4314" y="594"/>
                        </a:lnTo>
                        <a:lnTo>
                          <a:pt x="4350" y="594"/>
                        </a:lnTo>
                        <a:lnTo>
                          <a:pt x="4356" y="588"/>
                        </a:lnTo>
                        <a:lnTo>
                          <a:pt x="4356" y="582"/>
                        </a:lnTo>
                        <a:lnTo>
                          <a:pt x="4344" y="558"/>
                        </a:lnTo>
                        <a:lnTo>
                          <a:pt x="4338" y="552"/>
                        </a:lnTo>
                        <a:lnTo>
                          <a:pt x="4326" y="546"/>
                        </a:lnTo>
                        <a:lnTo>
                          <a:pt x="4230" y="546"/>
                        </a:lnTo>
                        <a:lnTo>
                          <a:pt x="4224" y="540"/>
                        </a:lnTo>
                        <a:lnTo>
                          <a:pt x="4212" y="540"/>
                        </a:lnTo>
                        <a:lnTo>
                          <a:pt x="4200" y="534"/>
                        </a:lnTo>
                        <a:lnTo>
                          <a:pt x="4188" y="534"/>
                        </a:lnTo>
                        <a:lnTo>
                          <a:pt x="4176" y="540"/>
                        </a:lnTo>
                        <a:lnTo>
                          <a:pt x="4158" y="558"/>
                        </a:lnTo>
                        <a:lnTo>
                          <a:pt x="4158" y="564"/>
                        </a:lnTo>
                        <a:lnTo>
                          <a:pt x="4176" y="576"/>
                        </a:lnTo>
                        <a:lnTo>
                          <a:pt x="4170" y="582"/>
                        </a:lnTo>
                        <a:lnTo>
                          <a:pt x="4170" y="594"/>
                        </a:lnTo>
                        <a:lnTo>
                          <a:pt x="4176" y="594"/>
                        </a:lnTo>
                        <a:lnTo>
                          <a:pt x="4182" y="600"/>
                        </a:lnTo>
                        <a:close/>
                        <a:moveTo>
                          <a:pt x="3708" y="516"/>
                        </a:moveTo>
                        <a:lnTo>
                          <a:pt x="3678" y="516"/>
                        </a:lnTo>
                        <a:lnTo>
                          <a:pt x="3624" y="510"/>
                        </a:lnTo>
                        <a:lnTo>
                          <a:pt x="3564" y="504"/>
                        </a:lnTo>
                        <a:lnTo>
                          <a:pt x="3468" y="504"/>
                        </a:lnTo>
                        <a:lnTo>
                          <a:pt x="3468" y="516"/>
                        </a:lnTo>
                        <a:lnTo>
                          <a:pt x="3462" y="522"/>
                        </a:lnTo>
                        <a:lnTo>
                          <a:pt x="3426" y="540"/>
                        </a:lnTo>
                        <a:lnTo>
                          <a:pt x="3396" y="546"/>
                        </a:lnTo>
                        <a:lnTo>
                          <a:pt x="3378" y="552"/>
                        </a:lnTo>
                        <a:lnTo>
                          <a:pt x="3372" y="552"/>
                        </a:lnTo>
                        <a:lnTo>
                          <a:pt x="3372" y="558"/>
                        </a:lnTo>
                        <a:lnTo>
                          <a:pt x="3384" y="570"/>
                        </a:lnTo>
                        <a:lnTo>
                          <a:pt x="3390" y="582"/>
                        </a:lnTo>
                        <a:lnTo>
                          <a:pt x="3390" y="594"/>
                        </a:lnTo>
                        <a:lnTo>
                          <a:pt x="3372" y="618"/>
                        </a:lnTo>
                        <a:lnTo>
                          <a:pt x="3402" y="636"/>
                        </a:lnTo>
                        <a:lnTo>
                          <a:pt x="3480" y="606"/>
                        </a:lnTo>
                        <a:lnTo>
                          <a:pt x="3474" y="600"/>
                        </a:lnTo>
                        <a:lnTo>
                          <a:pt x="3468" y="600"/>
                        </a:lnTo>
                        <a:lnTo>
                          <a:pt x="3468" y="594"/>
                        </a:lnTo>
                        <a:lnTo>
                          <a:pt x="3474" y="588"/>
                        </a:lnTo>
                        <a:lnTo>
                          <a:pt x="3486" y="582"/>
                        </a:lnTo>
                        <a:lnTo>
                          <a:pt x="3522" y="582"/>
                        </a:lnTo>
                        <a:lnTo>
                          <a:pt x="3546" y="594"/>
                        </a:lnTo>
                        <a:lnTo>
                          <a:pt x="3552" y="600"/>
                        </a:lnTo>
                        <a:lnTo>
                          <a:pt x="3606" y="594"/>
                        </a:lnTo>
                        <a:lnTo>
                          <a:pt x="3600" y="570"/>
                        </a:lnTo>
                        <a:lnTo>
                          <a:pt x="3630" y="570"/>
                        </a:lnTo>
                        <a:lnTo>
                          <a:pt x="3648" y="564"/>
                        </a:lnTo>
                        <a:lnTo>
                          <a:pt x="3666" y="564"/>
                        </a:lnTo>
                        <a:lnTo>
                          <a:pt x="3690" y="552"/>
                        </a:lnTo>
                        <a:lnTo>
                          <a:pt x="3696" y="546"/>
                        </a:lnTo>
                        <a:lnTo>
                          <a:pt x="3702" y="534"/>
                        </a:lnTo>
                        <a:lnTo>
                          <a:pt x="3714" y="522"/>
                        </a:lnTo>
                        <a:lnTo>
                          <a:pt x="3720" y="522"/>
                        </a:lnTo>
                        <a:lnTo>
                          <a:pt x="3714" y="516"/>
                        </a:lnTo>
                        <a:lnTo>
                          <a:pt x="3708" y="516"/>
                        </a:lnTo>
                        <a:close/>
                        <a:moveTo>
                          <a:pt x="3792" y="150"/>
                        </a:moveTo>
                        <a:lnTo>
                          <a:pt x="3738" y="156"/>
                        </a:lnTo>
                        <a:lnTo>
                          <a:pt x="3756" y="180"/>
                        </a:lnTo>
                        <a:lnTo>
                          <a:pt x="3792" y="150"/>
                        </a:lnTo>
                        <a:close/>
                        <a:moveTo>
                          <a:pt x="3612" y="480"/>
                        </a:moveTo>
                        <a:lnTo>
                          <a:pt x="3636" y="468"/>
                        </a:lnTo>
                        <a:lnTo>
                          <a:pt x="3642" y="456"/>
                        </a:lnTo>
                        <a:lnTo>
                          <a:pt x="3654" y="450"/>
                        </a:lnTo>
                        <a:lnTo>
                          <a:pt x="3660" y="438"/>
                        </a:lnTo>
                        <a:lnTo>
                          <a:pt x="3660" y="432"/>
                        </a:lnTo>
                        <a:lnTo>
                          <a:pt x="3654" y="426"/>
                        </a:lnTo>
                        <a:lnTo>
                          <a:pt x="3642" y="426"/>
                        </a:lnTo>
                        <a:lnTo>
                          <a:pt x="3630" y="420"/>
                        </a:lnTo>
                        <a:lnTo>
                          <a:pt x="3588" y="420"/>
                        </a:lnTo>
                        <a:lnTo>
                          <a:pt x="3570" y="426"/>
                        </a:lnTo>
                        <a:lnTo>
                          <a:pt x="3552" y="426"/>
                        </a:lnTo>
                        <a:lnTo>
                          <a:pt x="3534" y="438"/>
                        </a:lnTo>
                        <a:lnTo>
                          <a:pt x="3516" y="444"/>
                        </a:lnTo>
                        <a:lnTo>
                          <a:pt x="3504" y="450"/>
                        </a:lnTo>
                        <a:lnTo>
                          <a:pt x="3504" y="462"/>
                        </a:lnTo>
                        <a:lnTo>
                          <a:pt x="3528" y="468"/>
                        </a:lnTo>
                        <a:lnTo>
                          <a:pt x="3600" y="480"/>
                        </a:lnTo>
                        <a:lnTo>
                          <a:pt x="3612" y="480"/>
                        </a:lnTo>
                        <a:close/>
                        <a:moveTo>
                          <a:pt x="3954" y="180"/>
                        </a:moveTo>
                        <a:lnTo>
                          <a:pt x="3900" y="192"/>
                        </a:lnTo>
                        <a:lnTo>
                          <a:pt x="3936" y="210"/>
                        </a:lnTo>
                        <a:lnTo>
                          <a:pt x="3924" y="216"/>
                        </a:lnTo>
                        <a:lnTo>
                          <a:pt x="3918" y="222"/>
                        </a:lnTo>
                        <a:lnTo>
                          <a:pt x="3918" y="228"/>
                        </a:lnTo>
                        <a:lnTo>
                          <a:pt x="3924" y="234"/>
                        </a:lnTo>
                        <a:lnTo>
                          <a:pt x="3936" y="240"/>
                        </a:lnTo>
                        <a:lnTo>
                          <a:pt x="3966" y="240"/>
                        </a:lnTo>
                        <a:lnTo>
                          <a:pt x="3942" y="252"/>
                        </a:lnTo>
                        <a:lnTo>
                          <a:pt x="3954" y="252"/>
                        </a:lnTo>
                        <a:lnTo>
                          <a:pt x="4002" y="276"/>
                        </a:lnTo>
                        <a:lnTo>
                          <a:pt x="4014" y="276"/>
                        </a:lnTo>
                        <a:lnTo>
                          <a:pt x="4026" y="270"/>
                        </a:lnTo>
                        <a:lnTo>
                          <a:pt x="4032" y="264"/>
                        </a:lnTo>
                        <a:lnTo>
                          <a:pt x="4044" y="258"/>
                        </a:lnTo>
                        <a:lnTo>
                          <a:pt x="4050" y="252"/>
                        </a:lnTo>
                        <a:lnTo>
                          <a:pt x="4074" y="246"/>
                        </a:lnTo>
                        <a:lnTo>
                          <a:pt x="4086" y="258"/>
                        </a:lnTo>
                        <a:lnTo>
                          <a:pt x="4092" y="270"/>
                        </a:lnTo>
                        <a:lnTo>
                          <a:pt x="4098" y="276"/>
                        </a:lnTo>
                        <a:lnTo>
                          <a:pt x="4104" y="270"/>
                        </a:lnTo>
                        <a:lnTo>
                          <a:pt x="4116" y="270"/>
                        </a:lnTo>
                        <a:lnTo>
                          <a:pt x="4128" y="264"/>
                        </a:lnTo>
                        <a:lnTo>
                          <a:pt x="4134" y="258"/>
                        </a:lnTo>
                        <a:lnTo>
                          <a:pt x="4146" y="258"/>
                        </a:lnTo>
                        <a:lnTo>
                          <a:pt x="4152" y="252"/>
                        </a:lnTo>
                        <a:lnTo>
                          <a:pt x="4158" y="252"/>
                        </a:lnTo>
                        <a:lnTo>
                          <a:pt x="4170" y="246"/>
                        </a:lnTo>
                        <a:lnTo>
                          <a:pt x="4176" y="234"/>
                        </a:lnTo>
                        <a:lnTo>
                          <a:pt x="4182" y="228"/>
                        </a:lnTo>
                        <a:lnTo>
                          <a:pt x="4194" y="246"/>
                        </a:lnTo>
                        <a:lnTo>
                          <a:pt x="4218" y="222"/>
                        </a:lnTo>
                        <a:lnTo>
                          <a:pt x="4218" y="216"/>
                        </a:lnTo>
                        <a:lnTo>
                          <a:pt x="4236" y="210"/>
                        </a:lnTo>
                        <a:lnTo>
                          <a:pt x="4326" y="210"/>
                        </a:lnTo>
                        <a:lnTo>
                          <a:pt x="4332" y="204"/>
                        </a:lnTo>
                        <a:lnTo>
                          <a:pt x="4332" y="192"/>
                        </a:lnTo>
                        <a:lnTo>
                          <a:pt x="4266" y="186"/>
                        </a:lnTo>
                        <a:lnTo>
                          <a:pt x="4302" y="174"/>
                        </a:lnTo>
                        <a:lnTo>
                          <a:pt x="4302" y="132"/>
                        </a:lnTo>
                        <a:lnTo>
                          <a:pt x="4278" y="132"/>
                        </a:lnTo>
                        <a:lnTo>
                          <a:pt x="4266" y="138"/>
                        </a:lnTo>
                        <a:lnTo>
                          <a:pt x="4260" y="144"/>
                        </a:lnTo>
                        <a:lnTo>
                          <a:pt x="4248" y="150"/>
                        </a:lnTo>
                        <a:lnTo>
                          <a:pt x="4242" y="126"/>
                        </a:lnTo>
                        <a:lnTo>
                          <a:pt x="4194" y="132"/>
                        </a:lnTo>
                        <a:lnTo>
                          <a:pt x="4194" y="120"/>
                        </a:lnTo>
                        <a:lnTo>
                          <a:pt x="4176" y="84"/>
                        </a:lnTo>
                        <a:lnTo>
                          <a:pt x="4140" y="84"/>
                        </a:lnTo>
                        <a:lnTo>
                          <a:pt x="4122" y="90"/>
                        </a:lnTo>
                        <a:lnTo>
                          <a:pt x="4110" y="96"/>
                        </a:lnTo>
                        <a:lnTo>
                          <a:pt x="4104" y="102"/>
                        </a:lnTo>
                        <a:lnTo>
                          <a:pt x="4098" y="102"/>
                        </a:lnTo>
                        <a:lnTo>
                          <a:pt x="4020" y="108"/>
                        </a:lnTo>
                        <a:lnTo>
                          <a:pt x="4044" y="126"/>
                        </a:lnTo>
                        <a:lnTo>
                          <a:pt x="3996" y="126"/>
                        </a:lnTo>
                        <a:lnTo>
                          <a:pt x="3984" y="132"/>
                        </a:lnTo>
                        <a:lnTo>
                          <a:pt x="3972" y="132"/>
                        </a:lnTo>
                        <a:lnTo>
                          <a:pt x="3966" y="138"/>
                        </a:lnTo>
                        <a:lnTo>
                          <a:pt x="3984" y="156"/>
                        </a:lnTo>
                        <a:lnTo>
                          <a:pt x="3972" y="156"/>
                        </a:lnTo>
                        <a:lnTo>
                          <a:pt x="3936" y="150"/>
                        </a:lnTo>
                        <a:lnTo>
                          <a:pt x="3906" y="156"/>
                        </a:lnTo>
                        <a:lnTo>
                          <a:pt x="3888" y="168"/>
                        </a:lnTo>
                        <a:lnTo>
                          <a:pt x="3888" y="174"/>
                        </a:lnTo>
                        <a:lnTo>
                          <a:pt x="3894" y="180"/>
                        </a:lnTo>
                        <a:lnTo>
                          <a:pt x="3954" y="180"/>
                        </a:lnTo>
                        <a:close/>
                        <a:moveTo>
                          <a:pt x="3972" y="294"/>
                        </a:moveTo>
                        <a:lnTo>
                          <a:pt x="3954" y="300"/>
                        </a:lnTo>
                        <a:lnTo>
                          <a:pt x="3942" y="306"/>
                        </a:lnTo>
                        <a:lnTo>
                          <a:pt x="3936" y="312"/>
                        </a:lnTo>
                        <a:lnTo>
                          <a:pt x="3936" y="318"/>
                        </a:lnTo>
                        <a:lnTo>
                          <a:pt x="3966" y="324"/>
                        </a:lnTo>
                        <a:lnTo>
                          <a:pt x="3972" y="324"/>
                        </a:lnTo>
                        <a:lnTo>
                          <a:pt x="3990" y="306"/>
                        </a:lnTo>
                        <a:lnTo>
                          <a:pt x="3990" y="300"/>
                        </a:lnTo>
                        <a:lnTo>
                          <a:pt x="3984" y="294"/>
                        </a:lnTo>
                        <a:lnTo>
                          <a:pt x="3972" y="294"/>
                        </a:lnTo>
                        <a:close/>
                        <a:moveTo>
                          <a:pt x="3738" y="336"/>
                        </a:moveTo>
                        <a:lnTo>
                          <a:pt x="3726" y="336"/>
                        </a:lnTo>
                        <a:lnTo>
                          <a:pt x="3720" y="330"/>
                        </a:lnTo>
                        <a:lnTo>
                          <a:pt x="3672" y="330"/>
                        </a:lnTo>
                        <a:lnTo>
                          <a:pt x="3636" y="336"/>
                        </a:lnTo>
                        <a:lnTo>
                          <a:pt x="3624" y="342"/>
                        </a:lnTo>
                        <a:lnTo>
                          <a:pt x="3642" y="360"/>
                        </a:lnTo>
                        <a:lnTo>
                          <a:pt x="3654" y="360"/>
                        </a:lnTo>
                        <a:lnTo>
                          <a:pt x="3660" y="378"/>
                        </a:lnTo>
                        <a:lnTo>
                          <a:pt x="3768" y="378"/>
                        </a:lnTo>
                        <a:lnTo>
                          <a:pt x="3768" y="390"/>
                        </a:lnTo>
                        <a:lnTo>
                          <a:pt x="3762" y="396"/>
                        </a:lnTo>
                        <a:lnTo>
                          <a:pt x="3762" y="408"/>
                        </a:lnTo>
                        <a:lnTo>
                          <a:pt x="3708" y="450"/>
                        </a:lnTo>
                        <a:lnTo>
                          <a:pt x="3732" y="456"/>
                        </a:lnTo>
                        <a:lnTo>
                          <a:pt x="3720" y="468"/>
                        </a:lnTo>
                        <a:lnTo>
                          <a:pt x="3714" y="468"/>
                        </a:lnTo>
                        <a:lnTo>
                          <a:pt x="3708" y="474"/>
                        </a:lnTo>
                        <a:lnTo>
                          <a:pt x="3708" y="480"/>
                        </a:lnTo>
                        <a:lnTo>
                          <a:pt x="3726" y="480"/>
                        </a:lnTo>
                        <a:lnTo>
                          <a:pt x="3738" y="474"/>
                        </a:lnTo>
                        <a:lnTo>
                          <a:pt x="3744" y="474"/>
                        </a:lnTo>
                        <a:lnTo>
                          <a:pt x="3756" y="468"/>
                        </a:lnTo>
                        <a:lnTo>
                          <a:pt x="3756" y="480"/>
                        </a:lnTo>
                        <a:lnTo>
                          <a:pt x="3792" y="480"/>
                        </a:lnTo>
                        <a:lnTo>
                          <a:pt x="3810" y="474"/>
                        </a:lnTo>
                        <a:lnTo>
                          <a:pt x="3822" y="468"/>
                        </a:lnTo>
                        <a:lnTo>
                          <a:pt x="3840" y="468"/>
                        </a:lnTo>
                        <a:lnTo>
                          <a:pt x="3846" y="462"/>
                        </a:lnTo>
                        <a:lnTo>
                          <a:pt x="3852" y="462"/>
                        </a:lnTo>
                        <a:lnTo>
                          <a:pt x="3858" y="486"/>
                        </a:lnTo>
                        <a:lnTo>
                          <a:pt x="3924" y="480"/>
                        </a:lnTo>
                        <a:lnTo>
                          <a:pt x="4002" y="498"/>
                        </a:lnTo>
                        <a:lnTo>
                          <a:pt x="4098" y="486"/>
                        </a:lnTo>
                        <a:lnTo>
                          <a:pt x="4128" y="468"/>
                        </a:lnTo>
                        <a:lnTo>
                          <a:pt x="4122" y="474"/>
                        </a:lnTo>
                        <a:lnTo>
                          <a:pt x="4122" y="486"/>
                        </a:lnTo>
                        <a:lnTo>
                          <a:pt x="4260" y="486"/>
                        </a:lnTo>
                        <a:lnTo>
                          <a:pt x="4272" y="468"/>
                        </a:lnTo>
                        <a:lnTo>
                          <a:pt x="4338" y="438"/>
                        </a:lnTo>
                        <a:lnTo>
                          <a:pt x="4320" y="432"/>
                        </a:lnTo>
                        <a:lnTo>
                          <a:pt x="4320" y="420"/>
                        </a:lnTo>
                        <a:lnTo>
                          <a:pt x="4314" y="420"/>
                        </a:lnTo>
                        <a:lnTo>
                          <a:pt x="4308" y="414"/>
                        </a:lnTo>
                        <a:lnTo>
                          <a:pt x="4290" y="414"/>
                        </a:lnTo>
                        <a:lnTo>
                          <a:pt x="4278" y="408"/>
                        </a:lnTo>
                        <a:lnTo>
                          <a:pt x="4260" y="408"/>
                        </a:lnTo>
                        <a:lnTo>
                          <a:pt x="4242" y="402"/>
                        </a:lnTo>
                        <a:lnTo>
                          <a:pt x="4206" y="402"/>
                        </a:lnTo>
                        <a:lnTo>
                          <a:pt x="4164" y="414"/>
                        </a:lnTo>
                        <a:lnTo>
                          <a:pt x="4116" y="420"/>
                        </a:lnTo>
                        <a:lnTo>
                          <a:pt x="4074" y="426"/>
                        </a:lnTo>
                        <a:lnTo>
                          <a:pt x="4038" y="438"/>
                        </a:lnTo>
                        <a:lnTo>
                          <a:pt x="4026" y="438"/>
                        </a:lnTo>
                        <a:lnTo>
                          <a:pt x="4014" y="432"/>
                        </a:lnTo>
                        <a:lnTo>
                          <a:pt x="4008" y="426"/>
                        </a:lnTo>
                        <a:lnTo>
                          <a:pt x="3996" y="420"/>
                        </a:lnTo>
                        <a:lnTo>
                          <a:pt x="3984" y="420"/>
                        </a:lnTo>
                        <a:lnTo>
                          <a:pt x="3972" y="426"/>
                        </a:lnTo>
                        <a:lnTo>
                          <a:pt x="3960" y="426"/>
                        </a:lnTo>
                        <a:lnTo>
                          <a:pt x="3948" y="432"/>
                        </a:lnTo>
                        <a:lnTo>
                          <a:pt x="3942" y="438"/>
                        </a:lnTo>
                        <a:lnTo>
                          <a:pt x="3936" y="438"/>
                        </a:lnTo>
                        <a:lnTo>
                          <a:pt x="3912" y="414"/>
                        </a:lnTo>
                        <a:lnTo>
                          <a:pt x="3894" y="426"/>
                        </a:lnTo>
                        <a:lnTo>
                          <a:pt x="3864" y="420"/>
                        </a:lnTo>
                        <a:lnTo>
                          <a:pt x="3894" y="408"/>
                        </a:lnTo>
                        <a:lnTo>
                          <a:pt x="3876" y="396"/>
                        </a:lnTo>
                        <a:lnTo>
                          <a:pt x="3822" y="408"/>
                        </a:lnTo>
                        <a:lnTo>
                          <a:pt x="3858" y="396"/>
                        </a:lnTo>
                        <a:lnTo>
                          <a:pt x="3858" y="390"/>
                        </a:lnTo>
                        <a:lnTo>
                          <a:pt x="3924" y="384"/>
                        </a:lnTo>
                        <a:lnTo>
                          <a:pt x="3888" y="372"/>
                        </a:lnTo>
                        <a:lnTo>
                          <a:pt x="3870" y="372"/>
                        </a:lnTo>
                        <a:lnTo>
                          <a:pt x="3876" y="366"/>
                        </a:lnTo>
                        <a:lnTo>
                          <a:pt x="3876" y="360"/>
                        </a:lnTo>
                        <a:lnTo>
                          <a:pt x="3870" y="354"/>
                        </a:lnTo>
                        <a:lnTo>
                          <a:pt x="3840" y="354"/>
                        </a:lnTo>
                        <a:lnTo>
                          <a:pt x="3822" y="360"/>
                        </a:lnTo>
                        <a:lnTo>
                          <a:pt x="3804" y="360"/>
                        </a:lnTo>
                        <a:lnTo>
                          <a:pt x="3786" y="366"/>
                        </a:lnTo>
                        <a:lnTo>
                          <a:pt x="3774" y="354"/>
                        </a:lnTo>
                        <a:lnTo>
                          <a:pt x="3762" y="348"/>
                        </a:lnTo>
                        <a:lnTo>
                          <a:pt x="3756" y="342"/>
                        </a:lnTo>
                        <a:lnTo>
                          <a:pt x="3744" y="336"/>
                        </a:lnTo>
                        <a:lnTo>
                          <a:pt x="3738" y="336"/>
                        </a:lnTo>
                        <a:close/>
                        <a:moveTo>
                          <a:pt x="3264" y="420"/>
                        </a:moveTo>
                        <a:lnTo>
                          <a:pt x="3282" y="420"/>
                        </a:lnTo>
                        <a:lnTo>
                          <a:pt x="3300" y="426"/>
                        </a:lnTo>
                        <a:lnTo>
                          <a:pt x="3318" y="426"/>
                        </a:lnTo>
                        <a:lnTo>
                          <a:pt x="3330" y="432"/>
                        </a:lnTo>
                        <a:lnTo>
                          <a:pt x="3342" y="432"/>
                        </a:lnTo>
                        <a:lnTo>
                          <a:pt x="3330" y="444"/>
                        </a:lnTo>
                        <a:lnTo>
                          <a:pt x="3324" y="444"/>
                        </a:lnTo>
                        <a:lnTo>
                          <a:pt x="3324" y="456"/>
                        </a:lnTo>
                        <a:lnTo>
                          <a:pt x="3438" y="456"/>
                        </a:lnTo>
                        <a:lnTo>
                          <a:pt x="3462" y="444"/>
                        </a:lnTo>
                        <a:lnTo>
                          <a:pt x="3462" y="432"/>
                        </a:lnTo>
                        <a:lnTo>
                          <a:pt x="3468" y="426"/>
                        </a:lnTo>
                        <a:lnTo>
                          <a:pt x="3480" y="426"/>
                        </a:lnTo>
                        <a:lnTo>
                          <a:pt x="3492" y="420"/>
                        </a:lnTo>
                        <a:lnTo>
                          <a:pt x="3504" y="420"/>
                        </a:lnTo>
                        <a:lnTo>
                          <a:pt x="3510" y="414"/>
                        </a:lnTo>
                        <a:lnTo>
                          <a:pt x="3510" y="408"/>
                        </a:lnTo>
                        <a:lnTo>
                          <a:pt x="3522" y="396"/>
                        </a:lnTo>
                        <a:lnTo>
                          <a:pt x="3534" y="390"/>
                        </a:lnTo>
                        <a:lnTo>
                          <a:pt x="3540" y="384"/>
                        </a:lnTo>
                        <a:lnTo>
                          <a:pt x="3552" y="378"/>
                        </a:lnTo>
                        <a:lnTo>
                          <a:pt x="3552" y="372"/>
                        </a:lnTo>
                        <a:lnTo>
                          <a:pt x="3546" y="366"/>
                        </a:lnTo>
                        <a:lnTo>
                          <a:pt x="3534" y="360"/>
                        </a:lnTo>
                        <a:lnTo>
                          <a:pt x="3510" y="360"/>
                        </a:lnTo>
                        <a:lnTo>
                          <a:pt x="3504" y="366"/>
                        </a:lnTo>
                        <a:lnTo>
                          <a:pt x="3492" y="366"/>
                        </a:lnTo>
                        <a:lnTo>
                          <a:pt x="3486" y="360"/>
                        </a:lnTo>
                        <a:lnTo>
                          <a:pt x="3474" y="360"/>
                        </a:lnTo>
                        <a:lnTo>
                          <a:pt x="3462" y="354"/>
                        </a:lnTo>
                        <a:lnTo>
                          <a:pt x="3450" y="354"/>
                        </a:lnTo>
                        <a:lnTo>
                          <a:pt x="3432" y="348"/>
                        </a:lnTo>
                        <a:lnTo>
                          <a:pt x="3426" y="354"/>
                        </a:lnTo>
                        <a:lnTo>
                          <a:pt x="3420" y="354"/>
                        </a:lnTo>
                        <a:lnTo>
                          <a:pt x="3414" y="366"/>
                        </a:lnTo>
                        <a:lnTo>
                          <a:pt x="3414" y="396"/>
                        </a:lnTo>
                        <a:lnTo>
                          <a:pt x="3396" y="378"/>
                        </a:lnTo>
                        <a:lnTo>
                          <a:pt x="3384" y="372"/>
                        </a:lnTo>
                        <a:lnTo>
                          <a:pt x="3366" y="372"/>
                        </a:lnTo>
                        <a:lnTo>
                          <a:pt x="3354" y="384"/>
                        </a:lnTo>
                        <a:lnTo>
                          <a:pt x="3348" y="396"/>
                        </a:lnTo>
                        <a:lnTo>
                          <a:pt x="3330" y="414"/>
                        </a:lnTo>
                        <a:lnTo>
                          <a:pt x="3324" y="414"/>
                        </a:lnTo>
                        <a:lnTo>
                          <a:pt x="3300" y="366"/>
                        </a:lnTo>
                        <a:lnTo>
                          <a:pt x="3288" y="360"/>
                        </a:lnTo>
                        <a:lnTo>
                          <a:pt x="3258" y="360"/>
                        </a:lnTo>
                        <a:lnTo>
                          <a:pt x="3246" y="366"/>
                        </a:lnTo>
                        <a:lnTo>
                          <a:pt x="3240" y="372"/>
                        </a:lnTo>
                        <a:lnTo>
                          <a:pt x="3240" y="396"/>
                        </a:lnTo>
                        <a:lnTo>
                          <a:pt x="3246" y="408"/>
                        </a:lnTo>
                        <a:lnTo>
                          <a:pt x="3258" y="414"/>
                        </a:lnTo>
                        <a:lnTo>
                          <a:pt x="3264" y="420"/>
                        </a:lnTo>
                        <a:close/>
                        <a:moveTo>
                          <a:pt x="3720" y="288"/>
                        </a:moveTo>
                        <a:lnTo>
                          <a:pt x="3726" y="288"/>
                        </a:lnTo>
                        <a:lnTo>
                          <a:pt x="3732" y="294"/>
                        </a:lnTo>
                        <a:lnTo>
                          <a:pt x="3738" y="306"/>
                        </a:lnTo>
                        <a:lnTo>
                          <a:pt x="3768" y="306"/>
                        </a:lnTo>
                        <a:lnTo>
                          <a:pt x="3780" y="300"/>
                        </a:lnTo>
                        <a:lnTo>
                          <a:pt x="3834" y="300"/>
                        </a:lnTo>
                        <a:lnTo>
                          <a:pt x="3834" y="294"/>
                        </a:lnTo>
                        <a:lnTo>
                          <a:pt x="3828" y="294"/>
                        </a:lnTo>
                        <a:lnTo>
                          <a:pt x="3822" y="288"/>
                        </a:lnTo>
                        <a:lnTo>
                          <a:pt x="3810" y="288"/>
                        </a:lnTo>
                        <a:lnTo>
                          <a:pt x="3804" y="282"/>
                        </a:lnTo>
                        <a:lnTo>
                          <a:pt x="3792" y="282"/>
                        </a:lnTo>
                        <a:lnTo>
                          <a:pt x="3804" y="270"/>
                        </a:lnTo>
                        <a:lnTo>
                          <a:pt x="3816" y="264"/>
                        </a:lnTo>
                        <a:lnTo>
                          <a:pt x="3822" y="264"/>
                        </a:lnTo>
                        <a:lnTo>
                          <a:pt x="3828" y="258"/>
                        </a:lnTo>
                        <a:lnTo>
                          <a:pt x="3822" y="258"/>
                        </a:lnTo>
                        <a:lnTo>
                          <a:pt x="3810" y="252"/>
                        </a:lnTo>
                        <a:lnTo>
                          <a:pt x="3738" y="228"/>
                        </a:lnTo>
                        <a:lnTo>
                          <a:pt x="3732" y="228"/>
                        </a:lnTo>
                        <a:lnTo>
                          <a:pt x="3726" y="234"/>
                        </a:lnTo>
                        <a:lnTo>
                          <a:pt x="3714" y="240"/>
                        </a:lnTo>
                        <a:lnTo>
                          <a:pt x="3702" y="240"/>
                        </a:lnTo>
                        <a:lnTo>
                          <a:pt x="3690" y="252"/>
                        </a:lnTo>
                        <a:lnTo>
                          <a:pt x="3690" y="258"/>
                        </a:lnTo>
                        <a:lnTo>
                          <a:pt x="3696" y="264"/>
                        </a:lnTo>
                        <a:lnTo>
                          <a:pt x="3702" y="276"/>
                        </a:lnTo>
                        <a:lnTo>
                          <a:pt x="3714" y="282"/>
                        </a:lnTo>
                        <a:lnTo>
                          <a:pt x="3720" y="288"/>
                        </a:lnTo>
                        <a:close/>
                        <a:moveTo>
                          <a:pt x="3288" y="504"/>
                        </a:moveTo>
                        <a:lnTo>
                          <a:pt x="3270" y="504"/>
                        </a:lnTo>
                        <a:lnTo>
                          <a:pt x="3234" y="510"/>
                        </a:lnTo>
                        <a:lnTo>
                          <a:pt x="3186" y="516"/>
                        </a:lnTo>
                        <a:lnTo>
                          <a:pt x="3144" y="528"/>
                        </a:lnTo>
                        <a:lnTo>
                          <a:pt x="3132" y="534"/>
                        </a:lnTo>
                        <a:lnTo>
                          <a:pt x="3126" y="540"/>
                        </a:lnTo>
                        <a:lnTo>
                          <a:pt x="3132" y="540"/>
                        </a:lnTo>
                        <a:lnTo>
                          <a:pt x="3150" y="558"/>
                        </a:lnTo>
                        <a:lnTo>
                          <a:pt x="3156" y="570"/>
                        </a:lnTo>
                        <a:lnTo>
                          <a:pt x="3156" y="576"/>
                        </a:lnTo>
                        <a:lnTo>
                          <a:pt x="3138" y="582"/>
                        </a:lnTo>
                        <a:lnTo>
                          <a:pt x="3120" y="570"/>
                        </a:lnTo>
                        <a:lnTo>
                          <a:pt x="3090" y="564"/>
                        </a:lnTo>
                        <a:lnTo>
                          <a:pt x="3048" y="570"/>
                        </a:lnTo>
                        <a:lnTo>
                          <a:pt x="3066" y="606"/>
                        </a:lnTo>
                        <a:lnTo>
                          <a:pt x="3072" y="612"/>
                        </a:lnTo>
                        <a:lnTo>
                          <a:pt x="3084" y="618"/>
                        </a:lnTo>
                        <a:lnTo>
                          <a:pt x="3102" y="624"/>
                        </a:lnTo>
                        <a:lnTo>
                          <a:pt x="3114" y="630"/>
                        </a:lnTo>
                        <a:lnTo>
                          <a:pt x="3120" y="642"/>
                        </a:lnTo>
                        <a:lnTo>
                          <a:pt x="3120" y="654"/>
                        </a:lnTo>
                        <a:lnTo>
                          <a:pt x="3126" y="666"/>
                        </a:lnTo>
                        <a:lnTo>
                          <a:pt x="3126" y="678"/>
                        </a:lnTo>
                        <a:lnTo>
                          <a:pt x="3144" y="678"/>
                        </a:lnTo>
                        <a:lnTo>
                          <a:pt x="3228" y="666"/>
                        </a:lnTo>
                        <a:lnTo>
                          <a:pt x="3264" y="660"/>
                        </a:lnTo>
                        <a:lnTo>
                          <a:pt x="3276" y="654"/>
                        </a:lnTo>
                        <a:lnTo>
                          <a:pt x="3282" y="642"/>
                        </a:lnTo>
                        <a:lnTo>
                          <a:pt x="3288" y="624"/>
                        </a:lnTo>
                        <a:lnTo>
                          <a:pt x="3300" y="600"/>
                        </a:lnTo>
                        <a:lnTo>
                          <a:pt x="3300" y="588"/>
                        </a:lnTo>
                        <a:lnTo>
                          <a:pt x="3228" y="576"/>
                        </a:lnTo>
                        <a:lnTo>
                          <a:pt x="3240" y="570"/>
                        </a:lnTo>
                        <a:lnTo>
                          <a:pt x="3348" y="534"/>
                        </a:lnTo>
                        <a:lnTo>
                          <a:pt x="3360" y="528"/>
                        </a:lnTo>
                        <a:lnTo>
                          <a:pt x="3354" y="522"/>
                        </a:lnTo>
                        <a:lnTo>
                          <a:pt x="3342" y="516"/>
                        </a:lnTo>
                        <a:lnTo>
                          <a:pt x="3324" y="510"/>
                        </a:lnTo>
                        <a:lnTo>
                          <a:pt x="3312" y="510"/>
                        </a:lnTo>
                        <a:lnTo>
                          <a:pt x="3300" y="504"/>
                        </a:lnTo>
                        <a:lnTo>
                          <a:pt x="3288" y="504"/>
                        </a:lnTo>
                        <a:close/>
                        <a:moveTo>
                          <a:pt x="2898" y="744"/>
                        </a:moveTo>
                        <a:lnTo>
                          <a:pt x="2880" y="738"/>
                        </a:lnTo>
                        <a:lnTo>
                          <a:pt x="2796" y="738"/>
                        </a:lnTo>
                        <a:lnTo>
                          <a:pt x="2874" y="696"/>
                        </a:lnTo>
                        <a:lnTo>
                          <a:pt x="2880" y="684"/>
                        </a:lnTo>
                        <a:lnTo>
                          <a:pt x="2886" y="654"/>
                        </a:lnTo>
                        <a:lnTo>
                          <a:pt x="2898" y="624"/>
                        </a:lnTo>
                        <a:lnTo>
                          <a:pt x="2898" y="588"/>
                        </a:lnTo>
                        <a:lnTo>
                          <a:pt x="2880" y="570"/>
                        </a:lnTo>
                        <a:lnTo>
                          <a:pt x="2850" y="570"/>
                        </a:lnTo>
                        <a:lnTo>
                          <a:pt x="2814" y="576"/>
                        </a:lnTo>
                        <a:lnTo>
                          <a:pt x="2796" y="582"/>
                        </a:lnTo>
                        <a:lnTo>
                          <a:pt x="2784" y="588"/>
                        </a:lnTo>
                        <a:lnTo>
                          <a:pt x="2784" y="594"/>
                        </a:lnTo>
                        <a:lnTo>
                          <a:pt x="2766" y="612"/>
                        </a:lnTo>
                        <a:lnTo>
                          <a:pt x="2760" y="630"/>
                        </a:lnTo>
                        <a:lnTo>
                          <a:pt x="2736" y="654"/>
                        </a:lnTo>
                        <a:lnTo>
                          <a:pt x="2718" y="666"/>
                        </a:lnTo>
                        <a:lnTo>
                          <a:pt x="2706" y="672"/>
                        </a:lnTo>
                        <a:lnTo>
                          <a:pt x="2700" y="672"/>
                        </a:lnTo>
                        <a:lnTo>
                          <a:pt x="2694" y="666"/>
                        </a:lnTo>
                        <a:lnTo>
                          <a:pt x="2694" y="660"/>
                        </a:lnTo>
                        <a:lnTo>
                          <a:pt x="2700" y="654"/>
                        </a:lnTo>
                        <a:lnTo>
                          <a:pt x="2706" y="642"/>
                        </a:lnTo>
                        <a:lnTo>
                          <a:pt x="2712" y="636"/>
                        </a:lnTo>
                        <a:lnTo>
                          <a:pt x="2718" y="624"/>
                        </a:lnTo>
                        <a:lnTo>
                          <a:pt x="2718" y="612"/>
                        </a:lnTo>
                        <a:lnTo>
                          <a:pt x="2724" y="606"/>
                        </a:lnTo>
                        <a:lnTo>
                          <a:pt x="2724" y="600"/>
                        </a:lnTo>
                        <a:lnTo>
                          <a:pt x="2706" y="594"/>
                        </a:lnTo>
                        <a:lnTo>
                          <a:pt x="2676" y="588"/>
                        </a:lnTo>
                        <a:lnTo>
                          <a:pt x="2628" y="588"/>
                        </a:lnTo>
                        <a:lnTo>
                          <a:pt x="2622" y="606"/>
                        </a:lnTo>
                        <a:lnTo>
                          <a:pt x="2610" y="612"/>
                        </a:lnTo>
                        <a:lnTo>
                          <a:pt x="2586" y="618"/>
                        </a:lnTo>
                        <a:lnTo>
                          <a:pt x="2550" y="624"/>
                        </a:lnTo>
                        <a:lnTo>
                          <a:pt x="2508" y="630"/>
                        </a:lnTo>
                        <a:lnTo>
                          <a:pt x="2490" y="630"/>
                        </a:lnTo>
                        <a:lnTo>
                          <a:pt x="2496" y="624"/>
                        </a:lnTo>
                        <a:lnTo>
                          <a:pt x="2508" y="618"/>
                        </a:lnTo>
                        <a:lnTo>
                          <a:pt x="2520" y="618"/>
                        </a:lnTo>
                        <a:lnTo>
                          <a:pt x="2538" y="612"/>
                        </a:lnTo>
                        <a:lnTo>
                          <a:pt x="2550" y="606"/>
                        </a:lnTo>
                        <a:lnTo>
                          <a:pt x="2586" y="594"/>
                        </a:lnTo>
                        <a:lnTo>
                          <a:pt x="2598" y="588"/>
                        </a:lnTo>
                        <a:lnTo>
                          <a:pt x="2604" y="588"/>
                        </a:lnTo>
                        <a:lnTo>
                          <a:pt x="2604" y="582"/>
                        </a:lnTo>
                        <a:lnTo>
                          <a:pt x="2592" y="576"/>
                        </a:lnTo>
                        <a:lnTo>
                          <a:pt x="2556" y="576"/>
                        </a:lnTo>
                        <a:lnTo>
                          <a:pt x="2496" y="594"/>
                        </a:lnTo>
                        <a:lnTo>
                          <a:pt x="2460" y="600"/>
                        </a:lnTo>
                        <a:lnTo>
                          <a:pt x="2466" y="594"/>
                        </a:lnTo>
                        <a:lnTo>
                          <a:pt x="2478" y="588"/>
                        </a:lnTo>
                        <a:lnTo>
                          <a:pt x="2490" y="576"/>
                        </a:lnTo>
                        <a:lnTo>
                          <a:pt x="2502" y="570"/>
                        </a:lnTo>
                        <a:lnTo>
                          <a:pt x="2514" y="558"/>
                        </a:lnTo>
                        <a:lnTo>
                          <a:pt x="2508" y="558"/>
                        </a:lnTo>
                        <a:lnTo>
                          <a:pt x="2508" y="552"/>
                        </a:lnTo>
                        <a:lnTo>
                          <a:pt x="2496" y="552"/>
                        </a:lnTo>
                        <a:lnTo>
                          <a:pt x="2346" y="600"/>
                        </a:lnTo>
                        <a:lnTo>
                          <a:pt x="2328" y="600"/>
                        </a:lnTo>
                        <a:lnTo>
                          <a:pt x="2244" y="624"/>
                        </a:lnTo>
                        <a:lnTo>
                          <a:pt x="2250" y="642"/>
                        </a:lnTo>
                        <a:lnTo>
                          <a:pt x="2190" y="660"/>
                        </a:lnTo>
                        <a:lnTo>
                          <a:pt x="2172" y="678"/>
                        </a:lnTo>
                        <a:lnTo>
                          <a:pt x="2202" y="690"/>
                        </a:lnTo>
                        <a:lnTo>
                          <a:pt x="2208" y="684"/>
                        </a:lnTo>
                        <a:lnTo>
                          <a:pt x="2220" y="678"/>
                        </a:lnTo>
                        <a:lnTo>
                          <a:pt x="2238" y="678"/>
                        </a:lnTo>
                        <a:lnTo>
                          <a:pt x="2244" y="684"/>
                        </a:lnTo>
                        <a:lnTo>
                          <a:pt x="2244" y="690"/>
                        </a:lnTo>
                        <a:lnTo>
                          <a:pt x="2238" y="696"/>
                        </a:lnTo>
                        <a:lnTo>
                          <a:pt x="2226" y="696"/>
                        </a:lnTo>
                        <a:lnTo>
                          <a:pt x="2208" y="702"/>
                        </a:lnTo>
                        <a:lnTo>
                          <a:pt x="2196" y="702"/>
                        </a:lnTo>
                        <a:lnTo>
                          <a:pt x="2160" y="720"/>
                        </a:lnTo>
                        <a:lnTo>
                          <a:pt x="2166" y="732"/>
                        </a:lnTo>
                        <a:lnTo>
                          <a:pt x="2196" y="732"/>
                        </a:lnTo>
                        <a:lnTo>
                          <a:pt x="2238" y="738"/>
                        </a:lnTo>
                        <a:lnTo>
                          <a:pt x="2322" y="738"/>
                        </a:lnTo>
                        <a:lnTo>
                          <a:pt x="2352" y="744"/>
                        </a:lnTo>
                        <a:lnTo>
                          <a:pt x="2352" y="750"/>
                        </a:lnTo>
                        <a:lnTo>
                          <a:pt x="2322" y="762"/>
                        </a:lnTo>
                        <a:lnTo>
                          <a:pt x="2280" y="762"/>
                        </a:lnTo>
                        <a:lnTo>
                          <a:pt x="2172" y="774"/>
                        </a:lnTo>
                        <a:lnTo>
                          <a:pt x="2136" y="774"/>
                        </a:lnTo>
                        <a:lnTo>
                          <a:pt x="2112" y="786"/>
                        </a:lnTo>
                        <a:lnTo>
                          <a:pt x="2106" y="792"/>
                        </a:lnTo>
                        <a:lnTo>
                          <a:pt x="2118" y="804"/>
                        </a:lnTo>
                        <a:lnTo>
                          <a:pt x="2130" y="810"/>
                        </a:lnTo>
                        <a:lnTo>
                          <a:pt x="2148" y="810"/>
                        </a:lnTo>
                        <a:lnTo>
                          <a:pt x="2160" y="816"/>
                        </a:lnTo>
                        <a:lnTo>
                          <a:pt x="2178" y="822"/>
                        </a:lnTo>
                        <a:lnTo>
                          <a:pt x="2190" y="828"/>
                        </a:lnTo>
                        <a:lnTo>
                          <a:pt x="2190" y="834"/>
                        </a:lnTo>
                        <a:lnTo>
                          <a:pt x="2184" y="840"/>
                        </a:lnTo>
                        <a:lnTo>
                          <a:pt x="2172" y="840"/>
                        </a:lnTo>
                        <a:lnTo>
                          <a:pt x="2154" y="858"/>
                        </a:lnTo>
                        <a:lnTo>
                          <a:pt x="2166" y="870"/>
                        </a:lnTo>
                        <a:lnTo>
                          <a:pt x="2322" y="870"/>
                        </a:lnTo>
                        <a:lnTo>
                          <a:pt x="2370" y="864"/>
                        </a:lnTo>
                        <a:lnTo>
                          <a:pt x="2436" y="858"/>
                        </a:lnTo>
                        <a:lnTo>
                          <a:pt x="2508" y="846"/>
                        </a:lnTo>
                        <a:lnTo>
                          <a:pt x="2574" y="840"/>
                        </a:lnTo>
                        <a:lnTo>
                          <a:pt x="2616" y="828"/>
                        </a:lnTo>
                        <a:lnTo>
                          <a:pt x="2652" y="828"/>
                        </a:lnTo>
                        <a:lnTo>
                          <a:pt x="2736" y="864"/>
                        </a:lnTo>
                        <a:lnTo>
                          <a:pt x="2778" y="876"/>
                        </a:lnTo>
                        <a:lnTo>
                          <a:pt x="2796" y="876"/>
                        </a:lnTo>
                        <a:lnTo>
                          <a:pt x="2814" y="870"/>
                        </a:lnTo>
                        <a:lnTo>
                          <a:pt x="2832" y="852"/>
                        </a:lnTo>
                        <a:lnTo>
                          <a:pt x="2838" y="840"/>
                        </a:lnTo>
                        <a:lnTo>
                          <a:pt x="2844" y="834"/>
                        </a:lnTo>
                        <a:lnTo>
                          <a:pt x="2844" y="822"/>
                        </a:lnTo>
                        <a:lnTo>
                          <a:pt x="2766" y="822"/>
                        </a:lnTo>
                        <a:lnTo>
                          <a:pt x="2802" y="798"/>
                        </a:lnTo>
                        <a:lnTo>
                          <a:pt x="2850" y="798"/>
                        </a:lnTo>
                        <a:lnTo>
                          <a:pt x="2898" y="792"/>
                        </a:lnTo>
                        <a:lnTo>
                          <a:pt x="2910" y="786"/>
                        </a:lnTo>
                        <a:lnTo>
                          <a:pt x="2916" y="786"/>
                        </a:lnTo>
                        <a:lnTo>
                          <a:pt x="2922" y="780"/>
                        </a:lnTo>
                        <a:lnTo>
                          <a:pt x="2916" y="768"/>
                        </a:lnTo>
                        <a:lnTo>
                          <a:pt x="2898" y="750"/>
                        </a:lnTo>
                        <a:lnTo>
                          <a:pt x="2898" y="744"/>
                        </a:lnTo>
                        <a:close/>
                        <a:moveTo>
                          <a:pt x="2868" y="882"/>
                        </a:moveTo>
                        <a:lnTo>
                          <a:pt x="2886" y="882"/>
                        </a:lnTo>
                        <a:lnTo>
                          <a:pt x="2904" y="876"/>
                        </a:lnTo>
                        <a:lnTo>
                          <a:pt x="2910" y="870"/>
                        </a:lnTo>
                        <a:lnTo>
                          <a:pt x="2910" y="864"/>
                        </a:lnTo>
                        <a:lnTo>
                          <a:pt x="2904" y="858"/>
                        </a:lnTo>
                        <a:lnTo>
                          <a:pt x="2880" y="858"/>
                        </a:lnTo>
                        <a:lnTo>
                          <a:pt x="2868" y="870"/>
                        </a:lnTo>
                        <a:lnTo>
                          <a:pt x="2868" y="882"/>
                        </a:lnTo>
                        <a:close/>
                        <a:moveTo>
                          <a:pt x="3276" y="330"/>
                        </a:moveTo>
                        <a:lnTo>
                          <a:pt x="3288" y="330"/>
                        </a:lnTo>
                        <a:lnTo>
                          <a:pt x="3294" y="324"/>
                        </a:lnTo>
                        <a:lnTo>
                          <a:pt x="3300" y="312"/>
                        </a:lnTo>
                        <a:lnTo>
                          <a:pt x="3300" y="306"/>
                        </a:lnTo>
                        <a:lnTo>
                          <a:pt x="3294" y="294"/>
                        </a:lnTo>
                        <a:lnTo>
                          <a:pt x="3288" y="288"/>
                        </a:lnTo>
                        <a:lnTo>
                          <a:pt x="3276" y="288"/>
                        </a:lnTo>
                        <a:lnTo>
                          <a:pt x="3270" y="300"/>
                        </a:lnTo>
                        <a:lnTo>
                          <a:pt x="3264" y="306"/>
                        </a:lnTo>
                        <a:lnTo>
                          <a:pt x="3264" y="324"/>
                        </a:lnTo>
                        <a:lnTo>
                          <a:pt x="3270" y="330"/>
                        </a:lnTo>
                        <a:lnTo>
                          <a:pt x="3276" y="330"/>
                        </a:lnTo>
                        <a:close/>
                        <a:moveTo>
                          <a:pt x="3462" y="228"/>
                        </a:moveTo>
                        <a:lnTo>
                          <a:pt x="3450" y="240"/>
                        </a:lnTo>
                        <a:lnTo>
                          <a:pt x="3450" y="252"/>
                        </a:lnTo>
                        <a:lnTo>
                          <a:pt x="3456" y="258"/>
                        </a:lnTo>
                        <a:lnTo>
                          <a:pt x="3528" y="258"/>
                        </a:lnTo>
                        <a:lnTo>
                          <a:pt x="3546" y="276"/>
                        </a:lnTo>
                        <a:lnTo>
                          <a:pt x="3558" y="282"/>
                        </a:lnTo>
                        <a:lnTo>
                          <a:pt x="3588" y="282"/>
                        </a:lnTo>
                        <a:lnTo>
                          <a:pt x="3612" y="270"/>
                        </a:lnTo>
                        <a:lnTo>
                          <a:pt x="3618" y="264"/>
                        </a:lnTo>
                        <a:lnTo>
                          <a:pt x="3606" y="252"/>
                        </a:lnTo>
                        <a:lnTo>
                          <a:pt x="3636" y="246"/>
                        </a:lnTo>
                        <a:lnTo>
                          <a:pt x="3594" y="210"/>
                        </a:lnTo>
                        <a:lnTo>
                          <a:pt x="3552" y="216"/>
                        </a:lnTo>
                        <a:lnTo>
                          <a:pt x="3534" y="198"/>
                        </a:lnTo>
                        <a:lnTo>
                          <a:pt x="3450" y="198"/>
                        </a:lnTo>
                        <a:lnTo>
                          <a:pt x="3438" y="204"/>
                        </a:lnTo>
                        <a:lnTo>
                          <a:pt x="3426" y="204"/>
                        </a:lnTo>
                        <a:lnTo>
                          <a:pt x="3420" y="210"/>
                        </a:lnTo>
                        <a:lnTo>
                          <a:pt x="3438" y="228"/>
                        </a:lnTo>
                        <a:lnTo>
                          <a:pt x="3462" y="228"/>
                        </a:lnTo>
                        <a:close/>
                        <a:moveTo>
                          <a:pt x="3432" y="1302"/>
                        </a:moveTo>
                        <a:lnTo>
                          <a:pt x="3408" y="1326"/>
                        </a:lnTo>
                        <a:lnTo>
                          <a:pt x="3408" y="1344"/>
                        </a:lnTo>
                        <a:lnTo>
                          <a:pt x="3438" y="1344"/>
                        </a:lnTo>
                        <a:lnTo>
                          <a:pt x="3462" y="1332"/>
                        </a:lnTo>
                        <a:lnTo>
                          <a:pt x="3468" y="1332"/>
                        </a:lnTo>
                        <a:lnTo>
                          <a:pt x="3480" y="1326"/>
                        </a:lnTo>
                        <a:lnTo>
                          <a:pt x="3486" y="1326"/>
                        </a:lnTo>
                        <a:lnTo>
                          <a:pt x="3504" y="1308"/>
                        </a:lnTo>
                        <a:lnTo>
                          <a:pt x="3516" y="1290"/>
                        </a:lnTo>
                        <a:lnTo>
                          <a:pt x="3516" y="1266"/>
                        </a:lnTo>
                        <a:lnTo>
                          <a:pt x="3510" y="1260"/>
                        </a:lnTo>
                        <a:lnTo>
                          <a:pt x="3498" y="1260"/>
                        </a:lnTo>
                        <a:lnTo>
                          <a:pt x="3480" y="1266"/>
                        </a:lnTo>
                        <a:lnTo>
                          <a:pt x="3432" y="1302"/>
                        </a:lnTo>
                        <a:close/>
                        <a:moveTo>
                          <a:pt x="4416" y="1392"/>
                        </a:moveTo>
                        <a:lnTo>
                          <a:pt x="4428" y="1380"/>
                        </a:lnTo>
                        <a:lnTo>
                          <a:pt x="4428" y="1374"/>
                        </a:lnTo>
                        <a:lnTo>
                          <a:pt x="4386" y="1374"/>
                        </a:lnTo>
                        <a:lnTo>
                          <a:pt x="4386" y="1380"/>
                        </a:lnTo>
                        <a:lnTo>
                          <a:pt x="4404" y="1398"/>
                        </a:lnTo>
                        <a:lnTo>
                          <a:pt x="4416" y="1392"/>
                        </a:lnTo>
                        <a:close/>
                        <a:moveTo>
                          <a:pt x="3120" y="2034"/>
                        </a:moveTo>
                        <a:lnTo>
                          <a:pt x="3132" y="2034"/>
                        </a:lnTo>
                        <a:lnTo>
                          <a:pt x="3138" y="2028"/>
                        </a:lnTo>
                        <a:lnTo>
                          <a:pt x="3132" y="2022"/>
                        </a:lnTo>
                        <a:lnTo>
                          <a:pt x="3120" y="2016"/>
                        </a:lnTo>
                        <a:lnTo>
                          <a:pt x="3114" y="2010"/>
                        </a:lnTo>
                        <a:lnTo>
                          <a:pt x="3108" y="2010"/>
                        </a:lnTo>
                        <a:lnTo>
                          <a:pt x="3090" y="2016"/>
                        </a:lnTo>
                        <a:lnTo>
                          <a:pt x="3078" y="2022"/>
                        </a:lnTo>
                        <a:lnTo>
                          <a:pt x="3072" y="2022"/>
                        </a:lnTo>
                        <a:lnTo>
                          <a:pt x="3072" y="2028"/>
                        </a:lnTo>
                        <a:lnTo>
                          <a:pt x="3078" y="2034"/>
                        </a:lnTo>
                        <a:lnTo>
                          <a:pt x="3120" y="2034"/>
                        </a:lnTo>
                        <a:close/>
                        <a:moveTo>
                          <a:pt x="4758" y="996"/>
                        </a:moveTo>
                        <a:lnTo>
                          <a:pt x="4746" y="996"/>
                        </a:lnTo>
                        <a:lnTo>
                          <a:pt x="4734" y="984"/>
                        </a:lnTo>
                        <a:lnTo>
                          <a:pt x="4704" y="1008"/>
                        </a:lnTo>
                        <a:lnTo>
                          <a:pt x="4704" y="978"/>
                        </a:lnTo>
                        <a:lnTo>
                          <a:pt x="4662" y="978"/>
                        </a:lnTo>
                        <a:lnTo>
                          <a:pt x="4668" y="978"/>
                        </a:lnTo>
                        <a:lnTo>
                          <a:pt x="4674" y="972"/>
                        </a:lnTo>
                        <a:lnTo>
                          <a:pt x="4686" y="972"/>
                        </a:lnTo>
                        <a:lnTo>
                          <a:pt x="4698" y="966"/>
                        </a:lnTo>
                        <a:lnTo>
                          <a:pt x="4704" y="954"/>
                        </a:lnTo>
                        <a:lnTo>
                          <a:pt x="4704" y="948"/>
                        </a:lnTo>
                        <a:lnTo>
                          <a:pt x="4698" y="942"/>
                        </a:lnTo>
                        <a:lnTo>
                          <a:pt x="4680" y="942"/>
                        </a:lnTo>
                        <a:lnTo>
                          <a:pt x="4668" y="936"/>
                        </a:lnTo>
                        <a:lnTo>
                          <a:pt x="4650" y="936"/>
                        </a:lnTo>
                        <a:lnTo>
                          <a:pt x="4632" y="930"/>
                        </a:lnTo>
                        <a:lnTo>
                          <a:pt x="4620" y="930"/>
                        </a:lnTo>
                        <a:lnTo>
                          <a:pt x="4614" y="918"/>
                        </a:lnTo>
                        <a:lnTo>
                          <a:pt x="4566" y="912"/>
                        </a:lnTo>
                        <a:lnTo>
                          <a:pt x="4500" y="870"/>
                        </a:lnTo>
                        <a:lnTo>
                          <a:pt x="4566" y="864"/>
                        </a:lnTo>
                        <a:lnTo>
                          <a:pt x="4536" y="840"/>
                        </a:lnTo>
                        <a:lnTo>
                          <a:pt x="4542" y="840"/>
                        </a:lnTo>
                        <a:lnTo>
                          <a:pt x="4548" y="834"/>
                        </a:lnTo>
                        <a:lnTo>
                          <a:pt x="4584" y="834"/>
                        </a:lnTo>
                        <a:lnTo>
                          <a:pt x="4596" y="840"/>
                        </a:lnTo>
                        <a:lnTo>
                          <a:pt x="4638" y="840"/>
                        </a:lnTo>
                        <a:lnTo>
                          <a:pt x="4638" y="834"/>
                        </a:lnTo>
                        <a:lnTo>
                          <a:pt x="4632" y="828"/>
                        </a:lnTo>
                        <a:lnTo>
                          <a:pt x="4614" y="822"/>
                        </a:lnTo>
                        <a:lnTo>
                          <a:pt x="4596" y="822"/>
                        </a:lnTo>
                        <a:lnTo>
                          <a:pt x="4578" y="816"/>
                        </a:lnTo>
                        <a:lnTo>
                          <a:pt x="4518" y="816"/>
                        </a:lnTo>
                        <a:lnTo>
                          <a:pt x="4536" y="816"/>
                        </a:lnTo>
                        <a:lnTo>
                          <a:pt x="4620" y="804"/>
                        </a:lnTo>
                        <a:lnTo>
                          <a:pt x="4638" y="798"/>
                        </a:lnTo>
                        <a:lnTo>
                          <a:pt x="4638" y="792"/>
                        </a:lnTo>
                        <a:lnTo>
                          <a:pt x="4632" y="792"/>
                        </a:lnTo>
                        <a:lnTo>
                          <a:pt x="4626" y="786"/>
                        </a:lnTo>
                        <a:lnTo>
                          <a:pt x="4608" y="786"/>
                        </a:lnTo>
                        <a:lnTo>
                          <a:pt x="4500" y="798"/>
                        </a:lnTo>
                        <a:lnTo>
                          <a:pt x="4560" y="762"/>
                        </a:lnTo>
                        <a:lnTo>
                          <a:pt x="4620" y="762"/>
                        </a:lnTo>
                        <a:lnTo>
                          <a:pt x="4626" y="756"/>
                        </a:lnTo>
                        <a:lnTo>
                          <a:pt x="4620" y="750"/>
                        </a:lnTo>
                        <a:lnTo>
                          <a:pt x="4584" y="738"/>
                        </a:lnTo>
                        <a:lnTo>
                          <a:pt x="4572" y="732"/>
                        </a:lnTo>
                        <a:lnTo>
                          <a:pt x="4554" y="732"/>
                        </a:lnTo>
                        <a:lnTo>
                          <a:pt x="4518" y="750"/>
                        </a:lnTo>
                        <a:lnTo>
                          <a:pt x="4500" y="744"/>
                        </a:lnTo>
                        <a:lnTo>
                          <a:pt x="4458" y="774"/>
                        </a:lnTo>
                        <a:lnTo>
                          <a:pt x="4464" y="756"/>
                        </a:lnTo>
                        <a:lnTo>
                          <a:pt x="4440" y="774"/>
                        </a:lnTo>
                        <a:lnTo>
                          <a:pt x="4464" y="744"/>
                        </a:lnTo>
                        <a:lnTo>
                          <a:pt x="4500" y="744"/>
                        </a:lnTo>
                        <a:lnTo>
                          <a:pt x="4506" y="738"/>
                        </a:lnTo>
                        <a:lnTo>
                          <a:pt x="4518" y="714"/>
                        </a:lnTo>
                        <a:lnTo>
                          <a:pt x="4518" y="708"/>
                        </a:lnTo>
                        <a:lnTo>
                          <a:pt x="4512" y="702"/>
                        </a:lnTo>
                        <a:lnTo>
                          <a:pt x="4506" y="708"/>
                        </a:lnTo>
                        <a:lnTo>
                          <a:pt x="4494" y="714"/>
                        </a:lnTo>
                        <a:lnTo>
                          <a:pt x="4488" y="726"/>
                        </a:lnTo>
                        <a:lnTo>
                          <a:pt x="4452" y="726"/>
                        </a:lnTo>
                        <a:lnTo>
                          <a:pt x="4428" y="738"/>
                        </a:lnTo>
                        <a:lnTo>
                          <a:pt x="4452" y="708"/>
                        </a:lnTo>
                        <a:lnTo>
                          <a:pt x="4482" y="708"/>
                        </a:lnTo>
                        <a:lnTo>
                          <a:pt x="4494" y="702"/>
                        </a:lnTo>
                        <a:lnTo>
                          <a:pt x="4500" y="702"/>
                        </a:lnTo>
                        <a:lnTo>
                          <a:pt x="4506" y="696"/>
                        </a:lnTo>
                        <a:lnTo>
                          <a:pt x="4506" y="690"/>
                        </a:lnTo>
                        <a:lnTo>
                          <a:pt x="4500" y="684"/>
                        </a:lnTo>
                        <a:lnTo>
                          <a:pt x="4458" y="684"/>
                        </a:lnTo>
                        <a:lnTo>
                          <a:pt x="4446" y="690"/>
                        </a:lnTo>
                        <a:lnTo>
                          <a:pt x="4428" y="696"/>
                        </a:lnTo>
                        <a:lnTo>
                          <a:pt x="4422" y="702"/>
                        </a:lnTo>
                        <a:lnTo>
                          <a:pt x="4416" y="702"/>
                        </a:lnTo>
                        <a:lnTo>
                          <a:pt x="4404" y="684"/>
                        </a:lnTo>
                        <a:lnTo>
                          <a:pt x="4380" y="702"/>
                        </a:lnTo>
                        <a:lnTo>
                          <a:pt x="4398" y="672"/>
                        </a:lnTo>
                        <a:lnTo>
                          <a:pt x="4344" y="696"/>
                        </a:lnTo>
                        <a:lnTo>
                          <a:pt x="4344" y="672"/>
                        </a:lnTo>
                        <a:lnTo>
                          <a:pt x="4350" y="672"/>
                        </a:lnTo>
                        <a:lnTo>
                          <a:pt x="4356" y="666"/>
                        </a:lnTo>
                        <a:lnTo>
                          <a:pt x="4368" y="666"/>
                        </a:lnTo>
                        <a:lnTo>
                          <a:pt x="4386" y="660"/>
                        </a:lnTo>
                        <a:lnTo>
                          <a:pt x="4392" y="660"/>
                        </a:lnTo>
                        <a:lnTo>
                          <a:pt x="4398" y="654"/>
                        </a:lnTo>
                        <a:lnTo>
                          <a:pt x="4356" y="654"/>
                        </a:lnTo>
                        <a:lnTo>
                          <a:pt x="4338" y="660"/>
                        </a:lnTo>
                        <a:lnTo>
                          <a:pt x="4326" y="660"/>
                        </a:lnTo>
                        <a:lnTo>
                          <a:pt x="4320" y="648"/>
                        </a:lnTo>
                        <a:lnTo>
                          <a:pt x="4332" y="648"/>
                        </a:lnTo>
                        <a:lnTo>
                          <a:pt x="4356" y="636"/>
                        </a:lnTo>
                        <a:lnTo>
                          <a:pt x="4368" y="636"/>
                        </a:lnTo>
                        <a:lnTo>
                          <a:pt x="4380" y="630"/>
                        </a:lnTo>
                        <a:lnTo>
                          <a:pt x="4386" y="624"/>
                        </a:lnTo>
                        <a:lnTo>
                          <a:pt x="4368" y="618"/>
                        </a:lnTo>
                        <a:lnTo>
                          <a:pt x="4326" y="612"/>
                        </a:lnTo>
                        <a:lnTo>
                          <a:pt x="4290" y="612"/>
                        </a:lnTo>
                        <a:lnTo>
                          <a:pt x="4266" y="606"/>
                        </a:lnTo>
                        <a:lnTo>
                          <a:pt x="4236" y="606"/>
                        </a:lnTo>
                        <a:lnTo>
                          <a:pt x="4230" y="612"/>
                        </a:lnTo>
                        <a:lnTo>
                          <a:pt x="4230" y="618"/>
                        </a:lnTo>
                        <a:lnTo>
                          <a:pt x="4236" y="624"/>
                        </a:lnTo>
                        <a:lnTo>
                          <a:pt x="4242" y="636"/>
                        </a:lnTo>
                        <a:lnTo>
                          <a:pt x="4206" y="630"/>
                        </a:lnTo>
                        <a:lnTo>
                          <a:pt x="4212" y="660"/>
                        </a:lnTo>
                        <a:lnTo>
                          <a:pt x="4194" y="636"/>
                        </a:lnTo>
                        <a:lnTo>
                          <a:pt x="4152" y="660"/>
                        </a:lnTo>
                        <a:lnTo>
                          <a:pt x="4158" y="654"/>
                        </a:lnTo>
                        <a:lnTo>
                          <a:pt x="4158" y="636"/>
                        </a:lnTo>
                        <a:lnTo>
                          <a:pt x="4152" y="630"/>
                        </a:lnTo>
                        <a:lnTo>
                          <a:pt x="4140" y="630"/>
                        </a:lnTo>
                        <a:lnTo>
                          <a:pt x="4122" y="636"/>
                        </a:lnTo>
                        <a:lnTo>
                          <a:pt x="4110" y="642"/>
                        </a:lnTo>
                        <a:lnTo>
                          <a:pt x="4098" y="642"/>
                        </a:lnTo>
                        <a:lnTo>
                          <a:pt x="4086" y="648"/>
                        </a:lnTo>
                        <a:lnTo>
                          <a:pt x="4080" y="654"/>
                        </a:lnTo>
                        <a:lnTo>
                          <a:pt x="4074" y="654"/>
                        </a:lnTo>
                        <a:lnTo>
                          <a:pt x="4092" y="618"/>
                        </a:lnTo>
                        <a:lnTo>
                          <a:pt x="4110" y="618"/>
                        </a:lnTo>
                        <a:lnTo>
                          <a:pt x="4122" y="612"/>
                        </a:lnTo>
                        <a:lnTo>
                          <a:pt x="4134" y="612"/>
                        </a:lnTo>
                        <a:lnTo>
                          <a:pt x="4146" y="606"/>
                        </a:lnTo>
                        <a:lnTo>
                          <a:pt x="4152" y="600"/>
                        </a:lnTo>
                        <a:lnTo>
                          <a:pt x="4152" y="594"/>
                        </a:lnTo>
                        <a:lnTo>
                          <a:pt x="4146" y="582"/>
                        </a:lnTo>
                        <a:lnTo>
                          <a:pt x="4134" y="570"/>
                        </a:lnTo>
                        <a:lnTo>
                          <a:pt x="4152" y="552"/>
                        </a:lnTo>
                        <a:lnTo>
                          <a:pt x="4152" y="540"/>
                        </a:lnTo>
                        <a:lnTo>
                          <a:pt x="4050" y="540"/>
                        </a:lnTo>
                        <a:lnTo>
                          <a:pt x="4026" y="558"/>
                        </a:lnTo>
                        <a:lnTo>
                          <a:pt x="3942" y="558"/>
                        </a:lnTo>
                        <a:lnTo>
                          <a:pt x="3948" y="576"/>
                        </a:lnTo>
                        <a:lnTo>
                          <a:pt x="3978" y="588"/>
                        </a:lnTo>
                        <a:lnTo>
                          <a:pt x="3936" y="576"/>
                        </a:lnTo>
                        <a:lnTo>
                          <a:pt x="3948" y="600"/>
                        </a:lnTo>
                        <a:lnTo>
                          <a:pt x="3936" y="594"/>
                        </a:lnTo>
                        <a:lnTo>
                          <a:pt x="3930" y="594"/>
                        </a:lnTo>
                        <a:lnTo>
                          <a:pt x="3918" y="588"/>
                        </a:lnTo>
                        <a:lnTo>
                          <a:pt x="3894" y="588"/>
                        </a:lnTo>
                        <a:lnTo>
                          <a:pt x="3882" y="594"/>
                        </a:lnTo>
                        <a:lnTo>
                          <a:pt x="3876" y="606"/>
                        </a:lnTo>
                        <a:lnTo>
                          <a:pt x="3882" y="612"/>
                        </a:lnTo>
                        <a:lnTo>
                          <a:pt x="3888" y="624"/>
                        </a:lnTo>
                        <a:lnTo>
                          <a:pt x="3894" y="630"/>
                        </a:lnTo>
                        <a:lnTo>
                          <a:pt x="3900" y="660"/>
                        </a:lnTo>
                        <a:lnTo>
                          <a:pt x="3894" y="660"/>
                        </a:lnTo>
                        <a:lnTo>
                          <a:pt x="3888" y="654"/>
                        </a:lnTo>
                        <a:lnTo>
                          <a:pt x="3864" y="642"/>
                        </a:lnTo>
                        <a:lnTo>
                          <a:pt x="3852" y="642"/>
                        </a:lnTo>
                        <a:lnTo>
                          <a:pt x="3828" y="666"/>
                        </a:lnTo>
                        <a:lnTo>
                          <a:pt x="3828" y="678"/>
                        </a:lnTo>
                        <a:lnTo>
                          <a:pt x="3846" y="678"/>
                        </a:lnTo>
                        <a:lnTo>
                          <a:pt x="3858" y="690"/>
                        </a:lnTo>
                        <a:lnTo>
                          <a:pt x="3810" y="714"/>
                        </a:lnTo>
                        <a:lnTo>
                          <a:pt x="3750" y="720"/>
                        </a:lnTo>
                        <a:lnTo>
                          <a:pt x="3762" y="720"/>
                        </a:lnTo>
                        <a:lnTo>
                          <a:pt x="3798" y="702"/>
                        </a:lnTo>
                        <a:lnTo>
                          <a:pt x="3810" y="690"/>
                        </a:lnTo>
                        <a:lnTo>
                          <a:pt x="3810" y="684"/>
                        </a:lnTo>
                        <a:lnTo>
                          <a:pt x="3804" y="684"/>
                        </a:lnTo>
                        <a:lnTo>
                          <a:pt x="3792" y="672"/>
                        </a:lnTo>
                        <a:lnTo>
                          <a:pt x="3786" y="672"/>
                        </a:lnTo>
                        <a:lnTo>
                          <a:pt x="3786" y="660"/>
                        </a:lnTo>
                        <a:lnTo>
                          <a:pt x="3804" y="642"/>
                        </a:lnTo>
                        <a:lnTo>
                          <a:pt x="3816" y="636"/>
                        </a:lnTo>
                        <a:lnTo>
                          <a:pt x="3828" y="636"/>
                        </a:lnTo>
                        <a:lnTo>
                          <a:pt x="3828" y="606"/>
                        </a:lnTo>
                        <a:lnTo>
                          <a:pt x="3840" y="600"/>
                        </a:lnTo>
                        <a:lnTo>
                          <a:pt x="3858" y="582"/>
                        </a:lnTo>
                        <a:lnTo>
                          <a:pt x="3876" y="576"/>
                        </a:lnTo>
                        <a:lnTo>
                          <a:pt x="3882" y="570"/>
                        </a:lnTo>
                        <a:lnTo>
                          <a:pt x="3894" y="564"/>
                        </a:lnTo>
                        <a:lnTo>
                          <a:pt x="3906" y="564"/>
                        </a:lnTo>
                        <a:lnTo>
                          <a:pt x="3918" y="558"/>
                        </a:lnTo>
                        <a:lnTo>
                          <a:pt x="3936" y="552"/>
                        </a:lnTo>
                        <a:lnTo>
                          <a:pt x="3954" y="552"/>
                        </a:lnTo>
                        <a:lnTo>
                          <a:pt x="3966" y="546"/>
                        </a:lnTo>
                        <a:lnTo>
                          <a:pt x="3972" y="540"/>
                        </a:lnTo>
                        <a:lnTo>
                          <a:pt x="3942" y="534"/>
                        </a:lnTo>
                        <a:lnTo>
                          <a:pt x="3852" y="534"/>
                        </a:lnTo>
                        <a:lnTo>
                          <a:pt x="3822" y="540"/>
                        </a:lnTo>
                        <a:lnTo>
                          <a:pt x="3786" y="558"/>
                        </a:lnTo>
                        <a:lnTo>
                          <a:pt x="3744" y="576"/>
                        </a:lnTo>
                        <a:lnTo>
                          <a:pt x="3720" y="594"/>
                        </a:lnTo>
                        <a:lnTo>
                          <a:pt x="3708" y="600"/>
                        </a:lnTo>
                        <a:lnTo>
                          <a:pt x="3702" y="600"/>
                        </a:lnTo>
                        <a:lnTo>
                          <a:pt x="3696" y="606"/>
                        </a:lnTo>
                        <a:lnTo>
                          <a:pt x="3684" y="606"/>
                        </a:lnTo>
                        <a:lnTo>
                          <a:pt x="3660" y="618"/>
                        </a:lnTo>
                        <a:lnTo>
                          <a:pt x="3654" y="618"/>
                        </a:lnTo>
                        <a:lnTo>
                          <a:pt x="3642" y="624"/>
                        </a:lnTo>
                        <a:lnTo>
                          <a:pt x="3630" y="636"/>
                        </a:lnTo>
                        <a:lnTo>
                          <a:pt x="3618" y="642"/>
                        </a:lnTo>
                        <a:lnTo>
                          <a:pt x="3600" y="660"/>
                        </a:lnTo>
                        <a:lnTo>
                          <a:pt x="3588" y="666"/>
                        </a:lnTo>
                        <a:lnTo>
                          <a:pt x="3582" y="678"/>
                        </a:lnTo>
                        <a:lnTo>
                          <a:pt x="3582" y="684"/>
                        </a:lnTo>
                        <a:lnTo>
                          <a:pt x="3588" y="690"/>
                        </a:lnTo>
                        <a:lnTo>
                          <a:pt x="3612" y="690"/>
                        </a:lnTo>
                        <a:lnTo>
                          <a:pt x="3648" y="696"/>
                        </a:lnTo>
                        <a:lnTo>
                          <a:pt x="3672" y="696"/>
                        </a:lnTo>
                        <a:lnTo>
                          <a:pt x="3684" y="708"/>
                        </a:lnTo>
                        <a:lnTo>
                          <a:pt x="3666" y="714"/>
                        </a:lnTo>
                        <a:lnTo>
                          <a:pt x="3594" y="726"/>
                        </a:lnTo>
                        <a:lnTo>
                          <a:pt x="3570" y="732"/>
                        </a:lnTo>
                        <a:lnTo>
                          <a:pt x="3576" y="738"/>
                        </a:lnTo>
                        <a:lnTo>
                          <a:pt x="3594" y="750"/>
                        </a:lnTo>
                        <a:lnTo>
                          <a:pt x="3630" y="762"/>
                        </a:lnTo>
                        <a:lnTo>
                          <a:pt x="3642" y="768"/>
                        </a:lnTo>
                        <a:lnTo>
                          <a:pt x="3648" y="768"/>
                        </a:lnTo>
                        <a:lnTo>
                          <a:pt x="3690" y="750"/>
                        </a:lnTo>
                        <a:lnTo>
                          <a:pt x="3690" y="762"/>
                        </a:lnTo>
                        <a:lnTo>
                          <a:pt x="3702" y="774"/>
                        </a:lnTo>
                        <a:lnTo>
                          <a:pt x="3744" y="774"/>
                        </a:lnTo>
                        <a:lnTo>
                          <a:pt x="3786" y="780"/>
                        </a:lnTo>
                        <a:lnTo>
                          <a:pt x="3834" y="786"/>
                        </a:lnTo>
                        <a:lnTo>
                          <a:pt x="3876" y="792"/>
                        </a:lnTo>
                        <a:lnTo>
                          <a:pt x="3894" y="792"/>
                        </a:lnTo>
                        <a:lnTo>
                          <a:pt x="3900" y="786"/>
                        </a:lnTo>
                        <a:lnTo>
                          <a:pt x="3894" y="780"/>
                        </a:lnTo>
                        <a:lnTo>
                          <a:pt x="3882" y="774"/>
                        </a:lnTo>
                        <a:lnTo>
                          <a:pt x="3876" y="768"/>
                        </a:lnTo>
                        <a:lnTo>
                          <a:pt x="3894" y="768"/>
                        </a:lnTo>
                        <a:lnTo>
                          <a:pt x="3930" y="774"/>
                        </a:lnTo>
                        <a:lnTo>
                          <a:pt x="3966" y="774"/>
                        </a:lnTo>
                        <a:lnTo>
                          <a:pt x="3990" y="780"/>
                        </a:lnTo>
                        <a:lnTo>
                          <a:pt x="4002" y="780"/>
                        </a:lnTo>
                        <a:lnTo>
                          <a:pt x="4020" y="786"/>
                        </a:lnTo>
                        <a:lnTo>
                          <a:pt x="4032" y="792"/>
                        </a:lnTo>
                        <a:lnTo>
                          <a:pt x="4050" y="792"/>
                        </a:lnTo>
                        <a:lnTo>
                          <a:pt x="4062" y="786"/>
                        </a:lnTo>
                        <a:lnTo>
                          <a:pt x="4062" y="774"/>
                        </a:lnTo>
                        <a:lnTo>
                          <a:pt x="4056" y="768"/>
                        </a:lnTo>
                        <a:lnTo>
                          <a:pt x="4050" y="756"/>
                        </a:lnTo>
                        <a:lnTo>
                          <a:pt x="4044" y="750"/>
                        </a:lnTo>
                        <a:lnTo>
                          <a:pt x="4092" y="738"/>
                        </a:lnTo>
                        <a:lnTo>
                          <a:pt x="4092" y="744"/>
                        </a:lnTo>
                        <a:lnTo>
                          <a:pt x="4098" y="750"/>
                        </a:lnTo>
                        <a:lnTo>
                          <a:pt x="4104" y="762"/>
                        </a:lnTo>
                        <a:lnTo>
                          <a:pt x="4104" y="768"/>
                        </a:lnTo>
                        <a:lnTo>
                          <a:pt x="4110" y="774"/>
                        </a:lnTo>
                        <a:lnTo>
                          <a:pt x="4116" y="774"/>
                        </a:lnTo>
                        <a:lnTo>
                          <a:pt x="4122" y="780"/>
                        </a:lnTo>
                        <a:lnTo>
                          <a:pt x="4134" y="786"/>
                        </a:lnTo>
                        <a:lnTo>
                          <a:pt x="4140" y="792"/>
                        </a:lnTo>
                        <a:lnTo>
                          <a:pt x="4170" y="786"/>
                        </a:lnTo>
                        <a:lnTo>
                          <a:pt x="4170" y="792"/>
                        </a:lnTo>
                        <a:lnTo>
                          <a:pt x="4164" y="798"/>
                        </a:lnTo>
                        <a:lnTo>
                          <a:pt x="4164" y="816"/>
                        </a:lnTo>
                        <a:lnTo>
                          <a:pt x="4170" y="816"/>
                        </a:lnTo>
                        <a:lnTo>
                          <a:pt x="4182" y="822"/>
                        </a:lnTo>
                        <a:lnTo>
                          <a:pt x="4200" y="822"/>
                        </a:lnTo>
                        <a:lnTo>
                          <a:pt x="4206" y="828"/>
                        </a:lnTo>
                        <a:lnTo>
                          <a:pt x="4212" y="828"/>
                        </a:lnTo>
                        <a:lnTo>
                          <a:pt x="4194" y="846"/>
                        </a:lnTo>
                        <a:lnTo>
                          <a:pt x="4194" y="858"/>
                        </a:lnTo>
                        <a:lnTo>
                          <a:pt x="4230" y="858"/>
                        </a:lnTo>
                        <a:lnTo>
                          <a:pt x="4224" y="882"/>
                        </a:lnTo>
                        <a:lnTo>
                          <a:pt x="4236" y="882"/>
                        </a:lnTo>
                        <a:lnTo>
                          <a:pt x="4248" y="888"/>
                        </a:lnTo>
                        <a:lnTo>
                          <a:pt x="4254" y="888"/>
                        </a:lnTo>
                        <a:lnTo>
                          <a:pt x="4278" y="900"/>
                        </a:lnTo>
                        <a:lnTo>
                          <a:pt x="4278" y="924"/>
                        </a:lnTo>
                        <a:lnTo>
                          <a:pt x="4266" y="948"/>
                        </a:lnTo>
                        <a:lnTo>
                          <a:pt x="4254" y="966"/>
                        </a:lnTo>
                        <a:lnTo>
                          <a:pt x="4248" y="978"/>
                        </a:lnTo>
                        <a:lnTo>
                          <a:pt x="4236" y="990"/>
                        </a:lnTo>
                        <a:lnTo>
                          <a:pt x="4218" y="996"/>
                        </a:lnTo>
                        <a:lnTo>
                          <a:pt x="4182" y="1014"/>
                        </a:lnTo>
                        <a:lnTo>
                          <a:pt x="4140" y="1026"/>
                        </a:lnTo>
                        <a:lnTo>
                          <a:pt x="4092" y="1050"/>
                        </a:lnTo>
                        <a:lnTo>
                          <a:pt x="4098" y="1056"/>
                        </a:lnTo>
                        <a:lnTo>
                          <a:pt x="4110" y="1062"/>
                        </a:lnTo>
                        <a:lnTo>
                          <a:pt x="4122" y="1074"/>
                        </a:lnTo>
                        <a:lnTo>
                          <a:pt x="4122" y="1080"/>
                        </a:lnTo>
                        <a:lnTo>
                          <a:pt x="4116" y="1086"/>
                        </a:lnTo>
                        <a:lnTo>
                          <a:pt x="4080" y="1098"/>
                        </a:lnTo>
                        <a:lnTo>
                          <a:pt x="4062" y="1098"/>
                        </a:lnTo>
                        <a:lnTo>
                          <a:pt x="3984" y="1110"/>
                        </a:lnTo>
                        <a:lnTo>
                          <a:pt x="3978" y="1128"/>
                        </a:lnTo>
                        <a:lnTo>
                          <a:pt x="3960" y="1110"/>
                        </a:lnTo>
                        <a:lnTo>
                          <a:pt x="3954" y="1110"/>
                        </a:lnTo>
                        <a:lnTo>
                          <a:pt x="3948" y="1104"/>
                        </a:lnTo>
                        <a:lnTo>
                          <a:pt x="3930" y="1104"/>
                        </a:lnTo>
                        <a:lnTo>
                          <a:pt x="3918" y="1098"/>
                        </a:lnTo>
                        <a:lnTo>
                          <a:pt x="3900" y="1098"/>
                        </a:lnTo>
                        <a:lnTo>
                          <a:pt x="3888" y="1104"/>
                        </a:lnTo>
                        <a:lnTo>
                          <a:pt x="3882" y="1110"/>
                        </a:lnTo>
                        <a:lnTo>
                          <a:pt x="3882" y="1122"/>
                        </a:lnTo>
                        <a:lnTo>
                          <a:pt x="3870" y="1122"/>
                        </a:lnTo>
                        <a:lnTo>
                          <a:pt x="3858" y="1128"/>
                        </a:lnTo>
                        <a:lnTo>
                          <a:pt x="3840" y="1134"/>
                        </a:lnTo>
                        <a:lnTo>
                          <a:pt x="3828" y="1140"/>
                        </a:lnTo>
                        <a:lnTo>
                          <a:pt x="3822" y="1146"/>
                        </a:lnTo>
                        <a:lnTo>
                          <a:pt x="3816" y="1158"/>
                        </a:lnTo>
                        <a:lnTo>
                          <a:pt x="3816" y="1170"/>
                        </a:lnTo>
                        <a:lnTo>
                          <a:pt x="3822" y="1182"/>
                        </a:lnTo>
                        <a:lnTo>
                          <a:pt x="3834" y="1188"/>
                        </a:lnTo>
                        <a:lnTo>
                          <a:pt x="3864" y="1188"/>
                        </a:lnTo>
                        <a:lnTo>
                          <a:pt x="3876" y="1182"/>
                        </a:lnTo>
                        <a:lnTo>
                          <a:pt x="3894" y="1182"/>
                        </a:lnTo>
                        <a:lnTo>
                          <a:pt x="3906" y="1176"/>
                        </a:lnTo>
                        <a:lnTo>
                          <a:pt x="3924" y="1170"/>
                        </a:lnTo>
                        <a:lnTo>
                          <a:pt x="3936" y="1164"/>
                        </a:lnTo>
                        <a:lnTo>
                          <a:pt x="3966" y="1164"/>
                        </a:lnTo>
                        <a:lnTo>
                          <a:pt x="3978" y="1176"/>
                        </a:lnTo>
                        <a:lnTo>
                          <a:pt x="3996" y="1176"/>
                        </a:lnTo>
                        <a:lnTo>
                          <a:pt x="4002" y="1170"/>
                        </a:lnTo>
                        <a:lnTo>
                          <a:pt x="4002" y="1152"/>
                        </a:lnTo>
                        <a:lnTo>
                          <a:pt x="4026" y="1128"/>
                        </a:lnTo>
                        <a:lnTo>
                          <a:pt x="4014" y="1140"/>
                        </a:lnTo>
                        <a:lnTo>
                          <a:pt x="4014" y="1146"/>
                        </a:lnTo>
                        <a:lnTo>
                          <a:pt x="4020" y="1152"/>
                        </a:lnTo>
                        <a:lnTo>
                          <a:pt x="4086" y="1152"/>
                        </a:lnTo>
                        <a:lnTo>
                          <a:pt x="4080" y="1158"/>
                        </a:lnTo>
                        <a:lnTo>
                          <a:pt x="4068" y="1164"/>
                        </a:lnTo>
                        <a:lnTo>
                          <a:pt x="4062" y="1170"/>
                        </a:lnTo>
                        <a:lnTo>
                          <a:pt x="4062" y="1176"/>
                        </a:lnTo>
                        <a:lnTo>
                          <a:pt x="4068" y="1182"/>
                        </a:lnTo>
                        <a:lnTo>
                          <a:pt x="4080" y="1182"/>
                        </a:lnTo>
                        <a:lnTo>
                          <a:pt x="4086" y="1188"/>
                        </a:lnTo>
                        <a:lnTo>
                          <a:pt x="4098" y="1188"/>
                        </a:lnTo>
                        <a:lnTo>
                          <a:pt x="4086" y="1200"/>
                        </a:lnTo>
                        <a:lnTo>
                          <a:pt x="4086" y="1206"/>
                        </a:lnTo>
                        <a:lnTo>
                          <a:pt x="4092" y="1212"/>
                        </a:lnTo>
                        <a:lnTo>
                          <a:pt x="4116" y="1224"/>
                        </a:lnTo>
                        <a:lnTo>
                          <a:pt x="4146" y="1224"/>
                        </a:lnTo>
                        <a:lnTo>
                          <a:pt x="4098" y="1242"/>
                        </a:lnTo>
                        <a:lnTo>
                          <a:pt x="4098" y="1248"/>
                        </a:lnTo>
                        <a:lnTo>
                          <a:pt x="4110" y="1260"/>
                        </a:lnTo>
                        <a:lnTo>
                          <a:pt x="4110" y="1266"/>
                        </a:lnTo>
                        <a:lnTo>
                          <a:pt x="4116" y="1272"/>
                        </a:lnTo>
                        <a:lnTo>
                          <a:pt x="4122" y="1266"/>
                        </a:lnTo>
                        <a:lnTo>
                          <a:pt x="4128" y="1266"/>
                        </a:lnTo>
                        <a:lnTo>
                          <a:pt x="4140" y="1260"/>
                        </a:lnTo>
                        <a:lnTo>
                          <a:pt x="4146" y="1272"/>
                        </a:lnTo>
                        <a:lnTo>
                          <a:pt x="4158" y="1284"/>
                        </a:lnTo>
                        <a:lnTo>
                          <a:pt x="4182" y="1284"/>
                        </a:lnTo>
                        <a:lnTo>
                          <a:pt x="4194" y="1290"/>
                        </a:lnTo>
                        <a:lnTo>
                          <a:pt x="4206" y="1290"/>
                        </a:lnTo>
                        <a:lnTo>
                          <a:pt x="4206" y="1308"/>
                        </a:lnTo>
                        <a:lnTo>
                          <a:pt x="4212" y="1314"/>
                        </a:lnTo>
                        <a:lnTo>
                          <a:pt x="4224" y="1320"/>
                        </a:lnTo>
                        <a:lnTo>
                          <a:pt x="4272" y="1320"/>
                        </a:lnTo>
                        <a:lnTo>
                          <a:pt x="4290" y="1326"/>
                        </a:lnTo>
                        <a:lnTo>
                          <a:pt x="4350" y="1356"/>
                        </a:lnTo>
                        <a:lnTo>
                          <a:pt x="4356" y="1362"/>
                        </a:lnTo>
                        <a:lnTo>
                          <a:pt x="4362" y="1362"/>
                        </a:lnTo>
                        <a:lnTo>
                          <a:pt x="4362" y="1356"/>
                        </a:lnTo>
                        <a:lnTo>
                          <a:pt x="4368" y="1350"/>
                        </a:lnTo>
                        <a:lnTo>
                          <a:pt x="4368" y="1320"/>
                        </a:lnTo>
                        <a:lnTo>
                          <a:pt x="4362" y="1308"/>
                        </a:lnTo>
                        <a:lnTo>
                          <a:pt x="4350" y="1296"/>
                        </a:lnTo>
                        <a:lnTo>
                          <a:pt x="4338" y="1290"/>
                        </a:lnTo>
                        <a:lnTo>
                          <a:pt x="4320" y="1272"/>
                        </a:lnTo>
                        <a:lnTo>
                          <a:pt x="4314" y="1272"/>
                        </a:lnTo>
                        <a:lnTo>
                          <a:pt x="4308" y="1260"/>
                        </a:lnTo>
                        <a:lnTo>
                          <a:pt x="4302" y="1254"/>
                        </a:lnTo>
                        <a:lnTo>
                          <a:pt x="4290" y="1230"/>
                        </a:lnTo>
                        <a:lnTo>
                          <a:pt x="4290" y="1224"/>
                        </a:lnTo>
                        <a:lnTo>
                          <a:pt x="4308" y="1224"/>
                        </a:lnTo>
                        <a:lnTo>
                          <a:pt x="4314" y="1230"/>
                        </a:lnTo>
                        <a:lnTo>
                          <a:pt x="4326" y="1236"/>
                        </a:lnTo>
                        <a:lnTo>
                          <a:pt x="4332" y="1242"/>
                        </a:lnTo>
                        <a:lnTo>
                          <a:pt x="4332" y="1212"/>
                        </a:lnTo>
                        <a:lnTo>
                          <a:pt x="4332" y="1218"/>
                        </a:lnTo>
                        <a:lnTo>
                          <a:pt x="4344" y="1230"/>
                        </a:lnTo>
                        <a:lnTo>
                          <a:pt x="4350" y="1242"/>
                        </a:lnTo>
                        <a:lnTo>
                          <a:pt x="4362" y="1254"/>
                        </a:lnTo>
                        <a:lnTo>
                          <a:pt x="4374" y="1254"/>
                        </a:lnTo>
                        <a:lnTo>
                          <a:pt x="4386" y="1248"/>
                        </a:lnTo>
                        <a:lnTo>
                          <a:pt x="4398" y="1248"/>
                        </a:lnTo>
                        <a:lnTo>
                          <a:pt x="4398" y="1272"/>
                        </a:lnTo>
                        <a:lnTo>
                          <a:pt x="4404" y="1278"/>
                        </a:lnTo>
                        <a:lnTo>
                          <a:pt x="4416" y="1278"/>
                        </a:lnTo>
                        <a:lnTo>
                          <a:pt x="4428" y="1290"/>
                        </a:lnTo>
                        <a:lnTo>
                          <a:pt x="4452" y="1272"/>
                        </a:lnTo>
                        <a:lnTo>
                          <a:pt x="4464" y="1284"/>
                        </a:lnTo>
                        <a:lnTo>
                          <a:pt x="4470" y="1284"/>
                        </a:lnTo>
                        <a:lnTo>
                          <a:pt x="4476" y="1278"/>
                        </a:lnTo>
                        <a:lnTo>
                          <a:pt x="4476" y="1260"/>
                        </a:lnTo>
                        <a:lnTo>
                          <a:pt x="4470" y="1254"/>
                        </a:lnTo>
                        <a:lnTo>
                          <a:pt x="4488" y="1212"/>
                        </a:lnTo>
                        <a:lnTo>
                          <a:pt x="4488" y="1236"/>
                        </a:lnTo>
                        <a:lnTo>
                          <a:pt x="4500" y="1248"/>
                        </a:lnTo>
                        <a:lnTo>
                          <a:pt x="4512" y="1236"/>
                        </a:lnTo>
                        <a:lnTo>
                          <a:pt x="4518" y="1218"/>
                        </a:lnTo>
                        <a:lnTo>
                          <a:pt x="4518" y="1206"/>
                        </a:lnTo>
                        <a:lnTo>
                          <a:pt x="4494" y="1182"/>
                        </a:lnTo>
                        <a:lnTo>
                          <a:pt x="4518" y="1176"/>
                        </a:lnTo>
                        <a:lnTo>
                          <a:pt x="4500" y="1164"/>
                        </a:lnTo>
                        <a:lnTo>
                          <a:pt x="4500" y="1146"/>
                        </a:lnTo>
                        <a:lnTo>
                          <a:pt x="4470" y="1146"/>
                        </a:lnTo>
                        <a:lnTo>
                          <a:pt x="4470" y="1134"/>
                        </a:lnTo>
                        <a:lnTo>
                          <a:pt x="4446" y="1134"/>
                        </a:lnTo>
                        <a:lnTo>
                          <a:pt x="4446" y="1080"/>
                        </a:lnTo>
                        <a:lnTo>
                          <a:pt x="4416" y="1086"/>
                        </a:lnTo>
                        <a:lnTo>
                          <a:pt x="4410" y="1080"/>
                        </a:lnTo>
                        <a:lnTo>
                          <a:pt x="4410" y="1056"/>
                        </a:lnTo>
                        <a:lnTo>
                          <a:pt x="4416" y="1050"/>
                        </a:lnTo>
                        <a:lnTo>
                          <a:pt x="4428" y="1050"/>
                        </a:lnTo>
                        <a:lnTo>
                          <a:pt x="4434" y="1056"/>
                        </a:lnTo>
                        <a:lnTo>
                          <a:pt x="4446" y="1062"/>
                        </a:lnTo>
                        <a:lnTo>
                          <a:pt x="4452" y="1068"/>
                        </a:lnTo>
                        <a:lnTo>
                          <a:pt x="4458" y="1068"/>
                        </a:lnTo>
                        <a:lnTo>
                          <a:pt x="4464" y="1062"/>
                        </a:lnTo>
                        <a:lnTo>
                          <a:pt x="4464" y="1026"/>
                        </a:lnTo>
                        <a:lnTo>
                          <a:pt x="4488" y="1032"/>
                        </a:lnTo>
                        <a:lnTo>
                          <a:pt x="4524" y="1014"/>
                        </a:lnTo>
                        <a:lnTo>
                          <a:pt x="4524" y="1026"/>
                        </a:lnTo>
                        <a:lnTo>
                          <a:pt x="4530" y="1038"/>
                        </a:lnTo>
                        <a:lnTo>
                          <a:pt x="4530" y="1044"/>
                        </a:lnTo>
                        <a:lnTo>
                          <a:pt x="4536" y="1050"/>
                        </a:lnTo>
                        <a:lnTo>
                          <a:pt x="4548" y="1044"/>
                        </a:lnTo>
                        <a:lnTo>
                          <a:pt x="4566" y="1044"/>
                        </a:lnTo>
                        <a:lnTo>
                          <a:pt x="4554" y="1062"/>
                        </a:lnTo>
                        <a:lnTo>
                          <a:pt x="4578" y="1062"/>
                        </a:lnTo>
                        <a:lnTo>
                          <a:pt x="4566" y="1092"/>
                        </a:lnTo>
                        <a:lnTo>
                          <a:pt x="4566" y="1098"/>
                        </a:lnTo>
                        <a:lnTo>
                          <a:pt x="4584" y="1116"/>
                        </a:lnTo>
                        <a:lnTo>
                          <a:pt x="4590" y="1128"/>
                        </a:lnTo>
                        <a:lnTo>
                          <a:pt x="4614" y="1140"/>
                        </a:lnTo>
                        <a:lnTo>
                          <a:pt x="4626" y="1134"/>
                        </a:lnTo>
                        <a:lnTo>
                          <a:pt x="4638" y="1122"/>
                        </a:lnTo>
                        <a:lnTo>
                          <a:pt x="4656" y="1086"/>
                        </a:lnTo>
                        <a:lnTo>
                          <a:pt x="4656" y="1080"/>
                        </a:lnTo>
                        <a:lnTo>
                          <a:pt x="4662" y="1068"/>
                        </a:lnTo>
                        <a:lnTo>
                          <a:pt x="4668" y="1074"/>
                        </a:lnTo>
                        <a:lnTo>
                          <a:pt x="4680" y="1080"/>
                        </a:lnTo>
                        <a:lnTo>
                          <a:pt x="4692" y="1080"/>
                        </a:lnTo>
                        <a:lnTo>
                          <a:pt x="4698" y="1086"/>
                        </a:lnTo>
                        <a:lnTo>
                          <a:pt x="4710" y="1080"/>
                        </a:lnTo>
                        <a:lnTo>
                          <a:pt x="4722" y="1068"/>
                        </a:lnTo>
                        <a:lnTo>
                          <a:pt x="4728" y="1056"/>
                        </a:lnTo>
                        <a:lnTo>
                          <a:pt x="4728" y="1038"/>
                        </a:lnTo>
                        <a:lnTo>
                          <a:pt x="4794" y="1038"/>
                        </a:lnTo>
                        <a:lnTo>
                          <a:pt x="4806" y="1026"/>
                        </a:lnTo>
                        <a:lnTo>
                          <a:pt x="4812" y="1014"/>
                        </a:lnTo>
                        <a:lnTo>
                          <a:pt x="4800" y="1002"/>
                        </a:lnTo>
                        <a:lnTo>
                          <a:pt x="4788" y="996"/>
                        </a:lnTo>
                        <a:lnTo>
                          <a:pt x="4758" y="996"/>
                        </a:lnTo>
                        <a:close/>
                        <a:moveTo>
                          <a:pt x="4476" y="1308"/>
                        </a:moveTo>
                        <a:lnTo>
                          <a:pt x="4446" y="1308"/>
                        </a:lnTo>
                        <a:lnTo>
                          <a:pt x="4440" y="1326"/>
                        </a:lnTo>
                        <a:lnTo>
                          <a:pt x="4476" y="1320"/>
                        </a:lnTo>
                        <a:lnTo>
                          <a:pt x="4476" y="1308"/>
                        </a:lnTo>
                        <a:close/>
                        <a:moveTo>
                          <a:pt x="4140" y="1290"/>
                        </a:moveTo>
                        <a:lnTo>
                          <a:pt x="4134" y="1290"/>
                        </a:lnTo>
                        <a:lnTo>
                          <a:pt x="4128" y="1296"/>
                        </a:lnTo>
                        <a:lnTo>
                          <a:pt x="4128" y="1308"/>
                        </a:lnTo>
                        <a:lnTo>
                          <a:pt x="4134" y="1314"/>
                        </a:lnTo>
                        <a:lnTo>
                          <a:pt x="4158" y="1314"/>
                        </a:lnTo>
                        <a:lnTo>
                          <a:pt x="4164" y="1308"/>
                        </a:lnTo>
                        <a:lnTo>
                          <a:pt x="4164" y="1296"/>
                        </a:lnTo>
                        <a:lnTo>
                          <a:pt x="4158" y="1290"/>
                        </a:lnTo>
                        <a:lnTo>
                          <a:pt x="4140" y="1290"/>
                        </a:lnTo>
                        <a:close/>
                        <a:moveTo>
                          <a:pt x="3834" y="1242"/>
                        </a:moveTo>
                        <a:lnTo>
                          <a:pt x="3840" y="1236"/>
                        </a:lnTo>
                        <a:lnTo>
                          <a:pt x="3834" y="1230"/>
                        </a:lnTo>
                        <a:lnTo>
                          <a:pt x="3828" y="1230"/>
                        </a:lnTo>
                        <a:lnTo>
                          <a:pt x="3822" y="1224"/>
                        </a:lnTo>
                        <a:lnTo>
                          <a:pt x="3810" y="1224"/>
                        </a:lnTo>
                        <a:lnTo>
                          <a:pt x="3810" y="1236"/>
                        </a:lnTo>
                        <a:lnTo>
                          <a:pt x="3816" y="1242"/>
                        </a:lnTo>
                        <a:lnTo>
                          <a:pt x="3816" y="1248"/>
                        </a:lnTo>
                        <a:lnTo>
                          <a:pt x="3828" y="1248"/>
                        </a:lnTo>
                        <a:lnTo>
                          <a:pt x="3834" y="1242"/>
                        </a:lnTo>
                        <a:close/>
                        <a:moveTo>
                          <a:pt x="4206" y="1452"/>
                        </a:moveTo>
                        <a:lnTo>
                          <a:pt x="4170" y="1452"/>
                        </a:lnTo>
                        <a:lnTo>
                          <a:pt x="4206" y="1476"/>
                        </a:lnTo>
                        <a:lnTo>
                          <a:pt x="4218" y="1470"/>
                        </a:lnTo>
                        <a:lnTo>
                          <a:pt x="4218" y="1458"/>
                        </a:lnTo>
                        <a:lnTo>
                          <a:pt x="4212" y="1458"/>
                        </a:lnTo>
                        <a:lnTo>
                          <a:pt x="4206" y="1452"/>
                        </a:lnTo>
                        <a:close/>
                        <a:moveTo>
                          <a:pt x="4170" y="870"/>
                        </a:moveTo>
                        <a:lnTo>
                          <a:pt x="4152" y="870"/>
                        </a:lnTo>
                        <a:lnTo>
                          <a:pt x="4152" y="876"/>
                        </a:lnTo>
                        <a:lnTo>
                          <a:pt x="4158" y="882"/>
                        </a:lnTo>
                        <a:lnTo>
                          <a:pt x="4164" y="882"/>
                        </a:lnTo>
                        <a:lnTo>
                          <a:pt x="4170" y="888"/>
                        </a:lnTo>
                        <a:lnTo>
                          <a:pt x="4182" y="882"/>
                        </a:lnTo>
                        <a:lnTo>
                          <a:pt x="4188" y="882"/>
                        </a:lnTo>
                        <a:lnTo>
                          <a:pt x="4194" y="876"/>
                        </a:lnTo>
                        <a:lnTo>
                          <a:pt x="4188" y="870"/>
                        </a:lnTo>
                        <a:lnTo>
                          <a:pt x="4170" y="870"/>
                        </a:lnTo>
                        <a:close/>
                        <a:moveTo>
                          <a:pt x="4170" y="936"/>
                        </a:moveTo>
                        <a:lnTo>
                          <a:pt x="4236" y="936"/>
                        </a:lnTo>
                        <a:lnTo>
                          <a:pt x="4236" y="918"/>
                        </a:lnTo>
                        <a:lnTo>
                          <a:pt x="4188" y="918"/>
                        </a:lnTo>
                        <a:lnTo>
                          <a:pt x="4170" y="936"/>
                        </a:lnTo>
                        <a:close/>
                        <a:moveTo>
                          <a:pt x="5574" y="36"/>
                        </a:moveTo>
                        <a:lnTo>
                          <a:pt x="5490" y="36"/>
                        </a:lnTo>
                        <a:lnTo>
                          <a:pt x="5496" y="24"/>
                        </a:lnTo>
                        <a:lnTo>
                          <a:pt x="5490" y="24"/>
                        </a:lnTo>
                        <a:lnTo>
                          <a:pt x="5484" y="18"/>
                        </a:lnTo>
                        <a:lnTo>
                          <a:pt x="5448" y="18"/>
                        </a:lnTo>
                        <a:lnTo>
                          <a:pt x="5430" y="12"/>
                        </a:lnTo>
                        <a:lnTo>
                          <a:pt x="5400" y="12"/>
                        </a:lnTo>
                        <a:lnTo>
                          <a:pt x="5364" y="18"/>
                        </a:lnTo>
                        <a:lnTo>
                          <a:pt x="5334" y="30"/>
                        </a:lnTo>
                        <a:lnTo>
                          <a:pt x="5304" y="36"/>
                        </a:lnTo>
                        <a:lnTo>
                          <a:pt x="5292" y="36"/>
                        </a:lnTo>
                        <a:lnTo>
                          <a:pt x="5346" y="12"/>
                        </a:lnTo>
                        <a:lnTo>
                          <a:pt x="5274" y="18"/>
                        </a:lnTo>
                        <a:lnTo>
                          <a:pt x="5268" y="18"/>
                        </a:lnTo>
                        <a:lnTo>
                          <a:pt x="5262" y="12"/>
                        </a:lnTo>
                        <a:lnTo>
                          <a:pt x="5250" y="12"/>
                        </a:lnTo>
                        <a:lnTo>
                          <a:pt x="5226" y="0"/>
                        </a:lnTo>
                        <a:lnTo>
                          <a:pt x="5196" y="0"/>
                        </a:lnTo>
                        <a:lnTo>
                          <a:pt x="5190" y="6"/>
                        </a:lnTo>
                        <a:lnTo>
                          <a:pt x="5184" y="18"/>
                        </a:lnTo>
                        <a:lnTo>
                          <a:pt x="5178" y="18"/>
                        </a:lnTo>
                        <a:lnTo>
                          <a:pt x="5172" y="12"/>
                        </a:lnTo>
                        <a:lnTo>
                          <a:pt x="5160" y="6"/>
                        </a:lnTo>
                        <a:lnTo>
                          <a:pt x="5148" y="6"/>
                        </a:lnTo>
                        <a:lnTo>
                          <a:pt x="5136" y="0"/>
                        </a:lnTo>
                        <a:lnTo>
                          <a:pt x="5124" y="0"/>
                        </a:lnTo>
                        <a:lnTo>
                          <a:pt x="5112" y="6"/>
                        </a:lnTo>
                        <a:lnTo>
                          <a:pt x="5106" y="12"/>
                        </a:lnTo>
                        <a:lnTo>
                          <a:pt x="5094" y="18"/>
                        </a:lnTo>
                        <a:lnTo>
                          <a:pt x="5088" y="24"/>
                        </a:lnTo>
                        <a:lnTo>
                          <a:pt x="5046" y="12"/>
                        </a:lnTo>
                        <a:lnTo>
                          <a:pt x="4938" y="6"/>
                        </a:lnTo>
                        <a:lnTo>
                          <a:pt x="4968" y="36"/>
                        </a:lnTo>
                        <a:lnTo>
                          <a:pt x="4902" y="12"/>
                        </a:lnTo>
                        <a:lnTo>
                          <a:pt x="4842" y="24"/>
                        </a:lnTo>
                        <a:lnTo>
                          <a:pt x="4830" y="24"/>
                        </a:lnTo>
                        <a:lnTo>
                          <a:pt x="4812" y="18"/>
                        </a:lnTo>
                        <a:lnTo>
                          <a:pt x="4746" y="18"/>
                        </a:lnTo>
                        <a:lnTo>
                          <a:pt x="4710" y="24"/>
                        </a:lnTo>
                        <a:lnTo>
                          <a:pt x="4686" y="36"/>
                        </a:lnTo>
                        <a:lnTo>
                          <a:pt x="4674" y="36"/>
                        </a:lnTo>
                        <a:lnTo>
                          <a:pt x="4764" y="60"/>
                        </a:lnTo>
                        <a:lnTo>
                          <a:pt x="4674" y="48"/>
                        </a:lnTo>
                        <a:lnTo>
                          <a:pt x="4662" y="48"/>
                        </a:lnTo>
                        <a:lnTo>
                          <a:pt x="4590" y="36"/>
                        </a:lnTo>
                        <a:lnTo>
                          <a:pt x="4542" y="36"/>
                        </a:lnTo>
                        <a:lnTo>
                          <a:pt x="4530" y="48"/>
                        </a:lnTo>
                        <a:lnTo>
                          <a:pt x="4530" y="60"/>
                        </a:lnTo>
                        <a:lnTo>
                          <a:pt x="4512" y="60"/>
                        </a:lnTo>
                        <a:lnTo>
                          <a:pt x="4482" y="54"/>
                        </a:lnTo>
                        <a:lnTo>
                          <a:pt x="4392" y="54"/>
                        </a:lnTo>
                        <a:lnTo>
                          <a:pt x="4350" y="60"/>
                        </a:lnTo>
                        <a:lnTo>
                          <a:pt x="4302" y="66"/>
                        </a:lnTo>
                        <a:lnTo>
                          <a:pt x="4260" y="66"/>
                        </a:lnTo>
                        <a:lnTo>
                          <a:pt x="4242" y="72"/>
                        </a:lnTo>
                        <a:lnTo>
                          <a:pt x="4260" y="72"/>
                        </a:lnTo>
                        <a:lnTo>
                          <a:pt x="4266" y="78"/>
                        </a:lnTo>
                        <a:lnTo>
                          <a:pt x="4278" y="78"/>
                        </a:lnTo>
                        <a:lnTo>
                          <a:pt x="4362" y="84"/>
                        </a:lnTo>
                        <a:lnTo>
                          <a:pt x="4278" y="96"/>
                        </a:lnTo>
                        <a:lnTo>
                          <a:pt x="4284" y="96"/>
                        </a:lnTo>
                        <a:lnTo>
                          <a:pt x="4290" y="102"/>
                        </a:lnTo>
                        <a:lnTo>
                          <a:pt x="4314" y="114"/>
                        </a:lnTo>
                        <a:lnTo>
                          <a:pt x="4338" y="114"/>
                        </a:lnTo>
                        <a:lnTo>
                          <a:pt x="4356" y="108"/>
                        </a:lnTo>
                        <a:lnTo>
                          <a:pt x="4392" y="108"/>
                        </a:lnTo>
                        <a:lnTo>
                          <a:pt x="4398" y="102"/>
                        </a:lnTo>
                        <a:lnTo>
                          <a:pt x="4410" y="102"/>
                        </a:lnTo>
                        <a:lnTo>
                          <a:pt x="4416" y="96"/>
                        </a:lnTo>
                        <a:lnTo>
                          <a:pt x="4440" y="96"/>
                        </a:lnTo>
                        <a:lnTo>
                          <a:pt x="4458" y="90"/>
                        </a:lnTo>
                        <a:lnTo>
                          <a:pt x="4500" y="90"/>
                        </a:lnTo>
                        <a:lnTo>
                          <a:pt x="4518" y="96"/>
                        </a:lnTo>
                        <a:lnTo>
                          <a:pt x="4536" y="96"/>
                        </a:lnTo>
                        <a:lnTo>
                          <a:pt x="4548" y="102"/>
                        </a:lnTo>
                        <a:lnTo>
                          <a:pt x="4560" y="102"/>
                        </a:lnTo>
                        <a:lnTo>
                          <a:pt x="4494" y="102"/>
                        </a:lnTo>
                        <a:lnTo>
                          <a:pt x="4482" y="108"/>
                        </a:lnTo>
                        <a:lnTo>
                          <a:pt x="4458" y="108"/>
                        </a:lnTo>
                        <a:lnTo>
                          <a:pt x="4446" y="114"/>
                        </a:lnTo>
                        <a:lnTo>
                          <a:pt x="4434" y="114"/>
                        </a:lnTo>
                        <a:lnTo>
                          <a:pt x="4422" y="120"/>
                        </a:lnTo>
                        <a:lnTo>
                          <a:pt x="4410" y="120"/>
                        </a:lnTo>
                        <a:lnTo>
                          <a:pt x="4404" y="126"/>
                        </a:lnTo>
                        <a:lnTo>
                          <a:pt x="4398" y="126"/>
                        </a:lnTo>
                        <a:lnTo>
                          <a:pt x="4434" y="126"/>
                        </a:lnTo>
                        <a:lnTo>
                          <a:pt x="4452" y="132"/>
                        </a:lnTo>
                        <a:lnTo>
                          <a:pt x="4488" y="132"/>
                        </a:lnTo>
                        <a:lnTo>
                          <a:pt x="4500" y="126"/>
                        </a:lnTo>
                        <a:lnTo>
                          <a:pt x="4506" y="126"/>
                        </a:lnTo>
                        <a:lnTo>
                          <a:pt x="4512" y="120"/>
                        </a:lnTo>
                        <a:lnTo>
                          <a:pt x="4638" y="120"/>
                        </a:lnTo>
                        <a:lnTo>
                          <a:pt x="4656" y="114"/>
                        </a:lnTo>
                        <a:lnTo>
                          <a:pt x="4680" y="114"/>
                        </a:lnTo>
                        <a:lnTo>
                          <a:pt x="4698" y="108"/>
                        </a:lnTo>
                        <a:lnTo>
                          <a:pt x="4710" y="108"/>
                        </a:lnTo>
                        <a:lnTo>
                          <a:pt x="4722" y="96"/>
                        </a:lnTo>
                        <a:lnTo>
                          <a:pt x="4734" y="96"/>
                        </a:lnTo>
                        <a:lnTo>
                          <a:pt x="4752" y="90"/>
                        </a:lnTo>
                        <a:lnTo>
                          <a:pt x="4770" y="90"/>
                        </a:lnTo>
                        <a:lnTo>
                          <a:pt x="4782" y="84"/>
                        </a:lnTo>
                        <a:lnTo>
                          <a:pt x="4830" y="84"/>
                        </a:lnTo>
                        <a:lnTo>
                          <a:pt x="4746" y="114"/>
                        </a:lnTo>
                        <a:lnTo>
                          <a:pt x="4782" y="114"/>
                        </a:lnTo>
                        <a:lnTo>
                          <a:pt x="4734" y="126"/>
                        </a:lnTo>
                        <a:lnTo>
                          <a:pt x="4716" y="126"/>
                        </a:lnTo>
                        <a:lnTo>
                          <a:pt x="4674" y="132"/>
                        </a:lnTo>
                        <a:lnTo>
                          <a:pt x="4620" y="132"/>
                        </a:lnTo>
                        <a:lnTo>
                          <a:pt x="4566" y="138"/>
                        </a:lnTo>
                        <a:lnTo>
                          <a:pt x="4536" y="138"/>
                        </a:lnTo>
                        <a:lnTo>
                          <a:pt x="4524" y="150"/>
                        </a:lnTo>
                        <a:lnTo>
                          <a:pt x="4524" y="156"/>
                        </a:lnTo>
                        <a:lnTo>
                          <a:pt x="4602" y="174"/>
                        </a:lnTo>
                        <a:lnTo>
                          <a:pt x="4596" y="174"/>
                        </a:lnTo>
                        <a:lnTo>
                          <a:pt x="4590" y="180"/>
                        </a:lnTo>
                        <a:lnTo>
                          <a:pt x="4578" y="180"/>
                        </a:lnTo>
                        <a:lnTo>
                          <a:pt x="4566" y="186"/>
                        </a:lnTo>
                        <a:lnTo>
                          <a:pt x="4542" y="186"/>
                        </a:lnTo>
                        <a:lnTo>
                          <a:pt x="4518" y="174"/>
                        </a:lnTo>
                        <a:lnTo>
                          <a:pt x="4500" y="162"/>
                        </a:lnTo>
                        <a:lnTo>
                          <a:pt x="4476" y="150"/>
                        </a:lnTo>
                        <a:lnTo>
                          <a:pt x="4470" y="144"/>
                        </a:lnTo>
                        <a:lnTo>
                          <a:pt x="4356" y="144"/>
                        </a:lnTo>
                        <a:lnTo>
                          <a:pt x="4350" y="150"/>
                        </a:lnTo>
                        <a:lnTo>
                          <a:pt x="4344" y="162"/>
                        </a:lnTo>
                        <a:lnTo>
                          <a:pt x="4338" y="168"/>
                        </a:lnTo>
                        <a:lnTo>
                          <a:pt x="4368" y="186"/>
                        </a:lnTo>
                        <a:lnTo>
                          <a:pt x="4386" y="204"/>
                        </a:lnTo>
                        <a:lnTo>
                          <a:pt x="4410" y="216"/>
                        </a:lnTo>
                        <a:lnTo>
                          <a:pt x="4458" y="216"/>
                        </a:lnTo>
                        <a:lnTo>
                          <a:pt x="4476" y="210"/>
                        </a:lnTo>
                        <a:lnTo>
                          <a:pt x="4488" y="210"/>
                        </a:lnTo>
                        <a:lnTo>
                          <a:pt x="4476" y="216"/>
                        </a:lnTo>
                        <a:lnTo>
                          <a:pt x="4470" y="228"/>
                        </a:lnTo>
                        <a:lnTo>
                          <a:pt x="4398" y="228"/>
                        </a:lnTo>
                        <a:lnTo>
                          <a:pt x="4380" y="222"/>
                        </a:lnTo>
                        <a:lnTo>
                          <a:pt x="4350" y="222"/>
                        </a:lnTo>
                        <a:lnTo>
                          <a:pt x="4314" y="228"/>
                        </a:lnTo>
                        <a:lnTo>
                          <a:pt x="4272" y="234"/>
                        </a:lnTo>
                        <a:lnTo>
                          <a:pt x="4230" y="234"/>
                        </a:lnTo>
                        <a:lnTo>
                          <a:pt x="4218" y="240"/>
                        </a:lnTo>
                        <a:lnTo>
                          <a:pt x="4200" y="246"/>
                        </a:lnTo>
                        <a:lnTo>
                          <a:pt x="4188" y="258"/>
                        </a:lnTo>
                        <a:lnTo>
                          <a:pt x="4176" y="264"/>
                        </a:lnTo>
                        <a:lnTo>
                          <a:pt x="4170" y="270"/>
                        </a:lnTo>
                        <a:lnTo>
                          <a:pt x="4164" y="270"/>
                        </a:lnTo>
                        <a:lnTo>
                          <a:pt x="4236" y="258"/>
                        </a:lnTo>
                        <a:lnTo>
                          <a:pt x="4236" y="276"/>
                        </a:lnTo>
                        <a:lnTo>
                          <a:pt x="4296" y="258"/>
                        </a:lnTo>
                        <a:lnTo>
                          <a:pt x="4224" y="288"/>
                        </a:lnTo>
                        <a:lnTo>
                          <a:pt x="4230" y="288"/>
                        </a:lnTo>
                        <a:lnTo>
                          <a:pt x="4236" y="294"/>
                        </a:lnTo>
                        <a:lnTo>
                          <a:pt x="4248" y="300"/>
                        </a:lnTo>
                        <a:lnTo>
                          <a:pt x="4278" y="300"/>
                        </a:lnTo>
                        <a:lnTo>
                          <a:pt x="4314" y="288"/>
                        </a:lnTo>
                        <a:lnTo>
                          <a:pt x="4326" y="288"/>
                        </a:lnTo>
                        <a:lnTo>
                          <a:pt x="4344" y="282"/>
                        </a:lnTo>
                        <a:lnTo>
                          <a:pt x="4350" y="276"/>
                        </a:lnTo>
                        <a:lnTo>
                          <a:pt x="4356" y="276"/>
                        </a:lnTo>
                        <a:lnTo>
                          <a:pt x="4254" y="312"/>
                        </a:lnTo>
                        <a:lnTo>
                          <a:pt x="4188" y="312"/>
                        </a:lnTo>
                        <a:lnTo>
                          <a:pt x="4176" y="288"/>
                        </a:lnTo>
                        <a:lnTo>
                          <a:pt x="4164" y="288"/>
                        </a:lnTo>
                        <a:lnTo>
                          <a:pt x="4146" y="282"/>
                        </a:lnTo>
                        <a:lnTo>
                          <a:pt x="4110" y="282"/>
                        </a:lnTo>
                        <a:lnTo>
                          <a:pt x="4104" y="288"/>
                        </a:lnTo>
                        <a:lnTo>
                          <a:pt x="4104" y="300"/>
                        </a:lnTo>
                        <a:lnTo>
                          <a:pt x="4110" y="312"/>
                        </a:lnTo>
                        <a:lnTo>
                          <a:pt x="4110" y="318"/>
                        </a:lnTo>
                        <a:lnTo>
                          <a:pt x="4116" y="324"/>
                        </a:lnTo>
                        <a:lnTo>
                          <a:pt x="4092" y="324"/>
                        </a:lnTo>
                        <a:lnTo>
                          <a:pt x="4074" y="330"/>
                        </a:lnTo>
                        <a:lnTo>
                          <a:pt x="4032" y="330"/>
                        </a:lnTo>
                        <a:lnTo>
                          <a:pt x="4020" y="336"/>
                        </a:lnTo>
                        <a:lnTo>
                          <a:pt x="4002" y="342"/>
                        </a:lnTo>
                        <a:lnTo>
                          <a:pt x="3990" y="348"/>
                        </a:lnTo>
                        <a:lnTo>
                          <a:pt x="3972" y="354"/>
                        </a:lnTo>
                        <a:lnTo>
                          <a:pt x="3936" y="354"/>
                        </a:lnTo>
                        <a:lnTo>
                          <a:pt x="3924" y="360"/>
                        </a:lnTo>
                        <a:lnTo>
                          <a:pt x="3918" y="360"/>
                        </a:lnTo>
                        <a:lnTo>
                          <a:pt x="3924" y="360"/>
                        </a:lnTo>
                        <a:lnTo>
                          <a:pt x="3936" y="366"/>
                        </a:lnTo>
                        <a:lnTo>
                          <a:pt x="3978" y="366"/>
                        </a:lnTo>
                        <a:lnTo>
                          <a:pt x="3990" y="360"/>
                        </a:lnTo>
                        <a:lnTo>
                          <a:pt x="3996" y="354"/>
                        </a:lnTo>
                        <a:lnTo>
                          <a:pt x="3984" y="372"/>
                        </a:lnTo>
                        <a:lnTo>
                          <a:pt x="4020" y="366"/>
                        </a:lnTo>
                        <a:lnTo>
                          <a:pt x="4044" y="354"/>
                        </a:lnTo>
                        <a:lnTo>
                          <a:pt x="4044" y="372"/>
                        </a:lnTo>
                        <a:lnTo>
                          <a:pt x="4074" y="366"/>
                        </a:lnTo>
                        <a:lnTo>
                          <a:pt x="4098" y="366"/>
                        </a:lnTo>
                        <a:lnTo>
                          <a:pt x="4098" y="372"/>
                        </a:lnTo>
                        <a:lnTo>
                          <a:pt x="4104" y="378"/>
                        </a:lnTo>
                        <a:lnTo>
                          <a:pt x="4122" y="378"/>
                        </a:lnTo>
                        <a:lnTo>
                          <a:pt x="4146" y="366"/>
                        </a:lnTo>
                        <a:lnTo>
                          <a:pt x="4152" y="366"/>
                        </a:lnTo>
                        <a:lnTo>
                          <a:pt x="4164" y="360"/>
                        </a:lnTo>
                        <a:lnTo>
                          <a:pt x="4170" y="372"/>
                        </a:lnTo>
                        <a:lnTo>
                          <a:pt x="4200" y="354"/>
                        </a:lnTo>
                        <a:lnTo>
                          <a:pt x="4206" y="360"/>
                        </a:lnTo>
                        <a:lnTo>
                          <a:pt x="4212" y="372"/>
                        </a:lnTo>
                        <a:lnTo>
                          <a:pt x="4224" y="372"/>
                        </a:lnTo>
                        <a:lnTo>
                          <a:pt x="4236" y="366"/>
                        </a:lnTo>
                        <a:lnTo>
                          <a:pt x="4242" y="360"/>
                        </a:lnTo>
                        <a:lnTo>
                          <a:pt x="4248" y="360"/>
                        </a:lnTo>
                        <a:lnTo>
                          <a:pt x="4254" y="366"/>
                        </a:lnTo>
                        <a:lnTo>
                          <a:pt x="4266" y="372"/>
                        </a:lnTo>
                        <a:lnTo>
                          <a:pt x="4284" y="372"/>
                        </a:lnTo>
                        <a:lnTo>
                          <a:pt x="4290" y="366"/>
                        </a:lnTo>
                        <a:lnTo>
                          <a:pt x="4290" y="360"/>
                        </a:lnTo>
                        <a:lnTo>
                          <a:pt x="4284" y="354"/>
                        </a:lnTo>
                        <a:lnTo>
                          <a:pt x="4338" y="372"/>
                        </a:lnTo>
                        <a:lnTo>
                          <a:pt x="4344" y="378"/>
                        </a:lnTo>
                        <a:lnTo>
                          <a:pt x="4350" y="390"/>
                        </a:lnTo>
                        <a:lnTo>
                          <a:pt x="4374" y="390"/>
                        </a:lnTo>
                        <a:lnTo>
                          <a:pt x="4410" y="378"/>
                        </a:lnTo>
                        <a:lnTo>
                          <a:pt x="4440" y="372"/>
                        </a:lnTo>
                        <a:lnTo>
                          <a:pt x="4476" y="372"/>
                        </a:lnTo>
                        <a:lnTo>
                          <a:pt x="4494" y="366"/>
                        </a:lnTo>
                        <a:lnTo>
                          <a:pt x="4506" y="360"/>
                        </a:lnTo>
                        <a:lnTo>
                          <a:pt x="4524" y="342"/>
                        </a:lnTo>
                        <a:lnTo>
                          <a:pt x="4464" y="342"/>
                        </a:lnTo>
                        <a:lnTo>
                          <a:pt x="4470" y="336"/>
                        </a:lnTo>
                        <a:lnTo>
                          <a:pt x="4470" y="330"/>
                        </a:lnTo>
                        <a:lnTo>
                          <a:pt x="4416" y="330"/>
                        </a:lnTo>
                        <a:lnTo>
                          <a:pt x="4362" y="318"/>
                        </a:lnTo>
                        <a:lnTo>
                          <a:pt x="4380" y="300"/>
                        </a:lnTo>
                        <a:lnTo>
                          <a:pt x="4440" y="318"/>
                        </a:lnTo>
                        <a:lnTo>
                          <a:pt x="4452" y="318"/>
                        </a:lnTo>
                        <a:lnTo>
                          <a:pt x="4488" y="312"/>
                        </a:lnTo>
                        <a:lnTo>
                          <a:pt x="4566" y="312"/>
                        </a:lnTo>
                        <a:lnTo>
                          <a:pt x="4578" y="300"/>
                        </a:lnTo>
                        <a:lnTo>
                          <a:pt x="4578" y="288"/>
                        </a:lnTo>
                        <a:lnTo>
                          <a:pt x="4584" y="288"/>
                        </a:lnTo>
                        <a:lnTo>
                          <a:pt x="4590" y="282"/>
                        </a:lnTo>
                        <a:lnTo>
                          <a:pt x="4608" y="282"/>
                        </a:lnTo>
                        <a:lnTo>
                          <a:pt x="4626" y="276"/>
                        </a:lnTo>
                        <a:lnTo>
                          <a:pt x="4662" y="276"/>
                        </a:lnTo>
                        <a:lnTo>
                          <a:pt x="4680" y="270"/>
                        </a:lnTo>
                        <a:lnTo>
                          <a:pt x="4710" y="270"/>
                        </a:lnTo>
                        <a:lnTo>
                          <a:pt x="4722" y="264"/>
                        </a:lnTo>
                        <a:lnTo>
                          <a:pt x="4728" y="264"/>
                        </a:lnTo>
                        <a:lnTo>
                          <a:pt x="4704" y="246"/>
                        </a:lnTo>
                        <a:lnTo>
                          <a:pt x="4746" y="246"/>
                        </a:lnTo>
                        <a:lnTo>
                          <a:pt x="4770" y="240"/>
                        </a:lnTo>
                        <a:lnTo>
                          <a:pt x="4782" y="234"/>
                        </a:lnTo>
                        <a:lnTo>
                          <a:pt x="4776" y="228"/>
                        </a:lnTo>
                        <a:lnTo>
                          <a:pt x="4770" y="228"/>
                        </a:lnTo>
                        <a:lnTo>
                          <a:pt x="4758" y="222"/>
                        </a:lnTo>
                        <a:lnTo>
                          <a:pt x="4746" y="222"/>
                        </a:lnTo>
                        <a:lnTo>
                          <a:pt x="4734" y="216"/>
                        </a:lnTo>
                        <a:lnTo>
                          <a:pt x="4686" y="216"/>
                        </a:lnTo>
                        <a:lnTo>
                          <a:pt x="4674" y="210"/>
                        </a:lnTo>
                        <a:lnTo>
                          <a:pt x="4662" y="210"/>
                        </a:lnTo>
                        <a:lnTo>
                          <a:pt x="4662" y="204"/>
                        </a:lnTo>
                        <a:lnTo>
                          <a:pt x="4674" y="198"/>
                        </a:lnTo>
                        <a:lnTo>
                          <a:pt x="4686" y="198"/>
                        </a:lnTo>
                        <a:lnTo>
                          <a:pt x="4704" y="192"/>
                        </a:lnTo>
                        <a:lnTo>
                          <a:pt x="4716" y="186"/>
                        </a:lnTo>
                        <a:lnTo>
                          <a:pt x="4764" y="186"/>
                        </a:lnTo>
                        <a:lnTo>
                          <a:pt x="4782" y="192"/>
                        </a:lnTo>
                        <a:lnTo>
                          <a:pt x="4860" y="192"/>
                        </a:lnTo>
                        <a:lnTo>
                          <a:pt x="4878" y="186"/>
                        </a:lnTo>
                        <a:lnTo>
                          <a:pt x="4902" y="186"/>
                        </a:lnTo>
                        <a:lnTo>
                          <a:pt x="4896" y="180"/>
                        </a:lnTo>
                        <a:lnTo>
                          <a:pt x="4878" y="180"/>
                        </a:lnTo>
                        <a:lnTo>
                          <a:pt x="4866" y="174"/>
                        </a:lnTo>
                        <a:lnTo>
                          <a:pt x="4872" y="168"/>
                        </a:lnTo>
                        <a:lnTo>
                          <a:pt x="4902" y="162"/>
                        </a:lnTo>
                        <a:lnTo>
                          <a:pt x="4944" y="168"/>
                        </a:lnTo>
                        <a:lnTo>
                          <a:pt x="4974" y="174"/>
                        </a:lnTo>
                        <a:lnTo>
                          <a:pt x="4986" y="174"/>
                        </a:lnTo>
                        <a:lnTo>
                          <a:pt x="4992" y="168"/>
                        </a:lnTo>
                        <a:lnTo>
                          <a:pt x="4992" y="150"/>
                        </a:lnTo>
                        <a:lnTo>
                          <a:pt x="5070" y="156"/>
                        </a:lnTo>
                        <a:lnTo>
                          <a:pt x="5070" y="132"/>
                        </a:lnTo>
                        <a:lnTo>
                          <a:pt x="5082" y="132"/>
                        </a:lnTo>
                        <a:lnTo>
                          <a:pt x="5094" y="138"/>
                        </a:lnTo>
                        <a:lnTo>
                          <a:pt x="5112" y="138"/>
                        </a:lnTo>
                        <a:lnTo>
                          <a:pt x="5136" y="126"/>
                        </a:lnTo>
                        <a:lnTo>
                          <a:pt x="5148" y="126"/>
                        </a:lnTo>
                        <a:lnTo>
                          <a:pt x="5154" y="120"/>
                        </a:lnTo>
                        <a:lnTo>
                          <a:pt x="5172" y="120"/>
                        </a:lnTo>
                        <a:lnTo>
                          <a:pt x="5208" y="114"/>
                        </a:lnTo>
                        <a:lnTo>
                          <a:pt x="5256" y="102"/>
                        </a:lnTo>
                        <a:lnTo>
                          <a:pt x="5298" y="96"/>
                        </a:lnTo>
                        <a:lnTo>
                          <a:pt x="5322" y="90"/>
                        </a:lnTo>
                        <a:lnTo>
                          <a:pt x="5340" y="90"/>
                        </a:lnTo>
                        <a:lnTo>
                          <a:pt x="5346" y="84"/>
                        </a:lnTo>
                        <a:lnTo>
                          <a:pt x="5238" y="84"/>
                        </a:lnTo>
                        <a:lnTo>
                          <a:pt x="5214" y="96"/>
                        </a:lnTo>
                        <a:lnTo>
                          <a:pt x="5142" y="96"/>
                        </a:lnTo>
                        <a:lnTo>
                          <a:pt x="5226" y="90"/>
                        </a:lnTo>
                        <a:lnTo>
                          <a:pt x="5220" y="78"/>
                        </a:lnTo>
                        <a:lnTo>
                          <a:pt x="5268" y="84"/>
                        </a:lnTo>
                        <a:lnTo>
                          <a:pt x="5274" y="78"/>
                        </a:lnTo>
                        <a:lnTo>
                          <a:pt x="5286" y="72"/>
                        </a:lnTo>
                        <a:lnTo>
                          <a:pt x="5358" y="72"/>
                        </a:lnTo>
                        <a:lnTo>
                          <a:pt x="5406" y="66"/>
                        </a:lnTo>
                        <a:lnTo>
                          <a:pt x="5454" y="66"/>
                        </a:lnTo>
                        <a:lnTo>
                          <a:pt x="5484" y="60"/>
                        </a:lnTo>
                        <a:lnTo>
                          <a:pt x="5496" y="60"/>
                        </a:lnTo>
                        <a:lnTo>
                          <a:pt x="5514" y="54"/>
                        </a:lnTo>
                        <a:lnTo>
                          <a:pt x="5532" y="54"/>
                        </a:lnTo>
                        <a:lnTo>
                          <a:pt x="5550" y="48"/>
                        </a:lnTo>
                        <a:lnTo>
                          <a:pt x="5562" y="42"/>
                        </a:lnTo>
                        <a:lnTo>
                          <a:pt x="5574" y="42"/>
                        </a:lnTo>
                        <a:lnTo>
                          <a:pt x="5574" y="36"/>
                        </a:lnTo>
                        <a:close/>
                        <a:moveTo>
                          <a:pt x="4032" y="966"/>
                        </a:moveTo>
                        <a:lnTo>
                          <a:pt x="4086" y="966"/>
                        </a:lnTo>
                        <a:lnTo>
                          <a:pt x="4134" y="942"/>
                        </a:lnTo>
                        <a:lnTo>
                          <a:pt x="4140" y="930"/>
                        </a:lnTo>
                        <a:lnTo>
                          <a:pt x="4134" y="918"/>
                        </a:lnTo>
                        <a:lnTo>
                          <a:pt x="4134" y="912"/>
                        </a:lnTo>
                        <a:lnTo>
                          <a:pt x="4122" y="906"/>
                        </a:lnTo>
                        <a:lnTo>
                          <a:pt x="4074" y="906"/>
                        </a:lnTo>
                        <a:lnTo>
                          <a:pt x="4062" y="912"/>
                        </a:lnTo>
                        <a:lnTo>
                          <a:pt x="4050" y="912"/>
                        </a:lnTo>
                        <a:lnTo>
                          <a:pt x="4026" y="924"/>
                        </a:lnTo>
                        <a:lnTo>
                          <a:pt x="4014" y="936"/>
                        </a:lnTo>
                        <a:lnTo>
                          <a:pt x="4002" y="942"/>
                        </a:lnTo>
                        <a:lnTo>
                          <a:pt x="4002" y="954"/>
                        </a:lnTo>
                        <a:lnTo>
                          <a:pt x="4014" y="960"/>
                        </a:lnTo>
                        <a:lnTo>
                          <a:pt x="4032" y="966"/>
                        </a:lnTo>
                        <a:close/>
                        <a:moveTo>
                          <a:pt x="4014" y="840"/>
                        </a:moveTo>
                        <a:lnTo>
                          <a:pt x="4002" y="840"/>
                        </a:lnTo>
                        <a:lnTo>
                          <a:pt x="3990" y="846"/>
                        </a:lnTo>
                        <a:lnTo>
                          <a:pt x="3984" y="852"/>
                        </a:lnTo>
                        <a:lnTo>
                          <a:pt x="3972" y="852"/>
                        </a:lnTo>
                        <a:lnTo>
                          <a:pt x="3990" y="852"/>
                        </a:lnTo>
                        <a:lnTo>
                          <a:pt x="4008" y="846"/>
                        </a:lnTo>
                        <a:lnTo>
                          <a:pt x="4026" y="846"/>
                        </a:lnTo>
                        <a:lnTo>
                          <a:pt x="4044" y="840"/>
                        </a:lnTo>
                        <a:lnTo>
                          <a:pt x="4050" y="834"/>
                        </a:lnTo>
                        <a:lnTo>
                          <a:pt x="4056" y="834"/>
                        </a:lnTo>
                        <a:lnTo>
                          <a:pt x="4068" y="822"/>
                        </a:lnTo>
                        <a:lnTo>
                          <a:pt x="4050" y="822"/>
                        </a:lnTo>
                        <a:lnTo>
                          <a:pt x="4044" y="828"/>
                        </a:lnTo>
                        <a:lnTo>
                          <a:pt x="4032" y="828"/>
                        </a:lnTo>
                        <a:lnTo>
                          <a:pt x="4020" y="834"/>
                        </a:lnTo>
                        <a:lnTo>
                          <a:pt x="4014" y="840"/>
                        </a:lnTo>
                        <a:close/>
                        <a:moveTo>
                          <a:pt x="4122" y="822"/>
                        </a:moveTo>
                        <a:lnTo>
                          <a:pt x="4104" y="822"/>
                        </a:lnTo>
                        <a:lnTo>
                          <a:pt x="4098" y="828"/>
                        </a:lnTo>
                        <a:lnTo>
                          <a:pt x="4098" y="840"/>
                        </a:lnTo>
                        <a:lnTo>
                          <a:pt x="4104" y="846"/>
                        </a:lnTo>
                        <a:lnTo>
                          <a:pt x="4110" y="840"/>
                        </a:lnTo>
                        <a:lnTo>
                          <a:pt x="4116" y="840"/>
                        </a:lnTo>
                        <a:lnTo>
                          <a:pt x="4128" y="828"/>
                        </a:lnTo>
                        <a:lnTo>
                          <a:pt x="4122" y="822"/>
                        </a:lnTo>
                        <a:close/>
                        <a:moveTo>
                          <a:pt x="3528" y="1062"/>
                        </a:moveTo>
                        <a:lnTo>
                          <a:pt x="3522" y="1062"/>
                        </a:lnTo>
                        <a:lnTo>
                          <a:pt x="3504" y="1080"/>
                        </a:lnTo>
                        <a:lnTo>
                          <a:pt x="3504" y="1086"/>
                        </a:lnTo>
                        <a:lnTo>
                          <a:pt x="3510" y="1092"/>
                        </a:lnTo>
                        <a:lnTo>
                          <a:pt x="3528" y="1092"/>
                        </a:lnTo>
                        <a:lnTo>
                          <a:pt x="3534" y="1086"/>
                        </a:lnTo>
                        <a:lnTo>
                          <a:pt x="3540" y="1074"/>
                        </a:lnTo>
                        <a:lnTo>
                          <a:pt x="3540" y="1068"/>
                        </a:lnTo>
                        <a:lnTo>
                          <a:pt x="3534" y="1062"/>
                        </a:lnTo>
                        <a:lnTo>
                          <a:pt x="3528" y="1062"/>
                        </a:lnTo>
                        <a:close/>
                        <a:moveTo>
                          <a:pt x="3588" y="1062"/>
                        </a:moveTo>
                        <a:lnTo>
                          <a:pt x="3582" y="1062"/>
                        </a:lnTo>
                        <a:lnTo>
                          <a:pt x="3576" y="1068"/>
                        </a:lnTo>
                        <a:lnTo>
                          <a:pt x="3576" y="1080"/>
                        </a:lnTo>
                        <a:lnTo>
                          <a:pt x="3582" y="1086"/>
                        </a:lnTo>
                        <a:lnTo>
                          <a:pt x="3594" y="1086"/>
                        </a:lnTo>
                        <a:lnTo>
                          <a:pt x="3600" y="1080"/>
                        </a:lnTo>
                        <a:lnTo>
                          <a:pt x="3600" y="1068"/>
                        </a:lnTo>
                        <a:lnTo>
                          <a:pt x="3588" y="1062"/>
                        </a:lnTo>
                        <a:close/>
                        <a:moveTo>
                          <a:pt x="3756" y="1242"/>
                        </a:moveTo>
                        <a:lnTo>
                          <a:pt x="3744" y="1248"/>
                        </a:lnTo>
                        <a:lnTo>
                          <a:pt x="3744" y="1260"/>
                        </a:lnTo>
                        <a:lnTo>
                          <a:pt x="3750" y="1266"/>
                        </a:lnTo>
                        <a:lnTo>
                          <a:pt x="3762" y="1272"/>
                        </a:lnTo>
                        <a:lnTo>
                          <a:pt x="3768" y="1272"/>
                        </a:lnTo>
                        <a:lnTo>
                          <a:pt x="3786" y="1254"/>
                        </a:lnTo>
                        <a:lnTo>
                          <a:pt x="3786" y="1242"/>
                        </a:lnTo>
                        <a:lnTo>
                          <a:pt x="3780" y="1236"/>
                        </a:lnTo>
                        <a:lnTo>
                          <a:pt x="3768" y="1236"/>
                        </a:lnTo>
                        <a:lnTo>
                          <a:pt x="3756" y="1242"/>
                        </a:lnTo>
                        <a:close/>
                        <a:moveTo>
                          <a:pt x="3984" y="2532"/>
                        </a:moveTo>
                        <a:lnTo>
                          <a:pt x="3948" y="2520"/>
                        </a:lnTo>
                        <a:lnTo>
                          <a:pt x="3942" y="2514"/>
                        </a:lnTo>
                        <a:lnTo>
                          <a:pt x="3936" y="2514"/>
                        </a:lnTo>
                        <a:lnTo>
                          <a:pt x="3924" y="2526"/>
                        </a:lnTo>
                        <a:lnTo>
                          <a:pt x="3930" y="2532"/>
                        </a:lnTo>
                        <a:lnTo>
                          <a:pt x="3942" y="2538"/>
                        </a:lnTo>
                        <a:lnTo>
                          <a:pt x="3948" y="2544"/>
                        </a:lnTo>
                        <a:lnTo>
                          <a:pt x="3954" y="2544"/>
                        </a:lnTo>
                        <a:lnTo>
                          <a:pt x="3960" y="2550"/>
                        </a:lnTo>
                        <a:lnTo>
                          <a:pt x="3996" y="2550"/>
                        </a:lnTo>
                        <a:lnTo>
                          <a:pt x="4008" y="2556"/>
                        </a:lnTo>
                        <a:lnTo>
                          <a:pt x="4020" y="2556"/>
                        </a:lnTo>
                        <a:lnTo>
                          <a:pt x="4038" y="2538"/>
                        </a:lnTo>
                        <a:lnTo>
                          <a:pt x="4008" y="2538"/>
                        </a:lnTo>
                        <a:lnTo>
                          <a:pt x="3984" y="2532"/>
                        </a:lnTo>
                        <a:close/>
                        <a:moveTo>
                          <a:pt x="4098" y="2280"/>
                        </a:moveTo>
                        <a:lnTo>
                          <a:pt x="4092" y="2280"/>
                        </a:lnTo>
                        <a:lnTo>
                          <a:pt x="4086" y="2274"/>
                        </a:lnTo>
                        <a:lnTo>
                          <a:pt x="4050" y="2274"/>
                        </a:lnTo>
                        <a:lnTo>
                          <a:pt x="4032" y="2268"/>
                        </a:lnTo>
                        <a:lnTo>
                          <a:pt x="3996" y="2268"/>
                        </a:lnTo>
                        <a:lnTo>
                          <a:pt x="4002" y="2274"/>
                        </a:lnTo>
                        <a:lnTo>
                          <a:pt x="4008" y="2274"/>
                        </a:lnTo>
                        <a:lnTo>
                          <a:pt x="4014" y="2280"/>
                        </a:lnTo>
                        <a:lnTo>
                          <a:pt x="4026" y="2286"/>
                        </a:lnTo>
                        <a:lnTo>
                          <a:pt x="4032" y="2286"/>
                        </a:lnTo>
                        <a:lnTo>
                          <a:pt x="4032" y="2304"/>
                        </a:lnTo>
                        <a:lnTo>
                          <a:pt x="4044" y="2304"/>
                        </a:lnTo>
                        <a:lnTo>
                          <a:pt x="4080" y="2310"/>
                        </a:lnTo>
                        <a:lnTo>
                          <a:pt x="4128" y="2316"/>
                        </a:lnTo>
                        <a:lnTo>
                          <a:pt x="4164" y="2316"/>
                        </a:lnTo>
                        <a:lnTo>
                          <a:pt x="4170" y="2310"/>
                        </a:lnTo>
                        <a:lnTo>
                          <a:pt x="4170" y="2304"/>
                        </a:lnTo>
                        <a:lnTo>
                          <a:pt x="4164" y="2304"/>
                        </a:lnTo>
                        <a:lnTo>
                          <a:pt x="4152" y="2292"/>
                        </a:lnTo>
                        <a:lnTo>
                          <a:pt x="4128" y="2286"/>
                        </a:lnTo>
                        <a:lnTo>
                          <a:pt x="4098" y="2280"/>
                        </a:lnTo>
                        <a:close/>
                        <a:moveTo>
                          <a:pt x="4194" y="2550"/>
                        </a:moveTo>
                        <a:lnTo>
                          <a:pt x="4164" y="2550"/>
                        </a:lnTo>
                        <a:lnTo>
                          <a:pt x="4152" y="2556"/>
                        </a:lnTo>
                        <a:lnTo>
                          <a:pt x="4146" y="2562"/>
                        </a:lnTo>
                        <a:lnTo>
                          <a:pt x="4182" y="2526"/>
                        </a:lnTo>
                        <a:lnTo>
                          <a:pt x="4176" y="2520"/>
                        </a:lnTo>
                        <a:lnTo>
                          <a:pt x="4152" y="2520"/>
                        </a:lnTo>
                        <a:lnTo>
                          <a:pt x="4140" y="2526"/>
                        </a:lnTo>
                        <a:lnTo>
                          <a:pt x="4128" y="2538"/>
                        </a:lnTo>
                        <a:lnTo>
                          <a:pt x="4104" y="2574"/>
                        </a:lnTo>
                        <a:lnTo>
                          <a:pt x="4164" y="2568"/>
                        </a:lnTo>
                        <a:lnTo>
                          <a:pt x="4176" y="2568"/>
                        </a:lnTo>
                        <a:lnTo>
                          <a:pt x="4182" y="2562"/>
                        </a:lnTo>
                        <a:lnTo>
                          <a:pt x="4194" y="2562"/>
                        </a:lnTo>
                        <a:lnTo>
                          <a:pt x="4200" y="2556"/>
                        </a:lnTo>
                        <a:lnTo>
                          <a:pt x="4200" y="2550"/>
                        </a:lnTo>
                        <a:lnTo>
                          <a:pt x="4194" y="2550"/>
                        </a:lnTo>
                        <a:close/>
                        <a:moveTo>
                          <a:pt x="4590" y="1962"/>
                        </a:moveTo>
                        <a:lnTo>
                          <a:pt x="4578" y="1974"/>
                        </a:lnTo>
                        <a:lnTo>
                          <a:pt x="4578" y="1980"/>
                        </a:lnTo>
                        <a:lnTo>
                          <a:pt x="4572" y="1986"/>
                        </a:lnTo>
                        <a:lnTo>
                          <a:pt x="4566" y="1986"/>
                        </a:lnTo>
                        <a:lnTo>
                          <a:pt x="4554" y="1974"/>
                        </a:lnTo>
                        <a:lnTo>
                          <a:pt x="4554" y="1962"/>
                        </a:lnTo>
                        <a:lnTo>
                          <a:pt x="4566" y="1962"/>
                        </a:lnTo>
                        <a:lnTo>
                          <a:pt x="4572" y="1956"/>
                        </a:lnTo>
                        <a:lnTo>
                          <a:pt x="4566" y="1932"/>
                        </a:lnTo>
                        <a:lnTo>
                          <a:pt x="4536" y="1926"/>
                        </a:lnTo>
                        <a:lnTo>
                          <a:pt x="4530" y="1926"/>
                        </a:lnTo>
                        <a:lnTo>
                          <a:pt x="4524" y="1932"/>
                        </a:lnTo>
                        <a:lnTo>
                          <a:pt x="4512" y="1938"/>
                        </a:lnTo>
                        <a:lnTo>
                          <a:pt x="4494" y="1944"/>
                        </a:lnTo>
                        <a:lnTo>
                          <a:pt x="4470" y="1956"/>
                        </a:lnTo>
                        <a:lnTo>
                          <a:pt x="4464" y="1962"/>
                        </a:lnTo>
                        <a:lnTo>
                          <a:pt x="4458" y="1962"/>
                        </a:lnTo>
                        <a:lnTo>
                          <a:pt x="4446" y="1968"/>
                        </a:lnTo>
                        <a:lnTo>
                          <a:pt x="4434" y="1968"/>
                        </a:lnTo>
                        <a:lnTo>
                          <a:pt x="4416" y="1974"/>
                        </a:lnTo>
                        <a:lnTo>
                          <a:pt x="4404" y="1974"/>
                        </a:lnTo>
                        <a:lnTo>
                          <a:pt x="4374" y="1998"/>
                        </a:lnTo>
                        <a:lnTo>
                          <a:pt x="4386" y="1974"/>
                        </a:lnTo>
                        <a:lnTo>
                          <a:pt x="4362" y="1956"/>
                        </a:lnTo>
                        <a:lnTo>
                          <a:pt x="4398" y="1968"/>
                        </a:lnTo>
                        <a:lnTo>
                          <a:pt x="4410" y="1956"/>
                        </a:lnTo>
                        <a:lnTo>
                          <a:pt x="4440" y="1950"/>
                        </a:lnTo>
                        <a:lnTo>
                          <a:pt x="4440" y="1932"/>
                        </a:lnTo>
                        <a:lnTo>
                          <a:pt x="4494" y="1932"/>
                        </a:lnTo>
                        <a:lnTo>
                          <a:pt x="4518" y="1920"/>
                        </a:lnTo>
                        <a:lnTo>
                          <a:pt x="4524" y="1914"/>
                        </a:lnTo>
                        <a:lnTo>
                          <a:pt x="4536" y="1908"/>
                        </a:lnTo>
                        <a:lnTo>
                          <a:pt x="4608" y="1908"/>
                        </a:lnTo>
                        <a:lnTo>
                          <a:pt x="4602" y="1902"/>
                        </a:lnTo>
                        <a:lnTo>
                          <a:pt x="4596" y="1902"/>
                        </a:lnTo>
                        <a:lnTo>
                          <a:pt x="4584" y="1896"/>
                        </a:lnTo>
                        <a:lnTo>
                          <a:pt x="4578" y="1890"/>
                        </a:lnTo>
                        <a:lnTo>
                          <a:pt x="4578" y="1866"/>
                        </a:lnTo>
                        <a:lnTo>
                          <a:pt x="4572" y="1866"/>
                        </a:lnTo>
                        <a:lnTo>
                          <a:pt x="4566" y="1872"/>
                        </a:lnTo>
                        <a:lnTo>
                          <a:pt x="4542" y="1872"/>
                        </a:lnTo>
                        <a:lnTo>
                          <a:pt x="4530" y="1878"/>
                        </a:lnTo>
                        <a:lnTo>
                          <a:pt x="4518" y="1878"/>
                        </a:lnTo>
                        <a:lnTo>
                          <a:pt x="4518" y="1866"/>
                        </a:lnTo>
                        <a:lnTo>
                          <a:pt x="4512" y="1860"/>
                        </a:lnTo>
                        <a:lnTo>
                          <a:pt x="4452" y="1878"/>
                        </a:lnTo>
                        <a:lnTo>
                          <a:pt x="4458" y="1848"/>
                        </a:lnTo>
                        <a:lnTo>
                          <a:pt x="4410" y="1860"/>
                        </a:lnTo>
                        <a:lnTo>
                          <a:pt x="4416" y="1854"/>
                        </a:lnTo>
                        <a:lnTo>
                          <a:pt x="4422" y="1842"/>
                        </a:lnTo>
                        <a:lnTo>
                          <a:pt x="4440" y="1824"/>
                        </a:lnTo>
                        <a:lnTo>
                          <a:pt x="4446" y="1812"/>
                        </a:lnTo>
                        <a:lnTo>
                          <a:pt x="4446" y="1800"/>
                        </a:lnTo>
                        <a:lnTo>
                          <a:pt x="4434" y="1800"/>
                        </a:lnTo>
                        <a:lnTo>
                          <a:pt x="4422" y="1794"/>
                        </a:lnTo>
                        <a:lnTo>
                          <a:pt x="4398" y="1794"/>
                        </a:lnTo>
                        <a:lnTo>
                          <a:pt x="4404" y="1770"/>
                        </a:lnTo>
                        <a:lnTo>
                          <a:pt x="4368" y="1770"/>
                        </a:lnTo>
                        <a:lnTo>
                          <a:pt x="4380" y="1752"/>
                        </a:lnTo>
                        <a:lnTo>
                          <a:pt x="4356" y="1728"/>
                        </a:lnTo>
                        <a:lnTo>
                          <a:pt x="4368" y="1728"/>
                        </a:lnTo>
                        <a:lnTo>
                          <a:pt x="4380" y="1734"/>
                        </a:lnTo>
                        <a:lnTo>
                          <a:pt x="4404" y="1734"/>
                        </a:lnTo>
                        <a:lnTo>
                          <a:pt x="4410" y="1728"/>
                        </a:lnTo>
                        <a:lnTo>
                          <a:pt x="4422" y="1722"/>
                        </a:lnTo>
                        <a:lnTo>
                          <a:pt x="4434" y="1710"/>
                        </a:lnTo>
                        <a:lnTo>
                          <a:pt x="4440" y="1710"/>
                        </a:lnTo>
                        <a:lnTo>
                          <a:pt x="4398" y="1686"/>
                        </a:lnTo>
                        <a:lnTo>
                          <a:pt x="4446" y="1656"/>
                        </a:lnTo>
                        <a:lnTo>
                          <a:pt x="4398" y="1632"/>
                        </a:lnTo>
                        <a:lnTo>
                          <a:pt x="4350" y="1638"/>
                        </a:lnTo>
                        <a:lnTo>
                          <a:pt x="4404" y="1614"/>
                        </a:lnTo>
                        <a:lnTo>
                          <a:pt x="4368" y="1608"/>
                        </a:lnTo>
                        <a:lnTo>
                          <a:pt x="4410" y="1584"/>
                        </a:lnTo>
                        <a:lnTo>
                          <a:pt x="4404" y="1560"/>
                        </a:lnTo>
                        <a:lnTo>
                          <a:pt x="4374" y="1560"/>
                        </a:lnTo>
                        <a:lnTo>
                          <a:pt x="4380" y="1554"/>
                        </a:lnTo>
                        <a:lnTo>
                          <a:pt x="4392" y="1530"/>
                        </a:lnTo>
                        <a:lnTo>
                          <a:pt x="4374" y="1494"/>
                        </a:lnTo>
                        <a:lnTo>
                          <a:pt x="4362" y="1494"/>
                        </a:lnTo>
                        <a:lnTo>
                          <a:pt x="4374" y="1470"/>
                        </a:lnTo>
                        <a:lnTo>
                          <a:pt x="4362" y="1476"/>
                        </a:lnTo>
                        <a:lnTo>
                          <a:pt x="4356" y="1482"/>
                        </a:lnTo>
                        <a:lnTo>
                          <a:pt x="4344" y="1488"/>
                        </a:lnTo>
                        <a:lnTo>
                          <a:pt x="4332" y="1500"/>
                        </a:lnTo>
                        <a:lnTo>
                          <a:pt x="4332" y="1518"/>
                        </a:lnTo>
                        <a:lnTo>
                          <a:pt x="4302" y="1506"/>
                        </a:lnTo>
                        <a:lnTo>
                          <a:pt x="4308" y="1542"/>
                        </a:lnTo>
                        <a:lnTo>
                          <a:pt x="4284" y="1542"/>
                        </a:lnTo>
                        <a:lnTo>
                          <a:pt x="4272" y="1560"/>
                        </a:lnTo>
                        <a:lnTo>
                          <a:pt x="4278" y="1572"/>
                        </a:lnTo>
                        <a:lnTo>
                          <a:pt x="4254" y="1572"/>
                        </a:lnTo>
                        <a:lnTo>
                          <a:pt x="4230" y="1614"/>
                        </a:lnTo>
                        <a:lnTo>
                          <a:pt x="4218" y="1614"/>
                        </a:lnTo>
                        <a:lnTo>
                          <a:pt x="4236" y="1578"/>
                        </a:lnTo>
                        <a:lnTo>
                          <a:pt x="4224" y="1566"/>
                        </a:lnTo>
                        <a:lnTo>
                          <a:pt x="4212" y="1566"/>
                        </a:lnTo>
                        <a:lnTo>
                          <a:pt x="4194" y="1584"/>
                        </a:lnTo>
                        <a:lnTo>
                          <a:pt x="4182" y="1590"/>
                        </a:lnTo>
                        <a:lnTo>
                          <a:pt x="4176" y="1596"/>
                        </a:lnTo>
                        <a:lnTo>
                          <a:pt x="4164" y="1602"/>
                        </a:lnTo>
                        <a:lnTo>
                          <a:pt x="4158" y="1608"/>
                        </a:lnTo>
                        <a:lnTo>
                          <a:pt x="4146" y="1614"/>
                        </a:lnTo>
                        <a:lnTo>
                          <a:pt x="4140" y="1620"/>
                        </a:lnTo>
                        <a:lnTo>
                          <a:pt x="4116" y="1632"/>
                        </a:lnTo>
                        <a:lnTo>
                          <a:pt x="4110" y="1638"/>
                        </a:lnTo>
                        <a:lnTo>
                          <a:pt x="4116" y="1614"/>
                        </a:lnTo>
                        <a:lnTo>
                          <a:pt x="4116" y="1596"/>
                        </a:lnTo>
                        <a:lnTo>
                          <a:pt x="4080" y="1632"/>
                        </a:lnTo>
                        <a:lnTo>
                          <a:pt x="4014" y="1644"/>
                        </a:lnTo>
                        <a:lnTo>
                          <a:pt x="4074" y="1626"/>
                        </a:lnTo>
                        <a:lnTo>
                          <a:pt x="4080" y="1620"/>
                        </a:lnTo>
                        <a:lnTo>
                          <a:pt x="4092" y="1596"/>
                        </a:lnTo>
                        <a:lnTo>
                          <a:pt x="4098" y="1590"/>
                        </a:lnTo>
                        <a:lnTo>
                          <a:pt x="4098" y="1578"/>
                        </a:lnTo>
                        <a:lnTo>
                          <a:pt x="4092" y="1572"/>
                        </a:lnTo>
                        <a:lnTo>
                          <a:pt x="4050" y="1572"/>
                        </a:lnTo>
                        <a:lnTo>
                          <a:pt x="4038" y="1578"/>
                        </a:lnTo>
                        <a:lnTo>
                          <a:pt x="4032" y="1578"/>
                        </a:lnTo>
                        <a:lnTo>
                          <a:pt x="4020" y="1584"/>
                        </a:lnTo>
                        <a:lnTo>
                          <a:pt x="4002" y="1584"/>
                        </a:lnTo>
                        <a:lnTo>
                          <a:pt x="4002" y="1578"/>
                        </a:lnTo>
                        <a:lnTo>
                          <a:pt x="4008" y="1572"/>
                        </a:lnTo>
                        <a:lnTo>
                          <a:pt x="4020" y="1566"/>
                        </a:lnTo>
                        <a:lnTo>
                          <a:pt x="4026" y="1560"/>
                        </a:lnTo>
                        <a:lnTo>
                          <a:pt x="4032" y="1560"/>
                        </a:lnTo>
                        <a:lnTo>
                          <a:pt x="4032" y="1572"/>
                        </a:lnTo>
                        <a:lnTo>
                          <a:pt x="4050" y="1560"/>
                        </a:lnTo>
                        <a:lnTo>
                          <a:pt x="4044" y="1536"/>
                        </a:lnTo>
                        <a:lnTo>
                          <a:pt x="4050" y="1530"/>
                        </a:lnTo>
                        <a:lnTo>
                          <a:pt x="4062" y="1524"/>
                        </a:lnTo>
                        <a:lnTo>
                          <a:pt x="4074" y="1512"/>
                        </a:lnTo>
                        <a:lnTo>
                          <a:pt x="4074" y="1506"/>
                        </a:lnTo>
                        <a:lnTo>
                          <a:pt x="4068" y="1500"/>
                        </a:lnTo>
                        <a:lnTo>
                          <a:pt x="4056" y="1494"/>
                        </a:lnTo>
                        <a:lnTo>
                          <a:pt x="4044" y="1494"/>
                        </a:lnTo>
                        <a:lnTo>
                          <a:pt x="4032" y="1488"/>
                        </a:lnTo>
                        <a:lnTo>
                          <a:pt x="4014" y="1488"/>
                        </a:lnTo>
                        <a:lnTo>
                          <a:pt x="4044" y="1488"/>
                        </a:lnTo>
                        <a:lnTo>
                          <a:pt x="4056" y="1482"/>
                        </a:lnTo>
                        <a:lnTo>
                          <a:pt x="4074" y="1482"/>
                        </a:lnTo>
                        <a:lnTo>
                          <a:pt x="4086" y="1470"/>
                        </a:lnTo>
                        <a:lnTo>
                          <a:pt x="4098" y="1446"/>
                        </a:lnTo>
                        <a:lnTo>
                          <a:pt x="4104" y="1440"/>
                        </a:lnTo>
                        <a:lnTo>
                          <a:pt x="4110" y="1440"/>
                        </a:lnTo>
                        <a:lnTo>
                          <a:pt x="4122" y="1434"/>
                        </a:lnTo>
                        <a:lnTo>
                          <a:pt x="4128" y="1434"/>
                        </a:lnTo>
                        <a:lnTo>
                          <a:pt x="4134" y="1428"/>
                        </a:lnTo>
                        <a:lnTo>
                          <a:pt x="4122" y="1416"/>
                        </a:lnTo>
                        <a:lnTo>
                          <a:pt x="4110" y="1422"/>
                        </a:lnTo>
                        <a:lnTo>
                          <a:pt x="4098" y="1434"/>
                        </a:lnTo>
                        <a:lnTo>
                          <a:pt x="4092" y="1404"/>
                        </a:lnTo>
                        <a:lnTo>
                          <a:pt x="4068" y="1404"/>
                        </a:lnTo>
                        <a:lnTo>
                          <a:pt x="4050" y="1410"/>
                        </a:lnTo>
                        <a:lnTo>
                          <a:pt x="4026" y="1410"/>
                        </a:lnTo>
                        <a:lnTo>
                          <a:pt x="4020" y="1404"/>
                        </a:lnTo>
                        <a:lnTo>
                          <a:pt x="4020" y="1386"/>
                        </a:lnTo>
                        <a:lnTo>
                          <a:pt x="4038" y="1368"/>
                        </a:lnTo>
                        <a:lnTo>
                          <a:pt x="4032" y="1362"/>
                        </a:lnTo>
                        <a:lnTo>
                          <a:pt x="4014" y="1362"/>
                        </a:lnTo>
                        <a:lnTo>
                          <a:pt x="4008" y="1368"/>
                        </a:lnTo>
                        <a:lnTo>
                          <a:pt x="4020" y="1344"/>
                        </a:lnTo>
                        <a:lnTo>
                          <a:pt x="3984" y="1350"/>
                        </a:lnTo>
                        <a:lnTo>
                          <a:pt x="3984" y="1326"/>
                        </a:lnTo>
                        <a:lnTo>
                          <a:pt x="3978" y="1314"/>
                        </a:lnTo>
                        <a:lnTo>
                          <a:pt x="3972" y="1308"/>
                        </a:lnTo>
                        <a:lnTo>
                          <a:pt x="3948" y="1308"/>
                        </a:lnTo>
                        <a:lnTo>
                          <a:pt x="3930" y="1314"/>
                        </a:lnTo>
                        <a:lnTo>
                          <a:pt x="3906" y="1326"/>
                        </a:lnTo>
                        <a:lnTo>
                          <a:pt x="3900" y="1332"/>
                        </a:lnTo>
                        <a:lnTo>
                          <a:pt x="3894" y="1332"/>
                        </a:lnTo>
                        <a:lnTo>
                          <a:pt x="3888" y="1326"/>
                        </a:lnTo>
                        <a:lnTo>
                          <a:pt x="3876" y="1320"/>
                        </a:lnTo>
                        <a:lnTo>
                          <a:pt x="3864" y="1320"/>
                        </a:lnTo>
                        <a:lnTo>
                          <a:pt x="3852" y="1326"/>
                        </a:lnTo>
                        <a:lnTo>
                          <a:pt x="3846" y="1326"/>
                        </a:lnTo>
                        <a:lnTo>
                          <a:pt x="3834" y="1332"/>
                        </a:lnTo>
                        <a:lnTo>
                          <a:pt x="3822" y="1326"/>
                        </a:lnTo>
                        <a:lnTo>
                          <a:pt x="3762" y="1302"/>
                        </a:lnTo>
                        <a:lnTo>
                          <a:pt x="3738" y="1302"/>
                        </a:lnTo>
                        <a:lnTo>
                          <a:pt x="3714" y="1314"/>
                        </a:lnTo>
                        <a:lnTo>
                          <a:pt x="3708" y="1326"/>
                        </a:lnTo>
                        <a:lnTo>
                          <a:pt x="3702" y="1326"/>
                        </a:lnTo>
                        <a:lnTo>
                          <a:pt x="3684" y="1344"/>
                        </a:lnTo>
                        <a:lnTo>
                          <a:pt x="3684" y="1350"/>
                        </a:lnTo>
                        <a:lnTo>
                          <a:pt x="3696" y="1356"/>
                        </a:lnTo>
                        <a:lnTo>
                          <a:pt x="3702" y="1362"/>
                        </a:lnTo>
                        <a:lnTo>
                          <a:pt x="3708" y="1374"/>
                        </a:lnTo>
                        <a:lnTo>
                          <a:pt x="3708" y="1380"/>
                        </a:lnTo>
                        <a:lnTo>
                          <a:pt x="3702" y="1386"/>
                        </a:lnTo>
                        <a:lnTo>
                          <a:pt x="3690" y="1392"/>
                        </a:lnTo>
                        <a:lnTo>
                          <a:pt x="3672" y="1410"/>
                        </a:lnTo>
                        <a:lnTo>
                          <a:pt x="3660" y="1416"/>
                        </a:lnTo>
                        <a:lnTo>
                          <a:pt x="3636" y="1422"/>
                        </a:lnTo>
                        <a:lnTo>
                          <a:pt x="3660" y="1440"/>
                        </a:lnTo>
                        <a:lnTo>
                          <a:pt x="3654" y="1446"/>
                        </a:lnTo>
                        <a:lnTo>
                          <a:pt x="3642" y="1446"/>
                        </a:lnTo>
                        <a:lnTo>
                          <a:pt x="3636" y="1452"/>
                        </a:lnTo>
                        <a:lnTo>
                          <a:pt x="3636" y="1470"/>
                        </a:lnTo>
                        <a:lnTo>
                          <a:pt x="3642" y="1482"/>
                        </a:lnTo>
                        <a:lnTo>
                          <a:pt x="3642" y="1488"/>
                        </a:lnTo>
                        <a:lnTo>
                          <a:pt x="3636" y="1500"/>
                        </a:lnTo>
                        <a:lnTo>
                          <a:pt x="3624" y="1506"/>
                        </a:lnTo>
                        <a:lnTo>
                          <a:pt x="3618" y="1512"/>
                        </a:lnTo>
                        <a:lnTo>
                          <a:pt x="3606" y="1512"/>
                        </a:lnTo>
                        <a:lnTo>
                          <a:pt x="3582" y="1524"/>
                        </a:lnTo>
                        <a:lnTo>
                          <a:pt x="3576" y="1536"/>
                        </a:lnTo>
                        <a:lnTo>
                          <a:pt x="3576" y="1548"/>
                        </a:lnTo>
                        <a:lnTo>
                          <a:pt x="3570" y="1548"/>
                        </a:lnTo>
                        <a:lnTo>
                          <a:pt x="3564" y="1554"/>
                        </a:lnTo>
                        <a:lnTo>
                          <a:pt x="3552" y="1554"/>
                        </a:lnTo>
                        <a:lnTo>
                          <a:pt x="3540" y="1560"/>
                        </a:lnTo>
                        <a:lnTo>
                          <a:pt x="3534" y="1566"/>
                        </a:lnTo>
                        <a:lnTo>
                          <a:pt x="3522" y="1572"/>
                        </a:lnTo>
                        <a:lnTo>
                          <a:pt x="3504" y="1590"/>
                        </a:lnTo>
                        <a:lnTo>
                          <a:pt x="3510" y="1596"/>
                        </a:lnTo>
                        <a:lnTo>
                          <a:pt x="3522" y="1602"/>
                        </a:lnTo>
                        <a:lnTo>
                          <a:pt x="3534" y="1614"/>
                        </a:lnTo>
                        <a:lnTo>
                          <a:pt x="3552" y="1620"/>
                        </a:lnTo>
                        <a:lnTo>
                          <a:pt x="3558" y="1632"/>
                        </a:lnTo>
                        <a:lnTo>
                          <a:pt x="3564" y="1638"/>
                        </a:lnTo>
                        <a:lnTo>
                          <a:pt x="3564" y="1662"/>
                        </a:lnTo>
                        <a:lnTo>
                          <a:pt x="3558" y="1698"/>
                        </a:lnTo>
                        <a:lnTo>
                          <a:pt x="3540" y="1746"/>
                        </a:lnTo>
                        <a:lnTo>
                          <a:pt x="3510" y="1776"/>
                        </a:lnTo>
                        <a:lnTo>
                          <a:pt x="3468" y="1800"/>
                        </a:lnTo>
                        <a:lnTo>
                          <a:pt x="3426" y="1830"/>
                        </a:lnTo>
                        <a:lnTo>
                          <a:pt x="3390" y="1854"/>
                        </a:lnTo>
                        <a:lnTo>
                          <a:pt x="3366" y="1860"/>
                        </a:lnTo>
                        <a:lnTo>
                          <a:pt x="3336" y="1860"/>
                        </a:lnTo>
                        <a:lnTo>
                          <a:pt x="3300" y="1866"/>
                        </a:lnTo>
                        <a:lnTo>
                          <a:pt x="3276" y="1872"/>
                        </a:lnTo>
                        <a:lnTo>
                          <a:pt x="3258" y="1878"/>
                        </a:lnTo>
                        <a:lnTo>
                          <a:pt x="3258" y="1902"/>
                        </a:lnTo>
                        <a:lnTo>
                          <a:pt x="3264" y="1914"/>
                        </a:lnTo>
                        <a:lnTo>
                          <a:pt x="3264" y="1926"/>
                        </a:lnTo>
                        <a:lnTo>
                          <a:pt x="3270" y="1938"/>
                        </a:lnTo>
                        <a:lnTo>
                          <a:pt x="3270" y="1950"/>
                        </a:lnTo>
                        <a:lnTo>
                          <a:pt x="3252" y="1968"/>
                        </a:lnTo>
                        <a:lnTo>
                          <a:pt x="3234" y="2004"/>
                        </a:lnTo>
                        <a:lnTo>
                          <a:pt x="3234" y="2076"/>
                        </a:lnTo>
                        <a:lnTo>
                          <a:pt x="3210" y="2088"/>
                        </a:lnTo>
                        <a:lnTo>
                          <a:pt x="3204" y="2094"/>
                        </a:lnTo>
                        <a:lnTo>
                          <a:pt x="3180" y="2106"/>
                        </a:lnTo>
                        <a:lnTo>
                          <a:pt x="3180" y="2142"/>
                        </a:lnTo>
                        <a:lnTo>
                          <a:pt x="3156" y="2166"/>
                        </a:lnTo>
                        <a:lnTo>
                          <a:pt x="3156" y="2154"/>
                        </a:lnTo>
                        <a:lnTo>
                          <a:pt x="3162" y="2148"/>
                        </a:lnTo>
                        <a:lnTo>
                          <a:pt x="3162" y="2142"/>
                        </a:lnTo>
                        <a:lnTo>
                          <a:pt x="3156" y="2130"/>
                        </a:lnTo>
                        <a:lnTo>
                          <a:pt x="3138" y="2130"/>
                        </a:lnTo>
                        <a:lnTo>
                          <a:pt x="3126" y="2136"/>
                        </a:lnTo>
                        <a:lnTo>
                          <a:pt x="3108" y="2154"/>
                        </a:lnTo>
                        <a:lnTo>
                          <a:pt x="3108" y="2166"/>
                        </a:lnTo>
                        <a:lnTo>
                          <a:pt x="3114" y="2178"/>
                        </a:lnTo>
                        <a:lnTo>
                          <a:pt x="3114" y="2190"/>
                        </a:lnTo>
                        <a:lnTo>
                          <a:pt x="3108" y="2196"/>
                        </a:lnTo>
                        <a:lnTo>
                          <a:pt x="3108" y="2178"/>
                        </a:lnTo>
                        <a:lnTo>
                          <a:pt x="3102" y="2166"/>
                        </a:lnTo>
                        <a:lnTo>
                          <a:pt x="3090" y="2154"/>
                        </a:lnTo>
                        <a:lnTo>
                          <a:pt x="3078" y="2154"/>
                        </a:lnTo>
                        <a:lnTo>
                          <a:pt x="3066" y="2160"/>
                        </a:lnTo>
                        <a:lnTo>
                          <a:pt x="3042" y="2160"/>
                        </a:lnTo>
                        <a:lnTo>
                          <a:pt x="3036" y="2166"/>
                        </a:lnTo>
                        <a:lnTo>
                          <a:pt x="3030" y="2166"/>
                        </a:lnTo>
                        <a:lnTo>
                          <a:pt x="3042" y="2160"/>
                        </a:lnTo>
                        <a:lnTo>
                          <a:pt x="3060" y="2142"/>
                        </a:lnTo>
                        <a:lnTo>
                          <a:pt x="3072" y="2136"/>
                        </a:lnTo>
                        <a:lnTo>
                          <a:pt x="3078" y="2124"/>
                        </a:lnTo>
                        <a:lnTo>
                          <a:pt x="3078" y="2118"/>
                        </a:lnTo>
                        <a:lnTo>
                          <a:pt x="3072" y="2106"/>
                        </a:lnTo>
                        <a:lnTo>
                          <a:pt x="3060" y="2100"/>
                        </a:lnTo>
                        <a:lnTo>
                          <a:pt x="3048" y="2088"/>
                        </a:lnTo>
                        <a:lnTo>
                          <a:pt x="3030" y="2088"/>
                        </a:lnTo>
                        <a:lnTo>
                          <a:pt x="3024" y="2082"/>
                        </a:lnTo>
                        <a:lnTo>
                          <a:pt x="3018" y="2082"/>
                        </a:lnTo>
                        <a:lnTo>
                          <a:pt x="3024" y="2082"/>
                        </a:lnTo>
                        <a:lnTo>
                          <a:pt x="3042" y="2064"/>
                        </a:lnTo>
                        <a:lnTo>
                          <a:pt x="3042" y="2058"/>
                        </a:lnTo>
                        <a:lnTo>
                          <a:pt x="3030" y="2034"/>
                        </a:lnTo>
                        <a:lnTo>
                          <a:pt x="3030" y="2028"/>
                        </a:lnTo>
                        <a:lnTo>
                          <a:pt x="3024" y="2016"/>
                        </a:lnTo>
                        <a:lnTo>
                          <a:pt x="3060" y="1992"/>
                        </a:lnTo>
                        <a:lnTo>
                          <a:pt x="3060" y="1968"/>
                        </a:lnTo>
                        <a:lnTo>
                          <a:pt x="3084" y="1956"/>
                        </a:lnTo>
                        <a:lnTo>
                          <a:pt x="3084" y="1914"/>
                        </a:lnTo>
                        <a:lnTo>
                          <a:pt x="3090" y="1914"/>
                        </a:lnTo>
                        <a:lnTo>
                          <a:pt x="3102" y="1902"/>
                        </a:lnTo>
                        <a:lnTo>
                          <a:pt x="3114" y="1896"/>
                        </a:lnTo>
                        <a:lnTo>
                          <a:pt x="3132" y="1878"/>
                        </a:lnTo>
                        <a:lnTo>
                          <a:pt x="3126" y="1866"/>
                        </a:lnTo>
                        <a:lnTo>
                          <a:pt x="3120" y="1860"/>
                        </a:lnTo>
                        <a:lnTo>
                          <a:pt x="3084" y="1848"/>
                        </a:lnTo>
                        <a:lnTo>
                          <a:pt x="2976" y="1848"/>
                        </a:lnTo>
                        <a:lnTo>
                          <a:pt x="2940" y="1860"/>
                        </a:lnTo>
                        <a:lnTo>
                          <a:pt x="2946" y="1848"/>
                        </a:lnTo>
                        <a:lnTo>
                          <a:pt x="2952" y="1842"/>
                        </a:lnTo>
                        <a:lnTo>
                          <a:pt x="2952" y="1830"/>
                        </a:lnTo>
                        <a:lnTo>
                          <a:pt x="2958" y="1824"/>
                        </a:lnTo>
                        <a:lnTo>
                          <a:pt x="2952" y="1818"/>
                        </a:lnTo>
                        <a:lnTo>
                          <a:pt x="2940" y="1812"/>
                        </a:lnTo>
                        <a:lnTo>
                          <a:pt x="2928" y="1812"/>
                        </a:lnTo>
                        <a:lnTo>
                          <a:pt x="2892" y="1800"/>
                        </a:lnTo>
                        <a:lnTo>
                          <a:pt x="2874" y="1800"/>
                        </a:lnTo>
                        <a:lnTo>
                          <a:pt x="2868" y="1794"/>
                        </a:lnTo>
                        <a:lnTo>
                          <a:pt x="2862" y="1794"/>
                        </a:lnTo>
                        <a:lnTo>
                          <a:pt x="2862" y="1770"/>
                        </a:lnTo>
                        <a:lnTo>
                          <a:pt x="2856" y="1752"/>
                        </a:lnTo>
                        <a:lnTo>
                          <a:pt x="2844" y="1740"/>
                        </a:lnTo>
                        <a:lnTo>
                          <a:pt x="2790" y="1722"/>
                        </a:lnTo>
                        <a:lnTo>
                          <a:pt x="2778" y="1722"/>
                        </a:lnTo>
                        <a:lnTo>
                          <a:pt x="2778" y="1716"/>
                        </a:lnTo>
                        <a:lnTo>
                          <a:pt x="2766" y="1704"/>
                        </a:lnTo>
                        <a:lnTo>
                          <a:pt x="2754" y="1704"/>
                        </a:lnTo>
                        <a:lnTo>
                          <a:pt x="2736" y="1698"/>
                        </a:lnTo>
                        <a:lnTo>
                          <a:pt x="2694" y="1698"/>
                        </a:lnTo>
                        <a:lnTo>
                          <a:pt x="2646" y="1704"/>
                        </a:lnTo>
                        <a:lnTo>
                          <a:pt x="2610" y="1716"/>
                        </a:lnTo>
                        <a:lnTo>
                          <a:pt x="2592" y="1716"/>
                        </a:lnTo>
                        <a:lnTo>
                          <a:pt x="2598" y="1716"/>
                        </a:lnTo>
                        <a:lnTo>
                          <a:pt x="2604" y="1710"/>
                        </a:lnTo>
                        <a:lnTo>
                          <a:pt x="2616" y="1710"/>
                        </a:lnTo>
                        <a:lnTo>
                          <a:pt x="2628" y="1704"/>
                        </a:lnTo>
                        <a:lnTo>
                          <a:pt x="2634" y="1692"/>
                        </a:lnTo>
                        <a:lnTo>
                          <a:pt x="2640" y="1686"/>
                        </a:lnTo>
                        <a:lnTo>
                          <a:pt x="2646" y="1662"/>
                        </a:lnTo>
                        <a:lnTo>
                          <a:pt x="2658" y="1632"/>
                        </a:lnTo>
                        <a:lnTo>
                          <a:pt x="2664" y="1602"/>
                        </a:lnTo>
                        <a:lnTo>
                          <a:pt x="2670" y="1590"/>
                        </a:lnTo>
                        <a:lnTo>
                          <a:pt x="2658" y="1590"/>
                        </a:lnTo>
                        <a:lnTo>
                          <a:pt x="2646" y="1584"/>
                        </a:lnTo>
                        <a:lnTo>
                          <a:pt x="2616" y="1584"/>
                        </a:lnTo>
                        <a:lnTo>
                          <a:pt x="2610" y="1590"/>
                        </a:lnTo>
                        <a:lnTo>
                          <a:pt x="2598" y="1596"/>
                        </a:lnTo>
                        <a:lnTo>
                          <a:pt x="2592" y="1602"/>
                        </a:lnTo>
                        <a:lnTo>
                          <a:pt x="2580" y="1608"/>
                        </a:lnTo>
                        <a:lnTo>
                          <a:pt x="2598" y="1578"/>
                        </a:lnTo>
                        <a:lnTo>
                          <a:pt x="2592" y="1560"/>
                        </a:lnTo>
                        <a:lnTo>
                          <a:pt x="2610" y="1542"/>
                        </a:lnTo>
                        <a:lnTo>
                          <a:pt x="2616" y="1530"/>
                        </a:lnTo>
                        <a:lnTo>
                          <a:pt x="2640" y="1506"/>
                        </a:lnTo>
                        <a:lnTo>
                          <a:pt x="2646" y="1494"/>
                        </a:lnTo>
                        <a:lnTo>
                          <a:pt x="2664" y="1476"/>
                        </a:lnTo>
                        <a:lnTo>
                          <a:pt x="2694" y="1452"/>
                        </a:lnTo>
                        <a:lnTo>
                          <a:pt x="2730" y="1428"/>
                        </a:lnTo>
                        <a:lnTo>
                          <a:pt x="2754" y="1410"/>
                        </a:lnTo>
                        <a:lnTo>
                          <a:pt x="2766" y="1404"/>
                        </a:lnTo>
                        <a:lnTo>
                          <a:pt x="2760" y="1392"/>
                        </a:lnTo>
                        <a:lnTo>
                          <a:pt x="2826" y="1368"/>
                        </a:lnTo>
                        <a:lnTo>
                          <a:pt x="2826" y="1350"/>
                        </a:lnTo>
                        <a:lnTo>
                          <a:pt x="2868" y="1344"/>
                        </a:lnTo>
                        <a:lnTo>
                          <a:pt x="2868" y="1326"/>
                        </a:lnTo>
                        <a:lnTo>
                          <a:pt x="2898" y="1320"/>
                        </a:lnTo>
                        <a:lnTo>
                          <a:pt x="2952" y="1284"/>
                        </a:lnTo>
                        <a:lnTo>
                          <a:pt x="3006" y="1284"/>
                        </a:lnTo>
                        <a:lnTo>
                          <a:pt x="3042" y="1278"/>
                        </a:lnTo>
                        <a:lnTo>
                          <a:pt x="3060" y="1266"/>
                        </a:lnTo>
                        <a:lnTo>
                          <a:pt x="3060" y="1254"/>
                        </a:lnTo>
                        <a:lnTo>
                          <a:pt x="3030" y="1224"/>
                        </a:lnTo>
                        <a:lnTo>
                          <a:pt x="2970" y="1230"/>
                        </a:lnTo>
                        <a:lnTo>
                          <a:pt x="2982" y="1218"/>
                        </a:lnTo>
                        <a:lnTo>
                          <a:pt x="2928" y="1194"/>
                        </a:lnTo>
                        <a:lnTo>
                          <a:pt x="2952" y="1188"/>
                        </a:lnTo>
                        <a:lnTo>
                          <a:pt x="3036" y="1212"/>
                        </a:lnTo>
                        <a:lnTo>
                          <a:pt x="3054" y="1230"/>
                        </a:lnTo>
                        <a:lnTo>
                          <a:pt x="3066" y="1236"/>
                        </a:lnTo>
                        <a:lnTo>
                          <a:pt x="3096" y="1236"/>
                        </a:lnTo>
                        <a:lnTo>
                          <a:pt x="3108" y="1230"/>
                        </a:lnTo>
                        <a:lnTo>
                          <a:pt x="3114" y="1218"/>
                        </a:lnTo>
                        <a:lnTo>
                          <a:pt x="3126" y="1206"/>
                        </a:lnTo>
                        <a:lnTo>
                          <a:pt x="3132" y="1194"/>
                        </a:lnTo>
                        <a:lnTo>
                          <a:pt x="3144" y="1188"/>
                        </a:lnTo>
                        <a:lnTo>
                          <a:pt x="3150" y="1182"/>
                        </a:lnTo>
                        <a:lnTo>
                          <a:pt x="3156" y="1182"/>
                        </a:lnTo>
                        <a:lnTo>
                          <a:pt x="3180" y="1194"/>
                        </a:lnTo>
                        <a:lnTo>
                          <a:pt x="3198" y="1200"/>
                        </a:lnTo>
                        <a:lnTo>
                          <a:pt x="3210" y="1200"/>
                        </a:lnTo>
                        <a:lnTo>
                          <a:pt x="3246" y="1182"/>
                        </a:lnTo>
                        <a:lnTo>
                          <a:pt x="3282" y="1170"/>
                        </a:lnTo>
                        <a:lnTo>
                          <a:pt x="3318" y="1152"/>
                        </a:lnTo>
                        <a:lnTo>
                          <a:pt x="3336" y="1146"/>
                        </a:lnTo>
                        <a:lnTo>
                          <a:pt x="3360" y="1134"/>
                        </a:lnTo>
                        <a:lnTo>
                          <a:pt x="3372" y="1122"/>
                        </a:lnTo>
                        <a:lnTo>
                          <a:pt x="3366" y="1116"/>
                        </a:lnTo>
                        <a:lnTo>
                          <a:pt x="3342" y="1110"/>
                        </a:lnTo>
                        <a:lnTo>
                          <a:pt x="3264" y="1110"/>
                        </a:lnTo>
                        <a:lnTo>
                          <a:pt x="3258" y="1086"/>
                        </a:lnTo>
                        <a:lnTo>
                          <a:pt x="3174" y="1056"/>
                        </a:lnTo>
                        <a:lnTo>
                          <a:pt x="3186" y="1056"/>
                        </a:lnTo>
                        <a:lnTo>
                          <a:pt x="3216" y="1050"/>
                        </a:lnTo>
                        <a:lnTo>
                          <a:pt x="3252" y="1050"/>
                        </a:lnTo>
                        <a:lnTo>
                          <a:pt x="3282" y="1056"/>
                        </a:lnTo>
                        <a:lnTo>
                          <a:pt x="3294" y="1062"/>
                        </a:lnTo>
                        <a:lnTo>
                          <a:pt x="3306" y="1074"/>
                        </a:lnTo>
                        <a:lnTo>
                          <a:pt x="3324" y="1086"/>
                        </a:lnTo>
                        <a:lnTo>
                          <a:pt x="3336" y="1098"/>
                        </a:lnTo>
                        <a:lnTo>
                          <a:pt x="3348" y="1104"/>
                        </a:lnTo>
                        <a:lnTo>
                          <a:pt x="3372" y="1098"/>
                        </a:lnTo>
                        <a:lnTo>
                          <a:pt x="3408" y="1080"/>
                        </a:lnTo>
                        <a:lnTo>
                          <a:pt x="3444" y="1068"/>
                        </a:lnTo>
                        <a:lnTo>
                          <a:pt x="3474" y="1050"/>
                        </a:lnTo>
                        <a:lnTo>
                          <a:pt x="3486" y="1044"/>
                        </a:lnTo>
                        <a:lnTo>
                          <a:pt x="3462" y="1032"/>
                        </a:lnTo>
                        <a:lnTo>
                          <a:pt x="3468" y="1026"/>
                        </a:lnTo>
                        <a:lnTo>
                          <a:pt x="3492" y="1014"/>
                        </a:lnTo>
                        <a:lnTo>
                          <a:pt x="3522" y="1014"/>
                        </a:lnTo>
                        <a:lnTo>
                          <a:pt x="3528" y="1020"/>
                        </a:lnTo>
                        <a:lnTo>
                          <a:pt x="3534" y="1032"/>
                        </a:lnTo>
                        <a:lnTo>
                          <a:pt x="3540" y="1038"/>
                        </a:lnTo>
                        <a:lnTo>
                          <a:pt x="3570" y="1050"/>
                        </a:lnTo>
                        <a:lnTo>
                          <a:pt x="3576" y="1026"/>
                        </a:lnTo>
                        <a:lnTo>
                          <a:pt x="3594" y="1044"/>
                        </a:lnTo>
                        <a:lnTo>
                          <a:pt x="3600" y="1038"/>
                        </a:lnTo>
                        <a:lnTo>
                          <a:pt x="3600" y="1026"/>
                        </a:lnTo>
                        <a:lnTo>
                          <a:pt x="3594" y="1014"/>
                        </a:lnTo>
                        <a:lnTo>
                          <a:pt x="3582" y="1002"/>
                        </a:lnTo>
                        <a:lnTo>
                          <a:pt x="3564" y="990"/>
                        </a:lnTo>
                        <a:lnTo>
                          <a:pt x="3606" y="984"/>
                        </a:lnTo>
                        <a:lnTo>
                          <a:pt x="3606" y="990"/>
                        </a:lnTo>
                        <a:lnTo>
                          <a:pt x="3612" y="996"/>
                        </a:lnTo>
                        <a:lnTo>
                          <a:pt x="3612" y="1008"/>
                        </a:lnTo>
                        <a:lnTo>
                          <a:pt x="3624" y="1032"/>
                        </a:lnTo>
                        <a:lnTo>
                          <a:pt x="3630" y="1038"/>
                        </a:lnTo>
                        <a:lnTo>
                          <a:pt x="3636" y="1038"/>
                        </a:lnTo>
                        <a:lnTo>
                          <a:pt x="3654" y="1032"/>
                        </a:lnTo>
                        <a:lnTo>
                          <a:pt x="3690" y="1026"/>
                        </a:lnTo>
                        <a:lnTo>
                          <a:pt x="3732" y="1008"/>
                        </a:lnTo>
                        <a:lnTo>
                          <a:pt x="3768" y="990"/>
                        </a:lnTo>
                        <a:lnTo>
                          <a:pt x="3798" y="972"/>
                        </a:lnTo>
                        <a:lnTo>
                          <a:pt x="3798" y="960"/>
                        </a:lnTo>
                        <a:lnTo>
                          <a:pt x="3786" y="942"/>
                        </a:lnTo>
                        <a:lnTo>
                          <a:pt x="3780" y="930"/>
                        </a:lnTo>
                        <a:lnTo>
                          <a:pt x="3774" y="912"/>
                        </a:lnTo>
                        <a:lnTo>
                          <a:pt x="3774" y="900"/>
                        </a:lnTo>
                        <a:lnTo>
                          <a:pt x="3780" y="894"/>
                        </a:lnTo>
                        <a:lnTo>
                          <a:pt x="3792" y="894"/>
                        </a:lnTo>
                        <a:lnTo>
                          <a:pt x="3804" y="888"/>
                        </a:lnTo>
                        <a:lnTo>
                          <a:pt x="3822" y="888"/>
                        </a:lnTo>
                        <a:lnTo>
                          <a:pt x="3840" y="882"/>
                        </a:lnTo>
                        <a:lnTo>
                          <a:pt x="3858" y="882"/>
                        </a:lnTo>
                        <a:lnTo>
                          <a:pt x="3864" y="876"/>
                        </a:lnTo>
                        <a:lnTo>
                          <a:pt x="3870" y="876"/>
                        </a:lnTo>
                        <a:lnTo>
                          <a:pt x="3870" y="858"/>
                        </a:lnTo>
                        <a:lnTo>
                          <a:pt x="3864" y="846"/>
                        </a:lnTo>
                        <a:lnTo>
                          <a:pt x="3864" y="840"/>
                        </a:lnTo>
                        <a:lnTo>
                          <a:pt x="3858" y="828"/>
                        </a:lnTo>
                        <a:lnTo>
                          <a:pt x="3840" y="804"/>
                        </a:lnTo>
                        <a:lnTo>
                          <a:pt x="3822" y="798"/>
                        </a:lnTo>
                        <a:lnTo>
                          <a:pt x="3786" y="792"/>
                        </a:lnTo>
                        <a:lnTo>
                          <a:pt x="3744" y="792"/>
                        </a:lnTo>
                        <a:lnTo>
                          <a:pt x="3708" y="804"/>
                        </a:lnTo>
                        <a:lnTo>
                          <a:pt x="3690" y="822"/>
                        </a:lnTo>
                        <a:lnTo>
                          <a:pt x="3690" y="840"/>
                        </a:lnTo>
                        <a:lnTo>
                          <a:pt x="3696" y="840"/>
                        </a:lnTo>
                        <a:lnTo>
                          <a:pt x="3702" y="846"/>
                        </a:lnTo>
                        <a:lnTo>
                          <a:pt x="3666" y="870"/>
                        </a:lnTo>
                        <a:lnTo>
                          <a:pt x="3642" y="870"/>
                        </a:lnTo>
                        <a:lnTo>
                          <a:pt x="3576" y="918"/>
                        </a:lnTo>
                        <a:lnTo>
                          <a:pt x="3552" y="930"/>
                        </a:lnTo>
                        <a:lnTo>
                          <a:pt x="3546" y="936"/>
                        </a:lnTo>
                        <a:lnTo>
                          <a:pt x="3540" y="948"/>
                        </a:lnTo>
                        <a:lnTo>
                          <a:pt x="3522" y="966"/>
                        </a:lnTo>
                        <a:lnTo>
                          <a:pt x="3492" y="966"/>
                        </a:lnTo>
                        <a:lnTo>
                          <a:pt x="3456" y="984"/>
                        </a:lnTo>
                        <a:lnTo>
                          <a:pt x="3456" y="972"/>
                        </a:lnTo>
                        <a:lnTo>
                          <a:pt x="3450" y="954"/>
                        </a:lnTo>
                        <a:lnTo>
                          <a:pt x="3450" y="918"/>
                        </a:lnTo>
                        <a:lnTo>
                          <a:pt x="3456" y="912"/>
                        </a:lnTo>
                        <a:lnTo>
                          <a:pt x="3480" y="900"/>
                        </a:lnTo>
                        <a:lnTo>
                          <a:pt x="3498" y="900"/>
                        </a:lnTo>
                        <a:lnTo>
                          <a:pt x="3510" y="894"/>
                        </a:lnTo>
                        <a:lnTo>
                          <a:pt x="3516" y="882"/>
                        </a:lnTo>
                        <a:lnTo>
                          <a:pt x="3516" y="870"/>
                        </a:lnTo>
                        <a:lnTo>
                          <a:pt x="3510" y="852"/>
                        </a:lnTo>
                        <a:lnTo>
                          <a:pt x="3504" y="846"/>
                        </a:lnTo>
                        <a:lnTo>
                          <a:pt x="3498" y="834"/>
                        </a:lnTo>
                        <a:lnTo>
                          <a:pt x="3486" y="834"/>
                        </a:lnTo>
                        <a:lnTo>
                          <a:pt x="3450" y="852"/>
                        </a:lnTo>
                        <a:lnTo>
                          <a:pt x="3432" y="858"/>
                        </a:lnTo>
                        <a:lnTo>
                          <a:pt x="3420" y="864"/>
                        </a:lnTo>
                        <a:lnTo>
                          <a:pt x="3414" y="870"/>
                        </a:lnTo>
                        <a:lnTo>
                          <a:pt x="3408" y="870"/>
                        </a:lnTo>
                        <a:lnTo>
                          <a:pt x="3378" y="900"/>
                        </a:lnTo>
                        <a:lnTo>
                          <a:pt x="3372" y="888"/>
                        </a:lnTo>
                        <a:lnTo>
                          <a:pt x="3396" y="858"/>
                        </a:lnTo>
                        <a:lnTo>
                          <a:pt x="3396" y="840"/>
                        </a:lnTo>
                        <a:lnTo>
                          <a:pt x="3438" y="822"/>
                        </a:lnTo>
                        <a:lnTo>
                          <a:pt x="3402" y="816"/>
                        </a:lnTo>
                        <a:lnTo>
                          <a:pt x="3408" y="804"/>
                        </a:lnTo>
                        <a:lnTo>
                          <a:pt x="3360" y="816"/>
                        </a:lnTo>
                        <a:lnTo>
                          <a:pt x="3336" y="804"/>
                        </a:lnTo>
                        <a:lnTo>
                          <a:pt x="3378" y="792"/>
                        </a:lnTo>
                        <a:lnTo>
                          <a:pt x="3378" y="774"/>
                        </a:lnTo>
                        <a:lnTo>
                          <a:pt x="3390" y="774"/>
                        </a:lnTo>
                        <a:lnTo>
                          <a:pt x="3396" y="780"/>
                        </a:lnTo>
                        <a:lnTo>
                          <a:pt x="3420" y="780"/>
                        </a:lnTo>
                        <a:lnTo>
                          <a:pt x="3426" y="774"/>
                        </a:lnTo>
                        <a:lnTo>
                          <a:pt x="3426" y="762"/>
                        </a:lnTo>
                        <a:lnTo>
                          <a:pt x="3420" y="756"/>
                        </a:lnTo>
                        <a:lnTo>
                          <a:pt x="3408" y="756"/>
                        </a:lnTo>
                        <a:lnTo>
                          <a:pt x="3396" y="744"/>
                        </a:lnTo>
                        <a:lnTo>
                          <a:pt x="3396" y="738"/>
                        </a:lnTo>
                        <a:lnTo>
                          <a:pt x="3420" y="690"/>
                        </a:lnTo>
                        <a:lnTo>
                          <a:pt x="3426" y="684"/>
                        </a:lnTo>
                        <a:lnTo>
                          <a:pt x="3426" y="672"/>
                        </a:lnTo>
                        <a:lnTo>
                          <a:pt x="3420" y="666"/>
                        </a:lnTo>
                        <a:lnTo>
                          <a:pt x="3414" y="666"/>
                        </a:lnTo>
                        <a:lnTo>
                          <a:pt x="3372" y="648"/>
                        </a:lnTo>
                        <a:lnTo>
                          <a:pt x="3348" y="660"/>
                        </a:lnTo>
                        <a:lnTo>
                          <a:pt x="3336" y="660"/>
                        </a:lnTo>
                        <a:lnTo>
                          <a:pt x="3318" y="666"/>
                        </a:lnTo>
                        <a:lnTo>
                          <a:pt x="3312" y="666"/>
                        </a:lnTo>
                        <a:lnTo>
                          <a:pt x="3306" y="672"/>
                        </a:lnTo>
                        <a:lnTo>
                          <a:pt x="3306" y="690"/>
                        </a:lnTo>
                        <a:lnTo>
                          <a:pt x="3240" y="690"/>
                        </a:lnTo>
                        <a:lnTo>
                          <a:pt x="3228" y="696"/>
                        </a:lnTo>
                        <a:lnTo>
                          <a:pt x="3222" y="702"/>
                        </a:lnTo>
                        <a:lnTo>
                          <a:pt x="3210" y="708"/>
                        </a:lnTo>
                        <a:lnTo>
                          <a:pt x="3198" y="720"/>
                        </a:lnTo>
                        <a:lnTo>
                          <a:pt x="3204" y="726"/>
                        </a:lnTo>
                        <a:lnTo>
                          <a:pt x="3216" y="732"/>
                        </a:lnTo>
                        <a:lnTo>
                          <a:pt x="3228" y="732"/>
                        </a:lnTo>
                        <a:lnTo>
                          <a:pt x="3234" y="738"/>
                        </a:lnTo>
                        <a:lnTo>
                          <a:pt x="3228" y="738"/>
                        </a:lnTo>
                        <a:lnTo>
                          <a:pt x="3222" y="744"/>
                        </a:lnTo>
                        <a:lnTo>
                          <a:pt x="3204" y="744"/>
                        </a:lnTo>
                        <a:lnTo>
                          <a:pt x="3180" y="756"/>
                        </a:lnTo>
                        <a:lnTo>
                          <a:pt x="3168" y="768"/>
                        </a:lnTo>
                        <a:lnTo>
                          <a:pt x="3168" y="774"/>
                        </a:lnTo>
                        <a:lnTo>
                          <a:pt x="3174" y="786"/>
                        </a:lnTo>
                        <a:lnTo>
                          <a:pt x="3186" y="798"/>
                        </a:lnTo>
                        <a:lnTo>
                          <a:pt x="3198" y="804"/>
                        </a:lnTo>
                        <a:lnTo>
                          <a:pt x="3204" y="810"/>
                        </a:lnTo>
                        <a:lnTo>
                          <a:pt x="3210" y="810"/>
                        </a:lnTo>
                        <a:lnTo>
                          <a:pt x="3234" y="798"/>
                        </a:lnTo>
                        <a:lnTo>
                          <a:pt x="3234" y="822"/>
                        </a:lnTo>
                        <a:lnTo>
                          <a:pt x="3240" y="828"/>
                        </a:lnTo>
                        <a:lnTo>
                          <a:pt x="3246" y="828"/>
                        </a:lnTo>
                        <a:lnTo>
                          <a:pt x="3258" y="822"/>
                        </a:lnTo>
                        <a:lnTo>
                          <a:pt x="3282" y="822"/>
                        </a:lnTo>
                        <a:lnTo>
                          <a:pt x="3276" y="828"/>
                        </a:lnTo>
                        <a:lnTo>
                          <a:pt x="3252" y="840"/>
                        </a:lnTo>
                        <a:lnTo>
                          <a:pt x="3246" y="840"/>
                        </a:lnTo>
                        <a:lnTo>
                          <a:pt x="3228" y="828"/>
                        </a:lnTo>
                        <a:lnTo>
                          <a:pt x="3222" y="846"/>
                        </a:lnTo>
                        <a:lnTo>
                          <a:pt x="3204" y="846"/>
                        </a:lnTo>
                        <a:lnTo>
                          <a:pt x="3192" y="852"/>
                        </a:lnTo>
                        <a:lnTo>
                          <a:pt x="3186" y="852"/>
                        </a:lnTo>
                        <a:lnTo>
                          <a:pt x="3180" y="858"/>
                        </a:lnTo>
                        <a:lnTo>
                          <a:pt x="3204" y="858"/>
                        </a:lnTo>
                        <a:lnTo>
                          <a:pt x="3228" y="846"/>
                        </a:lnTo>
                        <a:lnTo>
                          <a:pt x="3240" y="846"/>
                        </a:lnTo>
                        <a:lnTo>
                          <a:pt x="3240" y="852"/>
                        </a:lnTo>
                        <a:lnTo>
                          <a:pt x="3228" y="870"/>
                        </a:lnTo>
                        <a:lnTo>
                          <a:pt x="3210" y="882"/>
                        </a:lnTo>
                        <a:lnTo>
                          <a:pt x="3198" y="888"/>
                        </a:lnTo>
                        <a:lnTo>
                          <a:pt x="3180" y="894"/>
                        </a:lnTo>
                        <a:lnTo>
                          <a:pt x="3168" y="900"/>
                        </a:lnTo>
                        <a:lnTo>
                          <a:pt x="3162" y="906"/>
                        </a:lnTo>
                        <a:lnTo>
                          <a:pt x="3138" y="918"/>
                        </a:lnTo>
                        <a:lnTo>
                          <a:pt x="3132" y="924"/>
                        </a:lnTo>
                        <a:lnTo>
                          <a:pt x="3120" y="918"/>
                        </a:lnTo>
                        <a:lnTo>
                          <a:pt x="3114" y="918"/>
                        </a:lnTo>
                        <a:lnTo>
                          <a:pt x="3102" y="912"/>
                        </a:lnTo>
                        <a:lnTo>
                          <a:pt x="3090" y="912"/>
                        </a:lnTo>
                        <a:lnTo>
                          <a:pt x="3072" y="930"/>
                        </a:lnTo>
                        <a:lnTo>
                          <a:pt x="3060" y="936"/>
                        </a:lnTo>
                        <a:lnTo>
                          <a:pt x="3054" y="948"/>
                        </a:lnTo>
                        <a:lnTo>
                          <a:pt x="3054" y="972"/>
                        </a:lnTo>
                        <a:lnTo>
                          <a:pt x="3048" y="978"/>
                        </a:lnTo>
                        <a:lnTo>
                          <a:pt x="3042" y="966"/>
                        </a:lnTo>
                        <a:lnTo>
                          <a:pt x="3030" y="966"/>
                        </a:lnTo>
                        <a:lnTo>
                          <a:pt x="3018" y="960"/>
                        </a:lnTo>
                        <a:lnTo>
                          <a:pt x="3012" y="960"/>
                        </a:lnTo>
                        <a:lnTo>
                          <a:pt x="3006" y="954"/>
                        </a:lnTo>
                        <a:lnTo>
                          <a:pt x="3030" y="930"/>
                        </a:lnTo>
                        <a:lnTo>
                          <a:pt x="3042" y="924"/>
                        </a:lnTo>
                        <a:lnTo>
                          <a:pt x="3060" y="906"/>
                        </a:lnTo>
                        <a:lnTo>
                          <a:pt x="3072" y="900"/>
                        </a:lnTo>
                        <a:lnTo>
                          <a:pt x="3036" y="900"/>
                        </a:lnTo>
                        <a:lnTo>
                          <a:pt x="3030" y="888"/>
                        </a:lnTo>
                        <a:lnTo>
                          <a:pt x="3018" y="882"/>
                        </a:lnTo>
                        <a:lnTo>
                          <a:pt x="2994" y="882"/>
                        </a:lnTo>
                        <a:lnTo>
                          <a:pt x="2988" y="888"/>
                        </a:lnTo>
                        <a:lnTo>
                          <a:pt x="2946" y="888"/>
                        </a:lnTo>
                        <a:lnTo>
                          <a:pt x="2946" y="894"/>
                        </a:lnTo>
                        <a:lnTo>
                          <a:pt x="2940" y="906"/>
                        </a:lnTo>
                        <a:lnTo>
                          <a:pt x="2940" y="918"/>
                        </a:lnTo>
                        <a:lnTo>
                          <a:pt x="2946" y="918"/>
                        </a:lnTo>
                        <a:lnTo>
                          <a:pt x="2952" y="924"/>
                        </a:lnTo>
                        <a:lnTo>
                          <a:pt x="2964" y="924"/>
                        </a:lnTo>
                        <a:lnTo>
                          <a:pt x="2976" y="936"/>
                        </a:lnTo>
                        <a:lnTo>
                          <a:pt x="2982" y="936"/>
                        </a:lnTo>
                        <a:lnTo>
                          <a:pt x="2976" y="942"/>
                        </a:lnTo>
                        <a:lnTo>
                          <a:pt x="2958" y="942"/>
                        </a:lnTo>
                        <a:lnTo>
                          <a:pt x="2952" y="936"/>
                        </a:lnTo>
                        <a:lnTo>
                          <a:pt x="2940" y="930"/>
                        </a:lnTo>
                        <a:lnTo>
                          <a:pt x="2934" y="924"/>
                        </a:lnTo>
                        <a:lnTo>
                          <a:pt x="2916" y="912"/>
                        </a:lnTo>
                        <a:lnTo>
                          <a:pt x="2910" y="942"/>
                        </a:lnTo>
                        <a:lnTo>
                          <a:pt x="2904" y="942"/>
                        </a:lnTo>
                        <a:lnTo>
                          <a:pt x="2898" y="948"/>
                        </a:lnTo>
                        <a:lnTo>
                          <a:pt x="2862" y="948"/>
                        </a:lnTo>
                        <a:lnTo>
                          <a:pt x="2844" y="942"/>
                        </a:lnTo>
                        <a:lnTo>
                          <a:pt x="2826" y="942"/>
                        </a:lnTo>
                        <a:lnTo>
                          <a:pt x="2808" y="936"/>
                        </a:lnTo>
                        <a:lnTo>
                          <a:pt x="2718" y="936"/>
                        </a:lnTo>
                        <a:lnTo>
                          <a:pt x="2706" y="930"/>
                        </a:lnTo>
                        <a:lnTo>
                          <a:pt x="2700" y="918"/>
                        </a:lnTo>
                        <a:lnTo>
                          <a:pt x="2688" y="912"/>
                        </a:lnTo>
                        <a:lnTo>
                          <a:pt x="2628" y="918"/>
                        </a:lnTo>
                        <a:lnTo>
                          <a:pt x="2622" y="912"/>
                        </a:lnTo>
                        <a:lnTo>
                          <a:pt x="2616" y="900"/>
                        </a:lnTo>
                        <a:lnTo>
                          <a:pt x="2604" y="894"/>
                        </a:lnTo>
                        <a:lnTo>
                          <a:pt x="2598" y="894"/>
                        </a:lnTo>
                        <a:lnTo>
                          <a:pt x="2586" y="888"/>
                        </a:lnTo>
                        <a:lnTo>
                          <a:pt x="2568" y="888"/>
                        </a:lnTo>
                        <a:lnTo>
                          <a:pt x="2556" y="894"/>
                        </a:lnTo>
                        <a:lnTo>
                          <a:pt x="2538" y="900"/>
                        </a:lnTo>
                        <a:lnTo>
                          <a:pt x="2532" y="906"/>
                        </a:lnTo>
                        <a:lnTo>
                          <a:pt x="2526" y="906"/>
                        </a:lnTo>
                        <a:lnTo>
                          <a:pt x="2526" y="912"/>
                        </a:lnTo>
                        <a:lnTo>
                          <a:pt x="2484" y="912"/>
                        </a:lnTo>
                        <a:lnTo>
                          <a:pt x="2472" y="906"/>
                        </a:lnTo>
                        <a:lnTo>
                          <a:pt x="2442" y="906"/>
                        </a:lnTo>
                        <a:lnTo>
                          <a:pt x="2430" y="918"/>
                        </a:lnTo>
                        <a:lnTo>
                          <a:pt x="2430" y="930"/>
                        </a:lnTo>
                        <a:lnTo>
                          <a:pt x="2418" y="954"/>
                        </a:lnTo>
                        <a:lnTo>
                          <a:pt x="2412" y="960"/>
                        </a:lnTo>
                        <a:lnTo>
                          <a:pt x="2412" y="966"/>
                        </a:lnTo>
                        <a:lnTo>
                          <a:pt x="2400" y="996"/>
                        </a:lnTo>
                        <a:lnTo>
                          <a:pt x="2364" y="996"/>
                        </a:lnTo>
                        <a:lnTo>
                          <a:pt x="2358" y="1026"/>
                        </a:lnTo>
                        <a:lnTo>
                          <a:pt x="2334" y="978"/>
                        </a:lnTo>
                        <a:lnTo>
                          <a:pt x="2340" y="978"/>
                        </a:lnTo>
                        <a:lnTo>
                          <a:pt x="2352" y="984"/>
                        </a:lnTo>
                        <a:lnTo>
                          <a:pt x="2376" y="984"/>
                        </a:lnTo>
                        <a:lnTo>
                          <a:pt x="2388" y="972"/>
                        </a:lnTo>
                        <a:lnTo>
                          <a:pt x="2358" y="942"/>
                        </a:lnTo>
                        <a:lnTo>
                          <a:pt x="2340" y="942"/>
                        </a:lnTo>
                        <a:lnTo>
                          <a:pt x="2328" y="936"/>
                        </a:lnTo>
                        <a:lnTo>
                          <a:pt x="2316" y="936"/>
                        </a:lnTo>
                        <a:lnTo>
                          <a:pt x="2322" y="918"/>
                        </a:lnTo>
                        <a:lnTo>
                          <a:pt x="2304" y="924"/>
                        </a:lnTo>
                        <a:lnTo>
                          <a:pt x="2262" y="930"/>
                        </a:lnTo>
                        <a:lnTo>
                          <a:pt x="2208" y="936"/>
                        </a:lnTo>
                        <a:lnTo>
                          <a:pt x="2160" y="942"/>
                        </a:lnTo>
                        <a:lnTo>
                          <a:pt x="2112" y="942"/>
                        </a:lnTo>
                        <a:lnTo>
                          <a:pt x="2064" y="936"/>
                        </a:lnTo>
                        <a:lnTo>
                          <a:pt x="2034" y="930"/>
                        </a:lnTo>
                        <a:lnTo>
                          <a:pt x="2028" y="924"/>
                        </a:lnTo>
                        <a:lnTo>
                          <a:pt x="2052" y="918"/>
                        </a:lnTo>
                        <a:lnTo>
                          <a:pt x="2082" y="918"/>
                        </a:lnTo>
                        <a:lnTo>
                          <a:pt x="2118" y="912"/>
                        </a:lnTo>
                        <a:lnTo>
                          <a:pt x="2142" y="900"/>
                        </a:lnTo>
                        <a:lnTo>
                          <a:pt x="2142" y="888"/>
                        </a:lnTo>
                        <a:lnTo>
                          <a:pt x="2112" y="864"/>
                        </a:lnTo>
                        <a:lnTo>
                          <a:pt x="2082" y="852"/>
                        </a:lnTo>
                        <a:lnTo>
                          <a:pt x="2004" y="852"/>
                        </a:lnTo>
                        <a:lnTo>
                          <a:pt x="1968" y="840"/>
                        </a:lnTo>
                        <a:lnTo>
                          <a:pt x="1944" y="834"/>
                        </a:lnTo>
                        <a:lnTo>
                          <a:pt x="1938" y="828"/>
                        </a:lnTo>
                        <a:lnTo>
                          <a:pt x="1908" y="828"/>
                        </a:lnTo>
                        <a:lnTo>
                          <a:pt x="1896" y="822"/>
                        </a:lnTo>
                        <a:lnTo>
                          <a:pt x="1866" y="804"/>
                        </a:lnTo>
                        <a:lnTo>
                          <a:pt x="1836" y="792"/>
                        </a:lnTo>
                        <a:lnTo>
                          <a:pt x="1812" y="786"/>
                        </a:lnTo>
                        <a:lnTo>
                          <a:pt x="1800" y="792"/>
                        </a:lnTo>
                        <a:lnTo>
                          <a:pt x="1782" y="798"/>
                        </a:lnTo>
                        <a:lnTo>
                          <a:pt x="1770" y="804"/>
                        </a:lnTo>
                        <a:lnTo>
                          <a:pt x="1758" y="816"/>
                        </a:lnTo>
                        <a:lnTo>
                          <a:pt x="1734" y="828"/>
                        </a:lnTo>
                        <a:lnTo>
                          <a:pt x="1680" y="828"/>
                        </a:lnTo>
                        <a:lnTo>
                          <a:pt x="1710" y="810"/>
                        </a:lnTo>
                        <a:lnTo>
                          <a:pt x="1710" y="798"/>
                        </a:lnTo>
                        <a:lnTo>
                          <a:pt x="1734" y="768"/>
                        </a:lnTo>
                        <a:lnTo>
                          <a:pt x="1728" y="768"/>
                        </a:lnTo>
                        <a:lnTo>
                          <a:pt x="1722" y="774"/>
                        </a:lnTo>
                        <a:lnTo>
                          <a:pt x="1674" y="798"/>
                        </a:lnTo>
                        <a:lnTo>
                          <a:pt x="1650" y="822"/>
                        </a:lnTo>
                        <a:lnTo>
                          <a:pt x="1638" y="828"/>
                        </a:lnTo>
                        <a:lnTo>
                          <a:pt x="1620" y="834"/>
                        </a:lnTo>
                        <a:lnTo>
                          <a:pt x="1608" y="828"/>
                        </a:lnTo>
                        <a:lnTo>
                          <a:pt x="1602" y="816"/>
                        </a:lnTo>
                        <a:lnTo>
                          <a:pt x="1602" y="798"/>
                        </a:lnTo>
                        <a:lnTo>
                          <a:pt x="1614" y="774"/>
                        </a:lnTo>
                        <a:lnTo>
                          <a:pt x="1614" y="762"/>
                        </a:lnTo>
                        <a:lnTo>
                          <a:pt x="1608" y="750"/>
                        </a:lnTo>
                        <a:lnTo>
                          <a:pt x="1596" y="744"/>
                        </a:lnTo>
                        <a:lnTo>
                          <a:pt x="1590" y="738"/>
                        </a:lnTo>
                        <a:lnTo>
                          <a:pt x="1578" y="738"/>
                        </a:lnTo>
                        <a:lnTo>
                          <a:pt x="1572" y="744"/>
                        </a:lnTo>
                        <a:lnTo>
                          <a:pt x="1572" y="750"/>
                        </a:lnTo>
                        <a:lnTo>
                          <a:pt x="1578" y="762"/>
                        </a:lnTo>
                        <a:lnTo>
                          <a:pt x="1584" y="768"/>
                        </a:lnTo>
                        <a:lnTo>
                          <a:pt x="1542" y="768"/>
                        </a:lnTo>
                        <a:lnTo>
                          <a:pt x="1530" y="774"/>
                        </a:lnTo>
                        <a:lnTo>
                          <a:pt x="1512" y="780"/>
                        </a:lnTo>
                        <a:lnTo>
                          <a:pt x="1494" y="798"/>
                        </a:lnTo>
                        <a:lnTo>
                          <a:pt x="1446" y="798"/>
                        </a:lnTo>
                        <a:lnTo>
                          <a:pt x="1428" y="804"/>
                        </a:lnTo>
                        <a:lnTo>
                          <a:pt x="1416" y="804"/>
                        </a:lnTo>
                        <a:lnTo>
                          <a:pt x="1398" y="810"/>
                        </a:lnTo>
                        <a:lnTo>
                          <a:pt x="1380" y="810"/>
                        </a:lnTo>
                        <a:lnTo>
                          <a:pt x="1374" y="816"/>
                        </a:lnTo>
                        <a:lnTo>
                          <a:pt x="1368" y="816"/>
                        </a:lnTo>
                        <a:lnTo>
                          <a:pt x="1356" y="822"/>
                        </a:lnTo>
                        <a:lnTo>
                          <a:pt x="1350" y="828"/>
                        </a:lnTo>
                        <a:lnTo>
                          <a:pt x="1338" y="834"/>
                        </a:lnTo>
                        <a:lnTo>
                          <a:pt x="1314" y="816"/>
                        </a:lnTo>
                        <a:lnTo>
                          <a:pt x="1302" y="822"/>
                        </a:lnTo>
                        <a:lnTo>
                          <a:pt x="1296" y="828"/>
                        </a:lnTo>
                        <a:lnTo>
                          <a:pt x="1272" y="840"/>
                        </a:lnTo>
                        <a:lnTo>
                          <a:pt x="1260" y="840"/>
                        </a:lnTo>
                        <a:lnTo>
                          <a:pt x="1254" y="846"/>
                        </a:lnTo>
                        <a:lnTo>
                          <a:pt x="1242" y="846"/>
                        </a:lnTo>
                        <a:lnTo>
                          <a:pt x="1230" y="852"/>
                        </a:lnTo>
                        <a:lnTo>
                          <a:pt x="1224" y="858"/>
                        </a:lnTo>
                        <a:lnTo>
                          <a:pt x="1212" y="864"/>
                        </a:lnTo>
                        <a:lnTo>
                          <a:pt x="1176" y="864"/>
                        </a:lnTo>
                        <a:lnTo>
                          <a:pt x="1188" y="858"/>
                        </a:lnTo>
                        <a:lnTo>
                          <a:pt x="1194" y="846"/>
                        </a:lnTo>
                        <a:lnTo>
                          <a:pt x="1212" y="840"/>
                        </a:lnTo>
                        <a:lnTo>
                          <a:pt x="1236" y="828"/>
                        </a:lnTo>
                        <a:lnTo>
                          <a:pt x="1254" y="828"/>
                        </a:lnTo>
                        <a:lnTo>
                          <a:pt x="1266" y="822"/>
                        </a:lnTo>
                        <a:lnTo>
                          <a:pt x="1284" y="816"/>
                        </a:lnTo>
                        <a:lnTo>
                          <a:pt x="1290" y="810"/>
                        </a:lnTo>
                        <a:lnTo>
                          <a:pt x="1362" y="810"/>
                        </a:lnTo>
                        <a:lnTo>
                          <a:pt x="1386" y="798"/>
                        </a:lnTo>
                        <a:lnTo>
                          <a:pt x="1422" y="792"/>
                        </a:lnTo>
                        <a:lnTo>
                          <a:pt x="1458" y="780"/>
                        </a:lnTo>
                        <a:lnTo>
                          <a:pt x="1470" y="780"/>
                        </a:lnTo>
                        <a:lnTo>
                          <a:pt x="1476" y="774"/>
                        </a:lnTo>
                        <a:lnTo>
                          <a:pt x="1482" y="774"/>
                        </a:lnTo>
                        <a:lnTo>
                          <a:pt x="1476" y="768"/>
                        </a:lnTo>
                        <a:lnTo>
                          <a:pt x="1410" y="768"/>
                        </a:lnTo>
                        <a:lnTo>
                          <a:pt x="1398" y="774"/>
                        </a:lnTo>
                        <a:lnTo>
                          <a:pt x="1392" y="774"/>
                        </a:lnTo>
                        <a:lnTo>
                          <a:pt x="1380" y="780"/>
                        </a:lnTo>
                        <a:lnTo>
                          <a:pt x="1374" y="786"/>
                        </a:lnTo>
                        <a:lnTo>
                          <a:pt x="1368" y="786"/>
                        </a:lnTo>
                        <a:lnTo>
                          <a:pt x="1362" y="792"/>
                        </a:lnTo>
                        <a:lnTo>
                          <a:pt x="1278" y="792"/>
                        </a:lnTo>
                        <a:lnTo>
                          <a:pt x="1254" y="804"/>
                        </a:lnTo>
                        <a:lnTo>
                          <a:pt x="1248" y="810"/>
                        </a:lnTo>
                        <a:lnTo>
                          <a:pt x="1236" y="816"/>
                        </a:lnTo>
                        <a:lnTo>
                          <a:pt x="1230" y="822"/>
                        </a:lnTo>
                        <a:lnTo>
                          <a:pt x="1212" y="822"/>
                        </a:lnTo>
                        <a:lnTo>
                          <a:pt x="1158" y="846"/>
                        </a:lnTo>
                        <a:lnTo>
                          <a:pt x="1140" y="846"/>
                        </a:lnTo>
                        <a:lnTo>
                          <a:pt x="1128" y="858"/>
                        </a:lnTo>
                        <a:lnTo>
                          <a:pt x="1122" y="870"/>
                        </a:lnTo>
                        <a:lnTo>
                          <a:pt x="1122" y="876"/>
                        </a:lnTo>
                        <a:lnTo>
                          <a:pt x="1116" y="876"/>
                        </a:lnTo>
                        <a:lnTo>
                          <a:pt x="1110" y="870"/>
                        </a:lnTo>
                        <a:lnTo>
                          <a:pt x="1110" y="846"/>
                        </a:lnTo>
                        <a:lnTo>
                          <a:pt x="1116" y="846"/>
                        </a:lnTo>
                        <a:lnTo>
                          <a:pt x="1152" y="834"/>
                        </a:lnTo>
                        <a:lnTo>
                          <a:pt x="1176" y="822"/>
                        </a:lnTo>
                        <a:lnTo>
                          <a:pt x="1194" y="816"/>
                        </a:lnTo>
                        <a:lnTo>
                          <a:pt x="1188" y="810"/>
                        </a:lnTo>
                        <a:lnTo>
                          <a:pt x="1176" y="810"/>
                        </a:lnTo>
                        <a:lnTo>
                          <a:pt x="1164" y="804"/>
                        </a:lnTo>
                        <a:lnTo>
                          <a:pt x="1140" y="804"/>
                        </a:lnTo>
                        <a:lnTo>
                          <a:pt x="1122" y="822"/>
                        </a:lnTo>
                        <a:lnTo>
                          <a:pt x="1110" y="828"/>
                        </a:lnTo>
                        <a:lnTo>
                          <a:pt x="1092" y="828"/>
                        </a:lnTo>
                        <a:lnTo>
                          <a:pt x="1080" y="834"/>
                        </a:lnTo>
                        <a:lnTo>
                          <a:pt x="1068" y="834"/>
                        </a:lnTo>
                        <a:lnTo>
                          <a:pt x="1068" y="840"/>
                        </a:lnTo>
                        <a:lnTo>
                          <a:pt x="1062" y="846"/>
                        </a:lnTo>
                        <a:lnTo>
                          <a:pt x="1062" y="876"/>
                        </a:lnTo>
                        <a:lnTo>
                          <a:pt x="1038" y="858"/>
                        </a:lnTo>
                        <a:lnTo>
                          <a:pt x="972" y="852"/>
                        </a:lnTo>
                        <a:lnTo>
                          <a:pt x="960" y="846"/>
                        </a:lnTo>
                        <a:lnTo>
                          <a:pt x="948" y="834"/>
                        </a:lnTo>
                        <a:lnTo>
                          <a:pt x="936" y="834"/>
                        </a:lnTo>
                        <a:lnTo>
                          <a:pt x="936" y="828"/>
                        </a:lnTo>
                        <a:lnTo>
                          <a:pt x="942" y="822"/>
                        </a:lnTo>
                        <a:lnTo>
                          <a:pt x="942" y="810"/>
                        </a:lnTo>
                        <a:lnTo>
                          <a:pt x="948" y="804"/>
                        </a:lnTo>
                        <a:lnTo>
                          <a:pt x="834" y="804"/>
                        </a:lnTo>
                        <a:lnTo>
                          <a:pt x="852" y="804"/>
                        </a:lnTo>
                        <a:lnTo>
                          <a:pt x="78" y="1440"/>
                        </a:lnTo>
                        <a:lnTo>
                          <a:pt x="72" y="1446"/>
                        </a:lnTo>
                        <a:lnTo>
                          <a:pt x="60" y="1452"/>
                        </a:lnTo>
                        <a:lnTo>
                          <a:pt x="54" y="1464"/>
                        </a:lnTo>
                        <a:lnTo>
                          <a:pt x="54" y="1476"/>
                        </a:lnTo>
                        <a:lnTo>
                          <a:pt x="108" y="1476"/>
                        </a:lnTo>
                        <a:lnTo>
                          <a:pt x="120" y="1464"/>
                        </a:lnTo>
                        <a:lnTo>
                          <a:pt x="156" y="1464"/>
                        </a:lnTo>
                        <a:lnTo>
                          <a:pt x="132" y="1488"/>
                        </a:lnTo>
                        <a:lnTo>
                          <a:pt x="132" y="1494"/>
                        </a:lnTo>
                        <a:lnTo>
                          <a:pt x="138" y="1506"/>
                        </a:lnTo>
                        <a:lnTo>
                          <a:pt x="138" y="1524"/>
                        </a:lnTo>
                        <a:lnTo>
                          <a:pt x="144" y="1530"/>
                        </a:lnTo>
                        <a:lnTo>
                          <a:pt x="156" y="1536"/>
                        </a:lnTo>
                        <a:lnTo>
                          <a:pt x="162" y="1542"/>
                        </a:lnTo>
                        <a:lnTo>
                          <a:pt x="144" y="1560"/>
                        </a:lnTo>
                        <a:lnTo>
                          <a:pt x="144" y="1572"/>
                        </a:lnTo>
                        <a:lnTo>
                          <a:pt x="150" y="1572"/>
                        </a:lnTo>
                        <a:lnTo>
                          <a:pt x="156" y="1566"/>
                        </a:lnTo>
                        <a:lnTo>
                          <a:pt x="168" y="1560"/>
                        </a:lnTo>
                        <a:lnTo>
                          <a:pt x="174" y="1554"/>
                        </a:lnTo>
                        <a:lnTo>
                          <a:pt x="180" y="1554"/>
                        </a:lnTo>
                        <a:lnTo>
                          <a:pt x="186" y="1548"/>
                        </a:lnTo>
                        <a:lnTo>
                          <a:pt x="198" y="1548"/>
                        </a:lnTo>
                        <a:lnTo>
                          <a:pt x="210" y="1542"/>
                        </a:lnTo>
                        <a:lnTo>
                          <a:pt x="222" y="1542"/>
                        </a:lnTo>
                        <a:lnTo>
                          <a:pt x="234" y="1536"/>
                        </a:lnTo>
                        <a:lnTo>
                          <a:pt x="240" y="1530"/>
                        </a:lnTo>
                        <a:lnTo>
                          <a:pt x="258" y="1530"/>
                        </a:lnTo>
                        <a:lnTo>
                          <a:pt x="258" y="1518"/>
                        </a:lnTo>
                        <a:lnTo>
                          <a:pt x="264" y="1518"/>
                        </a:lnTo>
                        <a:lnTo>
                          <a:pt x="270" y="1512"/>
                        </a:lnTo>
                        <a:lnTo>
                          <a:pt x="282" y="1512"/>
                        </a:lnTo>
                        <a:lnTo>
                          <a:pt x="300" y="1506"/>
                        </a:lnTo>
                        <a:lnTo>
                          <a:pt x="312" y="1506"/>
                        </a:lnTo>
                        <a:lnTo>
                          <a:pt x="330" y="1512"/>
                        </a:lnTo>
                        <a:lnTo>
                          <a:pt x="336" y="1518"/>
                        </a:lnTo>
                        <a:lnTo>
                          <a:pt x="330" y="1524"/>
                        </a:lnTo>
                        <a:lnTo>
                          <a:pt x="324" y="1524"/>
                        </a:lnTo>
                        <a:lnTo>
                          <a:pt x="318" y="1530"/>
                        </a:lnTo>
                        <a:lnTo>
                          <a:pt x="318" y="1560"/>
                        </a:lnTo>
                        <a:lnTo>
                          <a:pt x="306" y="1572"/>
                        </a:lnTo>
                        <a:lnTo>
                          <a:pt x="324" y="1590"/>
                        </a:lnTo>
                        <a:lnTo>
                          <a:pt x="330" y="1602"/>
                        </a:lnTo>
                        <a:lnTo>
                          <a:pt x="330" y="1620"/>
                        </a:lnTo>
                        <a:lnTo>
                          <a:pt x="312" y="1656"/>
                        </a:lnTo>
                        <a:lnTo>
                          <a:pt x="312" y="1698"/>
                        </a:lnTo>
                        <a:lnTo>
                          <a:pt x="306" y="1704"/>
                        </a:lnTo>
                        <a:lnTo>
                          <a:pt x="300" y="1716"/>
                        </a:lnTo>
                        <a:lnTo>
                          <a:pt x="300" y="1728"/>
                        </a:lnTo>
                        <a:lnTo>
                          <a:pt x="294" y="1740"/>
                        </a:lnTo>
                        <a:lnTo>
                          <a:pt x="294" y="1746"/>
                        </a:lnTo>
                        <a:lnTo>
                          <a:pt x="300" y="1752"/>
                        </a:lnTo>
                        <a:lnTo>
                          <a:pt x="312" y="1758"/>
                        </a:lnTo>
                        <a:lnTo>
                          <a:pt x="318" y="1764"/>
                        </a:lnTo>
                        <a:lnTo>
                          <a:pt x="324" y="1764"/>
                        </a:lnTo>
                        <a:lnTo>
                          <a:pt x="330" y="1770"/>
                        </a:lnTo>
                        <a:lnTo>
                          <a:pt x="330" y="1776"/>
                        </a:lnTo>
                        <a:lnTo>
                          <a:pt x="348" y="1776"/>
                        </a:lnTo>
                        <a:lnTo>
                          <a:pt x="354" y="1782"/>
                        </a:lnTo>
                        <a:lnTo>
                          <a:pt x="354" y="1794"/>
                        </a:lnTo>
                        <a:lnTo>
                          <a:pt x="342" y="1800"/>
                        </a:lnTo>
                        <a:lnTo>
                          <a:pt x="330" y="1812"/>
                        </a:lnTo>
                        <a:lnTo>
                          <a:pt x="318" y="1818"/>
                        </a:lnTo>
                        <a:lnTo>
                          <a:pt x="318" y="1830"/>
                        </a:lnTo>
                        <a:lnTo>
                          <a:pt x="312" y="1842"/>
                        </a:lnTo>
                        <a:lnTo>
                          <a:pt x="294" y="1860"/>
                        </a:lnTo>
                        <a:lnTo>
                          <a:pt x="282" y="1866"/>
                        </a:lnTo>
                        <a:lnTo>
                          <a:pt x="270" y="1878"/>
                        </a:lnTo>
                        <a:lnTo>
                          <a:pt x="252" y="1884"/>
                        </a:lnTo>
                        <a:lnTo>
                          <a:pt x="234" y="1896"/>
                        </a:lnTo>
                        <a:lnTo>
                          <a:pt x="228" y="1902"/>
                        </a:lnTo>
                        <a:lnTo>
                          <a:pt x="222" y="1914"/>
                        </a:lnTo>
                        <a:lnTo>
                          <a:pt x="222" y="1926"/>
                        </a:lnTo>
                        <a:lnTo>
                          <a:pt x="216" y="1932"/>
                        </a:lnTo>
                        <a:lnTo>
                          <a:pt x="216" y="1944"/>
                        </a:lnTo>
                        <a:lnTo>
                          <a:pt x="204" y="1956"/>
                        </a:lnTo>
                        <a:lnTo>
                          <a:pt x="210" y="1962"/>
                        </a:lnTo>
                        <a:lnTo>
                          <a:pt x="216" y="1962"/>
                        </a:lnTo>
                        <a:lnTo>
                          <a:pt x="216" y="1974"/>
                        </a:lnTo>
                        <a:lnTo>
                          <a:pt x="228" y="1986"/>
                        </a:lnTo>
                        <a:lnTo>
                          <a:pt x="240" y="1980"/>
                        </a:lnTo>
                        <a:lnTo>
                          <a:pt x="246" y="1968"/>
                        </a:lnTo>
                        <a:lnTo>
                          <a:pt x="258" y="1962"/>
                        </a:lnTo>
                        <a:lnTo>
                          <a:pt x="276" y="1956"/>
                        </a:lnTo>
                        <a:lnTo>
                          <a:pt x="294" y="1938"/>
                        </a:lnTo>
                        <a:lnTo>
                          <a:pt x="306" y="1938"/>
                        </a:lnTo>
                        <a:lnTo>
                          <a:pt x="306" y="1944"/>
                        </a:lnTo>
                        <a:lnTo>
                          <a:pt x="300" y="1950"/>
                        </a:lnTo>
                        <a:lnTo>
                          <a:pt x="288" y="1956"/>
                        </a:lnTo>
                        <a:lnTo>
                          <a:pt x="282" y="1956"/>
                        </a:lnTo>
                        <a:lnTo>
                          <a:pt x="276" y="1962"/>
                        </a:lnTo>
                        <a:lnTo>
                          <a:pt x="276" y="1974"/>
                        </a:lnTo>
                        <a:lnTo>
                          <a:pt x="282" y="1986"/>
                        </a:lnTo>
                        <a:lnTo>
                          <a:pt x="294" y="1998"/>
                        </a:lnTo>
                        <a:lnTo>
                          <a:pt x="252" y="1992"/>
                        </a:lnTo>
                        <a:lnTo>
                          <a:pt x="246" y="1998"/>
                        </a:lnTo>
                        <a:lnTo>
                          <a:pt x="240" y="2010"/>
                        </a:lnTo>
                        <a:lnTo>
                          <a:pt x="234" y="2016"/>
                        </a:lnTo>
                        <a:lnTo>
                          <a:pt x="228" y="2028"/>
                        </a:lnTo>
                        <a:lnTo>
                          <a:pt x="228" y="2034"/>
                        </a:lnTo>
                        <a:lnTo>
                          <a:pt x="234" y="2034"/>
                        </a:lnTo>
                        <a:lnTo>
                          <a:pt x="240" y="2040"/>
                        </a:lnTo>
                        <a:lnTo>
                          <a:pt x="252" y="2040"/>
                        </a:lnTo>
                        <a:lnTo>
                          <a:pt x="258" y="2046"/>
                        </a:lnTo>
                        <a:lnTo>
                          <a:pt x="252" y="2052"/>
                        </a:lnTo>
                        <a:lnTo>
                          <a:pt x="252" y="2058"/>
                        </a:lnTo>
                        <a:lnTo>
                          <a:pt x="246" y="2070"/>
                        </a:lnTo>
                        <a:lnTo>
                          <a:pt x="246" y="2076"/>
                        </a:lnTo>
                        <a:lnTo>
                          <a:pt x="252" y="2070"/>
                        </a:lnTo>
                        <a:lnTo>
                          <a:pt x="288" y="2052"/>
                        </a:lnTo>
                        <a:lnTo>
                          <a:pt x="306" y="2034"/>
                        </a:lnTo>
                        <a:lnTo>
                          <a:pt x="318" y="2028"/>
                        </a:lnTo>
                        <a:lnTo>
                          <a:pt x="318" y="2040"/>
                        </a:lnTo>
                        <a:lnTo>
                          <a:pt x="288" y="2058"/>
                        </a:lnTo>
                        <a:lnTo>
                          <a:pt x="312" y="2064"/>
                        </a:lnTo>
                        <a:lnTo>
                          <a:pt x="312" y="2076"/>
                        </a:lnTo>
                        <a:lnTo>
                          <a:pt x="294" y="2094"/>
                        </a:lnTo>
                        <a:lnTo>
                          <a:pt x="276" y="2076"/>
                        </a:lnTo>
                        <a:lnTo>
                          <a:pt x="270" y="2076"/>
                        </a:lnTo>
                        <a:lnTo>
                          <a:pt x="264" y="2082"/>
                        </a:lnTo>
                        <a:lnTo>
                          <a:pt x="240" y="2094"/>
                        </a:lnTo>
                        <a:lnTo>
                          <a:pt x="228" y="2094"/>
                        </a:lnTo>
                        <a:lnTo>
                          <a:pt x="216" y="2106"/>
                        </a:lnTo>
                        <a:lnTo>
                          <a:pt x="210" y="2118"/>
                        </a:lnTo>
                        <a:lnTo>
                          <a:pt x="204" y="2124"/>
                        </a:lnTo>
                        <a:lnTo>
                          <a:pt x="210" y="2118"/>
                        </a:lnTo>
                        <a:lnTo>
                          <a:pt x="222" y="2118"/>
                        </a:lnTo>
                        <a:lnTo>
                          <a:pt x="228" y="2112"/>
                        </a:lnTo>
                        <a:lnTo>
                          <a:pt x="276" y="2112"/>
                        </a:lnTo>
                        <a:lnTo>
                          <a:pt x="270" y="2112"/>
                        </a:lnTo>
                        <a:lnTo>
                          <a:pt x="264" y="2118"/>
                        </a:lnTo>
                        <a:lnTo>
                          <a:pt x="252" y="2118"/>
                        </a:lnTo>
                        <a:lnTo>
                          <a:pt x="240" y="2124"/>
                        </a:lnTo>
                        <a:lnTo>
                          <a:pt x="228" y="2124"/>
                        </a:lnTo>
                        <a:lnTo>
                          <a:pt x="216" y="2130"/>
                        </a:lnTo>
                        <a:lnTo>
                          <a:pt x="210" y="2130"/>
                        </a:lnTo>
                        <a:lnTo>
                          <a:pt x="210" y="2148"/>
                        </a:lnTo>
                        <a:lnTo>
                          <a:pt x="204" y="2148"/>
                        </a:lnTo>
                        <a:lnTo>
                          <a:pt x="198" y="2142"/>
                        </a:lnTo>
                        <a:lnTo>
                          <a:pt x="174" y="2142"/>
                        </a:lnTo>
                        <a:lnTo>
                          <a:pt x="174" y="2154"/>
                        </a:lnTo>
                        <a:lnTo>
                          <a:pt x="180" y="2166"/>
                        </a:lnTo>
                        <a:lnTo>
                          <a:pt x="192" y="2172"/>
                        </a:lnTo>
                        <a:lnTo>
                          <a:pt x="198" y="2178"/>
                        </a:lnTo>
                        <a:lnTo>
                          <a:pt x="246" y="2160"/>
                        </a:lnTo>
                        <a:lnTo>
                          <a:pt x="264" y="2184"/>
                        </a:lnTo>
                        <a:lnTo>
                          <a:pt x="300" y="2166"/>
                        </a:lnTo>
                        <a:lnTo>
                          <a:pt x="294" y="2172"/>
                        </a:lnTo>
                        <a:lnTo>
                          <a:pt x="288" y="2184"/>
                        </a:lnTo>
                        <a:lnTo>
                          <a:pt x="276" y="2190"/>
                        </a:lnTo>
                        <a:lnTo>
                          <a:pt x="270" y="2196"/>
                        </a:lnTo>
                        <a:lnTo>
                          <a:pt x="264" y="2208"/>
                        </a:lnTo>
                        <a:lnTo>
                          <a:pt x="264" y="2214"/>
                        </a:lnTo>
                        <a:lnTo>
                          <a:pt x="276" y="2214"/>
                        </a:lnTo>
                        <a:lnTo>
                          <a:pt x="282" y="2208"/>
                        </a:lnTo>
                        <a:lnTo>
                          <a:pt x="300" y="2202"/>
                        </a:lnTo>
                        <a:lnTo>
                          <a:pt x="318" y="2184"/>
                        </a:lnTo>
                        <a:lnTo>
                          <a:pt x="330" y="2178"/>
                        </a:lnTo>
                        <a:lnTo>
                          <a:pt x="306" y="2202"/>
                        </a:lnTo>
                        <a:lnTo>
                          <a:pt x="300" y="2214"/>
                        </a:lnTo>
                        <a:lnTo>
                          <a:pt x="294" y="2220"/>
                        </a:lnTo>
                        <a:lnTo>
                          <a:pt x="300" y="2220"/>
                        </a:lnTo>
                        <a:lnTo>
                          <a:pt x="312" y="2214"/>
                        </a:lnTo>
                        <a:lnTo>
                          <a:pt x="324" y="2214"/>
                        </a:lnTo>
                        <a:lnTo>
                          <a:pt x="318" y="2220"/>
                        </a:lnTo>
                        <a:lnTo>
                          <a:pt x="306" y="2226"/>
                        </a:lnTo>
                        <a:lnTo>
                          <a:pt x="300" y="2238"/>
                        </a:lnTo>
                        <a:lnTo>
                          <a:pt x="282" y="2256"/>
                        </a:lnTo>
                        <a:lnTo>
                          <a:pt x="288" y="2262"/>
                        </a:lnTo>
                        <a:lnTo>
                          <a:pt x="294" y="2262"/>
                        </a:lnTo>
                        <a:lnTo>
                          <a:pt x="342" y="2238"/>
                        </a:lnTo>
                        <a:lnTo>
                          <a:pt x="348" y="2232"/>
                        </a:lnTo>
                        <a:lnTo>
                          <a:pt x="324" y="2256"/>
                        </a:lnTo>
                        <a:lnTo>
                          <a:pt x="318" y="2268"/>
                        </a:lnTo>
                        <a:lnTo>
                          <a:pt x="318" y="2274"/>
                        </a:lnTo>
                        <a:lnTo>
                          <a:pt x="330" y="2280"/>
                        </a:lnTo>
                        <a:lnTo>
                          <a:pt x="342" y="2280"/>
                        </a:lnTo>
                        <a:lnTo>
                          <a:pt x="354" y="2292"/>
                        </a:lnTo>
                        <a:lnTo>
                          <a:pt x="354" y="2298"/>
                        </a:lnTo>
                        <a:lnTo>
                          <a:pt x="348" y="2304"/>
                        </a:lnTo>
                        <a:lnTo>
                          <a:pt x="348" y="2340"/>
                        </a:lnTo>
                        <a:lnTo>
                          <a:pt x="2058" y="2340"/>
                        </a:lnTo>
                        <a:lnTo>
                          <a:pt x="2064" y="2328"/>
                        </a:lnTo>
                        <a:lnTo>
                          <a:pt x="2064" y="2322"/>
                        </a:lnTo>
                        <a:lnTo>
                          <a:pt x="2070" y="2310"/>
                        </a:lnTo>
                        <a:lnTo>
                          <a:pt x="2076" y="2304"/>
                        </a:lnTo>
                        <a:lnTo>
                          <a:pt x="2088" y="2298"/>
                        </a:lnTo>
                        <a:lnTo>
                          <a:pt x="2100" y="2310"/>
                        </a:lnTo>
                        <a:lnTo>
                          <a:pt x="2088" y="2322"/>
                        </a:lnTo>
                        <a:lnTo>
                          <a:pt x="2082" y="2334"/>
                        </a:lnTo>
                        <a:lnTo>
                          <a:pt x="2082" y="2346"/>
                        </a:lnTo>
                        <a:lnTo>
                          <a:pt x="2094" y="2352"/>
                        </a:lnTo>
                        <a:lnTo>
                          <a:pt x="2112" y="2358"/>
                        </a:lnTo>
                        <a:lnTo>
                          <a:pt x="2124" y="2358"/>
                        </a:lnTo>
                        <a:lnTo>
                          <a:pt x="2142" y="2376"/>
                        </a:lnTo>
                        <a:lnTo>
                          <a:pt x="2154" y="2376"/>
                        </a:lnTo>
                        <a:lnTo>
                          <a:pt x="2154" y="2370"/>
                        </a:lnTo>
                        <a:lnTo>
                          <a:pt x="2166" y="2358"/>
                        </a:lnTo>
                        <a:lnTo>
                          <a:pt x="2178" y="2358"/>
                        </a:lnTo>
                        <a:lnTo>
                          <a:pt x="2190" y="2364"/>
                        </a:lnTo>
                        <a:lnTo>
                          <a:pt x="2202" y="2376"/>
                        </a:lnTo>
                        <a:lnTo>
                          <a:pt x="2202" y="2382"/>
                        </a:lnTo>
                        <a:lnTo>
                          <a:pt x="2208" y="2388"/>
                        </a:lnTo>
                        <a:lnTo>
                          <a:pt x="2238" y="2388"/>
                        </a:lnTo>
                        <a:lnTo>
                          <a:pt x="2256" y="2406"/>
                        </a:lnTo>
                        <a:lnTo>
                          <a:pt x="2268" y="2406"/>
                        </a:lnTo>
                        <a:lnTo>
                          <a:pt x="2280" y="2394"/>
                        </a:lnTo>
                        <a:lnTo>
                          <a:pt x="2292" y="2388"/>
                        </a:lnTo>
                        <a:lnTo>
                          <a:pt x="2298" y="2382"/>
                        </a:lnTo>
                        <a:lnTo>
                          <a:pt x="2298" y="2400"/>
                        </a:lnTo>
                        <a:lnTo>
                          <a:pt x="2346" y="2394"/>
                        </a:lnTo>
                        <a:lnTo>
                          <a:pt x="2346" y="2400"/>
                        </a:lnTo>
                        <a:lnTo>
                          <a:pt x="2352" y="2400"/>
                        </a:lnTo>
                        <a:lnTo>
                          <a:pt x="2364" y="2406"/>
                        </a:lnTo>
                        <a:lnTo>
                          <a:pt x="2382" y="2406"/>
                        </a:lnTo>
                        <a:lnTo>
                          <a:pt x="2394" y="2394"/>
                        </a:lnTo>
                        <a:lnTo>
                          <a:pt x="2406" y="2388"/>
                        </a:lnTo>
                        <a:lnTo>
                          <a:pt x="2412" y="2376"/>
                        </a:lnTo>
                        <a:lnTo>
                          <a:pt x="2412" y="2370"/>
                        </a:lnTo>
                        <a:lnTo>
                          <a:pt x="2430" y="2370"/>
                        </a:lnTo>
                        <a:lnTo>
                          <a:pt x="2436" y="2376"/>
                        </a:lnTo>
                        <a:lnTo>
                          <a:pt x="2442" y="2376"/>
                        </a:lnTo>
                        <a:lnTo>
                          <a:pt x="2454" y="2364"/>
                        </a:lnTo>
                        <a:lnTo>
                          <a:pt x="2460" y="2352"/>
                        </a:lnTo>
                        <a:lnTo>
                          <a:pt x="2466" y="2346"/>
                        </a:lnTo>
                        <a:lnTo>
                          <a:pt x="2472" y="2346"/>
                        </a:lnTo>
                        <a:lnTo>
                          <a:pt x="2472" y="2352"/>
                        </a:lnTo>
                        <a:lnTo>
                          <a:pt x="2478" y="2358"/>
                        </a:lnTo>
                        <a:lnTo>
                          <a:pt x="2502" y="2352"/>
                        </a:lnTo>
                        <a:lnTo>
                          <a:pt x="2496" y="2346"/>
                        </a:lnTo>
                        <a:lnTo>
                          <a:pt x="2496" y="2334"/>
                        </a:lnTo>
                        <a:lnTo>
                          <a:pt x="2502" y="2328"/>
                        </a:lnTo>
                        <a:lnTo>
                          <a:pt x="2514" y="2322"/>
                        </a:lnTo>
                        <a:lnTo>
                          <a:pt x="2532" y="2340"/>
                        </a:lnTo>
                        <a:lnTo>
                          <a:pt x="2556" y="2340"/>
                        </a:lnTo>
                        <a:lnTo>
                          <a:pt x="2562" y="2346"/>
                        </a:lnTo>
                        <a:lnTo>
                          <a:pt x="2580" y="2346"/>
                        </a:lnTo>
                        <a:lnTo>
                          <a:pt x="2604" y="2358"/>
                        </a:lnTo>
                        <a:lnTo>
                          <a:pt x="2604" y="2370"/>
                        </a:lnTo>
                        <a:lnTo>
                          <a:pt x="2598" y="2382"/>
                        </a:lnTo>
                        <a:lnTo>
                          <a:pt x="2598" y="2388"/>
                        </a:lnTo>
                        <a:lnTo>
                          <a:pt x="2592" y="2400"/>
                        </a:lnTo>
                        <a:lnTo>
                          <a:pt x="2604" y="2412"/>
                        </a:lnTo>
                        <a:lnTo>
                          <a:pt x="2592" y="2436"/>
                        </a:lnTo>
                        <a:lnTo>
                          <a:pt x="2598" y="2436"/>
                        </a:lnTo>
                        <a:lnTo>
                          <a:pt x="2604" y="2430"/>
                        </a:lnTo>
                        <a:lnTo>
                          <a:pt x="2616" y="2424"/>
                        </a:lnTo>
                        <a:lnTo>
                          <a:pt x="2634" y="2418"/>
                        </a:lnTo>
                        <a:lnTo>
                          <a:pt x="2646" y="2412"/>
                        </a:lnTo>
                        <a:lnTo>
                          <a:pt x="2670" y="2412"/>
                        </a:lnTo>
                        <a:lnTo>
                          <a:pt x="2670" y="2424"/>
                        </a:lnTo>
                        <a:lnTo>
                          <a:pt x="2658" y="2430"/>
                        </a:lnTo>
                        <a:lnTo>
                          <a:pt x="2652" y="2436"/>
                        </a:lnTo>
                        <a:lnTo>
                          <a:pt x="2646" y="2436"/>
                        </a:lnTo>
                        <a:lnTo>
                          <a:pt x="2640" y="2442"/>
                        </a:lnTo>
                        <a:lnTo>
                          <a:pt x="2646" y="2448"/>
                        </a:lnTo>
                        <a:lnTo>
                          <a:pt x="2652" y="2448"/>
                        </a:lnTo>
                        <a:lnTo>
                          <a:pt x="2664" y="2460"/>
                        </a:lnTo>
                        <a:lnTo>
                          <a:pt x="2640" y="2484"/>
                        </a:lnTo>
                        <a:lnTo>
                          <a:pt x="2640" y="2490"/>
                        </a:lnTo>
                        <a:lnTo>
                          <a:pt x="2652" y="2490"/>
                        </a:lnTo>
                        <a:lnTo>
                          <a:pt x="2652" y="2502"/>
                        </a:lnTo>
                        <a:lnTo>
                          <a:pt x="2640" y="2514"/>
                        </a:lnTo>
                        <a:lnTo>
                          <a:pt x="2640" y="2526"/>
                        </a:lnTo>
                        <a:lnTo>
                          <a:pt x="2658" y="2526"/>
                        </a:lnTo>
                        <a:lnTo>
                          <a:pt x="2652" y="2544"/>
                        </a:lnTo>
                        <a:lnTo>
                          <a:pt x="2658" y="2544"/>
                        </a:lnTo>
                        <a:lnTo>
                          <a:pt x="2670" y="2550"/>
                        </a:lnTo>
                        <a:lnTo>
                          <a:pt x="2754" y="2550"/>
                        </a:lnTo>
                        <a:lnTo>
                          <a:pt x="2766" y="2556"/>
                        </a:lnTo>
                        <a:lnTo>
                          <a:pt x="2784" y="2568"/>
                        </a:lnTo>
                        <a:lnTo>
                          <a:pt x="2838" y="2568"/>
                        </a:lnTo>
                        <a:lnTo>
                          <a:pt x="2850" y="2574"/>
                        </a:lnTo>
                        <a:lnTo>
                          <a:pt x="2856" y="2580"/>
                        </a:lnTo>
                        <a:lnTo>
                          <a:pt x="2856" y="2610"/>
                        </a:lnTo>
                        <a:lnTo>
                          <a:pt x="2874" y="2610"/>
                        </a:lnTo>
                        <a:lnTo>
                          <a:pt x="2874" y="2628"/>
                        </a:lnTo>
                        <a:lnTo>
                          <a:pt x="2862" y="2640"/>
                        </a:lnTo>
                        <a:lnTo>
                          <a:pt x="2862" y="2652"/>
                        </a:lnTo>
                        <a:lnTo>
                          <a:pt x="2874" y="2664"/>
                        </a:lnTo>
                        <a:lnTo>
                          <a:pt x="2880" y="2664"/>
                        </a:lnTo>
                        <a:lnTo>
                          <a:pt x="2856" y="2658"/>
                        </a:lnTo>
                        <a:lnTo>
                          <a:pt x="2856" y="2670"/>
                        </a:lnTo>
                        <a:lnTo>
                          <a:pt x="2850" y="2676"/>
                        </a:lnTo>
                        <a:lnTo>
                          <a:pt x="2844" y="2688"/>
                        </a:lnTo>
                        <a:lnTo>
                          <a:pt x="2838" y="2694"/>
                        </a:lnTo>
                        <a:lnTo>
                          <a:pt x="2832" y="2688"/>
                        </a:lnTo>
                        <a:lnTo>
                          <a:pt x="2820" y="2682"/>
                        </a:lnTo>
                        <a:lnTo>
                          <a:pt x="2802" y="2670"/>
                        </a:lnTo>
                        <a:lnTo>
                          <a:pt x="2790" y="2664"/>
                        </a:lnTo>
                        <a:lnTo>
                          <a:pt x="2784" y="2652"/>
                        </a:lnTo>
                        <a:lnTo>
                          <a:pt x="2784" y="2628"/>
                        </a:lnTo>
                        <a:lnTo>
                          <a:pt x="2766" y="2622"/>
                        </a:lnTo>
                        <a:lnTo>
                          <a:pt x="2772" y="2640"/>
                        </a:lnTo>
                        <a:lnTo>
                          <a:pt x="2772" y="2646"/>
                        </a:lnTo>
                        <a:lnTo>
                          <a:pt x="2778" y="2652"/>
                        </a:lnTo>
                        <a:lnTo>
                          <a:pt x="2778" y="2664"/>
                        </a:lnTo>
                        <a:lnTo>
                          <a:pt x="2772" y="2676"/>
                        </a:lnTo>
                        <a:lnTo>
                          <a:pt x="2760" y="2688"/>
                        </a:lnTo>
                        <a:lnTo>
                          <a:pt x="2754" y="2700"/>
                        </a:lnTo>
                        <a:lnTo>
                          <a:pt x="2736" y="2706"/>
                        </a:lnTo>
                        <a:lnTo>
                          <a:pt x="2718" y="2724"/>
                        </a:lnTo>
                        <a:lnTo>
                          <a:pt x="2712" y="2742"/>
                        </a:lnTo>
                        <a:lnTo>
                          <a:pt x="2700" y="2760"/>
                        </a:lnTo>
                        <a:lnTo>
                          <a:pt x="2694" y="2778"/>
                        </a:lnTo>
                        <a:lnTo>
                          <a:pt x="2688" y="2784"/>
                        </a:lnTo>
                        <a:lnTo>
                          <a:pt x="2664" y="2796"/>
                        </a:lnTo>
                        <a:lnTo>
                          <a:pt x="2652" y="2796"/>
                        </a:lnTo>
                        <a:lnTo>
                          <a:pt x="2646" y="2790"/>
                        </a:lnTo>
                        <a:lnTo>
                          <a:pt x="2640" y="2802"/>
                        </a:lnTo>
                        <a:lnTo>
                          <a:pt x="2634" y="2808"/>
                        </a:lnTo>
                        <a:lnTo>
                          <a:pt x="2634" y="2832"/>
                        </a:lnTo>
                        <a:lnTo>
                          <a:pt x="2628" y="2838"/>
                        </a:lnTo>
                        <a:lnTo>
                          <a:pt x="2622" y="2838"/>
                        </a:lnTo>
                        <a:lnTo>
                          <a:pt x="2586" y="2856"/>
                        </a:lnTo>
                        <a:lnTo>
                          <a:pt x="2562" y="2880"/>
                        </a:lnTo>
                        <a:lnTo>
                          <a:pt x="2562" y="2886"/>
                        </a:lnTo>
                        <a:lnTo>
                          <a:pt x="2568" y="2886"/>
                        </a:lnTo>
                        <a:lnTo>
                          <a:pt x="2580" y="2880"/>
                        </a:lnTo>
                        <a:lnTo>
                          <a:pt x="2592" y="2880"/>
                        </a:lnTo>
                        <a:lnTo>
                          <a:pt x="2598" y="2886"/>
                        </a:lnTo>
                        <a:lnTo>
                          <a:pt x="2610" y="2880"/>
                        </a:lnTo>
                        <a:lnTo>
                          <a:pt x="2616" y="2868"/>
                        </a:lnTo>
                        <a:lnTo>
                          <a:pt x="2628" y="2862"/>
                        </a:lnTo>
                        <a:lnTo>
                          <a:pt x="2658" y="2862"/>
                        </a:lnTo>
                        <a:lnTo>
                          <a:pt x="2658" y="2856"/>
                        </a:lnTo>
                        <a:lnTo>
                          <a:pt x="2664" y="2844"/>
                        </a:lnTo>
                        <a:lnTo>
                          <a:pt x="2676" y="2838"/>
                        </a:lnTo>
                        <a:lnTo>
                          <a:pt x="2682" y="2832"/>
                        </a:lnTo>
                        <a:lnTo>
                          <a:pt x="2754" y="2832"/>
                        </a:lnTo>
                        <a:lnTo>
                          <a:pt x="2766" y="2838"/>
                        </a:lnTo>
                        <a:lnTo>
                          <a:pt x="2790" y="2820"/>
                        </a:lnTo>
                        <a:lnTo>
                          <a:pt x="2856" y="2820"/>
                        </a:lnTo>
                        <a:lnTo>
                          <a:pt x="2862" y="2814"/>
                        </a:lnTo>
                        <a:lnTo>
                          <a:pt x="2862" y="2790"/>
                        </a:lnTo>
                        <a:lnTo>
                          <a:pt x="2844" y="2796"/>
                        </a:lnTo>
                        <a:lnTo>
                          <a:pt x="2832" y="2796"/>
                        </a:lnTo>
                        <a:lnTo>
                          <a:pt x="2826" y="2790"/>
                        </a:lnTo>
                        <a:lnTo>
                          <a:pt x="2826" y="2784"/>
                        </a:lnTo>
                        <a:lnTo>
                          <a:pt x="2832" y="2772"/>
                        </a:lnTo>
                        <a:lnTo>
                          <a:pt x="2850" y="2754"/>
                        </a:lnTo>
                        <a:lnTo>
                          <a:pt x="2868" y="2742"/>
                        </a:lnTo>
                        <a:lnTo>
                          <a:pt x="2880" y="2736"/>
                        </a:lnTo>
                        <a:lnTo>
                          <a:pt x="2910" y="2736"/>
                        </a:lnTo>
                        <a:lnTo>
                          <a:pt x="2928" y="2730"/>
                        </a:lnTo>
                        <a:lnTo>
                          <a:pt x="2952" y="2730"/>
                        </a:lnTo>
                        <a:lnTo>
                          <a:pt x="2964" y="2724"/>
                        </a:lnTo>
                        <a:lnTo>
                          <a:pt x="2970" y="2724"/>
                        </a:lnTo>
                        <a:lnTo>
                          <a:pt x="2976" y="2718"/>
                        </a:lnTo>
                        <a:lnTo>
                          <a:pt x="2982" y="2718"/>
                        </a:lnTo>
                        <a:lnTo>
                          <a:pt x="2994" y="2724"/>
                        </a:lnTo>
                        <a:lnTo>
                          <a:pt x="3000" y="2724"/>
                        </a:lnTo>
                        <a:lnTo>
                          <a:pt x="3012" y="2730"/>
                        </a:lnTo>
                        <a:lnTo>
                          <a:pt x="3018" y="2736"/>
                        </a:lnTo>
                        <a:lnTo>
                          <a:pt x="3024" y="2736"/>
                        </a:lnTo>
                        <a:lnTo>
                          <a:pt x="3030" y="2730"/>
                        </a:lnTo>
                        <a:lnTo>
                          <a:pt x="3030" y="2712"/>
                        </a:lnTo>
                        <a:lnTo>
                          <a:pt x="3036" y="2706"/>
                        </a:lnTo>
                        <a:lnTo>
                          <a:pt x="3048" y="2700"/>
                        </a:lnTo>
                        <a:lnTo>
                          <a:pt x="3060" y="2700"/>
                        </a:lnTo>
                        <a:lnTo>
                          <a:pt x="3066" y="2706"/>
                        </a:lnTo>
                        <a:lnTo>
                          <a:pt x="3072" y="2706"/>
                        </a:lnTo>
                        <a:lnTo>
                          <a:pt x="3072" y="2700"/>
                        </a:lnTo>
                        <a:lnTo>
                          <a:pt x="3102" y="2700"/>
                        </a:lnTo>
                        <a:lnTo>
                          <a:pt x="3114" y="2688"/>
                        </a:lnTo>
                        <a:lnTo>
                          <a:pt x="3126" y="2682"/>
                        </a:lnTo>
                        <a:lnTo>
                          <a:pt x="3150" y="2658"/>
                        </a:lnTo>
                        <a:lnTo>
                          <a:pt x="3162" y="2652"/>
                        </a:lnTo>
                        <a:lnTo>
                          <a:pt x="3174" y="2640"/>
                        </a:lnTo>
                        <a:lnTo>
                          <a:pt x="3408" y="2640"/>
                        </a:lnTo>
                        <a:lnTo>
                          <a:pt x="3408" y="2634"/>
                        </a:lnTo>
                        <a:lnTo>
                          <a:pt x="3420" y="2622"/>
                        </a:lnTo>
                        <a:lnTo>
                          <a:pt x="3438" y="2622"/>
                        </a:lnTo>
                        <a:lnTo>
                          <a:pt x="3450" y="2616"/>
                        </a:lnTo>
                        <a:lnTo>
                          <a:pt x="3456" y="2616"/>
                        </a:lnTo>
                        <a:lnTo>
                          <a:pt x="3456" y="2610"/>
                        </a:lnTo>
                        <a:lnTo>
                          <a:pt x="3468" y="2598"/>
                        </a:lnTo>
                        <a:lnTo>
                          <a:pt x="3480" y="2592"/>
                        </a:lnTo>
                        <a:lnTo>
                          <a:pt x="3486" y="2586"/>
                        </a:lnTo>
                        <a:lnTo>
                          <a:pt x="3498" y="2586"/>
                        </a:lnTo>
                        <a:lnTo>
                          <a:pt x="3504" y="2592"/>
                        </a:lnTo>
                        <a:lnTo>
                          <a:pt x="3510" y="2592"/>
                        </a:lnTo>
                        <a:lnTo>
                          <a:pt x="3510" y="2568"/>
                        </a:lnTo>
                        <a:lnTo>
                          <a:pt x="3516" y="2556"/>
                        </a:lnTo>
                        <a:lnTo>
                          <a:pt x="3528" y="2544"/>
                        </a:lnTo>
                        <a:lnTo>
                          <a:pt x="3534" y="2544"/>
                        </a:lnTo>
                        <a:lnTo>
                          <a:pt x="3546" y="2532"/>
                        </a:lnTo>
                        <a:lnTo>
                          <a:pt x="3546" y="2508"/>
                        </a:lnTo>
                        <a:lnTo>
                          <a:pt x="3588" y="2484"/>
                        </a:lnTo>
                        <a:lnTo>
                          <a:pt x="3594" y="2472"/>
                        </a:lnTo>
                        <a:lnTo>
                          <a:pt x="3618" y="2448"/>
                        </a:lnTo>
                        <a:lnTo>
                          <a:pt x="3630" y="2448"/>
                        </a:lnTo>
                        <a:lnTo>
                          <a:pt x="3636" y="2454"/>
                        </a:lnTo>
                        <a:lnTo>
                          <a:pt x="3636" y="2460"/>
                        </a:lnTo>
                        <a:lnTo>
                          <a:pt x="3642" y="2466"/>
                        </a:lnTo>
                        <a:lnTo>
                          <a:pt x="3654" y="2466"/>
                        </a:lnTo>
                        <a:lnTo>
                          <a:pt x="3666" y="2460"/>
                        </a:lnTo>
                        <a:lnTo>
                          <a:pt x="3702" y="2460"/>
                        </a:lnTo>
                        <a:lnTo>
                          <a:pt x="3708" y="2466"/>
                        </a:lnTo>
                        <a:lnTo>
                          <a:pt x="3708" y="2472"/>
                        </a:lnTo>
                        <a:lnTo>
                          <a:pt x="3702" y="2496"/>
                        </a:lnTo>
                        <a:lnTo>
                          <a:pt x="3690" y="2520"/>
                        </a:lnTo>
                        <a:lnTo>
                          <a:pt x="3678" y="2550"/>
                        </a:lnTo>
                        <a:lnTo>
                          <a:pt x="3666" y="2574"/>
                        </a:lnTo>
                        <a:lnTo>
                          <a:pt x="3666" y="2586"/>
                        </a:lnTo>
                        <a:lnTo>
                          <a:pt x="3672" y="2592"/>
                        </a:lnTo>
                        <a:lnTo>
                          <a:pt x="3678" y="2592"/>
                        </a:lnTo>
                        <a:lnTo>
                          <a:pt x="3684" y="2598"/>
                        </a:lnTo>
                        <a:lnTo>
                          <a:pt x="3672" y="2610"/>
                        </a:lnTo>
                        <a:lnTo>
                          <a:pt x="3666" y="2622"/>
                        </a:lnTo>
                        <a:lnTo>
                          <a:pt x="3666" y="2628"/>
                        </a:lnTo>
                        <a:lnTo>
                          <a:pt x="3690" y="2628"/>
                        </a:lnTo>
                        <a:lnTo>
                          <a:pt x="3690" y="2634"/>
                        </a:lnTo>
                        <a:lnTo>
                          <a:pt x="3696" y="2640"/>
                        </a:lnTo>
                        <a:lnTo>
                          <a:pt x="3714" y="2640"/>
                        </a:lnTo>
                        <a:lnTo>
                          <a:pt x="3750" y="2622"/>
                        </a:lnTo>
                        <a:lnTo>
                          <a:pt x="3768" y="2604"/>
                        </a:lnTo>
                        <a:lnTo>
                          <a:pt x="3780" y="2622"/>
                        </a:lnTo>
                        <a:lnTo>
                          <a:pt x="3786" y="2622"/>
                        </a:lnTo>
                        <a:lnTo>
                          <a:pt x="3792" y="2616"/>
                        </a:lnTo>
                        <a:lnTo>
                          <a:pt x="3816" y="2604"/>
                        </a:lnTo>
                        <a:lnTo>
                          <a:pt x="3828" y="2604"/>
                        </a:lnTo>
                        <a:lnTo>
                          <a:pt x="3840" y="2592"/>
                        </a:lnTo>
                        <a:lnTo>
                          <a:pt x="3852" y="2592"/>
                        </a:lnTo>
                        <a:lnTo>
                          <a:pt x="3864" y="2580"/>
                        </a:lnTo>
                        <a:lnTo>
                          <a:pt x="3870" y="2580"/>
                        </a:lnTo>
                        <a:lnTo>
                          <a:pt x="3888" y="2586"/>
                        </a:lnTo>
                        <a:lnTo>
                          <a:pt x="3846" y="2616"/>
                        </a:lnTo>
                        <a:lnTo>
                          <a:pt x="3936" y="2610"/>
                        </a:lnTo>
                        <a:lnTo>
                          <a:pt x="3918" y="2610"/>
                        </a:lnTo>
                        <a:lnTo>
                          <a:pt x="3906" y="2616"/>
                        </a:lnTo>
                        <a:lnTo>
                          <a:pt x="3894" y="2616"/>
                        </a:lnTo>
                        <a:lnTo>
                          <a:pt x="3888" y="2622"/>
                        </a:lnTo>
                        <a:lnTo>
                          <a:pt x="3888" y="2634"/>
                        </a:lnTo>
                        <a:lnTo>
                          <a:pt x="3882" y="2640"/>
                        </a:lnTo>
                        <a:lnTo>
                          <a:pt x="3876" y="2640"/>
                        </a:lnTo>
                        <a:lnTo>
                          <a:pt x="3870" y="2634"/>
                        </a:lnTo>
                        <a:lnTo>
                          <a:pt x="3864" y="2634"/>
                        </a:lnTo>
                        <a:lnTo>
                          <a:pt x="3852" y="2628"/>
                        </a:lnTo>
                        <a:lnTo>
                          <a:pt x="3846" y="2628"/>
                        </a:lnTo>
                        <a:lnTo>
                          <a:pt x="3828" y="2634"/>
                        </a:lnTo>
                        <a:lnTo>
                          <a:pt x="3738" y="2688"/>
                        </a:lnTo>
                        <a:lnTo>
                          <a:pt x="3726" y="2700"/>
                        </a:lnTo>
                        <a:lnTo>
                          <a:pt x="3720" y="2712"/>
                        </a:lnTo>
                        <a:lnTo>
                          <a:pt x="3720" y="2748"/>
                        </a:lnTo>
                        <a:lnTo>
                          <a:pt x="3726" y="2748"/>
                        </a:lnTo>
                        <a:lnTo>
                          <a:pt x="3732" y="2742"/>
                        </a:lnTo>
                        <a:lnTo>
                          <a:pt x="3738" y="2742"/>
                        </a:lnTo>
                        <a:lnTo>
                          <a:pt x="3738" y="2754"/>
                        </a:lnTo>
                        <a:lnTo>
                          <a:pt x="3744" y="2760"/>
                        </a:lnTo>
                        <a:lnTo>
                          <a:pt x="3756" y="2760"/>
                        </a:lnTo>
                        <a:lnTo>
                          <a:pt x="3762" y="2754"/>
                        </a:lnTo>
                        <a:lnTo>
                          <a:pt x="3768" y="2742"/>
                        </a:lnTo>
                        <a:lnTo>
                          <a:pt x="3774" y="2736"/>
                        </a:lnTo>
                        <a:lnTo>
                          <a:pt x="3786" y="2736"/>
                        </a:lnTo>
                        <a:lnTo>
                          <a:pt x="3804" y="2730"/>
                        </a:lnTo>
                        <a:lnTo>
                          <a:pt x="3816" y="2724"/>
                        </a:lnTo>
                        <a:lnTo>
                          <a:pt x="3834" y="2718"/>
                        </a:lnTo>
                        <a:lnTo>
                          <a:pt x="3846" y="2706"/>
                        </a:lnTo>
                        <a:lnTo>
                          <a:pt x="3852" y="2694"/>
                        </a:lnTo>
                        <a:lnTo>
                          <a:pt x="3870" y="2676"/>
                        </a:lnTo>
                        <a:lnTo>
                          <a:pt x="3876" y="2664"/>
                        </a:lnTo>
                        <a:lnTo>
                          <a:pt x="3876" y="2670"/>
                        </a:lnTo>
                        <a:lnTo>
                          <a:pt x="3882" y="2682"/>
                        </a:lnTo>
                        <a:lnTo>
                          <a:pt x="3888" y="2688"/>
                        </a:lnTo>
                        <a:lnTo>
                          <a:pt x="3894" y="2688"/>
                        </a:lnTo>
                        <a:lnTo>
                          <a:pt x="3930" y="2676"/>
                        </a:lnTo>
                        <a:lnTo>
                          <a:pt x="3954" y="2664"/>
                        </a:lnTo>
                        <a:lnTo>
                          <a:pt x="3972" y="2658"/>
                        </a:lnTo>
                        <a:lnTo>
                          <a:pt x="3984" y="2652"/>
                        </a:lnTo>
                        <a:lnTo>
                          <a:pt x="4008" y="2646"/>
                        </a:lnTo>
                        <a:lnTo>
                          <a:pt x="4068" y="2634"/>
                        </a:lnTo>
                        <a:lnTo>
                          <a:pt x="4080" y="2628"/>
                        </a:lnTo>
                        <a:lnTo>
                          <a:pt x="4068" y="2616"/>
                        </a:lnTo>
                        <a:lnTo>
                          <a:pt x="4074" y="2598"/>
                        </a:lnTo>
                        <a:lnTo>
                          <a:pt x="4038" y="2604"/>
                        </a:lnTo>
                        <a:lnTo>
                          <a:pt x="4038" y="2580"/>
                        </a:lnTo>
                        <a:lnTo>
                          <a:pt x="4026" y="2586"/>
                        </a:lnTo>
                        <a:lnTo>
                          <a:pt x="4020" y="2586"/>
                        </a:lnTo>
                        <a:lnTo>
                          <a:pt x="4008" y="2592"/>
                        </a:lnTo>
                        <a:lnTo>
                          <a:pt x="4002" y="2598"/>
                        </a:lnTo>
                        <a:lnTo>
                          <a:pt x="3990" y="2598"/>
                        </a:lnTo>
                        <a:lnTo>
                          <a:pt x="3990" y="2580"/>
                        </a:lnTo>
                        <a:lnTo>
                          <a:pt x="3930" y="2580"/>
                        </a:lnTo>
                        <a:lnTo>
                          <a:pt x="3924" y="2574"/>
                        </a:lnTo>
                        <a:lnTo>
                          <a:pt x="3924" y="2568"/>
                        </a:lnTo>
                        <a:lnTo>
                          <a:pt x="3918" y="2562"/>
                        </a:lnTo>
                        <a:lnTo>
                          <a:pt x="3918" y="2556"/>
                        </a:lnTo>
                        <a:lnTo>
                          <a:pt x="3930" y="2556"/>
                        </a:lnTo>
                        <a:lnTo>
                          <a:pt x="3918" y="2544"/>
                        </a:lnTo>
                        <a:lnTo>
                          <a:pt x="3888" y="2544"/>
                        </a:lnTo>
                        <a:lnTo>
                          <a:pt x="3882" y="2532"/>
                        </a:lnTo>
                        <a:lnTo>
                          <a:pt x="3882" y="2526"/>
                        </a:lnTo>
                        <a:lnTo>
                          <a:pt x="3876" y="2514"/>
                        </a:lnTo>
                        <a:lnTo>
                          <a:pt x="3876" y="2502"/>
                        </a:lnTo>
                        <a:lnTo>
                          <a:pt x="3894" y="2484"/>
                        </a:lnTo>
                        <a:lnTo>
                          <a:pt x="3870" y="2484"/>
                        </a:lnTo>
                        <a:lnTo>
                          <a:pt x="3876" y="2478"/>
                        </a:lnTo>
                        <a:lnTo>
                          <a:pt x="3888" y="2472"/>
                        </a:lnTo>
                        <a:lnTo>
                          <a:pt x="3894" y="2460"/>
                        </a:lnTo>
                        <a:lnTo>
                          <a:pt x="3906" y="2454"/>
                        </a:lnTo>
                        <a:lnTo>
                          <a:pt x="3918" y="2442"/>
                        </a:lnTo>
                        <a:lnTo>
                          <a:pt x="3924" y="2430"/>
                        </a:lnTo>
                        <a:lnTo>
                          <a:pt x="3936" y="2424"/>
                        </a:lnTo>
                        <a:lnTo>
                          <a:pt x="3942" y="2412"/>
                        </a:lnTo>
                        <a:lnTo>
                          <a:pt x="3948" y="2406"/>
                        </a:lnTo>
                        <a:lnTo>
                          <a:pt x="3936" y="2400"/>
                        </a:lnTo>
                        <a:lnTo>
                          <a:pt x="3912" y="2430"/>
                        </a:lnTo>
                        <a:lnTo>
                          <a:pt x="3894" y="2418"/>
                        </a:lnTo>
                        <a:lnTo>
                          <a:pt x="3864" y="2436"/>
                        </a:lnTo>
                        <a:lnTo>
                          <a:pt x="3858" y="2418"/>
                        </a:lnTo>
                        <a:lnTo>
                          <a:pt x="3828" y="2406"/>
                        </a:lnTo>
                        <a:lnTo>
                          <a:pt x="3810" y="2412"/>
                        </a:lnTo>
                        <a:lnTo>
                          <a:pt x="3864" y="2394"/>
                        </a:lnTo>
                        <a:lnTo>
                          <a:pt x="3870" y="2400"/>
                        </a:lnTo>
                        <a:lnTo>
                          <a:pt x="3882" y="2406"/>
                        </a:lnTo>
                        <a:lnTo>
                          <a:pt x="3900" y="2406"/>
                        </a:lnTo>
                        <a:lnTo>
                          <a:pt x="3918" y="2388"/>
                        </a:lnTo>
                        <a:lnTo>
                          <a:pt x="3930" y="2382"/>
                        </a:lnTo>
                        <a:lnTo>
                          <a:pt x="3936" y="2376"/>
                        </a:lnTo>
                        <a:lnTo>
                          <a:pt x="3978" y="2376"/>
                        </a:lnTo>
                        <a:lnTo>
                          <a:pt x="3978" y="2364"/>
                        </a:lnTo>
                        <a:lnTo>
                          <a:pt x="3972" y="2358"/>
                        </a:lnTo>
                        <a:lnTo>
                          <a:pt x="3966" y="2346"/>
                        </a:lnTo>
                        <a:lnTo>
                          <a:pt x="3990" y="2346"/>
                        </a:lnTo>
                        <a:lnTo>
                          <a:pt x="3978" y="2334"/>
                        </a:lnTo>
                        <a:lnTo>
                          <a:pt x="3972" y="2322"/>
                        </a:lnTo>
                        <a:lnTo>
                          <a:pt x="3960" y="2316"/>
                        </a:lnTo>
                        <a:lnTo>
                          <a:pt x="3942" y="2310"/>
                        </a:lnTo>
                        <a:lnTo>
                          <a:pt x="3918" y="2310"/>
                        </a:lnTo>
                        <a:lnTo>
                          <a:pt x="3852" y="2316"/>
                        </a:lnTo>
                        <a:lnTo>
                          <a:pt x="3792" y="2334"/>
                        </a:lnTo>
                        <a:lnTo>
                          <a:pt x="3744" y="2352"/>
                        </a:lnTo>
                        <a:lnTo>
                          <a:pt x="3684" y="2376"/>
                        </a:lnTo>
                        <a:lnTo>
                          <a:pt x="3660" y="2388"/>
                        </a:lnTo>
                        <a:lnTo>
                          <a:pt x="3642" y="2400"/>
                        </a:lnTo>
                        <a:lnTo>
                          <a:pt x="3624" y="2418"/>
                        </a:lnTo>
                        <a:lnTo>
                          <a:pt x="3606" y="2430"/>
                        </a:lnTo>
                        <a:lnTo>
                          <a:pt x="3594" y="2442"/>
                        </a:lnTo>
                        <a:lnTo>
                          <a:pt x="3576" y="2454"/>
                        </a:lnTo>
                        <a:lnTo>
                          <a:pt x="3564" y="2466"/>
                        </a:lnTo>
                        <a:lnTo>
                          <a:pt x="3528" y="2484"/>
                        </a:lnTo>
                        <a:lnTo>
                          <a:pt x="3516" y="2484"/>
                        </a:lnTo>
                        <a:lnTo>
                          <a:pt x="3498" y="2490"/>
                        </a:lnTo>
                        <a:lnTo>
                          <a:pt x="3486" y="2490"/>
                        </a:lnTo>
                        <a:lnTo>
                          <a:pt x="3492" y="2490"/>
                        </a:lnTo>
                        <a:lnTo>
                          <a:pt x="3498" y="2484"/>
                        </a:lnTo>
                        <a:lnTo>
                          <a:pt x="3510" y="2478"/>
                        </a:lnTo>
                        <a:lnTo>
                          <a:pt x="3522" y="2466"/>
                        </a:lnTo>
                        <a:lnTo>
                          <a:pt x="3540" y="2460"/>
                        </a:lnTo>
                        <a:lnTo>
                          <a:pt x="3552" y="2448"/>
                        </a:lnTo>
                        <a:lnTo>
                          <a:pt x="3576" y="2436"/>
                        </a:lnTo>
                        <a:lnTo>
                          <a:pt x="3600" y="2412"/>
                        </a:lnTo>
                        <a:lnTo>
                          <a:pt x="3606" y="2400"/>
                        </a:lnTo>
                        <a:lnTo>
                          <a:pt x="3582" y="2388"/>
                        </a:lnTo>
                        <a:lnTo>
                          <a:pt x="3588" y="2388"/>
                        </a:lnTo>
                        <a:lnTo>
                          <a:pt x="3594" y="2394"/>
                        </a:lnTo>
                        <a:lnTo>
                          <a:pt x="3624" y="2394"/>
                        </a:lnTo>
                        <a:lnTo>
                          <a:pt x="3642" y="2382"/>
                        </a:lnTo>
                        <a:lnTo>
                          <a:pt x="3702" y="2334"/>
                        </a:lnTo>
                        <a:lnTo>
                          <a:pt x="3750" y="2310"/>
                        </a:lnTo>
                        <a:lnTo>
                          <a:pt x="3768" y="2304"/>
                        </a:lnTo>
                        <a:lnTo>
                          <a:pt x="3804" y="2304"/>
                        </a:lnTo>
                        <a:lnTo>
                          <a:pt x="3852" y="2256"/>
                        </a:lnTo>
                        <a:lnTo>
                          <a:pt x="3870" y="2244"/>
                        </a:lnTo>
                        <a:lnTo>
                          <a:pt x="3888" y="2238"/>
                        </a:lnTo>
                        <a:lnTo>
                          <a:pt x="3936" y="2232"/>
                        </a:lnTo>
                        <a:lnTo>
                          <a:pt x="3990" y="2232"/>
                        </a:lnTo>
                        <a:lnTo>
                          <a:pt x="4044" y="2226"/>
                        </a:lnTo>
                        <a:lnTo>
                          <a:pt x="4074" y="2226"/>
                        </a:lnTo>
                        <a:lnTo>
                          <a:pt x="4104" y="2232"/>
                        </a:lnTo>
                        <a:lnTo>
                          <a:pt x="4176" y="2244"/>
                        </a:lnTo>
                        <a:lnTo>
                          <a:pt x="4200" y="2250"/>
                        </a:lnTo>
                        <a:lnTo>
                          <a:pt x="4212" y="2244"/>
                        </a:lnTo>
                        <a:lnTo>
                          <a:pt x="4248" y="2232"/>
                        </a:lnTo>
                        <a:lnTo>
                          <a:pt x="4260" y="2226"/>
                        </a:lnTo>
                        <a:lnTo>
                          <a:pt x="4278" y="2226"/>
                        </a:lnTo>
                        <a:lnTo>
                          <a:pt x="4296" y="2220"/>
                        </a:lnTo>
                        <a:lnTo>
                          <a:pt x="4320" y="2214"/>
                        </a:lnTo>
                        <a:lnTo>
                          <a:pt x="4338" y="2208"/>
                        </a:lnTo>
                        <a:lnTo>
                          <a:pt x="4374" y="2172"/>
                        </a:lnTo>
                        <a:lnTo>
                          <a:pt x="4392" y="2166"/>
                        </a:lnTo>
                        <a:lnTo>
                          <a:pt x="4404" y="2154"/>
                        </a:lnTo>
                        <a:lnTo>
                          <a:pt x="4410" y="2154"/>
                        </a:lnTo>
                        <a:lnTo>
                          <a:pt x="4422" y="2148"/>
                        </a:lnTo>
                        <a:lnTo>
                          <a:pt x="4452" y="2148"/>
                        </a:lnTo>
                        <a:lnTo>
                          <a:pt x="4458" y="2142"/>
                        </a:lnTo>
                        <a:lnTo>
                          <a:pt x="4470" y="2136"/>
                        </a:lnTo>
                        <a:lnTo>
                          <a:pt x="4476" y="2130"/>
                        </a:lnTo>
                        <a:lnTo>
                          <a:pt x="4494" y="2130"/>
                        </a:lnTo>
                        <a:lnTo>
                          <a:pt x="4500" y="2136"/>
                        </a:lnTo>
                        <a:lnTo>
                          <a:pt x="4518" y="2136"/>
                        </a:lnTo>
                        <a:lnTo>
                          <a:pt x="4530" y="2130"/>
                        </a:lnTo>
                        <a:lnTo>
                          <a:pt x="4536" y="2130"/>
                        </a:lnTo>
                        <a:lnTo>
                          <a:pt x="4542" y="2124"/>
                        </a:lnTo>
                        <a:lnTo>
                          <a:pt x="4596" y="2106"/>
                        </a:lnTo>
                        <a:lnTo>
                          <a:pt x="4620" y="2094"/>
                        </a:lnTo>
                        <a:lnTo>
                          <a:pt x="4620" y="2088"/>
                        </a:lnTo>
                        <a:lnTo>
                          <a:pt x="4614" y="2076"/>
                        </a:lnTo>
                        <a:lnTo>
                          <a:pt x="4602" y="2070"/>
                        </a:lnTo>
                        <a:lnTo>
                          <a:pt x="4584" y="2052"/>
                        </a:lnTo>
                        <a:lnTo>
                          <a:pt x="4578" y="2052"/>
                        </a:lnTo>
                        <a:lnTo>
                          <a:pt x="4602" y="2052"/>
                        </a:lnTo>
                        <a:lnTo>
                          <a:pt x="4614" y="2046"/>
                        </a:lnTo>
                        <a:lnTo>
                          <a:pt x="4614" y="2028"/>
                        </a:lnTo>
                        <a:lnTo>
                          <a:pt x="4608" y="2022"/>
                        </a:lnTo>
                        <a:lnTo>
                          <a:pt x="4608" y="2010"/>
                        </a:lnTo>
                        <a:lnTo>
                          <a:pt x="4632" y="2010"/>
                        </a:lnTo>
                        <a:lnTo>
                          <a:pt x="4644" y="1998"/>
                        </a:lnTo>
                        <a:lnTo>
                          <a:pt x="4644" y="1992"/>
                        </a:lnTo>
                        <a:lnTo>
                          <a:pt x="4632" y="1980"/>
                        </a:lnTo>
                        <a:lnTo>
                          <a:pt x="4626" y="1968"/>
                        </a:lnTo>
                        <a:lnTo>
                          <a:pt x="4608" y="1962"/>
                        </a:lnTo>
                        <a:lnTo>
                          <a:pt x="4602" y="1956"/>
                        </a:lnTo>
                        <a:lnTo>
                          <a:pt x="4590" y="196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66" name="Cameroon"/>
                  <p:cNvSpPr>
                    <a:spLocks/>
                  </p:cNvSpPr>
                  <p:nvPr/>
                </p:nvSpPr>
                <p:spPr bwMode="gray">
                  <a:xfrm>
                    <a:off x="2808" y="2039"/>
                    <a:ext cx="140" cy="237"/>
                  </a:xfrm>
                  <a:custGeom>
                    <a:avLst/>
                    <a:gdLst>
                      <a:gd name="T0" fmla="*/ 2147483647 w 546"/>
                      <a:gd name="T1" fmla="*/ 0 h 924"/>
                      <a:gd name="T2" fmla="*/ 2147483647 w 546"/>
                      <a:gd name="T3" fmla="*/ 2147483647 h 924"/>
                      <a:gd name="T4" fmla="*/ 2147483647 w 546"/>
                      <a:gd name="T5" fmla="*/ 2147483647 h 924"/>
                      <a:gd name="T6" fmla="*/ 2147483647 w 546"/>
                      <a:gd name="T7" fmla="*/ 2147483647 h 924"/>
                      <a:gd name="T8" fmla="*/ 2147483647 w 546"/>
                      <a:gd name="T9" fmla="*/ 2147483647 h 924"/>
                      <a:gd name="T10" fmla="*/ 2147483647 w 546"/>
                      <a:gd name="T11" fmla="*/ 2147483647 h 924"/>
                      <a:gd name="T12" fmla="*/ 2147483647 w 546"/>
                      <a:gd name="T13" fmla="*/ 2147483647 h 924"/>
                      <a:gd name="T14" fmla="*/ 2147483647 w 546"/>
                      <a:gd name="T15" fmla="*/ 2147483647 h 924"/>
                      <a:gd name="T16" fmla="*/ 2147483647 w 546"/>
                      <a:gd name="T17" fmla="*/ 2147483647 h 924"/>
                      <a:gd name="T18" fmla="*/ 2147483647 w 546"/>
                      <a:gd name="T19" fmla="*/ 2147483647 h 924"/>
                      <a:gd name="T20" fmla="*/ 2147483647 w 546"/>
                      <a:gd name="T21" fmla="*/ 2147483647 h 924"/>
                      <a:gd name="T22" fmla="*/ 2147483647 w 546"/>
                      <a:gd name="T23" fmla="*/ 2147483647 h 924"/>
                      <a:gd name="T24" fmla="*/ 2147483647 w 546"/>
                      <a:gd name="T25" fmla="*/ 2147483647 h 924"/>
                      <a:gd name="T26" fmla="*/ 2147483647 w 546"/>
                      <a:gd name="T27" fmla="*/ 2147483647 h 924"/>
                      <a:gd name="T28" fmla="*/ 2147483647 w 546"/>
                      <a:gd name="T29" fmla="*/ 2147483647 h 924"/>
                      <a:gd name="T30" fmla="*/ 2147483647 w 546"/>
                      <a:gd name="T31" fmla="*/ 2147483647 h 924"/>
                      <a:gd name="T32" fmla="*/ 2147483647 w 546"/>
                      <a:gd name="T33" fmla="*/ 2147483647 h 924"/>
                      <a:gd name="T34" fmla="*/ 2147483647 w 546"/>
                      <a:gd name="T35" fmla="*/ 2147483647 h 924"/>
                      <a:gd name="T36" fmla="*/ 2147483647 w 546"/>
                      <a:gd name="T37" fmla="*/ 2147483647 h 924"/>
                      <a:gd name="T38" fmla="*/ 2147483647 w 546"/>
                      <a:gd name="T39" fmla="*/ 2147483647 h 924"/>
                      <a:gd name="T40" fmla="*/ 2147483647 w 546"/>
                      <a:gd name="T41" fmla="*/ 2147483647 h 924"/>
                      <a:gd name="T42" fmla="*/ 2147483647 w 546"/>
                      <a:gd name="T43" fmla="*/ 2147483647 h 924"/>
                      <a:gd name="T44" fmla="*/ 2147483647 w 546"/>
                      <a:gd name="T45" fmla="*/ 2147483647 h 924"/>
                      <a:gd name="T46" fmla="*/ 2147483647 w 546"/>
                      <a:gd name="T47" fmla="*/ 2147483647 h 924"/>
                      <a:gd name="T48" fmla="*/ 2147483647 w 546"/>
                      <a:gd name="T49" fmla="*/ 2147483647 h 924"/>
                      <a:gd name="T50" fmla="*/ 2147483647 w 546"/>
                      <a:gd name="T51" fmla="*/ 2147483647 h 924"/>
                      <a:gd name="T52" fmla="*/ 2147483647 w 546"/>
                      <a:gd name="T53" fmla="*/ 2147483647 h 924"/>
                      <a:gd name="T54" fmla="*/ 2147483647 w 546"/>
                      <a:gd name="T55" fmla="*/ 2147483647 h 924"/>
                      <a:gd name="T56" fmla="*/ 2147483647 w 546"/>
                      <a:gd name="T57" fmla="*/ 2147483647 h 924"/>
                      <a:gd name="T58" fmla="*/ 2147483647 w 546"/>
                      <a:gd name="T59" fmla="*/ 2147483647 h 924"/>
                      <a:gd name="T60" fmla="*/ 2147483647 w 546"/>
                      <a:gd name="T61" fmla="*/ 2147483647 h 924"/>
                      <a:gd name="T62" fmla="*/ 2147483647 w 546"/>
                      <a:gd name="T63" fmla="*/ 2147483647 h 924"/>
                      <a:gd name="T64" fmla="*/ 2147483647 w 546"/>
                      <a:gd name="T65" fmla="*/ 2147483647 h 924"/>
                      <a:gd name="T66" fmla="*/ 2147483647 w 546"/>
                      <a:gd name="T67" fmla="*/ 2147483647 h 924"/>
                      <a:gd name="T68" fmla="*/ 2147483647 w 546"/>
                      <a:gd name="T69" fmla="*/ 2147483647 h 924"/>
                      <a:gd name="T70" fmla="*/ 2147483647 w 546"/>
                      <a:gd name="T71" fmla="*/ 2147483647 h 924"/>
                      <a:gd name="T72" fmla="*/ 2147483647 w 546"/>
                      <a:gd name="T73" fmla="*/ 2147483647 h 924"/>
                      <a:gd name="T74" fmla="*/ 2147483647 w 546"/>
                      <a:gd name="T75" fmla="*/ 2147483647 h 924"/>
                      <a:gd name="T76" fmla="*/ 2147483647 w 546"/>
                      <a:gd name="T77" fmla="*/ 2147483647 h 924"/>
                      <a:gd name="T78" fmla="*/ 2147483647 w 546"/>
                      <a:gd name="T79" fmla="*/ 2147483647 h 924"/>
                      <a:gd name="T80" fmla="*/ 2147483647 w 546"/>
                      <a:gd name="T81" fmla="*/ 2147483647 h 924"/>
                      <a:gd name="T82" fmla="*/ 2147483647 w 546"/>
                      <a:gd name="T83" fmla="*/ 2147483647 h 924"/>
                      <a:gd name="T84" fmla="*/ 2147483647 w 546"/>
                      <a:gd name="T85" fmla="*/ 2147483647 h 924"/>
                      <a:gd name="T86" fmla="*/ 2147483647 w 546"/>
                      <a:gd name="T87" fmla="*/ 2147483647 h 924"/>
                      <a:gd name="T88" fmla="*/ 2147483647 w 546"/>
                      <a:gd name="T89" fmla="*/ 2147483647 h 924"/>
                      <a:gd name="T90" fmla="*/ 2147483647 w 546"/>
                      <a:gd name="T91" fmla="*/ 2147483647 h 924"/>
                      <a:gd name="T92" fmla="*/ 2147483647 w 546"/>
                      <a:gd name="T93" fmla="*/ 2147483647 h 924"/>
                      <a:gd name="T94" fmla="*/ 2147483647 w 546"/>
                      <a:gd name="T95" fmla="*/ 2147483647 h 924"/>
                      <a:gd name="T96" fmla="*/ 2147483647 w 546"/>
                      <a:gd name="T97" fmla="*/ 2147483647 h 924"/>
                      <a:gd name="T98" fmla="*/ 2147483647 w 546"/>
                      <a:gd name="T99" fmla="*/ 2147483647 h 924"/>
                      <a:gd name="T100" fmla="*/ 2147483647 w 546"/>
                      <a:gd name="T101" fmla="*/ 2147483647 h 924"/>
                      <a:gd name="T102" fmla="*/ 2147483647 w 546"/>
                      <a:gd name="T103" fmla="*/ 2147483647 h 924"/>
                      <a:gd name="T104" fmla="*/ 2147483647 w 546"/>
                      <a:gd name="T105" fmla="*/ 2147483647 h 924"/>
                      <a:gd name="T106" fmla="*/ 2147483647 w 546"/>
                      <a:gd name="T107" fmla="*/ 2147483647 h 924"/>
                      <a:gd name="T108" fmla="*/ 2147483647 w 546"/>
                      <a:gd name="T109" fmla="*/ 2147483647 h 924"/>
                      <a:gd name="T110" fmla="*/ 2147483647 w 546"/>
                      <a:gd name="T111" fmla="*/ 2147483647 h 9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546"/>
                      <a:gd name="T169" fmla="*/ 0 h 924"/>
                      <a:gd name="T170" fmla="*/ 546 w 546"/>
                      <a:gd name="T171" fmla="*/ 924 h 92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546" h="924">
                        <a:moveTo>
                          <a:pt x="420" y="30"/>
                        </a:moveTo>
                        <a:lnTo>
                          <a:pt x="414" y="18"/>
                        </a:lnTo>
                        <a:lnTo>
                          <a:pt x="414" y="0"/>
                        </a:lnTo>
                        <a:lnTo>
                          <a:pt x="390" y="6"/>
                        </a:lnTo>
                        <a:lnTo>
                          <a:pt x="390" y="54"/>
                        </a:lnTo>
                        <a:lnTo>
                          <a:pt x="396" y="60"/>
                        </a:lnTo>
                        <a:lnTo>
                          <a:pt x="396" y="66"/>
                        </a:lnTo>
                        <a:lnTo>
                          <a:pt x="426" y="66"/>
                        </a:lnTo>
                        <a:lnTo>
                          <a:pt x="426" y="96"/>
                        </a:lnTo>
                        <a:lnTo>
                          <a:pt x="420" y="102"/>
                        </a:lnTo>
                        <a:lnTo>
                          <a:pt x="420" y="108"/>
                        </a:lnTo>
                        <a:lnTo>
                          <a:pt x="426" y="114"/>
                        </a:lnTo>
                        <a:lnTo>
                          <a:pt x="426" y="126"/>
                        </a:lnTo>
                        <a:lnTo>
                          <a:pt x="408" y="144"/>
                        </a:lnTo>
                        <a:lnTo>
                          <a:pt x="396" y="150"/>
                        </a:lnTo>
                        <a:lnTo>
                          <a:pt x="384" y="150"/>
                        </a:lnTo>
                        <a:lnTo>
                          <a:pt x="384" y="156"/>
                        </a:lnTo>
                        <a:lnTo>
                          <a:pt x="378" y="162"/>
                        </a:lnTo>
                        <a:lnTo>
                          <a:pt x="378" y="168"/>
                        </a:lnTo>
                        <a:lnTo>
                          <a:pt x="372" y="174"/>
                        </a:lnTo>
                        <a:lnTo>
                          <a:pt x="372" y="180"/>
                        </a:lnTo>
                        <a:lnTo>
                          <a:pt x="360" y="192"/>
                        </a:lnTo>
                        <a:lnTo>
                          <a:pt x="354" y="204"/>
                        </a:lnTo>
                        <a:lnTo>
                          <a:pt x="348" y="234"/>
                        </a:lnTo>
                        <a:lnTo>
                          <a:pt x="342" y="240"/>
                        </a:lnTo>
                        <a:lnTo>
                          <a:pt x="342" y="270"/>
                        </a:lnTo>
                        <a:lnTo>
                          <a:pt x="336" y="288"/>
                        </a:lnTo>
                        <a:lnTo>
                          <a:pt x="330" y="294"/>
                        </a:lnTo>
                        <a:lnTo>
                          <a:pt x="312" y="294"/>
                        </a:lnTo>
                        <a:lnTo>
                          <a:pt x="312" y="324"/>
                        </a:lnTo>
                        <a:lnTo>
                          <a:pt x="306" y="342"/>
                        </a:lnTo>
                        <a:lnTo>
                          <a:pt x="306" y="354"/>
                        </a:lnTo>
                        <a:lnTo>
                          <a:pt x="300" y="360"/>
                        </a:lnTo>
                        <a:lnTo>
                          <a:pt x="288" y="366"/>
                        </a:lnTo>
                        <a:lnTo>
                          <a:pt x="282" y="372"/>
                        </a:lnTo>
                        <a:lnTo>
                          <a:pt x="270" y="378"/>
                        </a:lnTo>
                        <a:lnTo>
                          <a:pt x="258" y="426"/>
                        </a:lnTo>
                        <a:lnTo>
                          <a:pt x="234" y="456"/>
                        </a:lnTo>
                        <a:lnTo>
                          <a:pt x="234" y="486"/>
                        </a:lnTo>
                        <a:lnTo>
                          <a:pt x="228" y="492"/>
                        </a:lnTo>
                        <a:lnTo>
                          <a:pt x="216" y="498"/>
                        </a:lnTo>
                        <a:lnTo>
                          <a:pt x="210" y="510"/>
                        </a:lnTo>
                        <a:lnTo>
                          <a:pt x="210" y="522"/>
                        </a:lnTo>
                        <a:lnTo>
                          <a:pt x="192" y="540"/>
                        </a:lnTo>
                        <a:lnTo>
                          <a:pt x="186" y="540"/>
                        </a:lnTo>
                        <a:lnTo>
                          <a:pt x="180" y="534"/>
                        </a:lnTo>
                        <a:lnTo>
                          <a:pt x="174" y="522"/>
                        </a:lnTo>
                        <a:lnTo>
                          <a:pt x="174" y="516"/>
                        </a:lnTo>
                        <a:lnTo>
                          <a:pt x="168" y="504"/>
                        </a:lnTo>
                        <a:lnTo>
                          <a:pt x="156" y="492"/>
                        </a:lnTo>
                        <a:lnTo>
                          <a:pt x="150" y="480"/>
                        </a:lnTo>
                        <a:lnTo>
                          <a:pt x="138" y="480"/>
                        </a:lnTo>
                        <a:lnTo>
                          <a:pt x="144" y="486"/>
                        </a:lnTo>
                        <a:lnTo>
                          <a:pt x="144" y="498"/>
                        </a:lnTo>
                        <a:lnTo>
                          <a:pt x="138" y="504"/>
                        </a:lnTo>
                        <a:lnTo>
                          <a:pt x="132" y="504"/>
                        </a:lnTo>
                        <a:lnTo>
                          <a:pt x="120" y="498"/>
                        </a:lnTo>
                        <a:lnTo>
                          <a:pt x="114" y="492"/>
                        </a:lnTo>
                        <a:lnTo>
                          <a:pt x="108" y="492"/>
                        </a:lnTo>
                        <a:lnTo>
                          <a:pt x="102" y="498"/>
                        </a:lnTo>
                        <a:lnTo>
                          <a:pt x="90" y="522"/>
                        </a:lnTo>
                        <a:lnTo>
                          <a:pt x="84" y="528"/>
                        </a:lnTo>
                        <a:lnTo>
                          <a:pt x="84" y="534"/>
                        </a:lnTo>
                        <a:lnTo>
                          <a:pt x="18" y="588"/>
                        </a:lnTo>
                        <a:lnTo>
                          <a:pt x="18" y="642"/>
                        </a:lnTo>
                        <a:lnTo>
                          <a:pt x="12" y="654"/>
                        </a:lnTo>
                        <a:lnTo>
                          <a:pt x="12" y="666"/>
                        </a:lnTo>
                        <a:lnTo>
                          <a:pt x="6" y="672"/>
                        </a:lnTo>
                        <a:lnTo>
                          <a:pt x="6" y="678"/>
                        </a:lnTo>
                        <a:lnTo>
                          <a:pt x="0" y="690"/>
                        </a:lnTo>
                        <a:lnTo>
                          <a:pt x="24" y="684"/>
                        </a:lnTo>
                        <a:lnTo>
                          <a:pt x="24" y="708"/>
                        </a:lnTo>
                        <a:lnTo>
                          <a:pt x="36" y="732"/>
                        </a:lnTo>
                        <a:lnTo>
                          <a:pt x="60" y="744"/>
                        </a:lnTo>
                        <a:lnTo>
                          <a:pt x="66" y="750"/>
                        </a:lnTo>
                        <a:lnTo>
                          <a:pt x="84" y="726"/>
                        </a:lnTo>
                        <a:lnTo>
                          <a:pt x="66" y="756"/>
                        </a:lnTo>
                        <a:lnTo>
                          <a:pt x="84" y="786"/>
                        </a:lnTo>
                        <a:lnTo>
                          <a:pt x="102" y="792"/>
                        </a:lnTo>
                        <a:lnTo>
                          <a:pt x="102" y="840"/>
                        </a:lnTo>
                        <a:lnTo>
                          <a:pt x="90" y="840"/>
                        </a:lnTo>
                        <a:lnTo>
                          <a:pt x="90" y="870"/>
                        </a:lnTo>
                        <a:lnTo>
                          <a:pt x="102" y="882"/>
                        </a:lnTo>
                        <a:lnTo>
                          <a:pt x="198" y="882"/>
                        </a:lnTo>
                        <a:lnTo>
                          <a:pt x="216" y="864"/>
                        </a:lnTo>
                        <a:lnTo>
                          <a:pt x="228" y="882"/>
                        </a:lnTo>
                        <a:lnTo>
                          <a:pt x="258" y="882"/>
                        </a:lnTo>
                        <a:lnTo>
                          <a:pt x="270" y="870"/>
                        </a:lnTo>
                        <a:lnTo>
                          <a:pt x="276" y="870"/>
                        </a:lnTo>
                        <a:lnTo>
                          <a:pt x="288" y="876"/>
                        </a:lnTo>
                        <a:lnTo>
                          <a:pt x="294" y="876"/>
                        </a:lnTo>
                        <a:lnTo>
                          <a:pt x="342" y="870"/>
                        </a:lnTo>
                        <a:lnTo>
                          <a:pt x="342" y="888"/>
                        </a:lnTo>
                        <a:lnTo>
                          <a:pt x="372" y="888"/>
                        </a:lnTo>
                        <a:lnTo>
                          <a:pt x="390" y="882"/>
                        </a:lnTo>
                        <a:lnTo>
                          <a:pt x="438" y="882"/>
                        </a:lnTo>
                        <a:lnTo>
                          <a:pt x="450" y="888"/>
                        </a:lnTo>
                        <a:lnTo>
                          <a:pt x="456" y="894"/>
                        </a:lnTo>
                        <a:lnTo>
                          <a:pt x="468" y="894"/>
                        </a:lnTo>
                        <a:lnTo>
                          <a:pt x="474" y="900"/>
                        </a:lnTo>
                        <a:lnTo>
                          <a:pt x="510" y="900"/>
                        </a:lnTo>
                        <a:lnTo>
                          <a:pt x="534" y="924"/>
                        </a:lnTo>
                        <a:lnTo>
                          <a:pt x="540" y="882"/>
                        </a:lnTo>
                        <a:lnTo>
                          <a:pt x="546" y="876"/>
                        </a:lnTo>
                        <a:lnTo>
                          <a:pt x="534" y="864"/>
                        </a:lnTo>
                        <a:lnTo>
                          <a:pt x="534" y="834"/>
                        </a:lnTo>
                        <a:lnTo>
                          <a:pt x="528" y="816"/>
                        </a:lnTo>
                        <a:lnTo>
                          <a:pt x="516" y="810"/>
                        </a:lnTo>
                        <a:lnTo>
                          <a:pt x="510" y="798"/>
                        </a:lnTo>
                        <a:lnTo>
                          <a:pt x="498" y="792"/>
                        </a:lnTo>
                        <a:lnTo>
                          <a:pt x="486" y="780"/>
                        </a:lnTo>
                        <a:lnTo>
                          <a:pt x="474" y="756"/>
                        </a:lnTo>
                        <a:lnTo>
                          <a:pt x="468" y="750"/>
                        </a:lnTo>
                        <a:lnTo>
                          <a:pt x="468" y="708"/>
                        </a:lnTo>
                        <a:lnTo>
                          <a:pt x="462" y="708"/>
                        </a:lnTo>
                        <a:lnTo>
                          <a:pt x="444" y="690"/>
                        </a:lnTo>
                        <a:lnTo>
                          <a:pt x="438" y="690"/>
                        </a:lnTo>
                        <a:lnTo>
                          <a:pt x="438" y="642"/>
                        </a:lnTo>
                        <a:lnTo>
                          <a:pt x="420" y="630"/>
                        </a:lnTo>
                        <a:lnTo>
                          <a:pt x="432" y="618"/>
                        </a:lnTo>
                        <a:lnTo>
                          <a:pt x="432" y="582"/>
                        </a:lnTo>
                        <a:lnTo>
                          <a:pt x="426" y="582"/>
                        </a:lnTo>
                        <a:lnTo>
                          <a:pt x="414" y="576"/>
                        </a:lnTo>
                        <a:lnTo>
                          <a:pt x="414" y="570"/>
                        </a:lnTo>
                        <a:lnTo>
                          <a:pt x="426" y="558"/>
                        </a:lnTo>
                        <a:lnTo>
                          <a:pt x="438" y="552"/>
                        </a:lnTo>
                        <a:lnTo>
                          <a:pt x="444" y="546"/>
                        </a:lnTo>
                        <a:lnTo>
                          <a:pt x="450" y="546"/>
                        </a:lnTo>
                        <a:lnTo>
                          <a:pt x="456" y="510"/>
                        </a:lnTo>
                        <a:lnTo>
                          <a:pt x="462" y="510"/>
                        </a:lnTo>
                        <a:lnTo>
                          <a:pt x="468" y="498"/>
                        </a:lnTo>
                        <a:lnTo>
                          <a:pt x="468" y="480"/>
                        </a:lnTo>
                        <a:lnTo>
                          <a:pt x="474" y="474"/>
                        </a:lnTo>
                        <a:lnTo>
                          <a:pt x="480" y="462"/>
                        </a:lnTo>
                        <a:lnTo>
                          <a:pt x="492" y="450"/>
                        </a:lnTo>
                        <a:lnTo>
                          <a:pt x="498" y="450"/>
                        </a:lnTo>
                        <a:lnTo>
                          <a:pt x="498" y="438"/>
                        </a:lnTo>
                        <a:lnTo>
                          <a:pt x="492" y="420"/>
                        </a:lnTo>
                        <a:lnTo>
                          <a:pt x="486" y="408"/>
                        </a:lnTo>
                        <a:lnTo>
                          <a:pt x="486" y="390"/>
                        </a:lnTo>
                        <a:lnTo>
                          <a:pt x="474" y="366"/>
                        </a:lnTo>
                        <a:lnTo>
                          <a:pt x="462" y="354"/>
                        </a:lnTo>
                        <a:lnTo>
                          <a:pt x="450" y="348"/>
                        </a:lnTo>
                        <a:lnTo>
                          <a:pt x="432" y="336"/>
                        </a:lnTo>
                        <a:lnTo>
                          <a:pt x="420" y="324"/>
                        </a:lnTo>
                        <a:lnTo>
                          <a:pt x="414" y="312"/>
                        </a:lnTo>
                        <a:lnTo>
                          <a:pt x="402" y="300"/>
                        </a:lnTo>
                        <a:lnTo>
                          <a:pt x="390" y="276"/>
                        </a:lnTo>
                        <a:lnTo>
                          <a:pt x="390" y="264"/>
                        </a:lnTo>
                        <a:lnTo>
                          <a:pt x="396" y="258"/>
                        </a:lnTo>
                        <a:lnTo>
                          <a:pt x="408" y="252"/>
                        </a:lnTo>
                        <a:lnTo>
                          <a:pt x="504" y="252"/>
                        </a:lnTo>
                        <a:lnTo>
                          <a:pt x="486" y="234"/>
                        </a:lnTo>
                        <a:lnTo>
                          <a:pt x="480" y="222"/>
                        </a:lnTo>
                        <a:lnTo>
                          <a:pt x="468" y="216"/>
                        </a:lnTo>
                        <a:lnTo>
                          <a:pt x="462" y="204"/>
                        </a:lnTo>
                        <a:lnTo>
                          <a:pt x="462" y="186"/>
                        </a:lnTo>
                        <a:lnTo>
                          <a:pt x="456" y="168"/>
                        </a:lnTo>
                        <a:lnTo>
                          <a:pt x="456" y="132"/>
                        </a:lnTo>
                        <a:lnTo>
                          <a:pt x="462" y="132"/>
                        </a:lnTo>
                        <a:lnTo>
                          <a:pt x="462" y="96"/>
                        </a:lnTo>
                        <a:lnTo>
                          <a:pt x="456" y="84"/>
                        </a:lnTo>
                        <a:lnTo>
                          <a:pt x="444" y="78"/>
                        </a:lnTo>
                        <a:lnTo>
                          <a:pt x="450" y="42"/>
                        </a:lnTo>
                        <a:lnTo>
                          <a:pt x="444" y="42"/>
                        </a:lnTo>
                        <a:lnTo>
                          <a:pt x="438" y="36"/>
                        </a:lnTo>
                        <a:lnTo>
                          <a:pt x="426" y="36"/>
                        </a:lnTo>
                        <a:lnTo>
                          <a:pt x="420"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67" name="Cambodia"/>
                  <p:cNvSpPr>
                    <a:spLocks/>
                  </p:cNvSpPr>
                  <p:nvPr/>
                </p:nvSpPr>
                <p:spPr bwMode="gray">
                  <a:xfrm>
                    <a:off x="4504" y="2010"/>
                    <a:ext cx="97" cy="86"/>
                  </a:xfrm>
                  <a:custGeom>
                    <a:avLst/>
                    <a:gdLst>
                      <a:gd name="T0" fmla="*/ 2147483647 w 378"/>
                      <a:gd name="T1" fmla="*/ 2147483647 h 336"/>
                      <a:gd name="T2" fmla="*/ 2147483647 w 378"/>
                      <a:gd name="T3" fmla="*/ 2147483647 h 336"/>
                      <a:gd name="T4" fmla="*/ 2147483647 w 378"/>
                      <a:gd name="T5" fmla="*/ 2147483647 h 336"/>
                      <a:gd name="T6" fmla="*/ 2147483647 w 378"/>
                      <a:gd name="T7" fmla="*/ 2147483647 h 336"/>
                      <a:gd name="T8" fmla="*/ 2147483647 w 378"/>
                      <a:gd name="T9" fmla="*/ 2147483647 h 336"/>
                      <a:gd name="T10" fmla="*/ 2147483647 w 378"/>
                      <a:gd name="T11" fmla="*/ 2147483647 h 336"/>
                      <a:gd name="T12" fmla="*/ 2147483647 w 378"/>
                      <a:gd name="T13" fmla="*/ 2147483647 h 336"/>
                      <a:gd name="T14" fmla="*/ 2147483647 w 378"/>
                      <a:gd name="T15" fmla="*/ 2147483647 h 336"/>
                      <a:gd name="T16" fmla="*/ 2147483647 w 378"/>
                      <a:gd name="T17" fmla="*/ 2147483647 h 336"/>
                      <a:gd name="T18" fmla="*/ 2147483647 w 378"/>
                      <a:gd name="T19" fmla="*/ 2147483647 h 336"/>
                      <a:gd name="T20" fmla="*/ 2147483647 w 378"/>
                      <a:gd name="T21" fmla="*/ 2147483647 h 336"/>
                      <a:gd name="T22" fmla="*/ 2147483647 w 378"/>
                      <a:gd name="T23" fmla="*/ 2147483647 h 336"/>
                      <a:gd name="T24" fmla="*/ 2147483647 w 378"/>
                      <a:gd name="T25" fmla="*/ 2147483647 h 336"/>
                      <a:gd name="T26" fmla="*/ 2147483647 w 378"/>
                      <a:gd name="T27" fmla="*/ 2147483647 h 336"/>
                      <a:gd name="T28" fmla="*/ 0 w 378"/>
                      <a:gd name="T29" fmla="*/ 2147483647 h 336"/>
                      <a:gd name="T30" fmla="*/ 2147483647 w 378"/>
                      <a:gd name="T31" fmla="*/ 2147483647 h 336"/>
                      <a:gd name="T32" fmla="*/ 2147483647 w 378"/>
                      <a:gd name="T33" fmla="*/ 2147483647 h 336"/>
                      <a:gd name="T34" fmla="*/ 2147483647 w 378"/>
                      <a:gd name="T35" fmla="*/ 2147483647 h 336"/>
                      <a:gd name="T36" fmla="*/ 2147483647 w 378"/>
                      <a:gd name="T37" fmla="*/ 2147483647 h 336"/>
                      <a:gd name="T38" fmla="*/ 2147483647 w 378"/>
                      <a:gd name="T39" fmla="*/ 2147483647 h 336"/>
                      <a:gd name="T40" fmla="*/ 2147483647 w 378"/>
                      <a:gd name="T41" fmla="*/ 2147483647 h 336"/>
                      <a:gd name="T42" fmla="*/ 2147483647 w 378"/>
                      <a:gd name="T43" fmla="*/ 2147483647 h 336"/>
                      <a:gd name="T44" fmla="*/ 2147483647 w 378"/>
                      <a:gd name="T45" fmla="*/ 2147483647 h 336"/>
                      <a:gd name="T46" fmla="*/ 2147483647 w 378"/>
                      <a:gd name="T47" fmla="*/ 2147483647 h 336"/>
                      <a:gd name="T48" fmla="*/ 2147483647 w 378"/>
                      <a:gd name="T49" fmla="*/ 2147483647 h 336"/>
                      <a:gd name="T50" fmla="*/ 2147483647 w 378"/>
                      <a:gd name="T51" fmla="*/ 2147483647 h 336"/>
                      <a:gd name="T52" fmla="*/ 2147483647 w 378"/>
                      <a:gd name="T53" fmla="*/ 2147483647 h 336"/>
                      <a:gd name="T54" fmla="*/ 2147483647 w 378"/>
                      <a:gd name="T55" fmla="*/ 2147483647 h 336"/>
                      <a:gd name="T56" fmla="*/ 2147483647 w 378"/>
                      <a:gd name="T57" fmla="*/ 2147483647 h 336"/>
                      <a:gd name="T58" fmla="*/ 2147483647 w 378"/>
                      <a:gd name="T59" fmla="*/ 2147483647 h 336"/>
                      <a:gd name="T60" fmla="*/ 2147483647 w 378"/>
                      <a:gd name="T61" fmla="*/ 2147483647 h 336"/>
                      <a:gd name="T62" fmla="*/ 2147483647 w 378"/>
                      <a:gd name="T63" fmla="*/ 2147483647 h 336"/>
                      <a:gd name="T64" fmla="*/ 2147483647 w 378"/>
                      <a:gd name="T65" fmla="*/ 2147483647 h 336"/>
                      <a:gd name="T66" fmla="*/ 2147483647 w 378"/>
                      <a:gd name="T67" fmla="*/ 2147483647 h 336"/>
                      <a:gd name="T68" fmla="*/ 2147483647 w 378"/>
                      <a:gd name="T69" fmla="*/ 2147483647 h 336"/>
                      <a:gd name="T70" fmla="*/ 2147483647 w 378"/>
                      <a:gd name="T71" fmla="*/ 2147483647 h 336"/>
                      <a:gd name="T72" fmla="*/ 2147483647 w 378"/>
                      <a:gd name="T73" fmla="*/ 2147483647 h 336"/>
                      <a:gd name="T74" fmla="*/ 2147483647 w 378"/>
                      <a:gd name="T75" fmla="*/ 2147483647 h 336"/>
                      <a:gd name="T76" fmla="*/ 2147483647 w 378"/>
                      <a:gd name="T77" fmla="*/ 2147483647 h 336"/>
                      <a:gd name="T78" fmla="*/ 2147483647 w 378"/>
                      <a:gd name="T79" fmla="*/ 2147483647 h 336"/>
                      <a:gd name="T80" fmla="*/ 2147483647 w 378"/>
                      <a:gd name="T81" fmla="*/ 2147483647 h 336"/>
                      <a:gd name="T82" fmla="*/ 2147483647 w 378"/>
                      <a:gd name="T83" fmla="*/ 2147483647 h 336"/>
                      <a:gd name="T84" fmla="*/ 2147483647 w 378"/>
                      <a:gd name="T85" fmla="*/ 2147483647 h 336"/>
                      <a:gd name="T86" fmla="*/ 2147483647 w 378"/>
                      <a:gd name="T87" fmla="*/ 2147483647 h 336"/>
                      <a:gd name="T88" fmla="*/ 2147483647 w 378"/>
                      <a:gd name="T89" fmla="*/ 2147483647 h 336"/>
                      <a:gd name="T90" fmla="*/ 2147483647 w 378"/>
                      <a:gd name="T91" fmla="*/ 2147483647 h 336"/>
                      <a:gd name="T92" fmla="*/ 2147483647 w 378"/>
                      <a:gd name="T93" fmla="*/ 2147483647 h 336"/>
                      <a:gd name="T94" fmla="*/ 2147483647 w 378"/>
                      <a:gd name="T95" fmla="*/ 0 h 3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78"/>
                      <a:gd name="T145" fmla="*/ 0 h 336"/>
                      <a:gd name="T146" fmla="*/ 378 w 378"/>
                      <a:gd name="T147" fmla="*/ 336 h 3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78" h="336">
                        <a:moveTo>
                          <a:pt x="324" y="0"/>
                        </a:moveTo>
                        <a:lnTo>
                          <a:pt x="312" y="12"/>
                        </a:lnTo>
                        <a:lnTo>
                          <a:pt x="276" y="0"/>
                        </a:lnTo>
                        <a:lnTo>
                          <a:pt x="264" y="12"/>
                        </a:lnTo>
                        <a:lnTo>
                          <a:pt x="246" y="24"/>
                        </a:lnTo>
                        <a:lnTo>
                          <a:pt x="258" y="36"/>
                        </a:lnTo>
                        <a:lnTo>
                          <a:pt x="258" y="48"/>
                        </a:lnTo>
                        <a:lnTo>
                          <a:pt x="252" y="54"/>
                        </a:lnTo>
                        <a:lnTo>
                          <a:pt x="240" y="54"/>
                        </a:lnTo>
                        <a:lnTo>
                          <a:pt x="228" y="42"/>
                        </a:lnTo>
                        <a:lnTo>
                          <a:pt x="228" y="36"/>
                        </a:lnTo>
                        <a:lnTo>
                          <a:pt x="222" y="36"/>
                        </a:lnTo>
                        <a:lnTo>
                          <a:pt x="216" y="30"/>
                        </a:lnTo>
                        <a:lnTo>
                          <a:pt x="192" y="30"/>
                        </a:lnTo>
                        <a:lnTo>
                          <a:pt x="192" y="18"/>
                        </a:lnTo>
                        <a:lnTo>
                          <a:pt x="186" y="18"/>
                        </a:lnTo>
                        <a:lnTo>
                          <a:pt x="186" y="24"/>
                        </a:lnTo>
                        <a:lnTo>
                          <a:pt x="180" y="18"/>
                        </a:lnTo>
                        <a:lnTo>
                          <a:pt x="168" y="12"/>
                        </a:lnTo>
                        <a:lnTo>
                          <a:pt x="138" y="12"/>
                        </a:lnTo>
                        <a:lnTo>
                          <a:pt x="126" y="18"/>
                        </a:lnTo>
                        <a:lnTo>
                          <a:pt x="114" y="18"/>
                        </a:lnTo>
                        <a:lnTo>
                          <a:pt x="108" y="12"/>
                        </a:lnTo>
                        <a:lnTo>
                          <a:pt x="72" y="12"/>
                        </a:lnTo>
                        <a:lnTo>
                          <a:pt x="54" y="18"/>
                        </a:lnTo>
                        <a:lnTo>
                          <a:pt x="42" y="24"/>
                        </a:lnTo>
                        <a:lnTo>
                          <a:pt x="36" y="30"/>
                        </a:lnTo>
                        <a:lnTo>
                          <a:pt x="30" y="42"/>
                        </a:lnTo>
                        <a:lnTo>
                          <a:pt x="30" y="48"/>
                        </a:lnTo>
                        <a:lnTo>
                          <a:pt x="0" y="78"/>
                        </a:lnTo>
                        <a:lnTo>
                          <a:pt x="6" y="114"/>
                        </a:lnTo>
                        <a:lnTo>
                          <a:pt x="18" y="126"/>
                        </a:lnTo>
                        <a:lnTo>
                          <a:pt x="18" y="156"/>
                        </a:lnTo>
                        <a:lnTo>
                          <a:pt x="30" y="168"/>
                        </a:lnTo>
                        <a:lnTo>
                          <a:pt x="30" y="198"/>
                        </a:lnTo>
                        <a:lnTo>
                          <a:pt x="42" y="210"/>
                        </a:lnTo>
                        <a:lnTo>
                          <a:pt x="48" y="222"/>
                        </a:lnTo>
                        <a:lnTo>
                          <a:pt x="54" y="228"/>
                        </a:lnTo>
                        <a:lnTo>
                          <a:pt x="54" y="234"/>
                        </a:lnTo>
                        <a:lnTo>
                          <a:pt x="42" y="246"/>
                        </a:lnTo>
                        <a:lnTo>
                          <a:pt x="54" y="270"/>
                        </a:lnTo>
                        <a:lnTo>
                          <a:pt x="60" y="276"/>
                        </a:lnTo>
                        <a:lnTo>
                          <a:pt x="72" y="282"/>
                        </a:lnTo>
                        <a:lnTo>
                          <a:pt x="78" y="282"/>
                        </a:lnTo>
                        <a:lnTo>
                          <a:pt x="90" y="270"/>
                        </a:lnTo>
                        <a:lnTo>
                          <a:pt x="90" y="264"/>
                        </a:lnTo>
                        <a:lnTo>
                          <a:pt x="90" y="288"/>
                        </a:lnTo>
                        <a:lnTo>
                          <a:pt x="96" y="300"/>
                        </a:lnTo>
                        <a:lnTo>
                          <a:pt x="102" y="306"/>
                        </a:lnTo>
                        <a:lnTo>
                          <a:pt x="114" y="306"/>
                        </a:lnTo>
                        <a:lnTo>
                          <a:pt x="120" y="300"/>
                        </a:lnTo>
                        <a:lnTo>
                          <a:pt x="132" y="300"/>
                        </a:lnTo>
                        <a:lnTo>
                          <a:pt x="138" y="306"/>
                        </a:lnTo>
                        <a:lnTo>
                          <a:pt x="138" y="312"/>
                        </a:lnTo>
                        <a:lnTo>
                          <a:pt x="150" y="336"/>
                        </a:lnTo>
                        <a:lnTo>
                          <a:pt x="168" y="336"/>
                        </a:lnTo>
                        <a:lnTo>
                          <a:pt x="180" y="324"/>
                        </a:lnTo>
                        <a:lnTo>
                          <a:pt x="192" y="318"/>
                        </a:lnTo>
                        <a:lnTo>
                          <a:pt x="210" y="318"/>
                        </a:lnTo>
                        <a:lnTo>
                          <a:pt x="222" y="312"/>
                        </a:lnTo>
                        <a:lnTo>
                          <a:pt x="222" y="306"/>
                        </a:lnTo>
                        <a:lnTo>
                          <a:pt x="216" y="300"/>
                        </a:lnTo>
                        <a:lnTo>
                          <a:pt x="210" y="300"/>
                        </a:lnTo>
                        <a:lnTo>
                          <a:pt x="204" y="294"/>
                        </a:lnTo>
                        <a:lnTo>
                          <a:pt x="240" y="294"/>
                        </a:lnTo>
                        <a:lnTo>
                          <a:pt x="240" y="288"/>
                        </a:lnTo>
                        <a:lnTo>
                          <a:pt x="246" y="282"/>
                        </a:lnTo>
                        <a:lnTo>
                          <a:pt x="258" y="282"/>
                        </a:lnTo>
                        <a:lnTo>
                          <a:pt x="270" y="288"/>
                        </a:lnTo>
                        <a:lnTo>
                          <a:pt x="276" y="294"/>
                        </a:lnTo>
                        <a:lnTo>
                          <a:pt x="288" y="300"/>
                        </a:lnTo>
                        <a:lnTo>
                          <a:pt x="294" y="306"/>
                        </a:lnTo>
                        <a:lnTo>
                          <a:pt x="294" y="294"/>
                        </a:lnTo>
                        <a:lnTo>
                          <a:pt x="276" y="276"/>
                        </a:lnTo>
                        <a:lnTo>
                          <a:pt x="264" y="252"/>
                        </a:lnTo>
                        <a:lnTo>
                          <a:pt x="264" y="228"/>
                        </a:lnTo>
                        <a:lnTo>
                          <a:pt x="306" y="228"/>
                        </a:lnTo>
                        <a:lnTo>
                          <a:pt x="306" y="204"/>
                        </a:lnTo>
                        <a:lnTo>
                          <a:pt x="336" y="204"/>
                        </a:lnTo>
                        <a:lnTo>
                          <a:pt x="336" y="186"/>
                        </a:lnTo>
                        <a:lnTo>
                          <a:pt x="342" y="180"/>
                        </a:lnTo>
                        <a:lnTo>
                          <a:pt x="360" y="180"/>
                        </a:lnTo>
                        <a:lnTo>
                          <a:pt x="372" y="186"/>
                        </a:lnTo>
                        <a:lnTo>
                          <a:pt x="372" y="156"/>
                        </a:lnTo>
                        <a:lnTo>
                          <a:pt x="366" y="150"/>
                        </a:lnTo>
                        <a:lnTo>
                          <a:pt x="366" y="120"/>
                        </a:lnTo>
                        <a:lnTo>
                          <a:pt x="360" y="114"/>
                        </a:lnTo>
                        <a:lnTo>
                          <a:pt x="360" y="102"/>
                        </a:lnTo>
                        <a:lnTo>
                          <a:pt x="366" y="102"/>
                        </a:lnTo>
                        <a:lnTo>
                          <a:pt x="378" y="90"/>
                        </a:lnTo>
                        <a:lnTo>
                          <a:pt x="378" y="84"/>
                        </a:lnTo>
                        <a:lnTo>
                          <a:pt x="366" y="60"/>
                        </a:lnTo>
                        <a:lnTo>
                          <a:pt x="354" y="48"/>
                        </a:lnTo>
                        <a:lnTo>
                          <a:pt x="348" y="48"/>
                        </a:lnTo>
                        <a:lnTo>
                          <a:pt x="348" y="6"/>
                        </a:lnTo>
                        <a:lnTo>
                          <a:pt x="324"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68" name="Burundi"/>
                  <p:cNvSpPr>
                    <a:spLocks/>
                  </p:cNvSpPr>
                  <p:nvPr/>
                </p:nvSpPr>
                <p:spPr bwMode="gray">
                  <a:xfrm>
                    <a:off x="3180" y="2360"/>
                    <a:ext cx="34" cy="43"/>
                  </a:xfrm>
                  <a:custGeom>
                    <a:avLst/>
                    <a:gdLst>
                      <a:gd name="T0" fmla="*/ 2147483647 w 132"/>
                      <a:gd name="T1" fmla="*/ 2147483647 h 168"/>
                      <a:gd name="T2" fmla="*/ 2147483647 w 132"/>
                      <a:gd name="T3" fmla="*/ 2147483647 h 168"/>
                      <a:gd name="T4" fmla="*/ 2147483647 w 132"/>
                      <a:gd name="T5" fmla="*/ 2147483647 h 168"/>
                      <a:gd name="T6" fmla="*/ 2147483647 w 132"/>
                      <a:gd name="T7" fmla="*/ 2147483647 h 168"/>
                      <a:gd name="T8" fmla="*/ 2147483647 w 132"/>
                      <a:gd name="T9" fmla="*/ 2147483647 h 168"/>
                      <a:gd name="T10" fmla="*/ 2147483647 w 132"/>
                      <a:gd name="T11" fmla="*/ 2147483647 h 168"/>
                      <a:gd name="T12" fmla="*/ 2147483647 w 132"/>
                      <a:gd name="T13" fmla="*/ 2147483647 h 168"/>
                      <a:gd name="T14" fmla="*/ 2147483647 w 132"/>
                      <a:gd name="T15" fmla="*/ 2147483647 h 168"/>
                      <a:gd name="T16" fmla="*/ 2147483647 w 132"/>
                      <a:gd name="T17" fmla="*/ 2147483647 h 168"/>
                      <a:gd name="T18" fmla="*/ 2147483647 w 132"/>
                      <a:gd name="T19" fmla="*/ 2147483647 h 168"/>
                      <a:gd name="T20" fmla="*/ 2147483647 w 132"/>
                      <a:gd name="T21" fmla="*/ 2147483647 h 168"/>
                      <a:gd name="T22" fmla="*/ 2147483647 w 132"/>
                      <a:gd name="T23" fmla="*/ 2147483647 h 168"/>
                      <a:gd name="T24" fmla="*/ 2147483647 w 132"/>
                      <a:gd name="T25" fmla="*/ 2147483647 h 168"/>
                      <a:gd name="T26" fmla="*/ 2147483647 w 132"/>
                      <a:gd name="T27" fmla="*/ 2147483647 h 168"/>
                      <a:gd name="T28" fmla="*/ 2147483647 w 132"/>
                      <a:gd name="T29" fmla="*/ 2147483647 h 168"/>
                      <a:gd name="T30" fmla="*/ 2147483647 w 132"/>
                      <a:gd name="T31" fmla="*/ 2147483647 h 168"/>
                      <a:gd name="T32" fmla="*/ 2147483647 w 132"/>
                      <a:gd name="T33" fmla="*/ 2147483647 h 168"/>
                      <a:gd name="T34" fmla="*/ 2147483647 w 132"/>
                      <a:gd name="T35" fmla="*/ 2147483647 h 168"/>
                      <a:gd name="T36" fmla="*/ 2147483647 w 132"/>
                      <a:gd name="T37" fmla="*/ 2147483647 h 168"/>
                      <a:gd name="T38" fmla="*/ 2147483647 w 132"/>
                      <a:gd name="T39" fmla="*/ 2147483647 h 168"/>
                      <a:gd name="T40" fmla="*/ 2147483647 w 132"/>
                      <a:gd name="T41" fmla="*/ 2147483647 h 168"/>
                      <a:gd name="T42" fmla="*/ 2147483647 w 132"/>
                      <a:gd name="T43" fmla="*/ 2147483647 h 168"/>
                      <a:gd name="T44" fmla="*/ 2147483647 w 132"/>
                      <a:gd name="T45" fmla="*/ 2147483647 h 168"/>
                      <a:gd name="T46" fmla="*/ 2147483647 w 132"/>
                      <a:gd name="T47" fmla="*/ 0 h 168"/>
                      <a:gd name="T48" fmla="*/ 2147483647 w 132"/>
                      <a:gd name="T49" fmla="*/ 0 h 168"/>
                      <a:gd name="T50" fmla="*/ 2147483647 w 132"/>
                      <a:gd name="T51" fmla="*/ 0 h 168"/>
                      <a:gd name="T52" fmla="*/ 2147483647 w 132"/>
                      <a:gd name="T53" fmla="*/ 2147483647 h 168"/>
                      <a:gd name="T54" fmla="*/ 2147483647 w 132"/>
                      <a:gd name="T55" fmla="*/ 2147483647 h 168"/>
                      <a:gd name="T56" fmla="*/ 2147483647 w 132"/>
                      <a:gd name="T57" fmla="*/ 2147483647 h 168"/>
                      <a:gd name="T58" fmla="*/ 2147483647 w 132"/>
                      <a:gd name="T59" fmla="*/ 2147483647 h 168"/>
                      <a:gd name="T60" fmla="*/ 2147483647 w 132"/>
                      <a:gd name="T61" fmla="*/ 2147483647 h 168"/>
                      <a:gd name="T62" fmla="*/ 2147483647 w 132"/>
                      <a:gd name="T63" fmla="*/ 2147483647 h 168"/>
                      <a:gd name="T64" fmla="*/ 0 w 132"/>
                      <a:gd name="T65" fmla="*/ 2147483647 h 168"/>
                      <a:gd name="T66" fmla="*/ 2147483647 w 132"/>
                      <a:gd name="T67" fmla="*/ 2147483647 h 168"/>
                      <a:gd name="T68" fmla="*/ 2147483647 w 132"/>
                      <a:gd name="T69" fmla="*/ 2147483647 h 168"/>
                      <a:gd name="T70" fmla="*/ 2147483647 w 132"/>
                      <a:gd name="T71" fmla="*/ 2147483647 h 168"/>
                      <a:gd name="T72" fmla="*/ 2147483647 w 132"/>
                      <a:gd name="T73" fmla="*/ 2147483647 h 168"/>
                      <a:gd name="T74" fmla="*/ 2147483647 w 132"/>
                      <a:gd name="T75" fmla="*/ 2147483647 h 1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32"/>
                      <a:gd name="T115" fmla="*/ 0 h 168"/>
                      <a:gd name="T116" fmla="*/ 132 w 132"/>
                      <a:gd name="T117" fmla="*/ 168 h 1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32" h="168">
                        <a:moveTo>
                          <a:pt x="36" y="72"/>
                        </a:moveTo>
                        <a:lnTo>
                          <a:pt x="36" y="96"/>
                        </a:lnTo>
                        <a:lnTo>
                          <a:pt x="30" y="102"/>
                        </a:lnTo>
                        <a:lnTo>
                          <a:pt x="30" y="138"/>
                        </a:lnTo>
                        <a:lnTo>
                          <a:pt x="36" y="156"/>
                        </a:lnTo>
                        <a:lnTo>
                          <a:pt x="42" y="168"/>
                        </a:lnTo>
                        <a:lnTo>
                          <a:pt x="54" y="168"/>
                        </a:lnTo>
                        <a:lnTo>
                          <a:pt x="60" y="162"/>
                        </a:lnTo>
                        <a:lnTo>
                          <a:pt x="72" y="156"/>
                        </a:lnTo>
                        <a:lnTo>
                          <a:pt x="84" y="144"/>
                        </a:lnTo>
                        <a:lnTo>
                          <a:pt x="90" y="132"/>
                        </a:lnTo>
                        <a:lnTo>
                          <a:pt x="90" y="114"/>
                        </a:lnTo>
                        <a:lnTo>
                          <a:pt x="96" y="102"/>
                        </a:lnTo>
                        <a:lnTo>
                          <a:pt x="114" y="84"/>
                        </a:lnTo>
                        <a:lnTo>
                          <a:pt x="126" y="84"/>
                        </a:lnTo>
                        <a:lnTo>
                          <a:pt x="120" y="72"/>
                        </a:lnTo>
                        <a:lnTo>
                          <a:pt x="132" y="66"/>
                        </a:lnTo>
                        <a:lnTo>
                          <a:pt x="132" y="48"/>
                        </a:lnTo>
                        <a:lnTo>
                          <a:pt x="114" y="48"/>
                        </a:lnTo>
                        <a:lnTo>
                          <a:pt x="108" y="42"/>
                        </a:lnTo>
                        <a:lnTo>
                          <a:pt x="102" y="42"/>
                        </a:lnTo>
                        <a:lnTo>
                          <a:pt x="102" y="24"/>
                        </a:lnTo>
                        <a:lnTo>
                          <a:pt x="108" y="12"/>
                        </a:lnTo>
                        <a:lnTo>
                          <a:pt x="108" y="0"/>
                        </a:lnTo>
                        <a:lnTo>
                          <a:pt x="120" y="0"/>
                        </a:lnTo>
                        <a:lnTo>
                          <a:pt x="66" y="0"/>
                        </a:lnTo>
                        <a:lnTo>
                          <a:pt x="60" y="24"/>
                        </a:lnTo>
                        <a:lnTo>
                          <a:pt x="48" y="30"/>
                        </a:lnTo>
                        <a:lnTo>
                          <a:pt x="42" y="36"/>
                        </a:lnTo>
                        <a:lnTo>
                          <a:pt x="30" y="36"/>
                        </a:lnTo>
                        <a:lnTo>
                          <a:pt x="24" y="30"/>
                        </a:lnTo>
                        <a:lnTo>
                          <a:pt x="18" y="18"/>
                        </a:lnTo>
                        <a:lnTo>
                          <a:pt x="0" y="18"/>
                        </a:lnTo>
                        <a:lnTo>
                          <a:pt x="12" y="48"/>
                        </a:lnTo>
                        <a:lnTo>
                          <a:pt x="18" y="54"/>
                        </a:lnTo>
                        <a:lnTo>
                          <a:pt x="30" y="60"/>
                        </a:lnTo>
                        <a:lnTo>
                          <a:pt x="36" y="66"/>
                        </a:lnTo>
                        <a:lnTo>
                          <a:pt x="36" y="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69" name="Burkina Faso"/>
                  <p:cNvSpPr>
                    <a:spLocks/>
                  </p:cNvSpPr>
                  <p:nvPr/>
                </p:nvSpPr>
                <p:spPr bwMode="gray">
                  <a:xfrm>
                    <a:off x="2552" y="2000"/>
                    <a:ext cx="146" cy="115"/>
                  </a:xfrm>
                  <a:custGeom>
                    <a:avLst/>
                    <a:gdLst>
                      <a:gd name="T0" fmla="*/ 2147483647 w 570"/>
                      <a:gd name="T1" fmla="*/ 2147483647 h 450"/>
                      <a:gd name="T2" fmla="*/ 2147483647 w 570"/>
                      <a:gd name="T3" fmla="*/ 2147483647 h 450"/>
                      <a:gd name="T4" fmla="*/ 2147483647 w 570"/>
                      <a:gd name="T5" fmla="*/ 2147483647 h 450"/>
                      <a:gd name="T6" fmla="*/ 2147483647 w 570"/>
                      <a:gd name="T7" fmla="*/ 2147483647 h 450"/>
                      <a:gd name="T8" fmla="*/ 2147483647 w 570"/>
                      <a:gd name="T9" fmla="*/ 2147483647 h 450"/>
                      <a:gd name="T10" fmla="*/ 2147483647 w 570"/>
                      <a:gd name="T11" fmla="*/ 2147483647 h 450"/>
                      <a:gd name="T12" fmla="*/ 2147483647 w 570"/>
                      <a:gd name="T13" fmla="*/ 2147483647 h 450"/>
                      <a:gd name="T14" fmla="*/ 2147483647 w 570"/>
                      <a:gd name="T15" fmla="*/ 2147483647 h 450"/>
                      <a:gd name="T16" fmla="*/ 2147483647 w 570"/>
                      <a:gd name="T17" fmla="*/ 2147483647 h 450"/>
                      <a:gd name="T18" fmla="*/ 2147483647 w 570"/>
                      <a:gd name="T19" fmla="*/ 2147483647 h 450"/>
                      <a:gd name="T20" fmla="*/ 2147483647 w 570"/>
                      <a:gd name="T21" fmla="*/ 2147483647 h 450"/>
                      <a:gd name="T22" fmla="*/ 2147483647 w 570"/>
                      <a:gd name="T23" fmla="*/ 2147483647 h 450"/>
                      <a:gd name="T24" fmla="*/ 2147483647 w 570"/>
                      <a:gd name="T25" fmla="*/ 2147483647 h 450"/>
                      <a:gd name="T26" fmla="*/ 2147483647 w 570"/>
                      <a:gd name="T27" fmla="*/ 2147483647 h 450"/>
                      <a:gd name="T28" fmla="*/ 2147483647 w 570"/>
                      <a:gd name="T29" fmla="*/ 2147483647 h 450"/>
                      <a:gd name="T30" fmla="*/ 2147483647 w 570"/>
                      <a:gd name="T31" fmla="*/ 2147483647 h 450"/>
                      <a:gd name="T32" fmla="*/ 2147483647 w 570"/>
                      <a:gd name="T33" fmla="*/ 2147483647 h 450"/>
                      <a:gd name="T34" fmla="*/ 2147483647 w 570"/>
                      <a:gd name="T35" fmla="*/ 2147483647 h 450"/>
                      <a:gd name="T36" fmla="*/ 2147483647 w 570"/>
                      <a:gd name="T37" fmla="*/ 2147483647 h 450"/>
                      <a:gd name="T38" fmla="*/ 2147483647 w 570"/>
                      <a:gd name="T39" fmla="*/ 2147483647 h 450"/>
                      <a:gd name="T40" fmla="*/ 2147483647 w 570"/>
                      <a:gd name="T41" fmla="*/ 2147483647 h 450"/>
                      <a:gd name="T42" fmla="*/ 2147483647 w 570"/>
                      <a:gd name="T43" fmla="*/ 2147483647 h 450"/>
                      <a:gd name="T44" fmla="*/ 2147483647 w 570"/>
                      <a:gd name="T45" fmla="*/ 2147483647 h 450"/>
                      <a:gd name="T46" fmla="*/ 2147483647 w 570"/>
                      <a:gd name="T47" fmla="*/ 2147483647 h 450"/>
                      <a:gd name="T48" fmla="*/ 2147483647 w 570"/>
                      <a:gd name="T49" fmla="*/ 2147483647 h 450"/>
                      <a:gd name="T50" fmla="*/ 2147483647 w 570"/>
                      <a:gd name="T51" fmla="*/ 2147483647 h 450"/>
                      <a:gd name="T52" fmla="*/ 2147483647 w 570"/>
                      <a:gd name="T53" fmla="*/ 2147483647 h 450"/>
                      <a:gd name="T54" fmla="*/ 2147483647 w 570"/>
                      <a:gd name="T55" fmla="*/ 2147483647 h 450"/>
                      <a:gd name="T56" fmla="*/ 2147483647 w 570"/>
                      <a:gd name="T57" fmla="*/ 2147483647 h 450"/>
                      <a:gd name="T58" fmla="*/ 2147483647 w 570"/>
                      <a:gd name="T59" fmla="*/ 2147483647 h 450"/>
                      <a:gd name="T60" fmla="*/ 2147483647 w 570"/>
                      <a:gd name="T61" fmla="*/ 2147483647 h 450"/>
                      <a:gd name="T62" fmla="*/ 2147483647 w 570"/>
                      <a:gd name="T63" fmla="*/ 2147483647 h 450"/>
                      <a:gd name="T64" fmla="*/ 2147483647 w 570"/>
                      <a:gd name="T65" fmla="*/ 2147483647 h 450"/>
                      <a:gd name="T66" fmla="*/ 2147483647 w 570"/>
                      <a:gd name="T67" fmla="*/ 0 h 450"/>
                      <a:gd name="T68" fmla="*/ 2147483647 w 570"/>
                      <a:gd name="T69" fmla="*/ 2147483647 h 450"/>
                      <a:gd name="T70" fmla="*/ 2147483647 w 570"/>
                      <a:gd name="T71" fmla="*/ 2147483647 h 450"/>
                      <a:gd name="T72" fmla="*/ 2147483647 w 570"/>
                      <a:gd name="T73" fmla="*/ 2147483647 h 450"/>
                      <a:gd name="T74" fmla="*/ 2147483647 w 570"/>
                      <a:gd name="T75" fmla="*/ 2147483647 h 450"/>
                      <a:gd name="T76" fmla="*/ 2147483647 w 570"/>
                      <a:gd name="T77" fmla="*/ 2147483647 h 450"/>
                      <a:gd name="T78" fmla="*/ 2147483647 w 570"/>
                      <a:gd name="T79" fmla="*/ 2147483647 h 450"/>
                      <a:gd name="T80" fmla="*/ 2147483647 w 570"/>
                      <a:gd name="T81" fmla="*/ 2147483647 h 450"/>
                      <a:gd name="T82" fmla="*/ 2147483647 w 570"/>
                      <a:gd name="T83" fmla="*/ 2147483647 h 450"/>
                      <a:gd name="T84" fmla="*/ 2147483647 w 570"/>
                      <a:gd name="T85" fmla="*/ 2147483647 h 450"/>
                      <a:gd name="T86" fmla="*/ 2147483647 w 570"/>
                      <a:gd name="T87" fmla="*/ 2147483647 h 450"/>
                      <a:gd name="T88" fmla="*/ 2147483647 w 570"/>
                      <a:gd name="T89" fmla="*/ 2147483647 h 450"/>
                      <a:gd name="T90" fmla="*/ 2147483647 w 570"/>
                      <a:gd name="T91" fmla="*/ 2147483647 h 450"/>
                      <a:gd name="T92" fmla="*/ 2147483647 w 570"/>
                      <a:gd name="T93" fmla="*/ 2147483647 h 450"/>
                      <a:gd name="T94" fmla="*/ 2147483647 w 570"/>
                      <a:gd name="T95" fmla="*/ 2147483647 h 450"/>
                      <a:gd name="T96" fmla="*/ 2147483647 w 570"/>
                      <a:gd name="T97" fmla="*/ 2147483647 h 450"/>
                      <a:gd name="T98" fmla="*/ 2147483647 w 570"/>
                      <a:gd name="T99" fmla="*/ 2147483647 h 450"/>
                      <a:gd name="T100" fmla="*/ 2147483647 w 570"/>
                      <a:gd name="T101" fmla="*/ 2147483647 h 450"/>
                      <a:gd name="T102" fmla="*/ 2147483647 w 570"/>
                      <a:gd name="T103" fmla="*/ 2147483647 h 45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0"/>
                      <a:gd name="T157" fmla="*/ 0 h 450"/>
                      <a:gd name="T158" fmla="*/ 570 w 570"/>
                      <a:gd name="T159" fmla="*/ 450 h 45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0" h="450">
                        <a:moveTo>
                          <a:pt x="0" y="312"/>
                        </a:moveTo>
                        <a:lnTo>
                          <a:pt x="6" y="366"/>
                        </a:lnTo>
                        <a:lnTo>
                          <a:pt x="6" y="390"/>
                        </a:lnTo>
                        <a:lnTo>
                          <a:pt x="30" y="384"/>
                        </a:lnTo>
                        <a:lnTo>
                          <a:pt x="30" y="390"/>
                        </a:lnTo>
                        <a:lnTo>
                          <a:pt x="36" y="396"/>
                        </a:lnTo>
                        <a:lnTo>
                          <a:pt x="36" y="408"/>
                        </a:lnTo>
                        <a:lnTo>
                          <a:pt x="42" y="420"/>
                        </a:lnTo>
                        <a:lnTo>
                          <a:pt x="54" y="426"/>
                        </a:lnTo>
                        <a:lnTo>
                          <a:pt x="60" y="432"/>
                        </a:lnTo>
                        <a:lnTo>
                          <a:pt x="72" y="432"/>
                        </a:lnTo>
                        <a:lnTo>
                          <a:pt x="78" y="438"/>
                        </a:lnTo>
                        <a:lnTo>
                          <a:pt x="90" y="438"/>
                        </a:lnTo>
                        <a:lnTo>
                          <a:pt x="96" y="432"/>
                        </a:lnTo>
                        <a:lnTo>
                          <a:pt x="96" y="426"/>
                        </a:lnTo>
                        <a:lnTo>
                          <a:pt x="120" y="414"/>
                        </a:lnTo>
                        <a:lnTo>
                          <a:pt x="150" y="414"/>
                        </a:lnTo>
                        <a:lnTo>
                          <a:pt x="168" y="420"/>
                        </a:lnTo>
                        <a:lnTo>
                          <a:pt x="186" y="438"/>
                        </a:lnTo>
                        <a:lnTo>
                          <a:pt x="186" y="450"/>
                        </a:lnTo>
                        <a:lnTo>
                          <a:pt x="204" y="444"/>
                        </a:lnTo>
                        <a:lnTo>
                          <a:pt x="198" y="450"/>
                        </a:lnTo>
                        <a:lnTo>
                          <a:pt x="198" y="396"/>
                        </a:lnTo>
                        <a:lnTo>
                          <a:pt x="192" y="366"/>
                        </a:lnTo>
                        <a:lnTo>
                          <a:pt x="186" y="366"/>
                        </a:lnTo>
                        <a:lnTo>
                          <a:pt x="186" y="348"/>
                        </a:lnTo>
                        <a:lnTo>
                          <a:pt x="192" y="336"/>
                        </a:lnTo>
                        <a:lnTo>
                          <a:pt x="198" y="330"/>
                        </a:lnTo>
                        <a:lnTo>
                          <a:pt x="354" y="330"/>
                        </a:lnTo>
                        <a:lnTo>
                          <a:pt x="378" y="318"/>
                        </a:lnTo>
                        <a:lnTo>
                          <a:pt x="396" y="324"/>
                        </a:lnTo>
                        <a:lnTo>
                          <a:pt x="414" y="324"/>
                        </a:lnTo>
                        <a:lnTo>
                          <a:pt x="438" y="330"/>
                        </a:lnTo>
                        <a:lnTo>
                          <a:pt x="456" y="330"/>
                        </a:lnTo>
                        <a:lnTo>
                          <a:pt x="462" y="318"/>
                        </a:lnTo>
                        <a:lnTo>
                          <a:pt x="474" y="318"/>
                        </a:lnTo>
                        <a:lnTo>
                          <a:pt x="480" y="306"/>
                        </a:lnTo>
                        <a:lnTo>
                          <a:pt x="498" y="288"/>
                        </a:lnTo>
                        <a:lnTo>
                          <a:pt x="528" y="288"/>
                        </a:lnTo>
                        <a:lnTo>
                          <a:pt x="534" y="294"/>
                        </a:lnTo>
                        <a:lnTo>
                          <a:pt x="534" y="282"/>
                        </a:lnTo>
                        <a:lnTo>
                          <a:pt x="540" y="282"/>
                        </a:lnTo>
                        <a:lnTo>
                          <a:pt x="546" y="276"/>
                        </a:lnTo>
                        <a:lnTo>
                          <a:pt x="558" y="276"/>
                        </a:lnTo>
                        <a:lnTo>
                          <a:pt x="564" y="258"/>
                        </a:lnTo>
                        <a:lnTo>
                          <a:pt x="570" y="252"/>
                        </a:lnTo>
                        <a:lnTo>
                          <a:pt x="564" y="252"/>
                        </a:lnTo>
                        <a:lnTo>
                          <a:pt x="540" y="216"/>
                        </a:lnTo>
                        <a:lnTo>
                          <a:pt x="564" y="210"/>
                        </a:lnTo>
                        <a:lnTo>
                          <a:pt x="558" y="198"/>
                        </a:lnTo>
                        <a:lnTo>
                          <a:pt x="546" y="186"/>
                        </a:lnTo>
                        <a:lnTo>
                          <a:pt x="534" y="186"/>
                        </a:lnTo>
                        <a:lnTo>
                          <a:pt x="522" y="198"/>
                        </a:lnTo>
                        <a:lnTo>
                          <a:pt x="504" y="198"/>
                        </a:lnTo>
                        <a:lnTo>
                          <a:pt x="498" y="186"/>
                        </a:lnTo>
                        <a:lnTo>
                          <a:pt x="486" y="180"/>
                        </a:lnTo>
                        <a:lnTo>
                          <a:pt x="462" y="156"/>
                        </a:lnTo>
                        <a:lnTo>
                          <a:pt x="462" y="150"/>
                        </a:lnTo>
                        <a:lnTo>
                          <a:pt x="480" y="132"/>
                        </a:lnTo>
                        <a:lnTo>
                          <a:pt x="468" y="132"/>
                        </a:lnTo>
                        <a:lnTo>
                          <a:pt x="468" y="114"/>
                        </a:lnTo>
                        <a:lnTo>
                          <a:pt x="444" y="114"/>
                        </a:lnTo>
                        <a:lnTo>
                          <a:pt x="432" y="108"/>
                        </a:lnTo>
                        <a:lnTo>
                          <a:pt x="420" y="84"/>
                        </a:lnTo>
                        <a:lnTo>
                          <a:pt x="420" y="60"/>
                        </a:lnTo>
                        <a:lnTo>
                          <a:pt x="414" y="48"/>
                        </a:lnTo>
                        <a:lnTo>
                          <a:pt x="414" y="12"/>
                        </a:lnTo>
                        <a:lnTo>
                          <a:pt x="390" y="0"/>
                        </a:lnTo>
                        <a:lnTo>
                          <a:pt x="342" y="0"/>
                        </a:lnTo>
                        <a:lnTo>
                          <a:pt x="324" y="18"/>
                        </a:lnTo>
                        <a:lnTo>
                          <a:pt x="300" y="18"/>
                        </a:lnTo>
                        <a:lnTo>
                          <a:pt x="282" y="42"/>
                        </a:lnTo>
                        <a:lnTo>
                          <a:pt x="258" y="42"/>
                        </a:lnTo>
                        <a:lnTo>
                          <a:pt x="258" y="60"/>
                        </a:lnTo>
                        <a:lnTo>
                          <a:pt x="252" y="66"/>
                        </a:lnTo>
                        <a:lnTo>
                          <a:pt x="252" y="72"/>
                        </a:lnTo>
                        <a:lnTo>
                          <a:pt x="240" y="72"/>
                        </a:lnTo>
                        <a:lnTo>
                          <a:pt x="228" y="60"/>
                        </a:lnTo>
                        <a:lnTo>
                          <a:pt x="222" y="60"/>
                        </a:lnTo>
                        <a:lnTo>
                          <a:pt x="216" y="66"/>
                        </a:lnTo>
                        <a:lnTo>
                          <a:pt x="210" y="78"/>
                        </a:lnTo>
                        <a:lnTo>
                          <a:pt x="198" y="84"/>
                        </a:lnTo>
                        <a:lnTo>
                          <a:pt x="192" y="96"/>
                        </a:lnTo>
                        <a:lnTo>
                          <a:pt x="186" y="102"/>
                        </a:lnTo>
                        <a:lnTo>
                          <a:pt x="186" y="108"/>
                        </a:lnTo>
                        <a:lnTo>
                          <a:pt x="168" y="108"/>
                        </a:lnTo>
                        <a:lnTo>
                          <a:pt x="168" y="144"/>
                        </a:lnTo>
                        <a:lnTo>
                          <a:pt x="144" y="150"/>
                        </a:lnTo>
                        <a:lnTo>
                          <a:pt x="114" y="120"/>
                        </a:lnTo>
                        <a:lnTo>
                          <a:pt x="96" y="150"/>
                        </a:lnTo>
                        <a:lnTo>
                          <a:pt x="102" y="156"/>
                        </a:lnTo>
                        <a:lnTo>
                          <a:pt x="102" y="186"/>
                        </a:lnTo>
                        <a:lnTo>
                          <a:pt x="84" y="186"/>
                        </a:lnTo>
                        <a:lnTo>
                          <a:pt x="84" y="216"/>
                        </a:lnTo>
                        <a:lnTo>
                          <a:pt x="78" y="222"/>
                        </a:lnTo>
                        <a:lnTo>
                          <a:pt x="72" y="222"/>
                        </a:lnTo>
                        <a:lnTo>
                          <a:pt x="78" y="228"/>
                        </a:lnTo>
                        <a:lnTo>
                          <a:pt x="78" y="240"/>
                        </a:lnTo>
                        <a:lnTo>
                          <a:pt x="42" y="240"/>
                        </a:lnTo>
                        <a:lnTo>
                          <a:pt x="36" y="246"/>
                        </a:lnTo>
                        <a:lnTo>
                          <a:pt x="30" y="246"/>
                        </a:lnTo>
                        <a:lnTo>
                          <a:pt x="12" y="258"/>
                        </a:lnTo>
                        <a:lnTo>
                          <a:pt x="36" y="288"/>
                        </a:lnTo>
                        <a:lnTo>
                          <a:pt x="24" y="312"/>
                        </a:lnTo>
                        <a:lnTo>
                          <a:pt x="0" y="3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70" name="Bulgaria"/>
                  <p:cNvSpPr>
                    <a:spLocks/>
                  </p:cNvSpPr>
                  <p:nvPr/>
                </p:nvSpPr>
                <p:spPr bwMode="gray">
                  <a:xfrm>
                    <a:off x="3039" y="1401"/>
                    <a:ext cx="101" cy="58"/>
                  </a:xfrm>
                  <a:custGeom>
                    <a:avLst/>
                    <a:gdLst>
                      <a:gd name="T0" fmla="*/ 2147483647 w 396"/>
                      <a:gd name="T1" fmla="*/ 2147483647 h 228"/>
                      <a:gd name="T2" fmla="*/ 2147483647 w 396"/>
                      <a:gd name="T3" fmla="*/ 2147483647 h 228"/>
                      <a:gd name="T4" fmla="*/ 2147483647 w 396"/>
                      <a:gd name="T5" fmla="*/ 2147483647 h 228"/>
                      <a:gd name="T6" fmla="*/ 2147483647 w 396"/>
                      <a:gd name="T7" fmla="*/ 2147483647 h 228"/>
                      <a:gd name="T8" fmla="*/ 2147483647 w 396"/>
                      <a:gd name="T9" fmla="*/ 2147483647 h 228"/>
                      <a:gd name="T10" fmla="*/ 2147483647 w 396"/>
                      <a:gd name="T11" fmla="*/ 2147483647 h 228"/>
                      <a:gd name="T12" fmla="*/ 2147483647 w 396"/>
                      <a:gd name="T13" fmla="*/ 2147483647 h 228"/>
                      <a:gd name="T14" fmla="*/ 2147483647 w 396"/>
                      <a:gd name="T15" fmla="*/ 0 h 228"/>
                      <a:gd name="T16" fmla="*/ 2147483647 w 396"/>
                      <a:gd name="T17" fmla="*/ 2147483647 h 228"/>
                      <a:gd name="T18" fmla="*/ 2147483647 w 396"/>
                      <a:gd name="T19" fmla="*/ 2147483647 h 228"/>
                      <a:gd name="T20" fmla="*/ 2147483647 w 396"/>
                      <a:gd name="T21" fmla="*/ 2147483647 h 228"/>
                      <a:gd name="T22" fmla="*/ 2147483647 w 396"/>
                      <a:gd name="T23" fmla="*/ 2147483647 h 228"/>
                      <a:gd name="T24" fmla="*/ 2147483647 w 396"/>
                      <a:gd name="T25" fmla="*/ 2147483647 h 228"/>
                      <a:gd name="T26" fmla="*/ 2147483647 w 396"/>
                      <a:gd name="T27" fmla="*/ 2147483647 h 228"/>
                      <a:gd name="T28" fmla="*/ 2147483647 w 396"/>
                      <a:gd name="T29" fmla="*/ 2147483647 h 228"/>
                      <a:gd name="T30" fmla="*/ 2147483647 w 396"/>
                      <a:gd name="T31" fmla="*/ 2147483647 h 228"/>
                      <a:gd name="T32" fmla="*/ 2147483647 w 396"/>
                      <a:gd name="T33" fmla="*/ 2147483647 h 228"/>
                      <a:gd name="T34" fmla="*/ 2147483647 w 396"/>
                      <a:gd name="T35" fmla="*/ 2147483647 h 228"/>
                      <a:gd name="T36" fmla="*/ 2147483647 w 396"/>
                      <a:gd name="T37" fmla="*/ 2147483647 h 228"/>
                      <a:gd name="T38" fmla="*/ 2147483647 w 396"/>
                      <a:gd name="T39" fmla="*/ 2147483647 h 228"/>
                      <a:gd name="T40" fmla="*/ 2147483647 w 396"/>
                      <a:gd name="T41" fmla="*/ 2147483647 h 228"/>
                      <a:gd name="T42" fmla="*/ 2147483647 w 396"/>
                      <a:gd name="T43" fmla="*/ 0 h 228"/>
                      <a:gd name="T44" fmla="*/ 0 w 396"/>
                      <a:gd name="T45" fmla="*/ 2147483647 h 228"/>
                      <a:gd name="T46" fmla="*/ 2147483647 w 396"/>
                      <a:gd name="T47" fmla="*/ 2147483647 h 228"/>
                      <a:gd name="T48" fmla="*/ 2147483647 w 396"/>
                      <a:gd name="T49" fmla="*/ 2147483647 h 228"/>
                      <a:gd name="T50" fmla="*/ 2147483647 w 396"/>
                      <a:gd name="T51" fmla="*/ 2147483647 h 228"/>
                      <a:gd name="T52" fmla="*/ 2147483647 w 396"/>
                      <a:gd name="T53" fmla="*/ 2147483647 h 228"/>
                      <a:gd name="T54" fmla="*/ 2147483647 w 396"/>
                      <a:gd name="T55" fmla="*/ 2147483647 h 228"/>
                      <a:gd name="T56" fmla="*/ 0 w 396"/>
                      <a:gd name="T57" fmla="*/ 2147483647 h 228"/>
                      <a:gd name="T58" fmla="*/ 2147483647 w 396"/>
                      <a:gd name="T59" fmla="*/ 2147483647 h 228"/>
                      <a:gd name="T60" fmla="*/ 2147483647 w 396"/>
                      <a:gd name="T61" fmla="*/ 2147483647 h 228"/>
                      <a:gd name="T62" fmla="*/ 2147483647 w 396"/>
                      <a:gd name="T63" fmla="*/ 2147483647 h 228"/>
                      <a:gd name="T64" fmla="*/ 2147483647 w 396"/>
                      <a:gd name="T65" fmla="*/ 2147483647 h 228"/>
                      <a:gd name="T66" fmla="*/ 2147483647 w 396"/>
                      <a:gd name="T67" fmla="*/ 2147483647 h 228"/>
                      <a:gd name="T68" fmla="*/ 2147483647 w 396"/>
                      <a:gd name="T69" fmla="*/ 2147483647 h 228"/>
                      <a:gd name="T70" fmla="*/ 2147483647 w 396"/>
                      <a:gd name="T71" fmla="*/ 2147483647 h 228"/>
                      <a:gd name="T72" fmla="*/ 2147483647 w 396"/>
                      <a:gd name="T73" fmla="*/ 2147483647 h 228"/>
                      <a:gd name="T74" fmla="*/ 2147483647 w 396"/>
                      <a:gd name="T75" fmla="*/ 2147483647 h 228"/>
                      <a:gd name="T76" fmla="*/ 2147483647 w 396"/>
                      <a:gd name="T77" fmla="*/ 2147483647 h 228"/>
                      <a:gd name="T78" fmla="*/ 2147483647 w 396"/>
                      <a:gd name="T79" fmla="*/ 2147483647 h 228"/>
                      <a:gd name="T80" fmla="*/ 2147483647 w 396"/>
                      <a:gd name="T81" fmla="*/ 2147483647 h 228"/>
                      <a:gd name="T82" fmla="*/ 2147483647 w 396"/>
                      <a:gd name="T83" fmla="*/ 2147483647 h 228"/>
                      <a:gd name="T84" fmla="*/ 2147483647 w 396"/>
                      <a:gd name="T85" fmla="*/ 2147483647 h 228"/>
                      <a:gd name="T86" fmla="*/ 2147483647 w 396"/>
                      <a:gd name="T87" fmla="*/ 2147483647 h 228"/>
                      <a:gd name="T88" fmla="*/ 2147483647 w 396"/>
                      <a:gd name="T89" fmla="*/ 2147483647 h 228"/>
                      <a:gd name="T90" fmla="*/ 2147483647 w 396"/>
                      <a:gd name="T91" fmla="*/ 2147483647 h 228"/>
                      <a:gd name="T92" fmla="*/ 2147483647 w 396"/>
                      <a:gd name="T93" fmla="*/ 2147483647 h 2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396"/>
                      <a:gd name="T142" fmla="*/ 0 h 228"/>
                      <a:gd name="T143" fmla="*/ 396 w 396"/>
                      <a:gd name="T144" fmla="*/ 228 h 228"/>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396" h="228">
                        <a:moveTo>
                          <a:pt x="372" y="168"/>
                        </a:moveTo>
                        <a:lnTo>
                          <a:pt x="336" y="126"/>
                        </a:lnTo>
                        <a:lnTo>
                          <a:pt x="354" y="108"/>
                        </a:lnTo>
                        <a:lnTo>
                          <a:pt x="354" y="78"/>
                        </a:lnTo>
                        <a:lnTo>
                          <a:pt x="360" y="72"/>
                        </a:lnTo>
                        <a:lnTo>
                          <a:pt x="372" y="66"/>
                        </a:lnTo>
                        <a:lnTo>
                          <a:pt x="396" y="66"/>
                        </a:lnTo>
                        <a:lnTo>
                          <a:pt x="396" y="48"/>
                        </a:lnTo>
                        <a:lnTo>
                          <a:pt x="390" y="36"/>
                        </a:lnTo>
                        <a:lnTo>
                          <a:pt x="372" y="36"/>
                        </a:lnTo>
                        <a:lnTo>
                          <a:pt x="348" y="12"/>
                        </a:lnTo>
                        <a:lnTo>
                          <a:pt x="324" y="12"/>
                        </a:lnTo>
                        <a:lnTo>
                          <a:pt x="312" y="6"/>
                        </a:lnTo>
                        <a:lnTo>
                          <a:pt x="300" y="6"/>
                        </a:lnTo>
                        <a:lnTo>
                          <a:pt x="288" y="0"/>
                        </a:lnTo>
                        <a:lnTo>
                          <a:pt x="282" y="0"/>
                        </a:lnTo>
                        <a:lnTo>
                          <a:pt x="282" y="12"/>
                        </a:lnTo>
                        <a:lnTo>
                          <a:pt x="252" y="6"/>
                        </a:lnTo>
                        <a:lnTo>
                          <a:pt x="252" y="12"/>
                        </a:lnTo>
                        <a:lnTo>
                          <a:pt x="246" y="12"/>
                        </a:lnTo>
                        <a:lnTo>
                          <a:pt x="234" y="18"/>
                        </a:lnTo>
                        <a:lnTo>
                          <a:pt x="228" y="18"/>
                        </a:lnTo>
                        <a:lnTo>
                          <a:pt x="222" y="24"/>
                        </a:lnTo>
                        <a:lnTo>
                          <a:pt x="222" y="36"/>
                        </a:lnTo>
                        <a:lnTo>
                          <a:pt x="216" y="42"/>
                        </a:lnTo>
                        <a:lnTo>
                          <a:pt x="198" y="42"/>
                        </a:lnTo>
                        <a:lnTo>
                          <a:pt x="186" y="36"/>
                        </a:lnTo>
                        <a:lnTo>
                          <a:pt x="180" y="30"/>
                        </a:lnTo>
                        <a:lnTo>
                          <a:pt x="156" y="30"/>
                        </a:lnTo>
                        <a:lnTo>
                          <a:pt x="138" y="24"/>
                        </a:lnTo>
                        <a:lnTo>
                          <a:pt x="138" y="30"/>
                        </a:lnTo>
                        <a:lnTo>
                          <a:pt x="132" y="36"/>
                        </a:lnTo>
                        <a:lnTo>
                          <a:pt x="108" y="36"/>
                        </a:lnTo>
                        <a:lnTo>
                          <a:pt x="102" y="30"/>
                        </a:lnTo>
                        <a:lnTo>
                          <a:pt x="90" y="30"/>
                        </a:lnTo>
                        <a:lnTo>
                          <a:pt x="66" y="18"/>
                        </a:lnTo>
                        <a:lnTo>
                          <a:pt x="54" y="30"/>
                        </a:lnTo>
                        <a:lnTo>
                          <a:pt x="36" y="30"/>
                        </a:lnTo>
                        <a:lnTo>
                          <a:pt x="30" y="24"/>
                        </a:lnTo>
                        <a:lnTo>
                          <a:pt x="36" y="18"/>
                        </a:lnTo>
                        <a:lnTo>
                          <a:pt x="36" y="12"/>
                        </a:lnTo>
                        <a:lnTo>
                          <a:pt x="42" y="6"/>
                        </a:lnTo>
                        <a:lnTo>
                          <a:pt x="36" y="0"/>
                        </a:lnTo>
                        <a:lnTo>
                          <a:pt x="12" y="0"/>
                        </a:lnTo>
                        <a:lnTo>
                          <a:pt x="12" y="12"/>
                        </a:lnTo>
                        <a:lnTo>
                          <a:pt x="0" y="24"/>
                        </a:lnTo>
                        <a:lnTo>
                          <a:pt x="0" y="42"/>
                        </a:lnTo>
                        <a:lnTo>
                          <a:pt x="18" y="48"/>
                        </a:lnTo>
                        <a:lnTo>
                          <a:pt x="12" y="60"/>
                        </a:lnTo>
                        <a:lnTo>
                          <a:pt x="30" y="66"/>
                        </a:lnTo>
                        <a:lnTo>
                          <a:pt x="36" y="72"/>
                        </a:lnTo>
                        <a:lnTo>
                          <a:pt x="36" y="96"/>
                        </a:lnTo>
                        <a:lnTo>
                          <a:pt x="30" y="102"/>
                        </a:lnTo>
                        <a:lnTo>
                          <a:pt x="6" y="102"/>
                        </a:lnTo>
                        <a:lnTo>
                          <a:pt x="6" y="108"/>
                        </a:lnTo>
                        <a:lnTo>
                          <a:pt x="12" y="114"/>
                        </a:lnTo>
                        <a:lnTo>
                          <a:pt x="12" y="138"/>
                        </a:lnTo>
                        <a:lnTo>
                          <a:pt x="0" y="138"/>
                        </a:lnTo>
                        <a:lnTo>
                          <a:pt x="12" y="156"/>
                        </a:lnTo>
                        <a:lnTo>
                          <a:pt x="18" y="156"/>
                        </a:lnTo>
                        <a:lnTo>
                          <a:pt x="18" y="168"/>
                        </a:lnTo>
                        <a:lnTo>
                          <a:pt x="36" y="180"/>
                        </a:lnTo>
                        <a:lnTo>
                          <a:pt x="42" y="186"/>
                        </a:lnTo>
                        <a:lnTo>
                          <a:pt x="48" y="198"/>
                        </a:lnTo>
                        <a:lnTo>
                          <a:pt x="48" y="210"/>
                        </a:lnTo>
                        <a:lnTo>
                          <a:pt x="42" y="222"/>
                        </a:lnTo>
                        <a:lnTo>
                          <a:pt x="48" y="222"/>
                        </a:lnTo>
                        <a:lnTo>
                          <a:pt x="54" y="228"/>
                        </a:lnTo>
                        <a:lnTo>
                          <a:pt x="66" y="228"/>
                        </a:lnTo>
                        <a:lnTo>
                          <a:pt x="78" y="222"/>
                        </a:lnTo>
                        <a:lnTo>
                          <a:pt x="84" y="216"/>
                        </a:lnTo>
                        <a:lnTo>
                          <a:pt x="108" y="222"/>
                        </a:lnTo>
                        <a:lnTo>
                          <a:pt x="114" y="204"/>
                        </a:lnTo>
                        <a:lnTo>
                          <a:pt x="144" y="198"/>
                        </a:lnTo>
                        <a:lnTo>
                          <a:pt x="144" y="204"/>
                        </a:lnTo>
                        <a:lnTo>
                          <a:pt x="162" y="222"/>
                        </a:lnTo>
                        <a:lnTo>
                          <a:pt x="174" y="222"/>
                        </a:lnTo>
                        <a:lnTo>
                          <a:pt x="180" y="216"/>
                        </a:lnTo>
                        <a:lnTo>
                          <a:pt x="192" y="228"/>
                        </a:lnTo>
                        <a:lnTo>
                          <a:pt x="204" y="228"/>
                        </a:lnTo>
                        <a:lnTo>
                          <a:pt x="216" y="216"/>
                        </a:lnTo>
                        <a:lnTo>
                          <a:pt x="228" y="228"/>
                        </a:lnTo>
                        <a:lnTo>
                          <a:pt x="246" y="228"/>
                        </a:lnTo>
                        <a:lnTo>
                          <a:pt x="252" y="222"/>
                        </a:lnTo>
                        <a:lnTo>
                          <a:pt x="252" y="204"/>
                        </a:lnTo>
                        <a:lnTo>
                          <a:pt x="246" y="198"/>
                        </a:lnTo>
                        <a:lnTo>
                          <a:pt x="264" y="192"/>
                        </a:lnTo>
                        <a:lnTo>
                          <a:pt x="282" y="168"/>
                        </a:lnTo>
                        <a:lnTo>
                          <a:pt x="312" y="174"/>
                        </a:lnTo>
                        <a:lnTo>
                          <a:pt x="324" y="156"/>
                        </a:lnTo>
                        <a:lnTo>
                          <a:pt x="336" y="174"/>
                        </a:lnTo>
                        <a:lnTo>
                          <a:pt x="348" y="174"/>
                        </a:lnTo>
                        <a:lnTo>
                          <a:pt x="360" y="180"/>
                        </a:lnTo>
                        <a:lnTo>
                          <a:pt x="372" y="180"/>
                        </a:lnTo>
                        <a:lnTo>
                          <a:pt x="372" y="1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71" name="Brazil"/>
                  <p:cNvSpPr>
                    <a:spLocks noEditPoints="1"/>
                  </p:cNvSpPr>
                  <p:nvPr/>
                </p:nvSpPr>
                <p:spPr bwMode="gray">
                  <a:xfrm>
                    <a:off x="1309" y="2201"/>
                    <a:ext cx="712" cy="805"/>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72" name="Botswana"/>
                  <p:cNvSpPr>
                    <a:spLocks/>
                  </p:cNvSpPr>
                  <p:nvPr/>
                </p:nvSpPr>
                <p:spPr bwMode="gray">
                  <a:xfrm>
                    <a:off x="3011" y="2676"/>
                    <a:ext cx="166" cy="187"/>
                  </a:xfrm>
                  <a:custGeom>
                    <a:avLst/>
                    <a:gdLst>
                      <a:gd name="T0" fmla="*/ 2147483647 w 648"/>
                      <a:gd name="T1" fmla="*/ 2147483647 h 732"/>
                      <a:gd name="T2" fmla="*/ 2147483647 w 648"/>
                      <a:gd name="T3" fmla="*/ 2147483647 h 732"/>
                      <a:gd name="T4" fmla="*/ 2147483647 w 648"/>
                      <a:gd name="T5" fmla="*/ 2147483647 h 732"/>
                      <a:gd name="T6" fmla="*/ 2147483647 w 648"/>
                      <a:gd name="T7" fmla="*/ 2147483647 h 732"/>
                      <a:gd name="T8" fmla="*/ 2147483647 w 648"/>
                      <a:gd name="T9" fmla="*/ 2147483647 h 732"/>
                      <a:gd name="T10" fmla="*/ 2147483647 w 648"/>
                      <a:gd name="T11" fmla="*/ 2147483647 h 732"/>
                      <a:gd name="T12" fmla="*/ 2147483647 w 648"/>
                      <a:gd name="T13" fmla="*/ 2147483647 h 732"/>
                      <a:gd name="T14" fmla="*/ 2147483647 w 648"/>
                      <a:gd name="T15" fmla="*/ 2147483647 h 732"/>
                      <a:gd name="T16" fmla="*/ 2147483647 w 648"/>
                      <a:gd name="T17" fmla="*/ 2147483647 h 732"/>
                      <a:gd name="T18" fmla="*/ 2147483647 w 648"/>
                      <a:gd name="T19" fmla="*/ 2147483647 h 732"/>
                      <a:gd name="T20" fmla="*/ 2147483647 w 648"/>
                      <a:gd name="T21" fmla="*/ 2147483647 h 732"/>
                      <a:gd name="T22" fmla="*/ 2147483647 w 648"/>
                      <a:gd name="T23" fmla="*/ 2147483647 h 732"/>
                      <a:gd name="T24" fmla="*/ 2147483647 w 648"/>
                      <a:gd name="T25" fmla="*/ 2147483647 h 732"/>
                      <a:gd name="T26" fmla="*/ 2147483647 w 648"/>
                      <a:gd name="T27" fmla="*/ 2147483647 h 732"/>
                      <a:gd name="T28" fmla="*/ 2147483647 w 648"/>
                      <a:gd name="T29" fmla="*/ 2147483647 h 732"/>
                      <a:gd name="T30" fmla="*/ 2147483647 w 648"/>
                      <a:gd name="T31" fmla="*/ 2147483647 h 732"/>
                      <a:gd name="T32" fmla="*/ 2147483647 w 648"/>
                      <a:gd name="T33" fmla="*/ 2147483647 h 732"/>
                      <a:gd name="T34" fmla="*/ 2147483647 w 648"/>
                      <a:gd name="T35" fmla="*/ 2147483647 h 732"/>
                      <a:gd name="T36" fmla="*/ 2147483647 w 648"/>
                      <a:gd name="T37" fmla="*/ 2147483647 h 732"/>
                      <a:gd name="T38" fmla="*/ 2147483647 w 648"/>
                      <a:gd name="T39" fmla="*/ 2147483647 h 732"/>
                      <a:gd name="T40" fmla="*/ 2147483647 w 648"/>
                      <a:gd name="T41" fmla="*/ 2147483647 h 732"/>
                      <a:gd name="T42" fmla="*/ 2147483647 w 648"/>
                      <a:gd name="T43" fmla="*/ 2147483647 h 732"/>
                      <a:gd name="T44" fmla="*/ 2147483647 w 648"/>
                      <a:gd name="T45" fmla="*/ 2147483647 h 732"/>
                      <a:gd name="T46" fmla="*/ 2147483647 w 648"/>
                      <a:gd name="T47" fmla="*/ 2147483647 h 732"/>
                      <a:gd name="T48" fmla="*/ 2147483647 w 648"/>
                      <a:gd name="T49" fmla="*/ 2147483647 h 732"/>
                      <a:gd name="T50" fmla="*/ 2147483647 w 648"/>
                      <a:gd name="T51" fmla="*/ 2147483647 h 732"/>
                      <a:gd name="T52" fmla="*/ 2147483647 w 648"/>
                      <a:gd name="T53" fmla="*/ 2147483647 h 732"/>
                      <a:gd name="T54" fmla="*/ 2147483647 w 648"/>
                      <a:gd name="T55" fmla="*/ 2147483647 h 732"/>
                      <a:gd name="T56" fmla="*/ 2147483647 w 648"/>
                      <a:gd name="T57" fmla="*/ 2147483647 h 732"/>
                      <a:gd name="T58" fmla="*/ 2147483647 w 648"/>
                      <a:gd name="T59" fmla="*/ 2147483647 h 732"/>
                      <a:gd name="T60" fmla="*/ 2147483647 w 648"/>
                      <a:gd name="T61" fmla="*/ 2147483647 h 732"/>
                      <a:gd name="T62" fmla="*/ 2147483647 w 648"/>
                      <a:gd name="T63" fmla="*/ 2147483647 h 732"/>
                      <a:gd name="T64" fmla="*/ 2147483647 w 648"/>
                      <a:gd name="T65" fmla="*/ 2147483647 h 732"/>
                      <a:gd name="T66" fmla="*/ 2147483647 w 648"/>
                      <a:gd name="T67" fmla="*/ 2147483647 h 732"/>
                      <a:gd name="T68" fmla="*/ 2147483647 w 648"/>
                      <a:gd name="T69" fmla="*/ 2147483647 h 732"/>
                      <a:gd name="T70" fmla="*/ 2147483647 w 648"/>
                      <a:gd name="T71" fmla="*/ 2147483647 h 732"/>
                      <a:gd name="T72" fmla="*/ 2147483647 w 648"/>
                      <a:gd name="T73" fmla="*/ 2147483647 h 732"/>
                      <a:gd name="T74" fmla="*/ 2147483647 w 648"/>
                      <a:gd name="T75" fmla="*/ 2147483647 h 732"/>
                      <a:gd name="T76" fmla="*/ 2147483647 w 648"/>
                      <a:gd name="T77" fmla="*/ 2147483647 h 732"/>
                      <a:gd name="T78" fmla="*/ 2147483647 w 648"/>
                      <a:gd name="T79" fmla="*/ 2147483647 h 732"/>
                      <a:gd name="T80" fmla="*/ 2147483647 w 648"/>
                      <a:gd name="T81" fmla="*/ 2147483647 h 732"/>
                      <a:gd name="T82" fmla="*/ 2147483647 w 648"/>
                      <a:gd name="T83" fmla="*/ 2147483647 h 732"/>
                      <a:gd name="T84" fmla="*/ 2147483647 w 648"/>
                      <a:gd name="T85" fmla="*/ 2147483647 h 732"/>
                      <a:gd name="T86" fmla="*/ 2147483647 w 648"/>
                      <a:gd name="T87" fmla="*/ 2147483647 h 732"/>
                      <a:gd name="T88" fmla="*/ 2147483647 w 648"/>
                      <a:gd name="T89" fmla="*/ 2147483647 h 732"/>
                      <a:gd name="T90" fmla="*/ 2147483647 w 648"/>
                      <a:gd name="T91" fmla="*/ 2147483647 h 732"/>
                      <a:gd name="T92" fmla="*/ 2147483647 w 648"/>
                      <a:gd name="T93" fmla="*/ 2147483647 h 732"/>
                      <a:gd name="T94" fmla="*/ 2147483647 w 648"/>
                      <a:gd name="T95" fmla="*/ 0 h 732"/>
                      <a:gd name="T96" fmla="*/ 2147483647 w 648"/>
                      <a:gd name="T97" fmla="*/ 2147483647 h 732"/>
                      <a:gd name="T98" fmla="*/ 2147483647 w 648"/>
                      <a:gd name="T99" fmla="*/ 2147483647 h 732"/>
                      <a:gd name="T100" fmla="*/ 2147483647 w 648"/>
                      <a:gd name="T101" fmla="*/ 2147483647 h 732"/>
                      <a:gd name="T102" fmla="*/ 2147483647 w 648"/>
                      <a:gd name="T103" fmla="*/ 2147483647 h 732"/>
                      <a:gd name="T104" fmla="*/ 2147483647 w 648"/>
                      <a:gd name="T105" fmla="*/ 2147483647 h 732"/>
                      <a:gd name="T106" fmla="*/ 2147483647 w 648"/>
                      <a:gd name="T107" fmla="*/ 2147483647 h 732"/>
                      <a:gd name="T108" fmla="*/ 2147483647 w 648"/>
                      <a:gd name="T109" fmla="*/ 2147483647 h 732"/>
                      <a:gd name="T110" fmla="*/ 2147483647 w 648"/>
                      <a:gd name="T111" fmla="*/ 2147483647 h 732"/>
                      <a:gd name="T112" fmla="*/ 2147483647 w 648"/>
                      <a:gd name="T113" fmla="*/ 2147483647 h 732"/>
                      <a:gd name="T114" fmla="*/ 0 w 648"/>
                      <a:gd name="T115" fmla="*/ 2147483647 h 732"/>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648"/>
                      <a:gd name="T175" fmla="*/ 0 h 732"/>
                      <a:gd name="T176" fmla="*/ 648 w 648"/>
                      <a:gd name="T177" fmla="*/ 732 h 732"/>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648" h="732">
                        <a:moveTo>
                          <a:pt x="0" y="570"/>
                        </a:moveTo>
                        <a:lnTo>
                          <a:pt x="12" y="576"/>
                        </a:lnTo>
                        <a:lnTo>
                          <a:pt x="18" y="582"/>
                        </a:lnTo>
                        <a:lnTo>
                          <a:pt x="30" y="588"/>
                        </a:lnTo>
                        <a:lnTo>
                          <a:pt x="36" y="594"/>
                        </a:lnTo>
                        <a:lnTo>
                          <a:pt x="42" y="612"/>
                        </a:lnTo>
                        <a:lnTo>
                          <a:pt x="48" y="624"/>
                        </a:lnTo>
                        <a:lnTo>
                          <a:pt x="48" y="642"/>
                        </a:lnTo>
                        <a:lnTo>
                          <a:pt x="54" y="648"/>
                        </a:lnTo>
                        <a:lnTo>
                          <a:pt x="54" y="672"/>
                        </a:lnTo>
                        <a:lnTo>
                          <a:pt x="48" y="684"/>
                        </a:lnTo>
                        <a:lnTo>
                          <a:pt x="48" y="690"/>
                        </a:lnTo>
                        <a:lnTo>
                          <a:pt x="42" y="702"/>
                        </a:lnTo>
                        <a:lnTo>
                          <a:pt x="42" y="732"/>
                        </a:lnTo>
                        <a:lnTo>
                          <a:pt x="120" y="732"/>
                        </a:lnTo>
                        <a:lnTo>
                          <a:pt x="120" y="714"/>
                        </a:lnTo>
                        <a:lnTo>
                          <a:pt x="144" y="714"/>
                        </a:lnTo>
                        <a:lnTo>
                          <a:pt x="144" y="708"/>
                        </a:lnTo>
                        <a:lnTo>
                          <a:pt x="150" y="702"/>
                        </a:lnTo>
                        <a:lnTo>
                          <a:pt x="156" y="690"/>
                        </a:lnTo>
                        <a:lnTo>
                          <a:pt x="162" y="684"/>
                        </a:lnTo>
                        <a:lnTo>
                          <a:pt x="168" y="684"/>
                        </a:lnTo>
                        <a:lnTo>
                          <a:pt x="174" y="678"/>
                        </a:lnTo>
                        <a:lnTo>
                          <a:pt x="186" y="678"/>
                        </a:lnTo>
                        <a:lnTo>
                          <a:pt x="186" y="654"/>
                        </a:lnTo>
                        <a:lnTo>
                          <a:pt x="192" y="642"/>
                        </a:lnTo>
                        <a:lnTo>
                          <a:pt x="192" y="630"/>
                        </a:lnTo>
                        <a:lnTo>
                          <a:pt x="198" y="618"/>
                        </a:lnTo>
                        <a:lnTo>
                          <a:pt x="204" y="612"/>
                        </a:lnTo>
                        <a:lnTo>
                          <a:pt x="216" y="606"/>
                        </a:lnTo>
                        <a:lnTo>
                          <a:pt x="228" y="606"/>
                        </a:lnTo>
                        <a:lnTo>
                          <a:pt x="240" y="612"/>
                        </a:lnTo>
                        <a:lnTo>
                          <a:pt x="246" y="618"/>
                        </a:lnTo>
                        <a:lnTo>
                          <a:pt x="258" y="624"/>
                        </a:lnTo>
                        <a:lnTo>
                          <a:pt x="270" y="636"/>
                        </a:lnTo>
                        <a:lnTo>
                          <a:pt x="300" y="636"/>
                        </a:lnTo>
                        <a:lnTo>
                          <a:pt x="306" y="642"/>
                        </a:lnTo>
                        <a:lnTo>
                          <a:pt x="318" y="648"/>
                        </a:lnTo>
                        <a:lnTo>
                          <a:pt x="324" y="654"/>
                        </a:lnTo>
                        <a:lnTo>
                          <a:pt x="336" y="654"/>
                        </a:lnTo>
                        <a:lnTo>
                          <a:pt x="348" y="648"/>
                        </a:lnTo>
                        <a:lnTo>
                          <a:pt x="354" y="642"/>
                        </a:lnTo>
                        <a:lnTo>
                          <a:pt x="360" y="648"/>
                        </a:lnTo>
                        <a:lnTo>
                          <a:pt x="372" y="648"/>
                        </a:lnTo>
                        <a:lnTo>
                          <a:pt x="384" y="642"/>
                        </a:lnTo>
                        <a:lnTo>
                          <a:pt x="390" y="636"/>
                        </a:lnTo>
                        <a:lnTo>
                          <a:pt x="396" y="624"/>
                        </a:lnTo>
                        <a:lnTo>
                          <a:pt x="402" y="606"/>
                        </a:lnTo>
                        <a:lnTo>
                          <a:pt x="408" y="594"/>
                        </a:lnTo>
                        <a:lnTo>
                          <a:pt x="408" y="582"/>
                        </a:lnTo>
                        <a:lnTo>
                          <a:pt x="426" y="564"/>
                        </a:lnTo>
                        <a:lnTo>
                          <a:pt x="444" y="558"/>
                        </a:lnTo>
                        <a:lnTo>
                          <a:pt x="456" y="552"/>
                        </a:lnTo>
                        <a:lnTo>
                          <a:pt x="462" y="546"/>
                        </a:lnTo>
                        <a:lnTo>
                          <a:pt x="468" y="534"/>
                        </a:lnTo>
                        <a:lnTo>
                          <a:pt x="480" y="528"/>
                        </a:lnTo>
                        <a:lnTo>
                          <a:pt x="480" y="492"/>
                        </a:lnTo>
                        <a:lnTo>
                          <a:pt x="492" y="468"/>
                        </a:lnTo>
                        <a:lnTo>
                          <a:pt x="504" y="462"/>
                        </a:lnTo>
                        <a:lnTo>
                          <a:pt x="510" y="462"/>
                        </a:lnTo>
                        <a:lnTo>
                          <a:pt x="522" y="456"/>
                        </a:lnTo>
                        <a:lnTo>
                          <a:pt x="564" y="414"/>
                        </a:lnTo>
                        <a:lnTo>
                          <a:pt x="576" y="390"/>
                        </a:lnTo>
                        <a:lnTo>
                          <a:pt x="582" y="384"/>
                        </a:lnTo>
                        <a:lnTo>
                          <a:pt x="594" y="384"/>
                        </a:lnTo>
                        <a:lnTo>
                          <a:pt x="606" y="378"/>
                        </a:lnTo>
                        <a:lnTo>
                          <a:pt x="618" y="378"/>
                        </a:lnTo>
                        <a:lnTo>
                          <a:pt x="630" y="354"/>
                        </a:lnTo>
                        <a:lnTo>
                          <a:pt x="648" y="354"/>
                        </a:lnTo>
                        <a:lnTo>
                          <a:pt x="648" y="348"/>
                        </a:lnTo>
                        <a:lnTo>
                          <a:pt x="642" y="336"/>
                        </a:lnTo>
                        <a:lnTo>
                          <a:pt x="624" y="318"/>
                        </a:lnTo>
                        <a:lnTo>
                          <a:pt x="606" y="312"/>
                        </a:lnTo>
                        <a:lnTo>
                          <a:pt x="594" y="312"/>
                        </a:lnTo>
                        <a:lnTo>
                          <a:pt x="576" y="306"/>
                        </a:lnTo>
                        <a:lnTo>
                          <a:pt x="564" y="306"/>
                        </a:lnTo>
                        <a:lnTo>
                          <a:pt x="564" y="276"/>
                        </a:lnTo>
                        <a:lnTo>
                          <a:pt x="546" y="276"/>
                        </a:lnTo>
                        <a:lnTo>
                          <a:pt x="546" y="246"/>
                        </a:lnTo>
                        <a:lnTo>
                          <a:pt x="552" y="240"/>
                        </a:lnTo>
                        <a:lnTo>
                          <a:pt x="546" y="216"/>
                        </a:lnTo>
                        <a:lnTo>
                          <a:pt x="516" y="216"/>
                        </a:lnTo>
                        <a:lnTo>
                          <a:pt x="516" y="186"/>
                        </a:lnTo>
                        <a:lnTo>
                          <a:pt x="510" y="180"/>
                        </a:lnTo>
                        <a:lnTo>
                          <a:pt x="480" y="180"/>
                        </a:lnTo>
                        <a:lnTo>
                          <a:pt x="462" y="162"/>
                        </a:lnTo>
                        <a:lnTo>
                          <a:pt x="450" y="156"/>
                        </a:lnTo>
                        <a:lnTo>
                          <a:pt x="432" y="120"/>
                        </a:lnTo>
                        <a:lnTo>
                          <a:pt x="432" y="96"/>
                        </a:lnTo>
                        <a:lnTo>
                          <a:pt x="426" y="90"/>
                        </a:lnTo>
                        <a:lnTo>
                          <a:pt x="414" y="66"/>
                        </a:lnTo>
                        <a:lnTo>
                          <a:pt x="408" y="60"/>
                        </a:lnTo>
                        <a:lnTo>
                          <a:pt x="396" y="60"/>
                        </a:lnTo>
                        <a:lnTo>
                          <a:pt x="396" y="30"/>
                        </a:lnTo>
                        <a:lnTo>
                          <a:pt x="384" y="18"/>
                        </a:lnTo>
                        <a:lnTo>
                          <a:pt x="378" y="0"/>
                        </a:lnTo>
                        <a:lnTo>
                          <a:pt x="342" y="6"/>
                        </a:lnTo>
                        <a:lnTo>
                          <a:pt x="330" y="18"/>
                        </a:lnTo>
                        <a:lnTo>
                          <a:pt x="306" y="18"/>
                        </a:lnTo>
                        <a:lnTo>
                          <a:pt x="264" y="60"/>
                        </a:lnTo>
                        <a:lnTo>
                          <a:pt x="258" y="60"/>
                        </a:lnTo>
                        <a:lnTo>
                          <a:pt x="258" y="42"/>
                        </a:lnTo>
                        <a:lnTo>
                          <a:pt x="252" y="42"/>
                        </a:lnTo>
                        <a:lnTo>
                          <a:pt x="252" y="24"/>
                        </a:lnTo>
                        <a:lnTo>
                          <a:pt x="246" y="18"/>
                        </a:lnTo>
                        <a:lnTo>
                          <a:pt x="228" y="18"/>
                        </a:lnTo>
                        <a:lnTo>
                          <a:pt x="216" y="24"/>
                        </a:lnTo>
                        <a:lnTo>
                          <a:pt x="168" y="36"/>
                        </a:lnTo>
                        <a:lnTo>
                          <a:pt x="132" y="36"/>
                        </a:lnTo>
                        <a:lnTo>
                          <a:pt x="114" y="42"/>
                        </a:lnTo>
                        <a:lnTo>
                          <a:pt x="78" y="42"/>
                        </a:lnTo>
                        <a:lnTo>
                          <a:pt x="78" y="216"/>
                        </a:lnTo>
                        <a:lnTo>
                          <a:pt x="72" y="222"/>
                        </a:lnTo>
                        <a:lnTo>
                          <a:pt x="78" y="348"/>
                        </a:lnTo>
                        <a:lnTo>
                          <a:pt x="6" y="348"/>
                        </a:lnTo>
                        <a:lnTo>
                          <a:pt x="0" y="57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73" name="Bosnia and Herzegovina"/>
                  <p:cNvSpPr>
                    <a:spLocks/>
                  </p:cNvSpPr>
                  <p:nvPr/>
                </p:nvSpPr>
                <p:spPr bwMode="gray">
                  <a:xfrm>
                    <a:off x="2927" y="1378"/>
                    <a:ext cx="68" cy="60"/>
                  </a:xfrm>
                  <a:custGeom>
                    <a:avLst/>
                    <a:gdLst>
                      <a:gd name="T0" fmla="*/ 2147483647 w 264"/>
                      <a:gd name="T1" fmla="*/ 2147483647 h 234"/>
                      <a:gd name="T2" fmla="*/ 2147483647 w 264"/>
                      <a:gd name="T3" fmla="*/ 2147483647 h 234"/>
                      <a:gd name="T4" fmla="*/ 2147483647 w 264"/>
                      <a:gd name="T5" fmla="*/ 2147483647 h 234"/>
                      <a:gd name="T6" fmla="*/ 2147483647 w 264"/>
                      <a:gd name="T7" fmla="*/ 2147483647 h 234"/>
                      <a:gd name="T8" fmla="*/ 2147483647 w 264"/>
                      <a:gd name="T9" fmla="*/ 2147483647 h 234"/>
                      <a:gd name="T10" fmla="*/ 2147483647 w 264"/>
                      <a:gd name="T11" fmla="*/ 2147483647 h 234"/>
                      <a:gd name="T12" fmla="*/ 2147483647 w 264"/>
                      <a:gd name="T13" fmla="*/ 2147483647 h 234"/>
                      <a:gd name="T14" fmla="*/ 2147483647 w 264"/>
                      <a:gd name="T15" fmla="*/ 2147483647 h 234"/>
                      <a:gd name="T16" fmla="*/ 2147483647 w 264"/>
                      <a:gd name="T17" fmla="*/ 2147483647 h 234"/>
                      <a:gd name="T18" fmla="*/ 2147483647 w 264"/>
                      <a:gd name="T19" fmla="*/ 2147483647 h 234"/>
                      <a:gd name="T20" fmla="*/ 2147483647 w 264"/>
                      <a:gd name="T21" fmla="*/ 2147483647 h 234"/>
                      <a:gd name="T22" fmla="*/ 2147483647 w 264"/>
                      <a:gd name="T23" fmla="*/ 2147483647 h 234"/>
                      <a:gd name="T24" fmla="*/ 2147483647 w 264"/>
                      <a:gd name="T25" fmla="*/ 2147483647 h 234"/>
                      <a:gd name="T26" fmla="*/ 2147483647 w 264"/>
                      <a:gd name="T27" fmla="*/ 2147483647 h 234"/>
                      <a:gd name="T28" fmla="*/ 2147483647 w 264"/>
                      <a:gd name="T29" fmla="*/ 2147483647 h 234"/>
                      <a:gd name="T30" fmla="*/ 2147483647 w 264"/>
                      <a:gd name="T31" fmla="*/ 2147483647 h 234"/>
                      <a:gd name="T32" fmla="*/ 2147483647 w 264"/>
                      <a:gd name="T33" fmla="*/ 2147483647 h 234"/>
                      <a:gd name="T34" fmla="*/ 2147483647 w 264"/>
                      <a:gd name="T35" fmla="*/ 2147483647 h 234"/>
                      <a:gd name="T36" fmla="*/ 2147483647 w 264"/>
                      <a:gd name="T37" fmla="*/ 2147483647 h 234"/>
                      <a:gd name="T38" fmla="*/ 2147483647 w 264"/>
                      <a:gd name="T39" fmla="*/ 0 h 234"/>
                      <a:gd name="T40" fmla="*/ 2147483647 w 264"/>
                      <a:gd name="T41" fmla="*/ 0 h 234"/>
                      <a:gd name="T42" fmla="*/ 2147483647 w 264"/>
                      <a:gd name="T43" fmla="*/ 2147483647 h 234"/>
                      <a:gd name="T44" fmla="*/ 0 w 264"/>
                      <a:gd name="T45" fmla="*/ 2147483647 h 234"/>
                      <a:gd name="T46" fmla="*/ 2147483647 w 264"/>
                      <a:gd name="T47" fmla="*/ 2147483647 h 234"/>
                      <a:gd name="T48" fmla="*/ 2147483647 w 264"/>
                      <a:gd name="T49" fmla="*/ 2147483647 h 234"/>
                      <a:gd name="T50" fmla="*/ 2147483647 w 264"/>
                      <a:gd name="T51" fmla="*/ 2147483647 h 234"/>
                      <a:gd name="T52" fmla="*/ 2147483647 w 264"/>
                      <a:gd name="T53" fmla="*/ 2147483647 h 234"/>
                      <a:gd name="T54" fmla="*/ 2147483647 w 264"/>
                      <a:gd name="T55" fmla="*/ 2147483647 h 234"/>
                      <a:gd name="T56" fmla="*/ 2147483647 w 264"/>
                      <a:gd name="T57" fmla="*/ 2147483647 h 234"/>
                      <a:gd name="T58" fmla="*/ 2147483647 w 264"/>
                      <a:gd name="T59" fmla="*/ 2147483647 h 234"/>
                      <a:gd name="T60" fmla="*/ 2147483647 w 264"/>
                      <a:gd name="T61" fmla="*/ 2147483647 h 234"/>
                      <a:gd name="T62" fmla="*/ 2147483647 w 264"/>
                      <a:gd name="T63" fmla="*/ 2147483647 h 234"/>
                      <a:gd name="T64" fmla="*/ 2147483647 w 264"/>
                      <a:gd name="T65" fmla="*/ 2147483647 h 234"/>
                      <a:gd name="T66" fmla="*/ 2147483647 w 264"/>
                      <a:gd name="T67" fmla="*/ 2147483647 h 234"/>
                      <a:gd name="T68" fmla="*/ 2147483647 w 264"/>
                      <a:gd name="T69" fmla="*/ 2147483647 h 234"/>
                      <a:gd name="T70" fmla="*/ 2147483647 w 264"/>
                      <a:gd name="T71" fmla="*/ 2147483647 h 234"/>
                      <a:gd name="T72" fmla="*/ 2147483647 w 264"/>
                      <a:gd name="T73" fmla="*/ 2147483647 h 234"/>
                      <a:gd name="T74" fmla="*/ 2147483647 w 264"/>
                      <a:gd name="T75" fmla="*/ 2147483647 h 234"/>
                      <a:gd name="T76" fmla="*/ 2147483647 w 264"/>
                      <a:gd name="T77" fmla="*/ 2147483647 h 234"/>
                      <a:gd name="T78" fmla="*/ 2147483647 w 264"/>
                      <a:gd name="T79" fmla="*/ 2147483647 h 234"/>
                      <a:gd name="T80" fmla="*/ 2147483647 w 264"/>
                      <a:gd name="T81" fmla="*/ 2147483647 h 234"/>
                      <a:gd name="T82" fmla="*/ 2147483647 w 264"/>
                      <a:gd name="T83" fmla="*/ 2147483647 h 234"/>
                      <a:gd name="T84" fmla="*/ 2147483647 w 264"/>
                      <a:gd name="T85" fmla="*/ 2147483647 h 234"/>
                      <a:gd name="T86" fmla="*/ 2147483647 w 264"/>
                      <a:gd name="T87" fmla="*/ 2147483647 h 234"/>
                      <a:gd name="T88" fmla="*/ 2147483647 w 264"/>
                      <a:gd name="T89" fmla="*/ 2147483647 h 234"/>
                      <a:gd name="T90" fmla="*/ 2147483647 w 264"/>
                      <a:gd name="T91" fmla="*/ 2147483647 h 234"/>
                      <a:gd name="T92" fmla="*/ 2147483647 w 264"/>
                      <a:gd name="T93" fmla="*/ 2147483647 h 234"/>
                      <a:gd name="T94" fmla="*/ 2147483647 w 264"/>
                      <a:gd name="T95" fmla="*/ 2147483647 h 234"/>
                      <a:gd name="T96" fmla="*/ 2147483647 w 264"/>
                      <a:gd name="T97" fmla="*/ 2147483647 h 234"/>
                      <a:gd name="T98" fmla="*/ 2147483647 w 264"/>
                      <a:gd name="T99" fmla="*/ 2147483647 h 234"/>
                      <a:gd name="T100" fmla="*/ 2147483647 w 264"/>
                      <a:gd name="T101" fmla="*/ 2147483647 h 234"/>
                      <a:gd name="T102" fmla="*/ 2147483647 w 264"/>
                      <a:gd name="T103" fmla="*/ 2147483647 h 234"/>
                      <a:gd name="T104" fmla="*/ 2147483647 w 264"/>
                      <a:gd name="T105" fmla="*/ 2147483647 h 234"/>
                      <a:gd name="T106" fmla="*/ 2147483647 w 264"/>
                      <a:gd name="T107" fmla="*/ 2147483647 h 234"/>
                      <a:gd name="T108" fmla="*/ 2147483647 w 264"/>
                      <a:gd name="T109" fmla="*/ 2147483647 h 234"/>
                      <a:gd name="T110" fmla="*/ 2147483647 w 264"/>
                      <a:gd name="T111" fmla="*/ 2147483647 h 234"/>
                      <a:gd name="T112" fmla="*/ 2147483647 w 264"/>
                      <a:gd name="T113" fmla="*/ 2147483647 h 234"/>
                      <a:gd name="T114" fmla="*/ 2147483647 w 264"/>
                      <a:gd name="T115" fmla="*/ 2147483647 h 234"/>
                      <a:gd name="T116" fmla="*/ 2147483647 w 264"/>
                      <a:gd name="T117" fmla="*/ 2147483647 h 234"/>
                      <a:gd name="T118" fmla="*/ 2147483647 w 264"/>
                      <a:gd name="T119" fmla="*/ 2147483647 h 234"/>
                      <a:gd name="T120" fmla="*/ 2147483647 w 264"/>
                      <a:gd name="T121" fmla="*/ 2147483647 h 234"/>
                      <a:gd name="T122" fmla="*/ 2147483647 w 264"/>
                      <a:gd name="T123" fmla="*/ 2147483647 h 234"/>
                      <a:gd name="T124" fmla="*/ 2147483647 w 264"/>
                      <a:gd name="T125" fmla="*/ 2147483647 h 23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264"/>
                      <a:gd name="T190" fmla="*/ 0 h 234"/>
                      <a:gd name="T191" fmla="*/ 264 w 264"/>
                      <a:gd name="T192" fmla="*/ 234 h 23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264" h="234">
                        <a:moveTo>
                          <a:pt x="246" y="78"/>
                        </a:moveTo>
                        <a:lnTo>
                          <a:pt x="228" y="78"/>
                        </a:lnTo>
                        <a:lnTo>
                          <a:pt x="228" y="60"/>
                        </a:lnTo>
                        <a:lnTo>
                          <a:pt x="246" y="42"/>
                        </a:lnTo>
                        <a:lnTo>
                          <a:pt x="246" y="30"/>
                        </a:lnTo>
                        <a:lnTo>
                          <a:pt x="234" y="30"/>
                        </a:lnTo>
                        <a:lnTo>
                          <a:pt x="222" y="36"/>
                        </a:lnTo>
                        <a:lnTo>
                          <a:pt x="216" y="36"/>
                        </a:lnTo>
                        <a:lnTo>
                          <a:pt x="216" y="30"/>
                        </a:lnTo>
                        <a:lnTo>
                          <a:pt x="204" y="30"/>
                        </a:lnTo>
                        <a:lnTo>
                          <a:pt x="192" y="12"/>
                        </a:lnTo>
                        <a:lnTo>
                          <a:pt x="138" y="12"/>
                        </a:lnTo>
                        <a:lnTo>
                          <a:pt x="132" y="6"/>
                        </a:lnTo>
                        <a:lnTo>
                          <a:pt x="120" y="6"/>
                        </a:lnTo>
                        <a:lnTo>
                          <a:pt x="108" y="12"/>
                        </a:lnTo>
                        <a:lnTo>
                          <a:pt x="90" y="6"/>
                        </a:lnTo>
                        <a:lnTo>
                          <a:pt x="66" y="6"/>
                        </a:lnTo>
                        <a:lnTo>
                          <a:pt x="42" y="12"/>
                        </a:lnTo>
                        <a:lnTo>
                          <a:pt x="30" y="6"/>
                        </a:lnTo>
                        <a:lnTo>
                          <a:pt x="24" y="0"/>
                        </a:lnTo>
                        <a:lnTo>
                          <a:pt x="18" y="0"/>
                        </a:lnTo>
                        <a:lnTo>
                          <a:pt x="18" y="24"/>
                        </a:lnTo>
                        <a:lnTo>
                          <a:pt x="0" y="30"/>
                        </a:lnTo>
                        <a:lnTo>
                          <a:pt x="12" y="42"/>
                        </a:lnTo>
                        <a:lnTo>
                          <a:pt x="30" y="48"/>
                        </a:lnTo>
                        <a:lnTo>
                          <a:pt x="30" y="60"/>
                        </a:lnTo>
                        <a:lnTo>
                          <a:pt x="36" y="60"/>
                        </a:lnTo>
                        <a:lnTo>
                          <a:pt x="42" y="66"/>
                        </a:lnTo>
                        <a:lnTo>
                          <a:pt x="42" y="84"/>
                        </a:lnTo>
                        <a:lnTo>
                          <a:pt x="60" y="90"/>
                        </a:lnTo>
                        <a:lnTo>
                          <a:pt x="72" y="120"/>
                        </a:lnTo>
                        <a:lnTo>
                          <a:pt x="84" y="132"/>
                        </a:lnTo>
                        <a:lnTo>
                          <a:pt x="96" y="138"/>
                        </a:lnTo>
                        <a:lnTo>
                          <a:pt x="114" y="150"/>
                        </a:lnTo>
                        <a:lnTo>
                          <a:pt x="126" y="156"/>
                        </a:lnTo>
                        <a:lnTo>
                          <a:pt x="132" y="168"/>
                        </a:lnTo>
                        <a:lnTo>
                          <a:pt x="132" y="174"/>
                        </a:lnTo>
                        <a:lnTo>
                          <a:pt x="126" y="180"/>
                        </a:lnTo>
                        <a:lnTo>
                          <a:pt x="138" y="180"/>
                        </a:lnTo>
                        <a:lnTo>
                          <a:pt x="156" y="198"/>
                        </a:lnTo>
                        <a:lnTo>
                          <a:pt x="162" y="210"/>
                        </a:lnTo>
                        <a:lnTo>
                          <a:pt x="174" y="216"/>
                        </a:lnTo>
                        <a:lnTo>
                          <a:pt x="192" y="234"/>
                        </a:lnTo>
                        <a:lnTo>
                          <a:pt x="210" y="204"/>
                        </a:lnTo>
                        <a:lnTo>
                          <a:pt x="198" y="198"/>
                        </a:lnTo>
                        <a:lnTo>
                          <a:pt x="192" y="198"/>
                        </a:lnTo>
                        <a:lnTo>
                          <a:pt x="186" y="192"/>
                        </a:lnTo>
                        <a:lnTo>
                          <a:pt x="186" y="186"/>
                        </a:lnTo>
                        <a:lnTo>
                          <a:pt x="192" y="180"/>
                        </a:lnTo>
                        <a:lnTo>
                          <a:pt x="198" y="180"/>
                        </a:lnTo>
                        <a:lnTo>
                          <a:pt x="204" y="168"/>
                        </a:lnTo>
                        <a:lnTo>
                          <a:pt x="204" y="162"/>
                        </a:lnTo>
                        <a:lnTo>
                          <a:pt x="210" y="156"/>
                        </a:lnTo>
                        <a:lnTo>
                          <a:pt x="228" y="156"/>
                        </a:lnTo>
                        <a:lnTo>
                          <a:pt x="228" y="132"/>
                        </a:lnTo>
                        <a:lnTo>
                          <a:pt x="258" y="132"/>
                        </a:lnTo>
                        <a:lnTo>
                          <a:pt x="258" y="126"/>
                        </a:lnTo>
                        <a:lnTo>
                          <a:pt x="252" y="114"/>
                        </a:lnTo>
                        <a:lnTo>
                          <a:pt x="240" y="102"/>
                        </a:lnTo>
                        <a:lnTo>
                          <a:pt x="264" y="96"/>
                        </a:lnTo>
                        <a:lnTo>
                          <a:pt x="258" y="84"/>
                        </a:lnTo>
                        <a:lnTo>
                          <a:pt x="252" y="78"/>
                        </a:lnTo>
                        <a:lnTo>
                          <a:pt x="246" y="7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74" name="Bolivia"/>
                  <p:cNvSpPr>
                    <a:spLocks/>
                  </p:cNvSpPr>
                  <p:nvPr/>
                </p:nvSpPr>
                <p:spPr bwMode="gray">
                  <a:xfrm>
                    <a:off x="1394" y="2510"/>
                    <a:ext cx="228" cy="271"/>
                  </a:xfrm>
                  <a:custGeom>
                    <a:avLst/>
                    <a:gdLst>
                      <a:gd name="T0" fmla="*/ 2147483647 w 894"/>
                      <a:gd name="T1" fmla="*/ 2147483647 h 1056"/>
                      <a:gd name="T2" fmla="*/ 2147483647 w 894"/>
                      <a:gd name="T3" fmla="*/ 2147483647 h 1056"/>
                      <a:gd name="T4" fmla="*/ 2147483647 w 894"/>
                      <a:gd name="T5" fmla="*/ 2147483647 h 1056"/>
                      <a:gd name="T6" fmla="*/ 2147483647 w 894"/>
                      <a:gd name="T7" fmla="*/ 2147483647 h 1056"/>
                      <a:gd name="T8" fmla="*/ 2147483647 w 894"/>
                      <a:gd name="T9" fmla="*/ 2147483647 h 1056"/>
                      <a:gd name="T10" fmla="*/ 2147483647 w 894"/>
                      <a:gd name="T11" fmla="*/ 2147483647 h 1056"/>
                      <a:gd name="T12" fmla="*/ 2147483647 w 894"/>
                      <a:gd name="T13" fmla="*/ 2147483647 h 1056"/>
                      <a:gd name="T14" fmla="*/ 2147483647 w 894"/>
                      <a:gd name="T15" fmla="*/ 2147483647 h 1056"/>
                      <a:gd name="T16" fmla="*/ 2147483647 w 894"/>
                      <a:gd name="T17" fmla="*/ 2147483647 h 1056"/>
                      <a:gd name="T18" fmla="*/ 2147483647 w 894"/>
                      <a:gd name="T19" fmla="*/ 2147483647 h 1056"/>
                      <a:gd name="T20" fmla="*/ 2147483647 w 894"/>
                      <a:gd name="T21" fmla="*/ 2147483647 h 1056"/>
                      <a:gd name="T22" fmla="*/ 2147483647 w 894"/>
                      <a:gd name="T23" fmla="*/ 2147483647 h 1056"/>
                      <a:gd name="T24" fmla="*/ 2147483647 w 894"/>
                      <a:gd name="T25" fmla="*/ 2147483647 h 1056"/>
                      <a:gd name="T26" fmla="*/ 2147483647 w 894"/>
                      <a:gd name="T27" fmla="*/ 2147483647 h 1056"/>
                      <a:gd name="T28" fmla="*/ 2147483647 w 894"/>
                      <a:gd name="T29" fmla="*/ 2147483647 h 1056"/>
                      <a:gd name="T30" fmla="*/ 2147483647 w 894"/>
                      <a:gd name="T31" fmla="*/ 2147483647 h 1056"/>
                      <a:gd name="T32" fmla="*/ 2147483647 w 894"/>
                      <a:gd name="T33" fmla="*/ 2147483647 h 1056"/>
                      <a:gd name="T34" fmla="*/ 2147483647 w 894"/>
                      <a:gd name="T35" fmla="*/ 2147483647 h 1056"/>
                      <a:gd name="T36" fmla="*/ 2147483647 w 894"/>
                      <a:gd name="T37" fmla="*/ 2147483647 h 1056"/>
                      <a:gd name="T38" fmla="*/ 2147483647 w 894"/>
                      <a:gd name="T39" fmla="*/ 2147483647 h 1056"/>
                      <a:gd name="T40" fmla="*/ 2147483647 w 894"/>
                      <a:gd name="T41" fmla="*/ 2147483647 h 1056"/>
                      <a:gd name="T42" fmla="*/ 2147483647 w 894"/>
                      <a:gd name="T43" fmla="*/ 2147483647 h 1056"/>
                      <a:gd name="T44" fmla="*/ 2147483647 w 894"/>
                      <a:gd name="T45" fmla="*/ 2147483647 h 1056"/>
                      <a:gd name="T46" fmla="*/ 2147483647 w 894"/>
                      <a:gd name="T47" fmla="*/ 2147483647 h 1056"/>
                      <a:gd name="T48" fmla="*/ 0 w 894"/>
                      <a:gd name="T49" fmla="*/ 2147483647 h 1056"/>
                      <a:gd name="T50" fmla="*/ 2147483647 w 894"/>
                      <a:gd name="T51" fmla="*/ 2147483647 h 1056"/>
                      <a:gd name="T52" fmla="*/ 2147483647 w 894"/>
                      <a:gd name="T53" fmla="*/ 2147483647 h 1056"/>
                      <a:gd name="T54" fmla="*/ 2147483647 w 894"/>
                      <a:gd name="T55" fmla="*/ 2147483647 h 1056"/>
                      <a:gd name="T56" fmla="*/ 2147483647 w 894"/>
                      <a:gd name="T57" fmla="*/ 2147483647 h 1056"/>
                      <a:gd name="T58" fmla="*/ 2147483647 w 894"/>
                      <a:gd name="T59" fmla="*/ 2147483647 h 1056"/>
                      <a:gd name="T60" fmla="*/ 2147483647 w 894"/>
                      <a:gd name="T61" fmla="*/ 2147483647 h 1056"/>
                      <a:gd name="T62" fmla="*/ 2147483647 w 894"/>
                      <a:gd name="T63" fmla="*/ 2147483647 h 1056"/>
                      <a:gd name="T64" fmla="*/ 2147483647 w 894"/>
                      <a:gd name="T65" fmla="*/ 2147483647 h 1056"/>
                      <a:gd name="T66" fmla="*/ 2147483647 w 894"/>
                      <a:gd name="T67" fmla="*/ 2147483647 h 1056"/>
                      <a:gd name="T68" fmla="*/ 2147483647 w 894"/>
                      <a:gd name="T69" fmla="*/ 2147483647 h 1056"/>
                      <a:gd name="T70" fmla="*/ 2147483647 w 894"/>
                      <a:gd name="T71" fmla="*/ 2147483647 h 1056"/>
                      <a:gd name="T72" fmla="*/ 2147483647 w 894"/>
                      <a:gd name="T73" fmla="*/ 2147483647 h 1056"/>
                      <a:gd name="T74" fmla="*/ 2147483647 w 894"/>
                      <a:gd name="T75" fmla="*/ 2147483647 h 1056"/>
                      <a:gd name="T76" fmla="*/ 2147483647 w 894"/>
                      <a:gd name="T77" fmla="*/ 2147483647 h 1056"/>
                      <a:gd name="T78" fmla="*/ 2147483647 w 894"/>
                      <a:gd name="T79" fmla="*/ 2147483647 h 1056"/>
                      <a:gd name="T80" fmla="*/ 2147483647 w 894"/>
                      <a:gd name="T81" fmla="*/ 2147483647 h 1056"/>
                      <a:gd name="T82" fmla="*/ 2147483647 w 894"/>
                      <a:gd name="T83" fmla="*/ 2147483647 h 1056"/>
                      <a:gd name="T84" fmla="*/ 2147483647 w 894"/>
                      <a:gd name="T85" fmla="*/ 2147483647 h 1056"/>
                      <a:gd name="T86" fmla="*/ 2147483647 w 894"/>
                      <a:gd name="T87" fmla="*/ 2147483647 h 1056"/>
                      <a:gd name="T88" fmla="*/ 2147483647 w 894"/>
                      <a:gd name="T89" fmla="*/ 2147483647 h 1056"/>
                      <a:gd name="T90" fmla="*/ 2147483647 w 894"/>
                      <a:gd name="T91" fmla="*/ 2147483647 h 1056"/>
                      <a:gd name="T92" fmla="*/ 2147483647 w 894"/>
                      <a:gd name="T93" fmla="*/ 2147483647 h 1056"/>
                      <a:gd name="T94" fmla="*/ 2147483647 w 894"/>
                      <a:gd name="T95" fmla="*/ 2147483647 h 1056"/>
                      <a:gd name="T96" fmla="*/ 2147483647 w 894"/>
                      <a:gd name="T97" fmla="*/ 2147483647 h 1056"/>
                      <a:gd name="T98" fmla="*/ 2147483647 w 894"/>
                      <a:gd name="T99" fmla="*/ 2147483647 h 1056"/>
                      <a:gd name="T100" fmla="*/ 2147483647 w 894"/>
                      <a:gd name="T101" fmla="*/ 2147483647 h 10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894"/>
                      <a:gd name="T154" fmla="*/ 0 h 1056"/>
                      <a:gd name="T155" fmla="*/ 894 w 894"/>
                      <a:gd name="T156" fmla="*/ 1056 h 105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894" h="1056">
                        <a:moveTo>
                          <a:pt x="882" y="744"/>
                        </a:moveTo>
                        <a:lnTo>
                          <a:pt x="882" y="738"/>
                        </a:lnTo>
                        <a:lnTo>
                          <a:pt x="888" y="732"/>
                        </a:lnTo>
                        <a:lnTo>
                          <a:pt x="888" y="708"/>
                        </a:lnTo>
                        <a:lnTo>
                          <a:pt x="894" y="696"/>
                        </a:lnTo>
                        <a:lnTo>
                          <a:pt x="894" y="684"/>
                        </a:lnTo>
                        <a:lnTo>
                          <a:pt x="882" y="648"/>
                        </a:lnTo>
                        <a:lnTo>
                          <a:pt x="876" y="636"/>
                        </a:lnTo>
                        <a:lnTo>
                          <a:pt x="864" y="624"/>
                        </a:lnTo>
                        <a:lnTo>
                          <a:pt x="840" y="612"/>
                        </a:lnTo>
                        <a:lnTo>
                          <a:pt x="834" y="606"/>
                        </a:lnTo>
                        <a:lnTo>
                          <a:pt x="822" y="600"/>
                        </a:lnTo>
                        <a:lnTo>
                          <a:pt x="816" y="588"/>
                        </a:lnTo>
                        <a:lnTo>
                          <a:pt x="816" y="576"/>
                        </a:lnTo>
                        <a:lnTo>
                          <a:pt x="822" y="558"/>
                        </a:lnTo>
                        <a:lnTo>
                          <a:pt x="822" y="546"/>
                        </a:lnTo>
                        <a:lnTo>
                          <a:pt x="828" y="540"/>
                        </a:lnTo>
                        <a:lnTo>
                          <a:pt x="828" y="534"/>
                        </a:lnTo>
                        <a:lnTo>
                          <a:pt x="768" y="534"/>
                        </a:lnTo>
                        <a:lnTo>
                          <a:pt x="720" y="528"/>
                        </a:lnTo>
                        <a:lnTo>
                          <a:pt x="690" y="522"/>
                        </a:lnTo>
                        <a:lnTo>
                          <a:pt x="684" y="516"/>
                        </a:lnTo>
                        <a:lnTo>
                          <a:pt x="684" y="474"/>
                        </a:lnTo>
                        <a:lnTo>
                          <a:pt x="690" y="462"/>
                        </a:lnTo>
                        <a:lnTo>
                          <a:pt x="684" y="456"/>
                        </a:lnTo>
                        <a:lnTo>
                          <a:pt x="672" y="450"/>
                        </a:lnTo>
                        <a:lnTo>
                          <a:pt x="666" y="438"/>
                        </a:lnTo>
                        <a:lnTo>
                          <a:pt x="660" y="432"/>
                        </a:lnTo>
                        <a:lnTo>
                          <a:pt x="660" y="426"/>
                        </a:lnTo>
                        <a:lnTo>
                          <a:pt x="678" y="426"/>
                        </a:lnTo>
                        <a:lnTo>
                          <a:pt x="678" y="396"/>
                        </a:lnTo>
                        <a:lnTo>
                          <a:pt x="672" y="384"/>
                        </a:lnTo>
                        <a:lnTo>
                          <a:pt x="666" y="378"/>
                        </a:lnTo>
                        <a:lnTo>
                          <a:pt x="660" y="366"/>
                        </a:lnTo>
                        <a:lnTo>
                          <a:pt x="660" y="336"/>
                        </a:lnTo>
                        <a:lnTo>
                          <a:pt x="654" y="330"/>
                        </a:lnTo>
                        <a:lnTo>
                          <a:pt x="648" y="318"/>
                        </a:lnTo>
                        <a:lnTo>
                          <a:pt x="624" y="306"/>
                        </a:lnTo>
                        <a:lnTo>
                          <a:pt x="564" y="306"/>
                        </a:lnTo>
                        <a:lnTo>
                          <a:pt x="558" y="300"/>
                        </a:lnTo>
                        <a:lnTo>
                          <a:pt x="546" y="294"/>
                        </a:lnTo>
                        <a:lnTo>
                          <a:pt x="534" y="282"/>
                        </a:lnTo>
                        <a:lnTo>
                          <a:pt x="534" y="276"/>
                        </a:lnTo>
                        <a:lnTo>
                          <a:pt x="510" y="276"/>
                        </a:lnTo>
                        <a:lnTo>
                          <a:pt x="498" y="270"/>
                        </a:lnTo>
                        <a:lnTo>
                          <a:pt x="486" y="258"/>
                        </a:lnTo>
                        <a:lnTo>
                          <a:pt x="474" y="252"/>
                        </a:lnTo>
                        <a:lnTo>
                          <a:pt x="468" y="240"/>
                        </a:lnTo>
                        <a:lnTo>
                          <a:pt x="468" y="234"/>
                        </a:lnTo>
                        <a:lnTo>
                          <a:pt x="456" y="234"/>
                        </a:lnTo>
                        <a:lnTo>
                          <a:pt x="450" y="240"/>
                        </a:lnTo>
                        <a:lnTo>
                          <a:pt x="438" y="240"/>
                        </a:lnTo>
                        <a:lnTo>
                          <a:pt x="426" y="234"/>
                        </a:lnTo>
                        <a:lnTo>
                          <a:pt x="420" y="222"/>
                        </a:lnTo>
                        <a:lnTo>
                          <a:pt x="414" y="228"/>
                        </a:lnTo>
                        <a:lnTo>
                          <a:pt x="384" y="228"/>
                        </a:lnTo>
                        <a:lnTo>
                          <a:pt x="372" y="222"/>
                        </a:lnTo>
                        <a:lnTo>
                          <a:pt x="366" y="216"/>
                        </a:lnTo>
                        <a:lnTo>
                          <a:pt x="366" y="210"/>
                        </a:lnTo>
                        <a:lnTo>
                          <a:pt x="360" y="198"/>
                        </a:lnTo>
                        <a:lnTo>
                          <a:pt x="360" y="192"/>
                        </a:lnTo>
                        <a:lnTo>
                          <a:pt x="354" y="186"/>
                        </a:lnTo>
                        <a:lnTo>
                          <a:pt x="330" y="186"/>
                        </a:lnTo>
                        <a:lnTo>
                          <a:pt x="324" y="156"/>
                        </a:lnTo>
                        <a:lnTo>
                          <a:pt x="318" y="150"/>
                        </a:lnTo>
                        <a:lnTo>
                          <a:pt x="306" y="144"/>
                        </a:lnTo>
                        <a:lnTo>
                          <a:pt x="294" y="132"/>
                        </a:lnTo>
                        <a:lnTo>
                          <a:pt x="294" y="120"/>
                        </a:lnTo>
                        <a:lnTo>
                          <a:pt x="300" y="114"/>
                        </a:lnTo>
                        <a:lnTo>
                          <a:pt x="300" y="96"/>
                        </a:lnTo>
                        <a:lnTo>
                          <a:pt x="294" y="84"/>
                        </a:lnTo>
                        <a:lnTo>
                          <a:pt x="288" y="78"/>
                        </a:lnTo>
                        <a:lnTo>
                          <a:pt x="288" y="48"/>
                        </a:lnTo>
                        <a:lnTo>
                          <a:pt x="294" y="42"/>
                        </a:lnTo>
                        <a:lnTo>
                          <a:pt x="294" y="36"/>
                        </a:lnTo>
                        <a:lnTo>
                          <a:pt x="300" y="30"/>
                        </a:lnTo>
                        <a:lnTo>
                          <a:pt x="300" y="0"/>
                        </a:lnTo>
                        <a:lnTo>
                          <a:pt x="288" y="0"/>
                        </a:lnTo>
                        <a:lnTo>
                          <a:pt x="276" y="6"/>
                        </a:lnTo>
                        <a:lnTo>
                          <a:pt x="276" y="12"/>
                        </a:lnTo>
                        <a:lnTo>
                          <a:pt x="270" y="12"/>
                        </a:lnTo>
                        <a:lnTo>
                          <a:pt x="258" y="0"/>
                        </a:lnTo>
                        <a:lnTo>
                          <a:pt x="246" y="12"/>
                        </a:lnTo>
                        <a:lnTo>
                          <a:pt x="210" y="12"/>
                        </a:lnTo>
                        <a:lnTo>
                          <a:pt x="198" y="18"/>
                        </a:lnTo>
                        <a:lnTo>
                          <a:pt x="192" y="24"/>
                        </a:lnTo>
                        <a:lnTo>
                          <a:pt x="186" y="36"/>
                        </a:lnTo>
                        <a:lnTo>
                          <a:pt x="180" y="42"/>
                        </a:lnTo>
                        <a:lnTo>
                          <a:pt x="180" y="48"/>
                        </a:lnTo>
                        <a:lnTo>
                          <a:pt x="144" y="48"/>
                        </a:lnTo>
                        <a:lnTo>
                          <a:pt x="138" y="78"/>
                        </a:lnTo>
                        <a:lnTo>
                          <a:pt x="102" y="78"/>
                        </a:lnTo>
                        <a:lnTo>
                          <a:pt x="90" y="96"/>
                        </a:lnTo>
                        <a:lnTo>
                          <a:pt x="84" y="102"/>
                        </a:lnTo>
                        <a:lnTo>
                          <a:pt x="60" y="114"/>
                        </a:lnTo>
                        <a:lnTo>
                          <a:pt x="42" y="114"/>
                        </a:lnTo>
                        <a:lnTo>
                          <a:pt x="42" y="108"/>
                        </a:lnTo>
                        <a:lnTo>
                          <a:pt x="36" y="102"/>
                        </a:lnTo>
                        <a:lnTo>
                          <a:pt x="12" y="102"/>
                        </a:lnTo>
                        <a:lnTo>
                          <a:pt x="0" y="96"/>
                        </a:lnTo>
                        <a:lnTo>
                          <a:pt x="0" y="114"/>
                        </a:lnTo>
                        <a:lnTo>
                          <a:pt x="6" y="132"/>
                        </a:lnTo>
                        <a:lnTo>
                          <a:pt x="18" y="144"/>
                        </a:lnTo>
                        <a:lnTo>
                          <a:pt x="30" y="162"/>
                        </a:lnTo>
                        <a:lnTo>
                          <a:pt x="42" y="174"/>
                        </a:lnTo>
                        <a:lnTo>
                          <a:pt x="54" y="192"/>
                        </a:lnTo>
                        <a:lnTo>
                          <a:pt x="66" y="216"/>
                        </a:lnTo>
                        <a:lnTo>
                          <a:pt x="66" y="228"/>
                        </a:lnTo>
                        <a:lnTo>
                          <a:pt x="60" y="234"/>
                        </a:lnTo>
                        <a:lnTo>
                          <a:pt x="54" y="246"/>
                        </a:lnTo>
                        <a:lnTo>
                          <a:pt x="48" y="252"/>
                        </a:lnTo>
                        <a:lnTo>
                          <a:pt x="60" y="300"/>
                        </a:lnTo>
                        <a:lnTo>
                          <a:pt x="42" y="330"/>
                        </a:lnTo>
                        <a:lnTo>
                          <a:pt x="48" y="330"/>
                        </a:lnTo>
                        <a:lnTo>
                          <a:pt x="60" y="342"/>
                        </a:lnTo>
                        <a:lnTo>
                          <a:pt x="66" y="354"/>
                        </a:lnTo>
                        <a:lnTo>
                          <a:pt x="66" y="360"/>
                        </a:lnTo>
                        <a:lnTo>
                          <a:pt x="60" y="372"/>
                        </a:lnTo>
                        <a:lnTo>
                          <a:pt x="48" y="384"/>
                        </a:lnTo>
                        <a:lnTo>
                          <a:pt x="36" y="408"/>
                        </a:lnTo>
                        <a:lnTo>
                          <a:pt x="42" y="426"/>
                        </a:lnTo>
                        <a:lnTo>
                          <a:pt x="48" y="438"/>
                        </a:lnTo>
                        <a:lnTo>
                          <a:pt x="54" y="444"/>
                        </a:lnTo>
                        <a:lnTo>
                          <a:pt x="54" y="450"/>
                        </a:lnTo>
                        <a:lnTo>
                          <a:pt x="42" y="468"/>
                        </a:lnTo>
                        <a:lnTo>
                          <a:pt x="54" y="480"/>
                        </a:lnTo>
                        <a:lnTo>
                          <a:pt x="78" y="498"/>
                        </a:lnTo>
                        <a:lnTo>
                          <a:pt x="78" y="516"/>
                        </a:lnTo>
                        <a:lnTo>
                          <a:pt x="102" y="528"/>
                        </a:lnTo>
                        <a:lnTo>
                          <a:pt x="90" y="558"/>
                        </a:lnTo>
                        <a:lnTo>
                          <a:pt x="78" y="546"/>
                        </a:lnTo>
                        <a:lnTo>
                          <a:pt x="78" y="558"/>
                        </a:lnTo>
                        <a:lnTo>
                          <a:pt x="66" y="582"/>
                        </a:lnTo>
                        <a:lnTo>
                          <a:pt x="54" y="588"/>
                        </a:lnTo>
                        <a:lnTo>
                          <a:pt x="36" y="606"/>
                        </a:lnTo>
                        <a:lnTo>
                          <a:pt x="48" y="630"/>
                        </a:lnTo>
                        <a:lnTo>
                          <a:pt x="42" y="636"/>
                        </a:lnTo>
                        <a:lnTo>
                          <a:pt x="60" y="666"/>
                        </a:lnTo>
                        <a:lnTo>
                          <a:pt x="84" y="666"/>
                        </a:lnTo>
                        <a:lnTo>
                          <a:pt x="96" y="744"/>
                        </a:lnTo>
                        <a:lnTo>
                          <a:pt x="108" y="750"/>
                        </a:lnTo>
                        <a:lnTo>
                          <a:pt x="114" y="750"/>
                        </a:lnTo>
                        <a:lnTo>
                          <a:pt x="138" y="762"/>
                        </a:lnTo>
                        <a:lnTo>
                          <a:pt x="144" y="774"/>
                        </a:lnTo>
                        <a:lnTo>
                          <a:pt x="144" y="780"/>
                        </a:lnTo>
                        <a:lnTo>
                          <a:pt x="138" y="792"/>
                        </a:lnTo>
                        <a:lnTo>
                          <a:pt x="126" y="804"/>
                        </a:lnTo>
                        <a:lnTo>
                          <a:pt x="144" y="822"/>
                        </a:lnTo>
                        <a:lnTo>
                          <a:pt x="138" y="828"/>
                        </a:lnTo>
                        <a:lnTo>
                          <a:pt x="132" y="840"/>
                        </a:lnTo>
                        <a:lnTo>
                          <a:pt x="126" y="846"/>
                        </a:lnTo>
                        <a:lnTo>
                          <a:pt x="126" y="858"/>
                        </a:lnTo>
                        <a:lnTo>
                          <a:pt x="132" y="870"/>
                        </a:lnTo>
                        <a:lnTo>
                          <a:pt x="138" y="876"/>
                        </a:lnTo>
                        <a:lnTo>
                          <a:pt x="138" y="900"/>
                        </a:lnTo>
                        <a:lnTo>
                          <a:pt x="144" y="900"/>
                        </a:lnTo>
                        <a:lnTo>
                          <a:pt x="150" y="906"/>
                        </a:lnTo>
                        <a:lnTo>
                          <a:pt x="162" y="912"/>
                        </a:lnTo>
                        <a:lnTo>
                          <a:pt x="168" y="918"/>
                        </a:lnTo>
                        <a:lnTo>
                          <a:pt x="180" y="924"/>
                        </a:lnTo>
                        <a:lnTo>
                          <a:pt x="186" y="930"/>
                        </a:lnTo>
                        <a:lnTo>
                          <a:pt x="186" y="996"/>
                        </a:lnTo>
                        <a:lnTo>
                          <a:pt x="210" y="1020"/>
                        </a:lnTo>
                        <a:lnTo>
                          <a:pt x="210" y="1044"/>
                        </a:lnTo>
                        <a:lnTo>
                          <a:pt x="216" y="1056"/>
                        </a:lnTo>
                        <a:lnTo>
                          <a:pt x="270" y="1056"/>
                        </a:lnTo>
                        <a:lnTo>
                          <a:pt x="270" y="1026"/>
                        </a:lnTo>
                        <a:lnTo>
                          <a:pt x="282" y="1026"/>
                        </a:lnTo>
                        <a:lnTo>
                          <a:pt x="282" y="1008"/>
                        </a:lnTo>
                        <a:lnTo>
                          <a:pt x="306" y="1002"/>
                        </a:lnTo>
                        <a:lnTo>
                          <a:pt x="318" y="978"/>
                        </a:lnTo>
                        <a:lnTo>
                          <a:pt x="324" y="984"/>
                        </a:lnTo>
                        <a:lnTo>
                          <a:pt x="348" y="996"/>
                        </a:lnTo>
                        <a:lnTo>
                          <a:pt x="360" y="996"/>
                        </a:lnTo>
                        <a:lnTo>
                          <a:pt x="378" y="1002"/>
                        </a:lnTo>
                        <a:lnTo>
                          <a:pt x="432" y="1002"/>
                        </a:lnTo>
                        <a:lnTo>
                          <a:pt x="462" y="1050"/>
                        </a:lnTo>
                        <a:lnTo>
                          <a:pt x="474" y="996"/>
                        </a:lnTo>
                        <a:lnTo>
                          <a:pt x="546" y="990"/>
                        </a:lnTo>
                        <a:lnTo>
                          <a:pt x="582" y="1014"/>
                        </a:lnTo>
                        <a:lnTo>
                          <a:pt x="582" y="996"/>
                        </a:lnTo>
                        <a:lnTo>
                          <a:pt x="594" y="924"/>
                        </a:lnTo>
                        <a:lnTo>
                          <a:pt x="594" y="900"/>
                        </a:lnTo>
                        <a:lnTo>
                          <a:pt x="588" y="894"/>
                        </a:lnTo>
                        <a:lnTo>
                          <a:pt x="588" y="888"/>
                        </a:lnTo>
                        <a:lnTo>
                          <a:pt x="576" y="864"/>
                        </a:lnTo>
                        <a:lnTo>
                          <a:pt x="576" y="852"/>
                        </a:lnTo>
                        <a:lnTo>
                          <a:pt x="582" y="846"/>
                        </a:lnTo>
                        <a:lnTo>
                          <a:pt x="594" y="840"/>
                        </a:lnTo>
                        <a:lnTo>
                          <a:pt x="606" y="828"/>
                        </a:lnTo>
                        <a:lnTo>
                          <a:pt x="612" y="798"/>
                        </a:lnTo>
                        <a:lnTo>
                          <a:pt x="714" y="780"/>
                        </a:lnTo>
                        <a:lnTo>
                          <a:pt x="792" y="768"/>
                        </a:lnTo>
                        <a:lnTo>
                          <a:pt x="846" y="810"/>
                        </a:lnTo>
                        <a:lnTo>
                          <a:pt x="864" y="846"/>
                        </a:lnTo>
                        <a:lnTo>
                          <a:pt x="864" y="840"/>
                        </a:lnTo>
                        <a:lnTo>
                          <a:pt x="870" y="834"/>
                        </a:lnTo>
                        <a:lnTo>
                          <a:pt x="882" y="828"/>
                        </a:lnTo>
                        <a:lnTo>
                          <a:pt x="888" y="822"/>
                        </a:lnTo>
                        <a:lnTo>
                          <a:pt x="876" y="816"/>
                        </a:lnTo>
                        <a:lnTo>
                          <a:pt x="870" y="810"/>
                        </a:lnTo>
                        <a:lnTo>
                          <a:pt x="870" y="786"/>
                        </a:lnTo>
                        <a:lnTo>
                          <a:pt x="876" y="774"/>
                        </a:lnTo>
                        <a:lnTo>
                          <a:pt x="882" y="768"/>
                        </a:lnTo>
                        <a:lnTo>
                          <a:pt x="888" y="756"/>
                        </a:lnTo>
                        <a:lnTo>
                          <a:pt x="882" y="74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75" name="Bhutan"/>
                  <p:cNvSpPr>
                    <a:spLocks/>
                  </p:cNvSpPr>
                  <p:nvPr/>
                </p:nvSpPr>
                <p:spPr bwMode="gray">
                  <a:xfrm>
                    <a:off x="4223" y="1726"/>
                    <a:ext cx="60" cy="34"/>
                  </a:xfrm>
                  <a:custGeom>
                    <a:avLst/>
                    <a:gdLst>
                      <a:gd name="T0" fmla="*/ 2147483647 w 234"/>
                      <a:gd name="T1" fmla="*/ 2147483647 h 132"/>
                      <a:gd name="T2" fmla="*/ 2147483647 w 234"/>
                      <a:gd name="T3" fmla="*/ 2147483647 h 132"/>
                      <a:gd name="T4" fmla="*/ 2147483647 w 234"/>
                      <a:gd name="T5" fmla="*/ 2147483647 h 132"/>
                      <a:gd name="T6" fmla="*/ 2147483647 w 234"/>
                      <a:gd name="T7" fmla="*/ 2147483647 h 132"/>
                      <a:gd name="T8" fmla="*/ 2147483647 w 234"/>
                      <a:gd name="T9" fmla="*/ 2147483647 h 132"/>
                      <a:gd name="T10" fmla="*/ 2147483647 w 234"/>
                      <a:gd name="T11" fmla="*/ 2147483647 h 132"/>
                      <a:gd name="T12" fmla="*/ 2147483647 w 234"/>
                      <a:gd name="T13" fmla="*/ 2147483647 h 132"/>
                      <a:gd name="T14" fmla="*/ 2147483647 w 234"/>
                      <a:gd name="T15" fmla="*/ 2147483647 h 132"/>
                      <a:gd name="T16" fmla="*/ 2147483647 w 234"/>
                      <a:gd name="T17" fmla="*/ 2147483647 h 132"/>
                      <a:gd name="T18" fmla="*/ 2147483647 w 234"/>
                      <a:gd name="T19" fmla="*/ 2147483647 h 132"/>
                      <a:gd name="T20" fmla="*/ 2147483647 w 234"/>
                      <a:gd name="T21" fmla="*/ 2147483647 h 132"/>
                      <a:gd name="T22" fmla="*/ 2147483647 w 234"/>
                      <a:gd name="T23" fmla="*/ 2147483647 h 132"/>
                      <a:gd name="T24" fmla="*/ 2147483647 w 234"/>
                      <a:gd name="T25" fmla="*/ 2147483647 h 132"/>
                      <a:gd name="T26" fmla="*/ 2147483647 w 234"/>
                      <a:gd name="T27" fmla="*/ 2147483647 h 132"/>
                      <a:gd name="T28" fmla="*/ 2147483647 w 234"/>
                      <a:gd name="T29" fmla="*/ 2147483647 h 132"/>
                      <a:gd name="T30" fmla="*/ 2147483647 w 234"/>
                      <a:gd name="T31" fmla="*/ 2147483647 h 132"/>
                      <a:gd name="T32" fmla="*/ 2147483647 w 234"/>
                      <a:gd name="T33" fmla="*/ 2147483647 h 132"/>
                      <a:gd name="T34" fmla="*/ 2147483647 w 234"/>
                      <a:gd name="T35" fmla="*/ 2147483647 h 132"/>
                      <a:gd name="T36" fmla="*/ 2147483647 w 234"/>
                      <a:gd name="T37" fmla="*/ 2147483647 h 132"/>
                      <a:gd name="T38" fmla="*/ 2147483647 w 234"/>
                      <a:gd name="T39" fmla="*/ 2147483647 h 132"/>
                      <a:gd name="T40" fmla="*/ 2147483647 w 234"/>
                      <a:gd name="T41" fmla="*/ 2147483647 h 132"/>
                      <a:gd name="T42" fmla="*/ 2147483647 w 234"/>
                      <a:gd name="T43" fmla="*/ 2147483647 h 132"/>
                      <a:gd name="T44" fmla="*/ 2147483647 w 234"/>
                      <a:gd name="T45" fmla="*/ 2147483647 h 132"/>
                      <a:gd name="T46" fmla="*/ 2147483647 w 234"/>
                      <a:gd name="T47" fmla="*/ 2147483647 h 132"/>
                      <a:gd name="T48" fmla="*/ 2147483647 w 234"/>
                      <a:gd name="T49" fmla="*/ 2147483647 h 132"/>
                      <a:gd name="T50" fmla="*/ 2147483647 w 234"/>
                      <a:gd name="T51" fmla="*/ 2147483647 h 132"/>
                      <a:gd name="T52" fmla="*/ 2147483647 w 234"/>
                      <a:gd name="T53" fmla="*/ 2147483647 h 132"/>
                      <a:gd name="T54" fmla="*/ 2147483647 w 234"/>
                      <a:gd name="T55" fmla="*/ 2147483647 h 132"/>
                      <a:gd name="T56" fmla="*/ 2147483647 w 234"/>
                      <a:gd name="T57" fmla="*/ 2147483647 h 132"/>
                      <a:gd name="T58" fmla="*/ 2147483647 w 234"/>
                      <a:gd name="T59" fmla="*/ 0 h 132"/>
                      <a:gd name="T60" fmla="*/ 2147483647 w 234"/>
                      <a:gd name="T61" fmla="*/ 0 h 132"/>
                      <a:gd name="T62" fmla="*/ 2147483647 w 234"/>
                      <a:gd name="T63" fmla="*/ 2147483647 h 132"/>
                      <a:gd name="T64" fmla="*/ 2147483647 w 234"/>
                      <a:gd name="T65" fmla="*/ 2147483647 h 132"/>
                      <a:gd name="T66" fmla="*/ 2147483647 w 234"/>
                      <a:gd name="T67" fmla="*/ 2147483647 h 132"/>
                      <a:gd name="T68" fmla="*/ 2147483647 w 234"/>
                      <a:gd name="T69" fmla="*/ 2147483647 h 132"/>
                      <a:gd name="T70" fmla="*/ 2147483647 w 234"/>
                      <a:gd name="T71" fmla="*/ 2147483647 h 132"/>
                      <a:gd name="T72" fmla="*/ 2147483647 w 234"/>
                      <a:gd name="T73" fmla="*/ 2147483647 h 132"/>
                      <a:gd name="T74" fmla="*/ 2147483647 w 234"/>
                      <a:gd name="T75" fmla="*/ 2147483647 h 132"/>
                      <a:gd name="T76" fmla="*/ 0 w 234"/>
                      <a:gd name="T77" fmla="*/ 2147483647 h 132"/>
                      <a:gd name="T78" fmla="*/ 0 w 234"/>
                      <a:gd name="T79" fmla="*/ 2147483647 h 132"/>
                      <a:gd name="T80" fmla="*/ 2147483647 w 234"/>
                      <a:gd name="T81" fmla="*/ 2147483647 h 132"/>
                      <a:gd name="T82" fmla="*/ 2147483647 w 234"/>
                      <a:gd name="T83" fmla="*/ 2147483647 h 132"/>
                      <a:gd name="T84" fmla="*/ 2147483647 w 234"/>
                      <a:gd name="T85" fmla="*/ 2147483647 h 132"/>
                      <a:gd name="T86" fmla="*/ 2147483647 w 234"/>
                      <a:gd name="T87" fmla="*/ 2147483647 h 132"/>
                      <a:gd name="T88" fmla="*/ 2147483647 w 234"/>
                      <a:gd name="T89" fmla="*/ 2147483647 h 132"/>
                      <a:gd name="T90" fmla="*/ 2147483647 w 234"/>
                      <a:gd name="T91" fmla="*/ 2147483647 h 132"/>
                      <a:gd name="T92" fmla="*/ 2147483647 w 234"/>
                      <a:gd name="T93" fmla="*/ 2147483647 h 13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34"/>
                      <a:gd name="T142" fmla="*/ 0 h 132"/>
                      <a:gd name="T143" fmla="*/ 234 w 234"/>
                      <a:gd name="T144" fmla="*/ 132 h 132"/>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34" h="132">
                        <a:moveTo>
                          <a:pt x="78" y="132"/>
                        </a:moveTo>
                        <a:lnTo>
                          <a:pt x="90" y="132"/>
                        </a:lnTo>
                        <a:lnTo>
                          <a:pt x="102" y="126"/>
                        </a:lnTo>
                        <a:lnTo>
                          <a:pt x="108" y="120"/>
                        </a:lnTo>
                        <a:lnTo>
                          <a:pt x="126" y="120"/>
                        </a:lnTo>
                        <a:lnTo>
                          <a:pt x="138" y="126"/>
                        </a:lnTo>
                        <a:lnTo>
                          <a:pt x="168" y="126"/>
                        </a:lnTo>
                        <a:lnTo>
                          <a:pt x="180" y="120"/>
                        </a:lnTo>
                        <a:lnTo>
                          <a:pt x="192" y="120"/>
                        </a:lnTo>
                        <a:lnTo>
                          <a:pt x="198" y="126"/>
                        </a:lnTo>
                        <a:lnTo>
                          <a:pt x="210" y="126"/>
                        </a:lnTo>
                        <a:lnTo>
                          <a:pt x="234" y="114"/>
                        </a:lnTo>
                        <a:lnTo>
                          <a:pt x="234" y="108"/>
                        </a:lnTo>
                        <a:lnTo>
                          <a:pt x="222" y="96"/>
                        </a:lnTo>
                        <a:lnTo>
                          <a:pt x="222" y="72"/>
                        </a:lnTo>
                        <a:lnTo>
                          <a:pt x="198" y="72"/>
                        </a:lnTo>
                        <a:lnTo>
                          <a:pt x="192" y="66"/>
                        </a:lnTo>
                        <a:lnTo>
                          <a:pt x="192" y="42"/>
                        </a:lnTo>
                        <a:lnTo>
                          <a:pt x="186" y="30"/>
                        </a:lnTo>
                        <a:lnTo>
                          <a:pt x="174" y="18"/>
                        </a:lnTo>
                        <a:lnTo>
                          <a:pt x="162" y="12"/>
                        </a:lnTo>
                        <a:lnTo>
                          <a:pt x="150" y="12"/>
                        </a:lnTo>
                        <a:lnTo>
                          <a:pt x="138" y="18"/>
                        </a:lnTo>
                        <a:lnTo>
                          <a:pt x="126" y="18"/>
                        </a:lnTo>
                        <a:lnTo>
                          <a:pt x="114" y="24"/>
                        </a:lnTo>
                        <a:lnTo>
                          <a:pt x="108" y="30"/>
                        </a:lnTo>
                        <a:lnTo>
                          <a:pt x="102" y="30"/>
                        </a:lnTo>
                        <a:lnTo>
                          <a:pt x="102" y="6"/>
                        </a:lnTo>
                        <a:lnTo>
                          <a:pt x="78" y="6"/>
                        </a:lnTo>
                        <a:lnTo>
                          <a:pt x="66" y="0"/>
                        </a:lnTo>
                        <a:lnTo>
                          <a:pt x="54" y="0"/>
                        </a:lnTo>
                        <a:lnTo>
                          <a:pt x="48" y="12"/>
                        </a:lnTo>
                        <a:lnTo>
                          <a:pt x="36" y="24"/>
                        </a:lnTo>
                        <a:lnTo>
                          <a:pt x="30" y="36"/>
                        </a:lnTo>
                        <a:lnTo>
                          <a:pt x="18" y="54"/>
                        </a:lnTo>
                        <a:lnTo>
                          <a:pt x="12" y="66"/>
                        </a:lnTo>
                        <a:lnTo>
                          <a:pt x="6" y="72"/>
                        </a:lnTo>
                        <a:lnTo>
                          <a:pt x="6" y="78"/>
                        </a:lnTo>
                        <a:lnTo>
                          <a:pt x="0" y="78"/>
                        </a:lnTo>
                        <a:lnTo>
                          <a:pt x="0" y="90"/>
                        </a:lnTo>
                        <a:lnTo>
                          <a:pt x="18" y="108"/>
                        </a:lnTo>
                        <a:lnTo>
                          <a:pt x="42" y="120"/>
                        </a:lnTo>
                        <a:lnTo>
                          <a:pt x="54" y="120"/>
                        </a:lnTo>
                        <a:lnTo>
                          <a:pt x="54" y="114"/>
                        </a:lnTo>
                        <a:lnTo>
                          <a:pt x="54" y="120"/>
                        </a:lnTo>
                        <a:lnTo>
                          <a:pt x="66" y="132"/>
                        </a:lnTo>
                        <a:lnTo>
                          <a:pt x="78" y="13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76" name="Benin"/>
                  <p:cNvSpPr>
                    <a:spLocks/>
                  </p:cNvSpPr>
                  <p:nvPr/>
                </p:nvSpPr>
                <p:spPr bwMode="gray">
                  <a:xfrm>
                    <a:off x="2667" y="2055"/>
                    <a:ext cx="57" cy="127"/>
                  </a:xfrm>
                  <a:custGeom>
                    <a:avLst/>
                    <a:gdLst>
                      <a:gd name="T0" fmla="*/ 2147483647 w 222"/>
                      <a:gd name="T1" fmla="*/ 2147483647 h 498"/>
                      <a:gd name="T2" fmla="*/ 2147483647 w 222"/>
                      <a:gd name="T3" fmla="*/ 2147483647 h 498"/>
                      <a:gd name="T4" fmla="*/ 2147483647 w 222"/>
                      <a:gd name="T5" fmla="*/ 2147483647 h 498"/>
                      <a:gd name="T6" fmla="*/ 2147483647 w 222"/>
                      <a:gd name="T7" fmla="*/ 2147483647 h 498"/>
                      <a:gd name="T8" fmla="*/ 2147483647 w 222"/>
                      <a:gd name="T9" fmla="*/ 2147483647 h 498"/>
                      <a:gd name="T10" fmla="*/ 2147483647 w 222"/>
                      <a:gd name="T11" fmla="*/ 2147483647 h 498"/>
                      <a:gd name="T12" fmla="*/ 2147483647 w 222"/>
                      <a:gd name="T13" fmla="*/ 2147483647 h 498"/>
                      <a:gd name="T14" fmla="*/ 2147483647 w 222"/>
                      <a:gd name="T15" fmla="*/ 2147483647 h 498"/>
                      <a:gd name="T16" fmla="*/ 2147483647 w 222"/>
                      <a:gd name="T17" fmla="*/ 2147483647 h 498"/>
                      <a:gd name="T18" fmla="*/ 2147483647 w 222"/>
                      <a:gd name="T19" fmla="*/ 2147483647 h 498"/>
                      <a:gd name="T20" fmla="*/ 2147483647 w 222"/>
                      <a:gd name="T21" fmla="*/ 2147483647 h 498"/>
                      <a:gd name="T22" fmla="*/ 2147483647 w 222"/>
                      <a:gd name="T23" fmla="*/ 2147483647 h 498"/>
                      <a:gd name="T24" fmla="*/ 2147483647 w 222"/>
                      <a:gd name="T25" fmla="*/ 2147483647 h 498"/>
                      <a:gd name="T26" fmla="*/ 2147483647 w 222"/>
                      <a:gd name="T27" fmla="*/ 2147483647 h 498"/>
                      <a:gd name="T28" fmla="*/ 2147483647 w 222"/>
                      <a:gd name="T29" fmla="*/ 2147483647 h 498"/>
                      <a:gd name="T30" fmla="*/ 2147483647 w 222"/>
                      <a:gd name="T31" fmla="*/ 2147483647 h 498"/>
                      <a:gd name="T32" fmla="*/ 2147483647 w 222"/>
                      <a:gd name="T33" fmla="*/ 2147483647 h 498"/>
                      <a:gd name="T34" fmla="*/ 2147483647 w 222"/>
                      <a:gd name="T35" fmla="*/ 2147483647 h 498"/>
                      <a:gd name="T36" fmla="*/ 2147483647 w 222"/>
                      <a:gd name="T37" fmla="*/ 2147483647 h 498"/>
                      <a:gd name="T38" fmla="*/ 2147483647 w 222"/>
                      <a:gd name="T39" fmla="*/ 2147483647 h 498"/>
                      <a:gd name="T40" fmla="*/ 2147483647 w 222"/>
                      <a:gd name="T41" fmla="*/ 2147483647 h 498"/>
                      <a:gd name="T42" fmla="*/ 2147483647 w 222"/>
                      <a:gd name="T43" fmla="*/ 2147483647 h 498"/>
                      <a:gd name="T44" fmla="*/ 2147483647 w 222"/>
                      <a:gd name="T45" fmla="*/ 2147483647 h 498"/>
                      <a:gd name="T46" fmla="*/ 0 w 222"/>
                      <a:gd name="T47" fmla="*/ 2147483647 h 498"/>
                      <a:gd name="T48" fmla="*/ 2147483647 w 222"/>
                      <a:gd name="T49" fmla="*/ 2147483647 h 498"/>
                      <a:gd name="T50" fmla="*/ 2147483647 w 222"/>
                      <a:gd name="T51" fmla="*/ 2147483647 h 498"/>
                      <a:gd name="T52" fmla="*/ 2147483647 w 222"/>
                      <a:gd name="T53" fmla="*/ 2147483647 h 498"/>
                      <a:gd name="T54" fmla="*/ 2147483647 w 222"/>
                      <a:gd name="T55" fmla="*/ 2147483647 h 498"/>
                      <a:gd name="T56" fmla="*/ 2147483647 w 222"/>
                      <a:gd name="T57" fmla="*/ 2147483647 h 498"/>
                      <a:gd name="T58" fmla="*/ 2147483647 w 222"/>
                      <a:gd name="T59" fmla="*/ 2147483647 h 498"/>
                      <a:gd name="T60" fmla="*/ 2147483647 w 222"/>
                      <a:gd name="T61" fmla="*/ 2147483647 h 498"/>
                      <a:gd name="T62" fmla="*/ 2147483647 w 222"/>
                      <a:gd name="T63" fmla="*/ 2147483647 h 498"/>
                      <a:gd name="T64" fmla="*/ 2147483647 w 222"/>
                      <a:gd name="T65" fmla="*/ 2147483647 h 498"/>
                      <a:gd name="T66" fmla="*/ 2147483647 w 222"/>
                      <a:gd name="T67" fmla="*/ 2147483647 h 498"/>
                      <a:gd name="T68" fmla="*/ 2147483647 w 222"/>
                      <a:gd name="T69" fmla="*/ 2147483647 h 49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22"/>
                      <a:gd name="T106" fmla="*/ 0 h 498"/>
                      <a:gd name="T107" fmla="*/ 222 w 222"/>
                      <a:gd name="T108" fmla="*/ 498 h 498"/>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22" h="498">
                        <a:moveTo>
                          <a:pt x="138" y="372"/>
                        </a:moveTo>
                        <a:lnTo>
                          <a:pt x="144" y="342"/>
                        </a:lnTo>
                        <a:lnTo>
                          <a:pt x="138" y="306"/>
                        </a:lnTo>
                        <a:lnTo>
                          <a:pt x="144" y="276"/>
                        </a:lnTo>
                        <a:lnTo>
                          <a:pt x="162" y="276"/>
                        </a:lnTo>
                        <a:lnTo>
                          <a:pt x="174" y="252"/>
                        </a:lnTo>
                        <a:lnTo>
                          <a:pt x="174" y="222"/>
                        </a:lnTo>
                        <a:lnTo>
                          <a:pt x="180" y="216"/>
                        </a:lnTo>
                        <a:lnTo>
                          <a:pt x="186" y="204"/>
                        </a:lnTo>
                        <a:lnTo>
                          <a:pt x="198" y="198"/>
                        </a:lnTo>
                        <a:lnTo>
                          <a:pt x="198" y="156"/>
                        </a:lnTo>
                        <a:lnTo>
                          <a:pt x="210" y="150"/>
                        </a:lnTo>
                        <a:lnTo>
                          <a:pt x="216" y="150"/>
                        </a:lnTo>
                        <a:lnTo>
                          <a:pt x="222" y="144"/>
                        </a:lnTo>
                        <a:lnTo>
                          <a:pt x="222" y="132"/>
                        </a:lnTo>
                        <a:lnTo>
                          <a:pt x="216" y="126"/>
                        </a:lnTo>
                        <a:lnTo>
                          <a:pt x="216" y="114"/>
                        </a:lnTo>
                        <a:lnTo>
                          <a:pt x="210" y="102"/>
                        </a:lnTo>
                        <a:lnTo>
                          <a:pt x="204" y="96"/>
                        </a:lnTo>
                        <a:lnTo>
                          <a:pt x="192" y="72"/>
                        </a:lnTo>
                        <a:lnTo>
                          <a:pt x="198" y="66"/>
                        </a:lnTo>
                        <a:lnTo>
                          <a:pt x="198" y="60"/>
                        </a:lnTo>
                        <a:lnTo>
                          <a:pt x="204" y="48"/>
                        </a:lnTo>
                        <a:lnTo>
                          <a:pt x="198" y="42"/>
                        </a:lnTo>
                        <a:lnTo>
                          <a:pt x="186" y="36"/>
                        </a:lnTo>
                        <a:lnTo>
                          <a:pt x="180" y="36"/>
                        </a:lnTo>
                        <a:lnTo>
                          <a:pt x="174" y="30"/>
                        </a:lnTo>
                        <a:lnTo>
                          <a:pt x="168" y="30"/>
                        </a:lnTo>
                        <a:lnTo>
                          <a:pt x="162" y="24"/>
                        </a:lnTo>
                        <a:lnTo>
                          <a:pt x="156" y="12"/>
                        </a:lnTo>
                        <a:lnTo>
                          <a:pt x="144" y="0"/>
                        </a:lnTo>
                        <a:lnTo>
                          <a:pt x="114" y="12"/>
                        </a:lnTo>
                        <a:lnTo>
                          <a:pt x="114" y="36"/>
                        </a:lnTo>
                        <a:lnTo>
                          <a:pt x="120" y="36"/>
                        </a:lnTo>
                        <a:lnTo>
                          <a:pt x="114" y="42"/>
                        </a:lnTo>
                        <a:lnTo>
                          <a:pt x="108" y="60"/>
                        </a:lnTo>
                        <a:lnTo>
                          <a:pt x="96" y="60"/>
                        </a:lnTo>
                        <a:lnTo>
                          <a:pt x="90" y="66"/>
                        </a:lnTo>
                        <a:lnTo>
                          <a:pt x="84" y="66"/>
                        </a:lnTo>
                        <a:lnTo>
                          <a:pt x="84" y="78"/>
                        </a:lnTo>
                        <a:lnTo>
                          <a:pt x="78" y="72"/>
                        </a:lnTo>
                        <a:lnTo>
                          <a:pt x="48" y="72"/>
                        </a:lnTo>
                        <a:lnTo>
                          <a:pt x="30" y="90"/>
                        </a:lnTo>
                        <a:lnTo>
                          <a:pt x="24" y="102"/>
                        </a:lnTo>
                        <a:lnTo>
                          <a:pt x="12" y="102"/>
                        </a:lnTo>
                        <a:lnTo>
                          <a:pt x="6" y="114"/>
                        </a:lnTo>
                        <a:lnTo>
                          <a:pt x="0" y="132"/>
                        </a:lnTo>
                        <a:lnTo>
                          <a:pt x="0" y="162"/>
                        </a:lnTo>
                        <a:lnTo>
                          <a:pt x="12" y="168"/>
                        </a:lnTo>
                        <a:lnTo>
                          <a:pt x="42" y="198"/>
                        </a:lnTo>
                        <a:lnTo>
                          <a:pt x="42" y="240"/>
                        </a:lnTo>
                        <a:lnTo>
                          <a:pt x="54" y="252"/>
                        </a:lnTo>
                        <a:lnTo>
                          <a:pt x="60" y="264"/>
                        </a:lnTo>
                        <a:lnTo>
                          <a:pt x="60" y="294"/>
                        </a:lnTo>
                        <a:lnTo>
                          <a:pt x="66" y="306"/>
                        </a:lnTo>
                        <a:lnTo>
                          <a:pt x="54" y="318"/>
                        </a:lnTo>
                        <a:lnTo>
                          <a:pt x="54" y="378"/>
                        </a:lnTo>
                        <a:lnTo>
                          <a:pt x="66" y="390"/>
                        </a:lnTo>
                        <a:lnTo>
                          <a:pt x="54" y="396"/>
                        </a:lnTo>
                        <a:lnTo>
                          <a:pt x="60" y="462"/>
                        </a:lnTo>
                        <a:lnTo>
                          <a:pt x="60" y="468"/>
                        </a:lnTo>
                        <a:lnTo>
                          <a:pt x="72" y="480"/>
                        </a:lnTo>
                        <a:lnTo>
                          <a:pt x="72" y="492"/>
                        </a:lnTo>
                        <a:lnTo>
                          <a:pt x="84" y="492"/>
                        </a:lnTo>
                        <a:lnTo>
                          <a:pt x="96" y="498"/>
                        </a:lnTo>
                        <a:lnTo>
                          <a:pt x="108" y="498"/>
                        </a:lnTo>
                        <a:lnTo>
                          <a:pt x="120" y="474"/>
                        </a:lnTo>
                        <a:lnTo>
                          <a:pt x="126" y="480"/>
                        </a:lnTo>
                        <a:lnTo>
                          <a:pt x="138" y="486"/>
                        </a:lnTo>
                        <a:lnTo>
                          <a:pt x="138" y="37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77" name="Belize"/>
                  <p:cNvSpPr>
                    <a:spLocks/>
                  </p:cNvSpPr>
                  <p:nvPr/>
                </p:nvSpPr>
                <p:spPr bwMode="gray">
                  <a:xfrm>
                    <a:off x="1047" y="1929"/>
                    <a:ext cx="28" cy="54"/>
                  </a:xfrm>
                  <a:custGeom>
                    <a:avLst/>
                    <a:gdLst>
                      <a:gd name="T0" fmla="*/ 2147483647 w 108"/>
                      <a:gd name="T1" fmla="*/ 2147483647 h 210"/>
                      <a:gd name="T2" fmla="*/ 2147483647 w 108"/>
                      <a:gd name="T3" fmla="*/ 2147483647 h 210"/>
                      <a:gd name="T4" fmla="*/ 2147483647 w 108"/>
                      <a:gd name="T5" fmla="*/ 2147483647 h 210"/>
                      <a:gd name="T6" fmla="*/ 2147483647 w 108"/>
                      <a:gd name="T7" fmla="*/ 2147483647 h 210"/>
                      <a:gd name="T8" fmla="*/ 2147483647 w 108"/>
                      <a:gd name="T9" fmla="*/ 2147483647 h 210"/>
                      <a:gd name="T10" fmla="*/ 2147483647 w 108"/>
                      <a:gd name="T11" fmla="*/ 0 h 210"/>
                      <a:gd name="T12" fmla="*/ 2147483647 w 108"/>
                      <a:gd name="T13" fmla="*/ 2147483647 h 210"/>
                      <a:gd name="T14" fmla="*/ 2147483647 w 108"/>
                      <a:gd name="T15" fmla="*/ 2147483647 h 210"/>
                      <a:gd name="T16" fmla="*/ 2147483647 w 108"/>
                      <a:gd name="T17" fmla="*/ 2147483647 h 210"/>
                      <a:gd name="T18" fmla="*/ 2147483647 w 108"/>
                      <a:gd name="T19" fmla="*/ 2147483647 h 210"/>
                      <a:gd name="T20" fmla="*/ 2147483647 w 108"/>
                      <a:gd name="T21" fmla="*/ 2147483647 h 210"/>
                      <a:gd name="T22" fmla="*/ 2147483647 w 108"/>
                      <a:gd name="T23" fmla="*/ 2147483647 h 210"/>
                      <a:gd name="T24" fmla="*/ 2147483647 w 108"/>
                      <a:gd name="T25" fmla="*/ 2147483647 h 210"/>
                      <a:gd name="T26" fmla="*/ 2147483647 w 108"/>
                      <a:gd name="T27" fmla="*/ 2147483647 h 210"/>
                      <a:gd name="T28" fmla="*/ 2147483647 w 108"/>
                      <a:gd name="T29" fmla="*/ 2147483647 h 210"/>
                      <a:gd name="T30" fmla="*/ 2147483647 w 108"/>
                      <a:gd name="T31" fmla="*/ 2147483647 h 210"/>
                      <a:gd name="T32" fmla="*/ 2147483647 w 108"/>
                      <a:gd name="T33" fmla="*/ 2147483647 h 210"/>
                      <a:gd name="T34" fmla="*/ 2147483647 w 108"/>
                      <a:gd name="T35" fmla="*/ 2147483647 h 210"/>
                      <a:gd name="T36" fmla="*/ 0 w 108"/>
                      <a:gd name="T37" fmla="*/ 2147483647 h 210"/>
                      <a:gd name="T38" fmla="*/ 2147483647 w 108"/>
                      <a:gd name="T39" fmla="*/ 2147483647 h 210"/>
                      <a:gd name="T40" fmla="*/ 2147483647 w 108"/>
                      <a:gd name="T41" fmla="*/ 2147483647 h 210"/>
                      <a:gd name="T42" fmla="*/ 2147483647 w 108"/>
                      <a:gd name="T43" fmla="*/ 2147483647 h 210"/>
                      <a:gd name="T44" fmla="*/ 2147483647 w 108"/>
                      <a:gd name="T45" fmla="*/ 2147483647 h 210"/>
                      <a:gd name="T46" fmla="*/ 2147483647 w 108"/>
                      <a:gd name="T47" fmla="*/ 2147483647 h 210"/>
                      <a:gd name="T48" fmla="*/ 2147483647 w 108"/>
                      <a:gd name="T49" fmla="*/ 2147483647 h 210"/>
                      <a:gd name="T50" fmla="*/ 2147483647 w 108"/>
                      <a:gd name="T51" fmla="*/ 2147483647 h 210"/>
                      <a:gd name="T52" fmla="*/ 2147483647 w 108"/>
                      <a:gd name="T53" fmla="*/ 2147483647 h 210"/>
                      <a:gd name="T54" fmla="*/ 2147483647 w 108"/>
                      <a:gd name="T55" fmla="*/ 2147483647 h 21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08"/>
                      <a:gd name="T85" fmla="*/ 0 h 210"/>
                      <a:gd name="T86" fmla="*/ 108 w 108"/>
                      <a:gd name="T87" fmla="*/ 210 h 21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08" h="210">
                        <a:moveTo>
                          <a:pt x="108" y="30"/>
                        </a:moveTo>
                        <a:lnTo>
                          <a:pt x="108" y="24"/>
                        </a:lnTo>
                        <a:lnTo>
                          <a:pt x="102" y="24"/>
                        </a:lnTo>
                        <a:lnTo>
                          <a:pt x="90" y="18"/>
                        </a:lnTo>
                        <a:lnTo>
                          <a:pt x="84" y="12"/>
                        </a:lnTo>
                        <a:lnTo>
                          <a:pt x="78" y="0"/>
                        </a:lnTo>
                        <a:lnTo>
                          <a:pt x="78" y="6"/>
                        </a:lnTo>
                        <a:lnTo>
                          <a:pt x="72" y="12"/>
                        </a:lnTo>
                        <a:lnTo>
                          <a:pt x="72" y="24"/>
                        </a:lnTo>
                        <a:lnTo>
                          <a:pt x="66" y="36"/>
                        </a:lnTo>
                        <a:lnTo>
                          <a:pt x="54" y="42"/>
                        </a:lnTo>
                        <a:lnTo>
                          <a:pt x="48" y="48"/>
                        </a:lnTo>
                        <a:lnTo>
                          <a:pt x="42" y="48"/>
                        </a:lnTo>
                        <a:lnTo>
                          <a:pt x="42" y="42"/>
                        </a:lnTo>
                        <a:lnTo>
                          <a:pt x="36" y="36"/>
                        </a:lnTo>
                        <a:lnTo>
                          <a:pt x="30" y="36"/>
                        </a:lnTo>
                        <a:lnTo>
                          <a:pt x="30" y="42"/>
                        </a:lnTo>
                        <a:lnTo>
                          <a:pt x="24" y="54"/>
                        </a:lnTo>
                        <a:lnTo>
                          <a:pt x="0" y="210"/>
                        </a:lnTo>
                        <a:lnTo>
                          <a:pt x="30" y="210"/>
                        </a:lnTo>
                        <a:lnTo>
                          <a:pt x="42" y="168"/>
                        </a:lnTo>
                        <a:lnTo>
                          <a:pt x="60" y="174"/>
                        </a:lnTo>
                        <a:lnTo>
                          <a:pt x="84" y="150"/>
                        </a:lnTo>
                        <a:lnTo>
                          <a:pt x="84" y="90"/>
                        </a:lnTo>
                        <a:lnTo>
                          <a:pt x="90" y="78"/>
                        </a:lnTo>
                        <a:lnTo>
                          <a:pt x="96" y="60"/>
                        </a:lnTo>
                        <a:lnTo>
                          <a:pt x="108" y="36"/>
                        </a:lnTo>
                        <a:lnTo>
                          <a:pt x="108"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78" name="Belgium"/>
                  <p:cNvSpPr>
                    <a:spLocks/>
                  </p:cNvSpPr>
                  <p:nvPr/>
                </p:nvSpPr>
                <p:spPr bwMode="gray">
                  <a:xfrm>
                    <a:off x="2721" y="1255"/>
                    <a:ext cx="57" cy="39"/>
                  </a:xfrm>
                  <a:custGeom>
                    <a:avLst/>
                    <a:gdLst>
                      <a:gd name="T0" fmla="*/ 0 w 222"/>
                      <a:gd name="T1" fmla="*/ 2147483647 h 150"/>
                      <a:gd name="T2" fmla="*/ 2147483647 w 222"/>
                      <a:gd name="T3" fmla="*/ 2147483647 h 150"/>
                      <a:gd name="T4" fmla="*/ 2147483647 w 222"/>
                      <a:gd name="T5" fmla="*/ 2147483647 h 150"/>
                      <a:gd name="T6" fmla="*/ 2147483647 w 222"/>
                      <a:gd name="T7" fmla="*/ 2147483647 h 150"/>
                      <a:gd name="T8" fmla="*/ 2147483647 w 222"/>
                      <a:gd name="T9" fmla="*/ 2147483647 h 150"/>
                      <a:gd name="T10" fmla="*/ 2147483647 w 222"/>
                      <a:gd name="T11" fmla="*/ 2147483647 h 150"/>
                      <a:gd name="T12" fmla="*/ 2147483647 w 222"/>
                      <a:gd name="T13" fmla="*/ 2147483647 h 150"/>
                      <a:gd name="T14" fmla="*/ 2147483647 w 222"/>
                      <a:gd name="T15" fmla="*/ 2147483647 h 150"/>
                      <a:gd name="T16" fmla="*/ 2147483647 w 222"/>
                      <a:gd name="T17" fmla="*/ 2147483647 h 150"/>
                      <a:gd name="T18" fmla="*/ 2147483647 w 222"/>
                      <a:gd name="T19" fmla="*/ 2147483647 h 150"/>
                      <a:gd name="T20" fmla="*/ 2147483647 w 222"/>
                      <a:gd name="T21" fmla="*/ 2147483647 h 150"/>
                      <a:gd name="T22" fmla="*/ 2147483647 w 222"/>
                      <a:gd name="T23" fmla="*/ 2147483647 h 150"/>
                      <a:gd name="T24" fmla="*/ 2147483647 w 222"/>
                      <a:gd name="T25" fmla="*/ 2147483647 h 150"/>
                      <a:gd name="T26" fmla="*/ 2147483647 w 222"/>
                      <a:gd name="T27" fmla="*/ 2147483647 h 150"/>
                      <a:gd name="T28" fmla="*/ 2147483647 w 222"/>
                      <a:gd name="T29" fmla="*/ 2147483647 h 150"/>
                      <a:gd name="T30" fmla="*/ 2147483647 w 222"/>
                      <a:gd name="T31" fmla="*/ 2147483647 h 150"/>
                      <a:gd name="T32" fmla="*/ 2147483647 w 222"/>
                      <a:gd name="T33" fmla="*/ 2147483647 h 150"/>
                      <a:gd name="T34" fmla="*/ 2147483647 w 222"/>
                      <a:gd name="T35" fmla="*/ 2147483647 h 150"/>
                      <a:gd name="T36" fmla="*/ 2147483647 w 222"/>
                      <a:gd name="T37" fmla="*/ 2147483647 h 150"/>
                      <a:gd name="T38" fmla="*/ 2147483647 w 222"/>
                      <a:gd name="T39" fmla="*/ 2147483647 h 150"/>
                      <a:gd name="T40" fmla="*/ 2147483647 w 222"/>
                      <a:gd name="T41" fmla="*/ 2147483647 h 150"/>
                      <a:gd name="T42" fmla="*/ 2147483647 w 222"/>
                      <a:gd name="T43" fmla="*/ 2147483647 h 150"/>
                      <a:gd name="T44" fmla="*/ 2147483647 w 222"/>
                      <a:gd name="T45" fmla="*/ 2147483647 h 150"/>
                      <a:gd name="T46" fmla="*/ 2147483647 w 222"/>
                      <a:gd name="T47" fmla="*/ 2147483647 h 150"/>
                      <a:gd name="T48" fmla="*/ 2147483647 w 222"/>
                      <a:gd name="T49" fmla="*/ 2147483647 h 150"/>
                      <a:gd name="T50" fmla="*/ 2147483647 w 222"/>
                      <a:gd name="T51" fmla="*/ 2147483647 h 150"/>
                      <a:gd name="T52" fmla="*/ 2147483647 w 222"/>
                      <a:gd name="T53" fmla="*/ 2147483647 h 150"/>
                      <a:gd name="T54" fmla="*/ 2147483647 w 222"/>
                      <a:gd name="T55" fmla="*/ 2147483647 h 150"/>
                      <a:gd name="T56" fmla="*/ 2147483647 w 222"/>
                      <a:gd name="T57" fmla="*/ 2147483647 h 150"/>
                      <a:gd name="T58" fmla="*/ 2147483647 w 222"/>
                      <a:gd name="T59" fmla="*/ 2147483647 h 150"/>
                      <a:gd name="T60" fmla="*/ 2147483647 w 222"/>
                      <a:gd name="T61" fmla="*/ 2147483647 h 150"/>
                      <a:gd name="T62" fmla="*/ 2147483647 w 222"/>
                      <a:gd name="T63" fmla="*/ 2147483647 h 150"/>
                      <a:gd name="T64" fmla="*/ 2147483647 w 222"/>
                      <a:gd name="T65" fmla="*/ 2147483647 h 150"/>
                      <a:gd name="T66" fmla="*/ 2147483647 w 222"/>
                      <a:gd name="T67" fmla="*/ 2147483647 h 150"/>
                      <a:gd name="T68" fmla="*/ 2147483647 w 222"/>
                      <a:gd name="T69" fmla="*/ 2147483647 h 150"/>
                      <a:gd name="T70" fmla="*/ 2147483647 w 222"/>
                      <a:gd name="T71" fmla="*/ 2147483647 h 150"/>
                      <a:gd name="T72" fmla="*/ 2147483647 w 222"/>
                      <a:gd name="T73" fmla="*/ 2147483647 h 150"/>
                      <a:gd name="T74" fmla="*/ 2147483647 w 222"/>
                      <a:gd name="T75" fmla="*/ 2147483647 h 150"/>
                      <a:gd name="T76" fmla="*/ 2147483647 w 222"/>
                      <a:gd name="T77" fmla="*/ 2147483647 h 150"/>
                      <a:gd name="T78" fmla="*/ 2147483647 w 222"/>
                      <a:gd name="T79" fmla="*/ 2147483647 h 150"/>
                      <a:gd name="T80" fmla="*/ 2147483647 w 222"/>
                      <a:gd name="T81" fmla="*/ 0 h 150"/>
                      <a:gd name="T82" fmla="*/ 2147483647 w 222"/>
                      <a:gd name="T83" fmla="*/ 0 h 150"/>
                      <a:gd name="T84" fmla="*/ 2147483647 w 222"/>
                      <a:gd name="T85" fmla="*/ 2147483647 h 150"/>
                      <a:gd name="T86" fmla="*/ 2147483647 w 222"/>
                      <a:gd name="T87" fmla="*/ 0 h 150"/>
                      <a:gd name="T88" fmla="*/ 2147483647 w 222"/>
                      <a:gd name="T89" fmla="*/ 2147483647 h 150"/>
                      <a:gd name="T90" fmla="*/ 2147483647 w 222"/>
                      <a:gd name="T91" fmla="*/ 2147483647 h 150"/>
                      <a:gd name="T92" fmla="*/ 2147483647 w 222"/>
                      <a:gd name="T93" fmla="*/ 2147483647 h 150"/>
                      <a:gd name="T94" fmla="*/ 2147483647 w 222"/>
                      <a:gd name="T95" fmla="*/ 2147483647 h 150"/>
                      <a:gd name="T96" fmla="*/ 2147483647 w 222"/>
                      <a:gd name="T97" fmla="*/ 2147483647 h 150"/>
                      <a:gd name="T98" fmla="*/ 2147483647 w 222"/>
                      <a:gd name="T99" fmla="*/ 2147483647 h 150"/>
                      <a:gd name="T100" fmla="*/ 2147483647 w 222"/>
                      <a:gd name="T101" fmla="*/ 2147483647 h 150"/>
                      <a:gd name="T102" fmla="*/ 0 w 222"/>
                      <a:gd name="T103" fmla="*/ 2147483647 h 150"/>
                      <a:gd name="T104" fmla="*/ 0 w 222"/>
                      <a:gd name="T105" fmla="*/ 2147483647 h 15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222"/>
                      <a:gd name="T160" fmla="*/ 0 h 150"/>
                      <a:gd name="T161" fmla="*/ 222 w 222"/>
                      <a:gd name="T162" fmla="*/ 150 h 15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222" h="150">
                        <a:moveTo>
                          <a:pt x="0" y="42"/>
                        </a:moveTo>
                        <a:lnTo>
                          <a:pt x="6" y="60"/>
                        </a:lnTo>
                        <a:lnTo>
                          <a:pt x="30" y="66"/>
                        </a:lnTo>
                        <a:lnTo>
                          <a:pt x="42" y="78"/>
                        </a:lnTo>
                        <a:lnTo>
                          <a:pt x="66" y="78"/>
                        </a:lnTo>
                        <a:lnTo>
                          <a:pt x="78" y="84"/>
                        </a:lnTo>
                        <a:lnTo>
                          <a:pt x="84" y="90"/>
                        </a:lnTo>
                        <a:lnTo>
                          <a:pt x="84" y="114"/>
                        </a:lnTo>
                        <a:lnTo>
                          <a:pt x="108" y="114"/>
                        </a:lnTo>
                        <a:lnTo>
                          <a:pt x="120" y="102"/>
                        </a:lnTo>
                        <a:lnTo>
                          <a:pt x="120" y="126"/>
                        </a:lnTo>
                        <a:lnTo>
                          <a:pt x="132" y="126"/>
                        </a:lnTo>
                        <a:lnTo>
                          <a:pt x="144" y="132"/>
                        </a:lnTo>
                        <a:lnTo>
                          <a:pt x="150" y="132"/>
                        </a:lnTo>
                        <a:lnTo>
                          <a:pt x="162" y="144"/>
                        </a:lnTo>
                        <a:lnTo>
                          <a:pt x="180" y="144"/>
                        </a:lnTo>
                        <a:lnTo>
                          <a:pt x="192" y="150"/>
                        </a:lnTo>
                        <a:lnTo>
                          <a:pt x="192" y="144"/>
                        </a:lnTo>
                        <a:lnTo>
                          <a:pt x="186" y="132"/>
                        </a:lnTo>
                        <a:lnTo>
                          <a:pt x="174" y="120"/>
                        </a:lnTo>
                        <a:lnTo>
                          <a:pt x="174" y="114"/>
                        </a:lnTo>
                        <a:lnTo>
                          <a:pt x="180" y="114"/>
                        </a:lnTo>
                        <a:lnTo>
                          <a:pt x="192" y="108"/>
                        </a:lnTo>
                        <a:lnTo>
                          <a:pt x="198" y="102"/>
                        </a:lnTo>
                        <a:lnTo>
                          <a:pt x="204" y="102"/>
                        </a:lnTo>
                        <a:lnTo>
                          <a:pt x="204" y="96"/>
                        </a:lnTo>
                        <a:lnTo>
                          <a:pt x="210" y="90"/>
                        </a:lnTo>
                        <a:lnTo>
                          <a:pt x="222" y="90"/>
                        </a:lnTo>
                        <a:lnTo>
                          <a:pt x="216" y="84"/>
                        </a:lnTo>
                        <a:lnTo>
                          <a:pt x="216" y="66"/>
                        </a:lnTo>
                        <a:lnTo>
                          <a:pt x="204" y="54"/>
                        </a:lnTo>
                        <a:lnTo>
                          <a:pt x="180" y="54"/>
                        </a:lnTo>
                        <a:lnTo>
                          <a:pt x="180" y="42"/>
                        </a:lnTo>
                        <a:lnTo>
                          <a:pt x="186" y="36"/>
                        </a:lnTo>
                        <a:lnTo>
                          <a:pt x="186" y="18"/>
                        </a:lnTo>
                        <a:lnTo>
                          <a:pt x="180" y="12"/>
                        </a:lnTo>
                        <a:lnTo>
                          <a:pt x="174" y="12"/>
                        </a:lnTo>
                        <a:lnTo>
                          <a:pt x="162" y="18"/>
                        </a:lnTo>
                        <a:lnTo>
                          <a:pt x="150" y="18"/>
                        </a:lnTo>
                        <a:lnTo>
                          <a:pt x="144" y="12"/>
                        </a:lnTo>
                        <a:lnTo>
                          <a:pt x="144" y="0"/>
                        </a:lnTo>
                        <a:lnTo>
                          <a:pt x="108" y="0"/>
                        </a:lnTo>
                        <a:lnTo>
                          <a:pt x="108" y="6"/>
                        </a:lnTo>
                        <a:lnTo>
                          <a:pt x="96" y="0"/>
                        </a:lnTo>
                        <a:lnTo>
                          <a:pt x="96" y="12"/>
                        </a:lnTo>
                        <a:lnTo>
                          <a:pt x="78" y="6"/>
                        </a:lnTo>
                        <a:lnTo>
                          <a:pt x="72" y="18"/>
                        </a:lnTo>
                        <a:lnTo>
                          <a:pt x="66" y="12"/>
                        </a:lnTo>
                        <a:lnTo>
                          <a:pt x="42" y="12"/>
                        </a:lnTo>
                        <a:lnTo>
                          <a:pt x="36" y="6"/>
                        </a:lnTo>
                        <a:lnTo>
                          <a:pt x="24" y="6"/>
                        </a:lnTo>
                        <a:lnTo>
                          <a:pt x="0" y="24"/>
                        </a:lnTo>
                        <a:lnTo>
                          <a:pt x="0" y="4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79" name="Bangladesh"/>
                  <p:cNvSpPr>
                    <a:spLocks/>
                  </p:cNvSpPr>
                  <p:nvPr/>
                </p:nvSpPr>
                <p:spPr bwMode="gray">
                  <a:xfrm>
                    <a:off x="4215" y="1763"/>
                    <a:ext cx="96" cy="109"/>
                  </a:xfrm>
                  <a:custGeom>
                    <a:avLst/>
                    <a:gdLst>
                      <a:gd name="T0" fmla="*/ 2147483647 w 372"/>
                      <a:gd name="T1" fmla="*/ 2147483647 h 426"/>
                      <a:gd name="T2" fmla="*/ 2147483647 w 372"/>
                      <a:gd name="T3" fmla="*/ 2147483647 h 426"/>
                      <a:gd name="T4" fmla="*/ 2147483647 w 372"/>
                      <a:gd name="T5" fmla="*/ 2147483647 h 426"/>
                      <a:gd name="T6" fmla="*/ 2147483647 w 372"/>
                      <a:gd name="T7" fmla="*/ 2147483647 h 426"/>
                      <a:gd name="T8" fmla="*/ 2147483647 w 372"/>
                      <a:gd name="T9" fmla="*/ 2147483647 h 426"/>
                      <a:gd name="T10" fmla="*/ 2147483647 w 372"/>
                      <a:gd name="T11" fmla="*/ 2147483647 h 426"/>
                      <a:gd name="T12" fmla="*/ 2147483647 w 372"/>
                      <a:gd name="T13" fmla="*/ 2147483647 h 426"/>
                      <a:gd name="T14" fmla="*/ 2147483647 w 372"/>
                      <a:gd name="T15" fmla="*/ 2147483647 h 426"/>
                      <a:gd name="T16" fmla="*/ 2147483647 w 372"/>
                      <a:gd name="T17" fmla="*/ 2147483647 h 426"/>
                      <a:gd name="T18" fmla="*/ 2147483647 w 372"/>
                      <a:gd name="T19" fmla="*/ 2147483647 h 426"/>
                      <a:gd name="T20" fmla="*/ 2147483647 w 372"/>
                      <a:gd name="T21" fmla="*/ 2147483647 h 426"/>
                      <a:gd name="T22" fmla="*/ 2147483647 w 372"/>
                      <a:gd name="T23" fmla="*/ 2147483647 h 426"/>
                      <a:gd name="T24" fmla="*/ 2147483647 w 372"/>
                      <a:gd name="T25" fmla="*/ 2147483647 h 426"/>
                      <a:gd name="T26" fmla="*/ 2147483647 w 372"/>
                      <a:gd name="T27" fmla="*/ 2147483647 h 426"/>
                      <a:gd name="T28" fmla="*/ 2147483647 w 372"/>
                      <a:gd name="T29" fmla="*/ 2147483647 h 426"/>
                      <a:gd name="T30" fmla="*/ 2147483647 w 372"/>
                      <a:gd name="T31" fmla="*/ 2147483647 h 426"/>
                      <a:gd name="T32" fmla="*/ 2147483647 w 372"/>
                      <a:gd name="T33" fmla="*/ 2147483647 h 426"/>
                      <a:gd name="T34" fmla="*/ 2147483647 w 372"/>
                      <a:gd name="T35" fmla="*/ 2147483647 h 426"/>
                      <a:gd name="T36" fmla="*/ 2147483647 w 372"/>
                      <a:gd name="T37" fmla="*/ 2147483647 h 426"/>
                      <a:gd name="T38" fmla="*/ 2147483647 w 372"/>
                      <a:gd name="T39" fmla="*/ 2147483647 h 426"/>
                      <a:gd name="T40" fmla="*/ 2147483647 w 372"/>
                      <a:gd name="T41" fmla="*/ 2147483647 h 426"/>
                      <a:gd name="T42" fmla="*/ 2147483647 w 372"/>
                      <a:gd name="T43" fmla="*/ 2147483647 h 426"/>
                      <a:gd name="T44" fmla="*/ 2147483647 w 372"/>
                      <a:gd name="T45" fmla="*/ 2147483647 h 426"/>
                      <a:gd name="T46" fmla="*/ 2147483647 w 372"/>
                      <a:gd name="T47" fmla="*/ 2147483647 h 426"/>
                      <a:gd name="T48" fmla="*/ 2147483647 w 372"/>
                      <a:gd name="T49" fmla="*/ 2147483647 h 426"/>
                      <a:gd name="T50" fmla="*/ 2147483647 w 372"/>
                      <a:gd name="T51" fmla="*/ 2147483647 h 426"/>
                      <a:gd name="T52" fmla="*/ 2147483647 w 372"/>
                      <a:gd name="T53" fmla="*/ 2147483647 h 426"/>
                      <a:gd name="T54" fmla="*/ 2147483647 w 372"/>
                      <a:gd name="T55" fmla="*/ 2147483647 h 426"/>
                      <a:gd name="T56" fmla="*/ 2147483647 w 372"/>
                      <a:gd name="T57" fmla="*/ 2147483647 h 426"/>
                      <a:gd name="T58" fmla="*/ 2147483647 w 372"/>
                      <a:gd name="T59" fmla="*/ 2147483647 h 426"/>
                      <a:gd name="T60" fmla="*/ 2147483647 w 372"/>
                      <a:gd name="T61" fmla="*/ 2147483647 h 426"/>
                      <a:gd name="T62" fmla="*/ 2147483647 w 372"/>
                      <a:gd name="T63" fmla="*/ 2147483647 h 426"/>
                      <a:gd name="T64" fmla="*/ 2147483647 w 372"/>
                      <a:gd name="T65" fmla="*/ 2147483647 h 426"/>
                      <a:gd name="T66" fmla="*/ 2147483647 w 372"/>
                      <a:gd name="T67" fmla="*/ 2147483647 h 426"/>
                      <a:gd name="T68" fmla="*/ 2147483647 w 372"/>
                      <a:gd name="T69" fmla="*/ 2147483647 h 426"/>
                      <a:gd name="T70" fmla="*/ 2147483647 w 372"/>
                      <a:gd name="T71" fmla="*/ 2147483647 h 426"/>
                      <a:gd name="T72" fmla="*/ 2147483647 w 372"/>
                      <a:gd name="T73" fmla="*/ 2147483647 h 426"/>
                      <a:gd name="T74" fmla="*/ 2147483647 w 372"/>
                      <a:gd name="T75" fmla="*/ 2147483647 h 426"/>
                      <a:gd name="T76" fmla="*/ 2147483647 w 372"/>
                      <a:gd name="T77" fmla="*/ 2147483647 h 426"/>
                      <a:gd name="T78" fmla="*/ 2147483647 w 372"/>
                      <a:gd name="T79" fmla="*/ 2147483647 h 426"/>
                      <a:gd name="T80" fmla="*/ 2147483647 w 372"/>
                      <a:gd name="T81" fmla="*/ 2147483647 h 426"/>
                      <a:gd name="T82" fmla="*/ 2147483647 w 372"/>
                      <a:gd name="T83" fmla="*/ 2147483647 h 426"/>
                      <a:gd name="T84" fmla="*/ 2147483647 w 372"/>
                      <a:gd name="T85" fmla="*/ 0 h 426"/>
                      <a:gd name="T86" fmla="*/ 2147483647 w 372"/>
                      <a:gd name="T87" fmla="*/ 2147483647 h 426"/>
                      <a:gd name="T88" fmla="*/ 0 w 372"/>
                      <a:gd name="T89" fmla="*/ 2147483647 h 426"/>
                      <a:gd name="T90" fmla="*/ 2147483647 w 372"/>
                      <a:gd name="T91" fmla="*/ 2147483647 h 426"/>
                      <a:gd name="T92" fmla="*/ 2147483647 w 372"/>
                      <a:gd name="T93" fmla="*/ 2147483647 h 426"/>
                      <a:gd name="T94" fmla="*/ 2147483647 w 372"/>
                      <a:gd name="T95" fmla="*/ 2147483647 h 426"/>
                      <a:gd name="T96" fmla="*/ 2147483647 w 372"/>
                      <a:gd name="T97" fmla="*/ 2147483647 h 426"/>
                      <a:gd name="T98" fmla="*/ 2147483647 w 372"/>
                      <a:gd name="T99" fmla="*/ 2147483647 h 426"/>
                      <a:gd name="T100" fmla="*/ 2147483647 w 372"/>
                      <a:gd name="T101" fmla="*/ 2147483647 h 426"/>
                      <a:gd name="T102" fmla="*/ 2147483647 w 372"/>
                      <a:gd name="T103" fmla="*/ 2147483647 h 426"/>
                      <a:gd name="T104" fmla="*/ 2147483647 w 372"/>
                      <a:gd name="T105" fmla="*/ 2147483647 h 426"/>
                      <a:gd name="T106" fmla="*/ 2147483647 w 372"/>
                      <a:gd name="T107" fmla="*/ 2147483647 h 426"/>
                      <a:gd name="T108" fmla="*/ 2147483647 w 372"/>
                      <a:gd name="T109" fmla="*/ 2147483647 h 426"/>
                      <a:gd name="T110" fmla="*/ 2147483647 w 372"/>
                      <a:gd name="T111" fmla="*/ 2147483647 h 426"/>
                      <a:gd name="T112" fmla="*/ 2147483647 w 372"/>
                      <a:gd name="T113" fmla="*/ 2147483647 h 426"/>
                      <a:gd name="T114" fmla="*/ 2147483647 w 372"/>
                      <a:gd name="T115" fmla="*/ 2147483647 h 4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372"/>
                      <a:gd name="T175" fmla="*/ 0 h 426"/>
                      <a:gd name="T176" fmla="*/ 372 w 372"/>
                      <a:gd name="T177" fmla="*/ 426 h 42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372" h="426">
                        <a:moveTo>
                          <a:pt x="132" y="414"/>
                        </a:moveTo>
                        <a:lnTo>
                          <a:pt x="138" y="354"/>
                        </a:lnTo>
                        <a:lnTo>
                          <a:pt x="144" y="354"/>
                        </a:lnTo>
                        <a:lnTo>
                          <a:pt x="150" y="360"/>
                        </a:lnTo>
                        <a:lnTo>
                          <a:pt x="162" y="360"/>
                        </a:lnTo>
                        <a:lnTo>
                          <a:pt x="174" y="366"/>
                        </a:lnTo>
                        <a:lnTo>
                          <a:pt x="192" y="372"/>
                        </a:lnTo>
                        <a:lnTo>
                          <a:pt x="216" y="372"/>
                        </a:lnTo>
                        <a:lnTo>
                          <a:pt x="210" y="366"/>
                        </a:lnTo>
                        <a:lnTo>
                          <a:pt x="210" y="348"/>
                        </a:lnTo>
                        <a:lnTo>
                          <a:pt x="204" y="342"/>
                        </a:lnTo>
                        <a:lnTo>
                          <a:pt x="222" y="342"/>
                        </a:lnTo>
                        <a:lnTo>
                          <a:pt x="258" y="360"/>
                        </a:lnTo>
                        <a:lnTo>
                          <a:pt x="270" y="360"/>
                        </a:lnTo>
                        <a:lnTo>
                          <a:pt x="282" y="348"/>
                        </a:lnTo>
                        <a:lnTo>
                          <a:pt x="282" y="336"/>
                        </a:lnTo>
                        <a:lnTo>
                          <a:pt x="270" y="300"/>
                        </a:lnTo>
                        <a:lnTo>
                          <a:pt x="318" y="354"/>
                        </a:lnTo>
                        <a:lnTo>
                          <a:pt x="318" y="360"/>
                        </a:lnTo>
                        <a:lnTo>
                          <a:pt x="312" y="366"/>
                        </a:lnTo>
                        <a:lnTo>
                          <a:pt x="312" y="390"/>
                        </a:lnTo>
                        <a:lnTo>
                          <a:pt x="306" y="402"/>
                        </a:lnTo>
                        <a:lnTo>
                          <a:pt x="306" y="414"/>
                        </a:lnTo>
                        <a:lnTo>
                          <a:pt x="312" y="420"/>
                        </a:lnTo>
                        <a:lnTo>
                          <a:pt x="324" y="420"/>
                        </a:lnTo>
                        <a:lnTo>
                          <a:pt x="330" y="426"/>
                        </a:lnTo>
                        <a:lnTo>
                          <a:pt x="336" y="414"/>
                        </a:lnTo>
                        <a:lnTo>
                          <a:pt x="336" y="408"/>
                        </a:lnTo>
                        <a:lnTo>
                          <a:pt x="372" y="414"/>
                        </a:lnTo>
                        <a:lnTo>
                          <a:pt x="360" y="354"/>
                        </a:lnTo>
                        <a:lnTo>
                          <a:pt x="360" y="348"/>
                        </a:lnTo>
                        <a:lnTo>
                          <a:pt x="354" y="342"/>
                        </a:lnTo>
                        <a:lnTo>
                          <a:pt x="348" y="330"/>
                        </a:lnTo>
                        <a:lnTo>
                          <a:pt x="342" y="312"/>
                        </a:lnTo>
                        <a:lnTo>
                          <a:pt x="336" y="300"/>
                        </a:lnTo>
                        <a:lnTo>
                          <a:pt x="336" y="288"/>
                        </a:lnTo>
                        <a:lnTo>
                          <a:pt x="330" y="276"/>
                        </a:lnTo>
                        <a:lnTo>
                          <a:pt x="330" y="270"/>
                        </a:lnTo>
                        <a:lnTo>
                          <a:pt x="324" y="258"/>
                        </a:lnTo>
                        <a:lnTo>
                          <a:pt x="324" y="240"/>
                        </a:lnTo>
                        <a:lnTo>
                          <a:pt x="318" y="234"/>
                        </a:lnTo>
                        <a:lnTo>
                          <a:pt x="306" y="228"/>
                        </a:lnTo>
                        <a:lnTo>
                          <a:pt x="288" y="228"/>
                        </a:lnTo>
                        <a:lnTo>
                          <a:pt x="288" y="252"/>
                        </a:lnTo>
                        <a:lnTo>
                          <a:pt x="282" y="288"/>
                        </a:lnTo>
                        <a:lnTo>
                          <a:pt x="264" y="264"/>
                        </a:lnTo>
                        <a:lnTo>
                          <a:pt x="258" y="264"/>
                        </a:lnTo>
                        <a:lnTo>
                          <a:pt x="240" y="246"/>
                        </a:lnTo>
                        <a:lnTo>
                          <a:pt x="234" y="234"/>
                        </a:lnTo>
                        <a:lnTo>
                          <a:pt x="234" y="216"/>
                        </a:lnTo>
                        <a:lnTo>
                          <a:pt x="240" y="204"/>
                        </a:lnTo>
                        <a:lnTo>
                          <a:pt x="252" y="192"/>
                        </a:lnTo>
                        <a:lnTo>
                          <a:pt x="258" y="192"/>
                        </a:lnTo>
                        <a:lnTo>
                          <a:pt x="270" y="186"/>
                        </a:lnTo>
                        <a:lnTo>
                          <a:pt x="276" y="186"/>
                        </a:lnTo>
                        <a:lnTo>
                          <a:pt x="282" y="180"/>
                        </a:lnTo>
                        <a:lnTo>
                          <a:pt x="288" y="168"/>
                        </a:lnTo>
                        <a:lnTo>
                          <a:pt x="294" y="150"/>
                        </a:lnTo>
                        <a:lnTo>
                          <a:pt x="294" y="138"/>
                        </a:lnTo>
                        <a:lnTo>
                          <a:pt x="300" y="138"/>
                        </a:lnTo>
                        <a:lnTo>
                          <a:pt x="306" y="132"/>
                        </a:lnTo>
                        <a:lnTo>
                          <a:pt x="306" y="126"/>
                        </a:lnTo>
                        <a:lnTo>
                          <a:pt x="282" y="102"/>
                        </a:lnTo>
                        <a:lnTo>
                          <a:pt x="276" y="102"/>
                        </a:lnTo>
                        <a:lnTo>
                          <a:pt x="228" y="114"/>
                        </a:lnTo>
                        <a:lnTo>
                          <a:pt x="210" y="114"/>
                        </a:lnTo>
                        <a:lnTo>
                          <a:pt x="198" y="108"/>
                        </a:lnTo>
                        <a:lnTo>
                          <a:pt x="138" y="108"/>
                        </a:lnTo>
                        <a:lnTo>
                          <a:pt x="132" y="102"/>
                        </a:lnTo>
                        <a:lnTo>
                          <a:pt x="126" y="102"/>
                        </a:lnTo>
                        <a:lnTo>
                          <a:pt x="126" y="66"/>
                        </a:lnTo>
                        <a:lnTo>
                          <a:pt x="120" y="66"/>
                        </a:lnTo>
                        <a:lnTo>
                          <a:pt x="120" y="36"/>
                        </a:lnTo>
                        <a:lnTo>
                          <a:pt x="114" y="30"/>
                        </a:lnTo>
                        <a:lnTo>
                          <a:pt x="108" y="30"/>
                        </a:lnTo>
                        <a:lnTo>
                          <a:pt x="102" y="24"/>
                        </a:lnTo>
                        <a:lnTo>
                          <a:pt x="96" y="42"/>
                        </a:lnTo>
                        <a:lnTo>
                          <a:pt x="90" y="36"/>
                        </a:lnTo>
                        <a:lnTo>
                          <a:pt x="78" y="36"/>
                        </a:lnTo>
                        <a:lnTo>
                          <a:pt x="72" y="30"/>
                        </a:lnTo>
                        <a:lnTo>
                          <a:pt x="66" y="18"/>
                        </a:lnTo>
                        <a:lnTo>
                          <a:pt x="66" y="12"/>
                        </a:lnTo>
                        <a:lnTo>
                          <a:pt x="60" y="0"/>
                        </a:lnTo>
                        <a:lnTo>
                          <a:pt x="42" y="6"/>
                        </a:lnTo>
                        <a:lnTo>
                          <a:pt x="48" y="12"/>
                        </a:lnTo>
                        <a:lnTo>
                          <a:pt x="24" y="0"/>
                        </a:lnTo>
                        <a:lnTo>
                          <a:pt x="6" y="0"/>
                        </a:lnTo>
                        <a:lnTo>
                          <a:pt x="18" y="18"/>
                        </a:lnTo>
                        <a:lnTo>
                          <a:pt x="6" y="30"/>
                        </a:lnTo>
                        <a:lnTo>
                          <a:pt x="0" y="42"/>
                        </a:lnTo>
                        <a:lnTo>
                          <a:pt x="0" y="48"/>
                        </a:lnTo>
                        <a:lnTo>
                          <a:pt x="6" y="60"/>
                        </a:lnTo>
                        <a:lnTo>
                          <a:pt x="18" y="66"/>
                        </a:lnTo>
                        <a:lnTo>
                          <a:pt x="30" y="78"/>
                        </a:lnTo>
                        <a:lnTo>
                          <a:pt x="36" y="78"/>
                        </a:lnTo>
                        <a:lnTo>
                          <a:pt x="66" y="96"/>
                        </a:lnTo>
                        <a:lnTo>
                          <a:pt x="66" y="108"/>
                        </a:lnTo>
                        <a:lnTo>
                          <a:pt x="30" y="108"/>
                        </a:lnTo>
                        <a:lnTo>
                          <a:pt x="30" y="138"/>
                        </a:lnTo>
                        <a:lnTo>
                          <a:pt x="24" y="138"/>
                        </a:lnTo>
                        <a:lnTo>
                          <a:pt x="12" y="150"/>
                        </a:lnTo>
                        <a:lnTo>
                          <a:pt x="24" y="162"/>
                        </a:lnTo>
                        <a:lnTo>
                          <a:pt x="36" y="168"/>
                        </a:lnTo>
                        <a:lnTo>
                          <a:pt x="54" y="168"/>
                        </a:lnTo>
                        <a:lnTo>
                          <a:pt x="66" y="174"/>
                        </a:lnTo>
                        <a:lnTo>
                          <a:pt x="72" y="180"/>
                        </a:lnTo>
                        <a:lnTo>
                          <a:pt x="72" y="186"/>
                        </a:lnTo>
                        <a:lnTo>
                          <a:pt x="66" y="204"/>
                        </a:lnTo>
                        <a:lnTo>
                          <a:pt x="60" y="210"/>
                        </a:lnTo>
                        <a:lnTo>
                          <a:pt x="54" y="222"/>
                        </a:lnTo>
                        <a:lnTo>
                          <a:pt x="66" y="252"/>
                        </a:lnTo>
                        <a:lnTo>
                          <a:pt x="96" y="276"/>
                        </a:lnTo>
                        <a:lnTo>
                          <a:pt x="96" y="306"/>
                        </a:lnTo>
                        <a:lnTo>
                          <a:pt x="114" y="348"/>
                        </a:lnTo>
                        <a:lnTo>
                          <a:pt x="108" y="378"/>
                        </a:lnTo>
                        <a:lnTo>
                          <a:pt x="132" y="41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80" name="Bahrain"/>
                  <p:cNvSpPr>
                    <a:spLocks/>
                  </p:cNvSpPr>
                  <p:nvPr/>
                </p:nvSpPr>
                <p:spPr bwMode="gray">
                  <a:xfrm>
                    <a:off x="3553" y="1767"/>
                    <a:ext cx="7" cy="14"/>
                  </a:xfrm>
                  <a:custGeom>
                    <a:avLst/>
                    <a:gdLst>
                      <a:gd name="T0" fmla="*/ 2147483647 w 15"/>
                      <a:gd name="T1" fmla="*/ 0 h 28"/>
                      <a:gd name="T2" fmla="*/ 2147483647 w 15"/>
                      <a:gd name="T3" fmla="*/ 2147483647 h 28"/>
                      <a:gd name="T4" fmla="*/ 2147483647 w 15"/>
                      <a:gd name="T5" fmla="*/ 2147483647 h 28"/>
                      <a:gd name="T6" fmla="*/ 2032697641 w 15"/>
                      <a:gd name="T7" fmla="*/ 2147483647 h 28"/>
                      <a:gd name="T8" fmla="*/ 813299296 w 15"/>
                      <a:gd name="T9" fmla="*/ 2147483647 h 28"/>
                      <a:gd name="T10" fmla="*/ 2147483647 w 15"/>
                      <a:gd name="T11" fmla="*/ 0 h 28"/>
                      <a:gd name="T12" fmla="*/ 0 60000 65536"/>
                      <a:gd name="T13" fmla="*/ 0 60000 65536"/>
                      <a:gd name="T14" fmla="*/ 0 60000 65536"/>
                      <a:gd name="T15" fmla="*/ 0 60000 65536"/>
                      <a:gd name="T16" fmla="*/ 0 60000 65536"/>
                      <a:gd name="T17" fmla="*/ 0 60000 65536"/>
                      <a:gd name="T18" fmla="*/ 0 w 15"/>
                      <a:gd name="T19" fmla="*/ 0 h 28"/>
                      <a:gd name="T20" fmla="*/ 15 w 15"/>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15" h="28">
                        <a:moveTo>
                          <a:pt x="9" y="0"/>
                        </a:moveTo>
                        <a:cubicBezTo>
                          <a:pt x="14" y="0"/>
                          <a:pt x="15" y="10"/>
                          <a:pt x="14" y="14"/>
                        </a:cubicBezTo>
                        <a:cubicBezTo>
                          <a:pt x="13" y="18"/>
                          <a:pt x="15" y="28"/>
                          <a:pt x="9" y="28"/>
                        </a:cubicBezTo>
                        <a:cubicBezTo>
                          <a:pt x="4" y="27"/>
                          <a:pt x="5" y="21"/>
                          <a:pt x="5" y="18"/>
                        </a:cubicBezTo>
                        <a:cubicBezTo>
                          <a:pt x="5" y="14"/>
                          <a:pt x="0" y="14"/>
                          <a:pt x="2" y="8"/>
                        </a:cubicBez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81" name="Belarus"/>
                  <p:cNvSpPr>
                    <a:spLocks/>
                  </p:cNvSpPr>
                  <p:nvPr/>
                </p:nvSpPr>
                <p:spPr bwMode="gray">
                  <a:xfrm>
                    <a:off x="3040" y="1162"/>
                    <a:ext cx="146" cy="95"/>
                  </a:xfrm>
                  <a:custGeom>
                    <a:avLst/>
                    <a:gdLst>
                      <a:gd name="T0" fmla="*/ 2147483647 w 570"/>
                      <a:gd name="T1" fmla="*/ 2147483647 h 372"/>
                      <a:gd name="T2" fmla="*/ 2147483647 w 570"/>
                      <a:gd name="T3" fmla="*/ 2147483647 h 372"/>
                      <a:gd name="T4" fmla="*/ 2147483647 w 570"/>
                      <a:gd name="T5" fmla="*/ 2147483647 h 372"/>
                      <a:gd name="T6" fmla="*/ 2147483647 w 570"/>
                      <a:gd name="T7" fmla="*/ 2147483647 h 372"/>
                      <a:gd name="T8" fmla="*/ 2147483647 w 570"/>
                      <a:gd name="T9" fmla="*/ 2147483647 h 372"/>
                      <a:gd name="T10" fmla="*/ 2147483647 w 570"/>
                      <a:gd name="T11" fmla="*/ 2147483647 h 372"/>
                      <a:gd name="T12" fmla="*/ 2147483647 w 570"/>
                      <a:gd name="T13" fmla="*/ 2147483647 h 372"/>
                      <a:gd name="T14" fmla="*/ 2147483647 w 570"/>
                      <a:gd name="T15" fmla="*/ 2147483647 h 372"/>
                      <a:gd name="T16" fmla="*/ 2147483647 w 570"/>
                      <a:gd name="T17" fmla="*/ 2147483647 h 372"/>
                      <a:gd name="T18" fmla="*/ 2147483647 w 570"/>
                      <a:gd name="T19" fmla="*/ 2147483647 h 372"/>
                      <a:gd name="T20" fmla="*/ 2147483647 w 570"/>
                      <a:gd name="T21" fmla="*/ 2147483647 h 372"/>
                      <a:gd name="T22" fmla="*/ 2147483647 w 570"/>
                      <a:gd name="T23" fmla="*/ 2147483647 h 372"/>
                      <a:gd name="T24" fmla="*/ 2147483647 w 570"/>
                      <a:gd name="T25" fmla="*/ 2147483647 h 372"/>
                      <a:gd name="T26" fmla="*/ 2147483647 w 570"/>
                      <a:gd name="T27" fmla="*/ 2147483647 h 372"/>
                      <a:gd name="T28" fmla="*/ 2147483647 w 570"/>
                      <a:gd name="T29" fmla="*/ 2147483647 h 372"/>
                      <a:gd name="T30" fmla="*/ 2147483647 w 570"/>
                      <a:gd name="T31" fmla="*/ 2147483647 h 372"/>
                      <a:gd name="T32" fmla="*/ 2147483647 w 570"/>
                      <a:gd name="T33" fmla="*/ 2147483647 h 372"/>
                      <a:gd name="T34" fmla="*/ 2147483647 w 570"/>
                      <a:gd name="T35" fmla="*/ 2147483647 h 372"/>
                      <a:gd name="T36" fmla="*/ 2147483647 w 570"/>
                      <a:gd name="T37" fmla="*/ 2147483647 h 372"/>
                      <a:gd name="T38" fmla="*/ 2147483647 w 570"/>
                      <a:gd name="T39" fmla="*/ 2147483647 h 372"/>
                      <a:gd name="T40" fmla="*/ 2147483647 w 570"/>
                      <a:gd name="T41" fmla="*/ 2147483647 h 372"/>
                      <a:gd name="T42" fmla="*/ 2147483647 w 570"/>
                      <a:gd name="T43" fmla="*/ 2147483647 h 372"/>
                      <a:gd name="T44" fmla="*/ 2147483647 w 570"/>
                      <a:gd name="T45" fmla="*/ 2147483647 h 372"/>
                      <a:gd name="T46" fmla="*/ 2147483647 w 570"/>
                      <a:gd name="T47" fmla="*/ 2147483647 h 372"/>
                      <a:gd name="T48" fmla="*/ 2147483647 w 570"/>
                      <a:gd name="T49" fmla="*/ 2147483647 h 372"/>
                      <a:gd name="T50" fmla="*/ 2147483647 w 570"/>
                      <a:gd name="T51" fmla="*/ 2147483647 h 372"/>
                      <a:gd name="T52" fmla="*/ 2147483647 w 570"/>
                      <a:gd name="T53" fmla="*/ 2147483647 h 372"/>
                      <a:gd name="T54" fmla="*/ 2147483647 w 570"/>
                      <a:gd name="T55" fmla="*/ 2147483647 h 372"/>
                      <a:gd name="T56" fmla="*/ 2147483647 w 570"/>
                      <a:gd name="T57" fmla="*/ 0 h 372"/>
                      <a:gd name="T58" fmla="*/ 2147483647 w 570"/>
                      <a:gd name="T59" fmla="*/ 2147483647 h 372"/>
                      <a:gd name="T60" fmla="*/ 2147483647 w 570"/>
                      <a:gd name="T61" fmla="*/ 2147483647 h 372"/>
                      <a:gd name="T62" fmla="*/ 2147483647 w 570"/>
                      <a:gd name="T63" fmla="*/ 2147483647 h 372"/>
                      <a:gd name="T64" fmla="*/ 2147483647 w 570"/>
                      <a:gd name="T65" fmla="*/ 2147483647 h 372"/>
                      <a:gd name="T66" fmla="*/ 2147483647 w 570"/>
                      <a:gd name="T67" fmla="*/ 2147483647 h 372"/>
                      <a:gd name="T68" fmla="*/ 2147483647 w 570"/>
                      <a:gd name="T69" fmla="*/ 2147483647 h 372"/>
                      <a:gd name="T70" fmla="*/ 2147483647 w 570"/>
                      <a:gd name="T71" fmla="*/ 2147483647 h 372"/>
                      <a:gd name="T72" fmla="*/ 2147483647 w 570"/>
                      <a:gd name="T73" fmla="*/ 2147483647 h 372"/>
                      <a:gd name="T74" fmla="*/ 2147483647 w 570"/>
                      <a:gd name="T75" fmla="*/ 2147483647 h 372"/>
                      <a:gd name="T76" fmla="*/ 2147483647 w 570"/>
                      <a:gd name="T77" fmla="*/ 2147483647 h 372"/>
                      <a:gd name="T78" fmla="*/ 2147483647 w 570"/>
                      <a:gd name="T79" fmla="*/ 2147483647 h 372"/>
                      <a:gd name="T80" fmla="*/ 2147483647 w 570"/>
                      <a:gd name="T81" fmla="*/ 2147483647 h 372"/>
                      <a:gd name="T82" fmla="*/ 2147483647 w 570"/>
                      <a:gd name="T83" fmla="*/ 2147483647 h 372"/>
                      <a:gd name="T84" fmla="*/ 2147483647 w 570"/>
                      <a:gd name="T85" fmla="*/ 2147483647 h 372"/>
                      <a:gd name="T86" fmla="*/ 2147483647 w 570"/>
                      <a:gd name="T87" fmla="*/ 2147483647 h 372"/>
                      <a:gd name="T88" fmla="*/ 2147483647 w 570"/>
                      <a:gd name="T89" fmla="*/ 2147483647 h 372"/>
                      <a:gd name="T90" fmla="*/ 2147483647 w 570"/>
                      <a:gd name="T91" fmla="*/ 2147483647 h 372"/>
                      <a:gd name="T92" fmla="*/ 2147483647 w 570"/>
                      <a:gd name="T93" fmla="*/ 2147483647 h 372"/>
                      <a:gd name="T94" fmla="*/ 2147483647 w 570"/>
                      <a:gd name="T95" fmla="*/ 2147483647 h 372"/>
                      <a:gd name="T96" fmla="*/ 2147483647 w 570"/>
                      <a:gd name="T97" fmla="*/ 2147483647 h 37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70"/>
                      <a:gd name="T148" fmla="*/ 0 h 372"/>
                      <a:gd name="T149" fmla="*/ 570 w 570"/>
                      <a:gd name="T150" fmla="*/ 372 h 37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70" h="372">
                        <a:moveTo>
                          <a:pt x="24" y="312"/>
                        </a:moveTo>
                        <a:lnTo>
                          <a:pt x="24" y="342"/>
                        </a:lnTo>
                        <a:lnTo>
                          <a:pt x="30" y="354"/>
                        </a:lnTo>
                        <a:lnTo>
                          <a:pt x="36" y="360"/>
                        </a:lnTo>
                        <a:lnTo>
                          <a:pt x="48" y="360"/>
                        </a:lnTo>
                        <a:lnTo>
                          <a:pt x="60" y="354"/>
                        </a:lnTo>
                        <a:lnTo>
                          <a:pt x="72" y="342"/>
                        </a:lnTo>
                        <a:lnTo>
                          <a:pt x="72" y="336"/>
                        </a:lnTo>
                        <a:lnTo>
                          <a:pt x="108" y="336"/>
                        </a:lnTo>
                        <a:lnTo>
                          <a:pt x="120" y="330"/>
                        </a:lnTo>
                        <a:lnTo>
                          <a:pt x="126" y="324"/>
                        </a:lnTo>
                        <a:lnTo>
                          <a:pt x="174" y="324"/>
                        </a:lnTo>
                        <a:lnTo>
                          <a:pt x="174" y="330"/>
                        </a:lnTo>
                        <a:lnTo>
                          <a:pt x="180" y="336"/>
                        </a:lnTo>
                        <a:lnTo>
                          <a:pt x="216" y="336"/>
                        </a:lnTo>
                        <a:lnTo>
                          <a:pt x="240" y="342"/>
                        </a:lnTo>
                        <a:lnTo>
                          <a:pt x="258" y="354"/>
                        </a:lnTo>
                        <a:lnTo>
                          <a:pt x="264" y="348"/>
                        </a:lnTo>
                        <a:lnTo>
                          <a:pt x="282" y="360"/>
                        </a:lnTo>
                        <a:lnTo>
                          <a:pt x="294" y="348"/>
                        </a:lnTo>
                        <a:lnTo>
                          <a:pt x="300" y="360"/>
                        </a:lnTo>
                        <a:lnTo>
                          <a:pt x="318" y="354"/>
                        </a:lnTo>
                        <a:lnTo>
                          <a:pt x="324" y="360"/>
                        </a:lnTo>
                        <a:lnTo>
                          <a:pt x="336" y="354"/>
                        </a:lnTo>
                        <a:lnTo>
                          <a:pt x="348" y="366"/>
                        </a:lnTo>
                        <a:lnTo>
                          <a:pt x="348" y="360"/>
                        </a:lnTo>
                        <a:lnTo>
                          <a:pt x="354" y="354"/>
                        </a:lnTo>
                        <a:lnTo>
                          <a:pt x="372" y="354"/>
                        </a:lnTo>
                        <a:lnTo>
                          <a:pt x="378" y="360"/>
                        </a:lnTo>
                        <a:lnTo>
                          <a:pt x="378" y="372"/>
                        </a:lnTo>
                        <a:lnTo>
                          <a:pt x="384" y="372"/>
                        </a:lnTo>
                        <a:lnTo>
                          <a:pt x="396" y="366"/>
                        </a:lnTo>
                        <a:lnTo>
                          <a:pt x="420" y="366"/>
                        </a:lnTo>
                        <a:lnTo>
                          <a:pt x="426" y="372"/>
                        </a:lnTo>
                        <a:lnTo>
                          <a:pt x="444" y="372"/>
                        </a:lnTo>
                        <a:lnTo>
                          <a:pt x="450" y="366"/>
                        </a:lnTo>
                        <a:lnTo>
                          <a:pt x="450" y="354"/>
                        </a:lnTo>
                        <a:lnTo>
                          <a:pt x="444" y="348"/>
                        </a:lnTo>
                        <a:lnTo>
                          <a:pt x="450" y="336"/>
                        </a:lnTo>
                        <a:lnTo>
                          <a:pt x="456" y="330"/>
                        </a:lnTo>
                        <a:lnTo>
                          <a:pt x="468" y="324"/>
                        </a:lnTo>
                        <a:lnTo>
                          <a:pt x="474" y="312"/>
                        </a:lnTo>
                        <a:lnTo>
                          <a:pt x="498" y="312"/>
                        </a:lnTo>
                        <a:lnTo>
                          <a:pt x="516" y="318"/>
                        </a:lnTo>
                        <a:lnTo>
                          <a:pt x="516" y="300"/>
                        </a:lnTo>
                        <a:lnTo>
                          <a:pt x="510" y="288"/>
                        </a:lnTo>
                        <a:lnTo>
                          <a:pt x="504" y="282"/>
                        </a:lnTo>
                        <a:lnTo>
                          <a:pt x="504" y="264"/>
                        </a:lnTo>
                        <a:lnTo>
                          <a:pt x="480" y="240"/>
                        </a:lnTo>
                        <a:lnTo>
                          <a:pt x="480" y="234"/>
                        </a:lnTo>
                        <a:lnTo>
                          <a:pt x="486" y="228"/>
                        </a:lnTo>
                        <a:lnTo>
                          <a:pt x="510" y="228"/>
                        </a:lnTo>
                        <a:lnTo>
                          <a:pt x="510" y="234"/>
                        </a:lnTo>
                        <a:lnTo>
                          <a:pt x="516" y="234"/>
                        </a:lnTo>
                        <a:lnTo>
                          <a:pt x="522" y="240"/>
                        </a:lnTo>
                        <a:lnTo>
                          <a:pt x="528" y="240"/>
                        </a:lnTo>
                        <a:lnTo>
                          <a:pt x="552" y="228"/>
                        </a:lnTo>
                        <a:lnTo>
                          <a:pt x="558" y="216"/>
                        </a:lnTo>
                        <a:lnTo>
                          <a:pt x="570" y="210"/>
                        </a:lnTo>
                        <a:lnTo>
                          <a:pt x="546" y="198"/>
                        </a:lnTo>
                        <a:lnTo>
                          <a:pt x="552" y="192"/>
                        </a:lnTo>
                        <a:lnTo>
                          <a:pt x="552" y="186"/>
                        </a:lnTo>
                        <a:lnTo>
                          <a:pt x="546" y="186"/>
                        </a:lnTo>
                        <a:lnTo>
                          <a:pt x="540" y="180"/>
                        </a:lnTo>
                        <a:lnTo>
                          <a:pt x="504" y="180"/>
                        </a:lnTo>
                        <a:lnTo>
                          <a:pt x="504" y="156"/>
                        </a:lnTo>
                        <a:lnTo>
                          <a:pt x="474" y="144"/>
                        </a:lnTo>
                        <a:lnTo>
                          <a:pt x="474" y="132"/>
                        </a:lnTo>
                        <a:lnTo>
                          <a:pt x="456" y="114"/>
                        </a:lnTo>
                        <a:lnTo>
                          <a:pt x="444" y="108"/>
                        </a:lnTo>
                        <a:lnTo>
                          <a:pt x="438" y="102"/>
                        </a:lnTo>
                        <a:lnTo>
                          <a:pt x="444" y="84"/>
                        </a:lnTo>
                        <a:lnTo>
                          <a:pt x="432" y="66"/>
                        </a:lnTo>
                        <a:lnTo>
                          <a:pt x="438" y="60"/>
                        </a:lnTo>
                        <a:lnTo>
                          <a:pt x="438" y="48"/>
                        </a:lnTo>
                        <a:lnTo>
                          <a:pt x="432" y="42"/>
                        </a:lnTo>
                        <a:lnTo>
                          <a:pt x="396" y="24"/>
                        </a:lnTo>
                        <a:lnTo>
                          <a:pt x="390" y="18"/>
                        </a:lnTo>
                        <a:lnTo>
                          <a:pt x="384" y="18"/>
                        </a:lnTo>
                        <a:lnTo>
                          <a:pt x="354" y="36"/>
                        </a:lnTo>
                        <a:lnTo>
                          <a:pt x="348" y="18"/>
                        </a:lnTo>
                        <a:lnTo>
                          <a:pt x="312" y="12"/>
                        </a:lnTo>
                        <a:lnTo>
                          <a:pt x="300" y="18"/>
                        </a:lnTo>
                        <a:lnTo>
                          <a:pt x="300" y="12"/>
                        </a:lnTo>
                        <a:lnTo>
                          <a:pt x="294" y="6"/>
                        </a:lnTo>
                        <a:lnTo>
                          <a:pt x="276" y="6"/>
                        </a:lnTo>
                        <a:lnTo>
                          <a:pt x="270" y="0"/>
                        </a:lnTo>
                        <a:lnTo>
                          <a:pt x="258" y="0"/>
                        </a:lnTo>
                        <a:lnTo>
                          <a:pt x="252" y="6"/>
                        </a:lnTo>
                        <a:lnTo>
                          <a:pt x="246" y="18"/>
                        </a:lnTo>
                        <a:lnTo>
                          <a:pt x="240" y="24"/>
                        </a:lnTo>
                        <a:lnTo>
                          <a:pt x="234" y="24"/>
                        </a:lnTo>
                        <a:lnTo>
                          <a:pt x="228" y="30"/>
                        </a:lnTo>
                        <a:lnTo>
                          <a:pt x="222" y="24"/>
                        </a:lnTo>
                        <a:lnTo>
                          <a:pt x="198" y="24"/>
                        </a:lnTo>
                        <a:lnTo>
                          <a:pt x="192" y="30"/>
                        </a:lnTo>
                        <a:lnTo>
                          <a:pt x="180" y="36"/>
                        </a:lnTo>
                        <a:lnTo>
                          <a:pt x="174" y="42"/>
                        </a:lnTo>
                        <a:lnTo>
                          <a:pt x="174" y="54"/>
                        </a:lnTo>
                        <a:lnTo>
                          <a:pt x="192" y="72"/>
                        </a:lnTo>
                        <a:lnTo>
                          <a:pt x="186" y="78"/>
                        </a:lnTo>
                        <a:lnTo>
                          <a:pt x="168" y="78"/>
                        </a:lnTo>
                        <a:lnTo>
                          <a:pt x="162" y="72"/>
                        </a:lnTo>
                        <a:lnTo>
                          <a:pt x="156" y="72"/>
                        </a:lnTo>
                        <a:lnTo>
                          <a:pt x="162" y="90"/>
                        </a:lnTo>
                        <a:lnTo>
                          <a:pt x="144" y="90"/>
                        </a:lnTo>
                        <a:lnTo>
                          <a:pt x="138" y="96"/>
                        </a:lnTo>
                        <a:lnTo>
                          <a:pt x="138" y="102"/>
                        </a:lnTo>
                        <a:lnTo>
                          <a:pt x="144" y="114"/>
                        </a:lnTo>
                        <a:lnTo>
                          <a:pt x="144" y="120"/>
                        </a:lnTo>
                        <a:lnTo>
                          <a:pt x="132" y="120"/>
                        </a:lnTo>
                        <a:lnTo>
                          <a:pt x="132" y="126"/>
                        </a:lnTo>
                        <a:lnTo>
                          <a:pt x="138" y="132"/>
                        </a:lnTo>
                        <a:lnTo>
                          <a:pt x="138" y="144"/>
                        </a:lnTo>
                        <a:lnTo>
                          <a:pt x="144" y="150"/>
                        </a:lnTo>
                        <a:lnTo>
                          <a:pt x="144" y="156"/>
                        </a:lnTo>
                        <a:lnTo>
                          <a:pt x="132" y="156"/>
                        </a:lnTo>
                        <a:lnTo>
                          <a:pt x="138" y="150"/>
                        </a:lnTo>
                        <a:lnTo>
                          <a:pt x="138" y="144"/>
                        </a:lnTo>
                        <a:lnTo>
                          <a:pt x="120" y="144"/>
                        </a:lnTo>
                        <a:lnTo>
                          <a:pt x="108" y="150"/>
                        </a:lnTo>
                        <a:lnTo>
                          <a:pt x="102" y="156"/>
                        </a:lnTo>
                        <a:lnTo>
                          <a:pt x="96" y="168"/>
                        </a:lnTo>
                        <a:lnTo>
                          <a:pt x="84" y="156"/>
                        </a:lnTo>
                        <a:lnTo>
                          <a:pt x="84" y="174"/>
                        </a:lnTo>
                        <a:lnTo>
                          <a:pt x="54" y="174"/>
                        </a:lnTo>
                        <a:lnTo>
                          <a:pt x="54" y="168"/>
                        </a:lnTo>
                        <a:lnTo>
                          <a:pt x="48" y="162"/>
                        </a:lnTo>
                        <a:lnTo>
                          <a:pt x="42" y="162"/>
                        </a:lnTo>
                        <a:lnTo>
                          <a:pt x="30" y="168"/>
                        </a:lnTo>
                        <a:lnTo>
                          <a:pt x="18" y="168"/>
                        </a:lnTo>
                        <a:lnTo>
                          <a:pt x="12" y="174"/>
                        </a:lnTo>
                        <a:lnTo>
                          <a:pt x="6" y="174"/>
                        </a:lnTo>
                        <a:lnTo>
                          <a:pt x="12" y="186"/>
                        </a:lnTo>
                        <a:lnTo>
                          <a:pt x="18" y="192"/>
                        </a:lnTo>
                        <a:lnTo>
                          <a:pt x="18" y="204"/>
                        </a:lnTo>
                        <a:lnTo>
                          <a:pt x="24" y="210"/>
                        </a:lnTo>
                        <a:lnTo>
                          <a:pt x="36" y="234"/>
                        </a:lnTo>
                        <a:lnTo>
                          <a:pt x="42" y="240"/>
                        </a:lnTo>
                        <a:lnTo>
                          <a:pt x="42" y="246"/>
                        </a:lnTo>
                        <a:lnTo>
                          <a:pt x="36" y="252"/>
                        </a:lnTo>
                        <a:lnTo>
                          <a:pt x="36" y="264"/>
                        </a:lnTo>
                        <a:lnTo>
                          <a:pt x="12" y="270"/>
                        </a:lnTo>
                        <a:lnTo>
                          <a:pt x="12" y="288"/>
                        </a:lnTo>
                        <a:lnTo>
                          <a:pt x="0" y="288"/>
                        </a:lnTo>
                        <a:lnTo>
                          <a:pt x="0" y="294"/>
                        </a:lnTo>
                        <a:lnTo>
                          <a:pt x="6" y="300"/>
                        </a:lnTo>
                        <a:lnTo>
                          <a:pt x="12" y="300"/>
                        </a:lnTo>
                        <a:lnTo>
                          <a:pt x="24" y="31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82" name="Azerbaijan"/>
                  <p:cNvSpPr>
                    <a:spLocks noEditPoints="1"/>
                  </p:cNvSpPr>
                  <p:nvPr/>
                </p:nvSpPr>
                <p:spPr bwMode="gray">
                  <a:xfrm>
                    <a:off x="3419" y="1447"/>
                    <a:ext cx="92" cy="74"/>
                  </a:xfrm>
                  <a:custGeom>
                    <a:avLst/>
                    <a:gdLst>
                      <a:gd name="T0" fmla="*/ 2147483647 w 360"/>
                      <a:gd name="T1" fmla="*/ 2147483647 h 288"/>
                      <a:gd name="T2" fmla="*/ 2147483647 w 360"/>
                      <a:gd name="T3" fmla="*/ 2147483647 h 288"/>
                      <a:gd name="T4" fmla="*/ 2147483647 w 360"/>
                      <a:gd name="T5" fmla="*/ 2147483647 h 288"/>
                      <a:gd name="T6" fmla="*/ 2147483647 w 360"/>
                      <a:gd name="T7" fmla="*/ 2147483647 h 288"/>
                      <a:gd name="T8" fmla="*/ 2147483647 w 360"/>
                      <a:gd name="T9" fmla="*/ 2147483647 h 288"/>
                      <a:gd name="T10" fmla="*/ 2147483647 w 360"/>
                      <a:gd name="T11" fmla="*/ 2147483647 h 288"/>
                      <a:gd name="T12" fmla="*/ 2147483647 w 360"/>
                      <a:gd name="T13" fmla="*/ 2147483647 h 288"/>
                      <a:gd name="T14" fmla="*/ 2147483647 w 360"/>
                      <a:gd name="T15" fmla="*/ 2147483647 h 288"/>
                      <a:gd name="T16" fmla="*/ 2147483647 w 360"/>
                      <a:gd name="T17" fmla="*/ 2147483647 h 288"/>
                      <a:gd name="T18" fmla="*/ 2147483647 w 360"/>
                      <a:gd name="T19" fmla="*/ 2147483647 h 288"/>
                      <a:gd name="T20" fmla="*/ 2147483647 w 360"/>
                      <a:gd name="T21" fmla="*/ 2147483647 h 288"/>
                      <a:gd name="T22" fmla="*/ 2147483647 w 360"/>
                      <a:gd name="T23" fmla="*/ 2147483647 h 288"/>
                      <a:gd name="T24" fmla="*/ 2147483647 w 360"/>
                      <a:gd name="T25" fmla="*/ 2147483647 h 288"/>
                      <a:gd name="T26" fmla="*/ 2147483647 w 360"/>
                      <a:gd name="T27" fmla="*/ 0 h 288"/>
                      <a:gd name="T28" fmla="*/ 2147483647 w 360"/>
                      <a:gd name="T29" fmla="*/ 2147483647 h 288"/>
                      <a:gd name="T30" fmla="*/ 2147483647 w 360"/>
                      <a:gd name="T31" fmla="*/ 2147483647 h 288"/>
                      <a:gd name="T32" fmla="*/ 2147483647 w 360"/>
                      <a:gd name="T33" fmla="*/ 2147483647 h 288"/>
                      <a:gd name="T34" fmla="*/ 2147483647 w 360"/>
                      <a:gd name="T35" fmla="*/ 2147483647 h 288"/>
                      <a:gd name="T36" fmla="*/ 2147483647 w 360"/>
                      <a:gd name="T37" fmla="*/ 2147483647 h 288"/>
                      <a:gd name="T38" fmla="*/ 2147483647 w 360"/>
                      <a:gd name="T39" fmla="*/ 0 h 288"/>
                      <a:gd name="T40" fmla="*/ 2147483647 w 360"/>
                      <a:gd name="T41" fmla="*/ 2147483647 h 288"/>
                      <a:gd name="T42" fmla="*/ 2147483647 w 360"/>
                      <a:gd name="T43" fmla="*/ 2147483647 h 288"/>
                      <a:gd name="T44" fmla="*/ 2147483647 w 360"/>
                      <a:gd name="T45" fmla="*/ 2147483647 h 288"/>
                      <a:gd name="T46" fmla="*/ 2147483647 w 360"/>
                      <a:gd name="T47" fmla="*/ 2147483647 h 288"/>
                      <a:gd name="T48" fmla="*/ 2147483647 w 360"/>
                      <a:gd name="T49" fmla="*/ 2147483647 h 288"/>
                      <a:gd name="T50" fmla="*/ 2147483647 w 360"/>
                      <a:gd name="T51" fmla="*/ 2147483647 h 288"/>
                      <a:gd name="T52" fmla="*/ 2147483647 w 360"/>
                      <a:gd name="T53" fmla="*/ 2147483647 h 288"/>
                      <a:gd name="T54" fmla="*/ 0 w 360"/>
                      <a:gd name="T55" fmla="*/ 2147483647 h 288"/>
                      <a:gd name="T56" fmla="*/ 2147483647 w 360"/>
                      <a:gd name="T57" fmla="*/ 2147483647 h 288"/>
                      <a:gd name="T58" fmla="*/ 2147483647 w 360"/>
                      <a:gd name="T59" fmla="*/ 2147483647 h 288"/>
                      <a:gd name="T60" fmla="*/ 2147483647 w 360"/>
                      <a:gd name="T61" fmla="*/ 2147483647 h 288"/>
                      <a:gd name="T62" fmla="*/ 2147483647 w 360"/>
                      <a:gd name="T63" fmla="*/ 2147483647 h 288"/>
                      <a:gd name="T64" fmla="*/ 2147483647 w 360"/>
                      <a:gd name="T65" fmla="*/ 2147483647 h 288"/>
                      <a:gd name="T66" fmla="*/ 2147483647 w 360"/>
                      <a:gd name="T67" fmla="*/ 2147483647 h 288"/>
                      <a:gd name="T68" fmla="*/ 2147483647 w 360"/>
                      <a:gd name="T69" fmla="*/ 2147483647 h 288"/>
                      <a:gd name="T70" fmla="*/ 2147483647 w 360"/>
                      <a:gd name="T71" fmla="*/ 2147483647 h 288"/>
                      <a:gd name="T72" fmla="*/ 2147483647 w 360"/>
                      <a:gd name="T73" fmla="*/ 2147483647 h 288"/>
                      <a:gd name="T74" fmla="*/ 2147483647 w 360"/>
                      <a:gd name="T75" fmla="*/ 2147483647 h 288"/>
                      <a:gd name="T76" fmla="*/ 2147483647 w 360"/>
                      <a:gd name="T77" fmla="*/ 2147483647 h 288"/>
                      <a:gd name="T78" fmla="*/ 2147483647 w 360"/>
                      <a:gd name="T79" fmla="*/ 2147483647 h 288"/>
                      <a:gd name="T80" fmla="*/ 2147483647 w 360"/>
                      <a:gd name="T81" fmla="*/ 2147483647 h 288"/>
                      <a:gd name="T82" fmla="*/ 2147483647 w 360"/>
                      <a:gd name="T83" fmla="*/ 2147483647 h 288"/>
                      <a:gd name="T84" fmla="*/ 2147483647 w 360"/>
                      <a:gd name="T85" fmla="*/ 2147483647 h 288"/>
                      <a:gd name="T86" fmla="*/ 2147483647 w 360"/>
                      <a:gd name="T87" fmla="*/ 2147483647 h 288"/>
                      <a:gd name="T88" fmla="*/ 2147483647 w 360"/>
                      <a:gd name="T89" fmla="*/ 2147483647 h 288"/>
                      <a:gd name="T90" fmla="*/ 2147483647 w 360"/>
                      <a:gd name="T91" fmla="*/ 2147483647 h 288"/>
                      <a:gd name="T92" fmla="*/ 2147483647 w 360"/>
                      <a:gd name="T93" fmla="*/ 2147483647 h 288"/>
                      <a:gd name="T94" fmla="*/ 2147483647 w 360"/>
                      <a:gd name="T95" fmla="*/ 2147483647 h 288"/>
                      <a:gd name="T96" fmla="*/ 2147483647 w 360"/>
                      <a:gd name="T97" fmla="*/ 2147483647 h 288"/>
                      <a:gd name="T98" fmla="*/ 2147483647 w 360"/>
                      <a:gd name="T99" fmla="*/ 2147483647 h 288"/>
                      <a:gd name="T100" fmla="*/ 2147483647 w 360"/>
                      <a:gd name="T101" fmla="*/ 2147483647 h 288"/>
                      <a:gd name="T102" fmla="*/ 2147483647 w 360"/>
                      <a:gd name="T103" fmla="*/ 2147483647 h 288"/>
                      <a:gd name="T104" fmla="*/ 2147483647 w 360"/>
                      <a:gd name="T105" fmla="*/ 2147483647 h 288"/>
                      <a:gd name="T106" fmla="*/ 2147483647 w 360"/>
                      <a:gd name="T107" fmla="*/ 2147483647 h 288"/>
                      <a:gd name="T108" fmla="*/ 2147483647 w 360"/>
                      <a:gd name="T109" fmla="*/ 2147483647 h 288"/>
                      <a:gd name="T110" fmla="*/ 2147483647 w 360"/>
                      <a:gd name="T111" fmla="*/ 2147483647 h 288"/>
                      <a:gd name="T112" fmla="*/ 2147483647 w 360"/>
                      <a:gd name="T113" fmla="*/ 2147483647 h 288"/>
                      <a:gd name="T114" fmla="*/ 2147483647 w 360"/>
                      <a:gd name="T115" fmla="*/ 2147483647 h 288"/>
                      <a:gd name="T116" fmla="*/ 2147483647 w 360"/>
                      <a:gd name="T117" fmla="*/ 2147483647 h 288"/>
                      <a:gd name="T118" fmla="*/ 2147483647 w 360"/>
                      <a:gd name="T119" fmla="*/ 2147483647 h 288"/>
                      <a:gd name="T120" fmla="*/ 2147483647 w 360"/>
                      <a:gd name="T121" fmla="*/ 2147483647 h 28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360"/>
                      <a:gd name="T184" fmla="*/ 0 h 288"/>
                      <a:gd name="T185" fmla="*/ 360 w 360"/>
                      <a:gd name="T186" fmla="*/ 288 h 28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360" h="288">
                        <a:moveTo>
                          <a:pt x="66" y="186"/>
                        </a:moveTo>
                        <a:lnTo>
                          <a:pt x="36" y="186"/>
                        </a:lnTo>
                        <a:lnTo>
                          <a:pt x="24" y="174"/>
                        </a:lnTo>
                        <a:lnTo>
                          <a:pt x="6" y="174"/>
                        </a:lnTo>
                        <a:lnTo>
                          <a:pt x="12" y="186"/>
                        </a:lnTo>
                        <a:lnTo>
                          <a:pt x="12" y="192"/>
                        </a:lnTo>
                        <a:lnTo>
                          <a:pt x="18" y="204"/>
                        </a:lnTo>
                        <a:lnTo>
                          <a:pt x="36" y="222"/>
                        </a:lnTo>
                        <a:lnTo>
                          <a:pt x="48" y="228"/>
                        </a:lnTo>
                        <a:lnTo>
                          <a:pt x="84" y="240"/>
                        </a:lnTo>
                        <a:lnTo>
                          <a:pt x="90" y="240"/>
                        </a:lnTo>
                        <a:lnTo>
                          <a:pt x="84" y="234"/>
                        </a:lnTo>
                        <a:lnTo>
                          <a:pt x="84" y="222"/>
                        </a:lnTo>
                        <a:lnTo>
                          <a:pt x="78" y="216"/>
                        </a:lnTo>
                        <a:lnTo>
                          <a:pt x="78" y="204"/>
                        </a:lnTo>
                        <a:lnTo>
                          <a:pt x="72" y="198"/>
                        </a:lnTo>
                        <a:lnTo>
                          <a:pt x="72" y="186"/>
                        </a:lnTo>
                        <a:lnTo>
                          <a:pt x="66" y="186"/>
                        </a:lnTo>
                        <a:close/>
                        <a:moveTo>
                          <a:pt x="354" y="108"/>
                        </a:moveTo>
                        <a:lnTo>
                          <a:pt x="348" y="102"/>
                        </a:lnTo>
                        <a:lnTo>
                          <a:pt x="330" y="102"/>
                        </a:lnTo>
                        <a:lnTo>
                          <a:pt x="318" y="108"/>
                        </a:lnTo>
                        <a:lnTo>
                          <a:pt x="306" y="108"/>
                        </a:lnTo>
                        <a:lnTo>
                          <a:pt x="288" y="90"/>
                        </a:lnTo>
                        <a:lnTo>
                          <a:pt x="288" y="84"/>
                        </a:lnTo>
                        <a:lnTo>
                          <a:pt x="264" y="54"/>
                        </a:lnTo>
                        <a:lnTo>
                          <a:pt x="264" y="42"/>
                        </a:lnTo>
                        <a:lnTo>
                          <a:pt x="216" y="0"/>
                        </a:lnTo>
                        <a:lnTo>
                          <a:pt x="216" y="30"/>
                        </a:lnTo>
                        <a:lnTo>
                          <a:pt x="210" y="36"/>
                        </a:lnTo>
                        <a:lnTo>
                          <a:pt x="192" y="36"/>
                        </a:lnTo>
                        <a:lnTo>
                          <a:pt x="192" y="48"/>
                        </a:lnTo>
                        <a:lnTo>
                          <a:pt x="186" y="54"/>
                        </a:lnTo>
                        <a:lnTo>
                          <a:pt x="162" y="54"/>
                        </a:lnTo>
                        <a:lnTo>
                          <a:pt x="156" y="48"/>
                        </a:lnTo>
                        <a:lnTo>
                          <a:pt x="144" y="42"/>
                        </a:lnTo>
                        <a:lnTo>
                          <a:pt x="138" y="30"/>
                        </a:lnTo>
                        <a:lnTo>
                          <a:pt x="120" y="12"/>
                        </a:lnTo>
                        <a:lnTo>
                          <a:pt x="84" y="0"/>
                        </a:lnTo>
                        <a:lnTo>
                          <a:pt x="72" y="0"/>
                        </a:lnTo>
                        <a:lnTo>
                          <a:pt x="60" y="12"/>
                        </a:lnTo>
                        <a:lnTo>
                          <a:pt x="78" y="30"/>
                        </a:lnTo>
                        <a:lnTo>
                          <a:pt x="84" y="30"/>
                        </a:lnTo>
                        <a:lnTo>
                          <a:pt x="90" y="36"/>
                        </a:lnTo>
                        <a:lnTo>
                          <a:pt x="96" y="48"/>
                        </a:lnTo>
                        <a:lnTo>
                          <a:pt x="102" y="54"/>
                        </a:lnTo>
                        <a:lnTo>
                          <a:pt x="108" y="66"/>
                        </a:lnTo>
                        <a:lnTo>
                          <a:pt x="102" y="72"/>
                        </a:lnTo>
                        <a:lnTo>
                          <a:pt x="84" y="54"/>
                        </a:lnTo>
                        <a:lnTo>
                          <a:pt x="72" y="54"/>
                        </a:lnTo>
                        <a:lnTo>
                          <a:pt x="60" y="60"/>
                        </a:lnTo>
                        <a:lnTo>
                          <a:pt x="42" y="42"/>
                        </a:lnTo>
                        <a:lnTo>
                          <a:pt x="42" y="36"/>
                        </a:lnTo>
                        <a:lnTo>
                          <a:pt x="36" y="30"/>
                        </a:lnTo>
                        <a:lnTo>
                          <a:pt x="12" y="30"/>
                        </a:lnTo>
                        <a:lnTo>
                          <a:pt x="0" y="42"/>
                        </a:lnTo>
                        <a:lnTo>
                          <a:pt x="0" y="48"/>
                        </a:lnTo>
                        <a:lnTo>
                          <a:pt x="6" y="48"/>
                        </a:lnTo>
                        <a:lnTo>
                          <a:pt x="12" y="54"/>
                        </a:lnTo>
                        <a:lnTo>
                          <a:pt x="12" y="66"/>
                        </a:lnTo>
                        <a:lnTo>
                          <a:pt x="30" y="66"/>
                        </a:lnTo>
                        <a:lnTo>
                          <a:pt x="36" y="72"/>
                        </a:lnTo>
                        <a:lnTo>
                          <a:pt x="36" y="96"/>
                        </a:lnTo>
                        <a:lnTo>
                          <a:pt x="30" y="102"/>
                        </a:lnTo>
                        <a:lnTo>
                          <a:pt x="36" y="102"/>
                        </a:lnTo>
                        <a:lnTo>
                          <a:pt x="42" y="108"/>
                        </a:lnTo>
                        <a:lnTo>
                          <a:pt x="66" y="120"/>
                        </a:lnTo>
                        <a:lnTo>
                          <a:pt x="72" y="126"/>
                        </a:lnTo>
                        <a:lnTo>
                          <a:pt x="72" y="132"/>
                        </a:lnTo>
                        <a:lnTo>
                          <a:pt x="54" y="150"/>
                        </a:lnTo>
                        <a:lnTo>
                          <a:pt x="42" y="150"/>
                        </a:lnTo>
                        <a:lnTo>
                          <a:pt x="72" y="162"/>
                        </a:lnTo>
                        <a:lnTo>
                          <a:pt x="84" y="180"/>
                        </a:lnTo>
                        <a:lnTo>
                          <a:pt x="114" y="186"/>
                        </a:lnTo>
                        <a:lnTo>
                          <a:pt x="114" y="198"/>
                        </a:lnTo>
                        <a:lnTo>
                          <a:pt x="120" y="210"/>
                        </a:lnTo>
                        <a:lnTo>
                          <a:pt x="120" y="240"/>
                        </a:lnTo>
                        <a:lnTo>
                          <a:pt x="132" y="240"/>
                        </a:lnTo>
                        <a:lnTo>
                          <a:pt x="138" y="228"/>
                        </a:lnTo>
                        <a:lnTo>
                          <a:pt x="144" y="222"/>
                        </a:lnTo>
                        <a:lnTo>
                          <a:pt x="144" y="216"/>
                        </a:lnTo>
                        <a:lnTo>
                          <a:pt x="156" y="204"/>
                        </a:lnTo>
                        <a:lnTo>
                          <a:pt x="174" y="192"/>
                        </a:lnTo>
                        <a:lnTo>
                          <a:pt x="186" y="186"/>
                        </a:lnTo>
                        <a:lnTo>
                          <a:pt x="198" y="174"/>
                        </a:lnTo>
                        <a:lnTo>
                          <a:pt x="210" y="168"/>
                        </a:lnTo>
                        <a:lnTo>
                          <a:pt x="222" y="168"/>
                        </a:lnTo>
                        <a:lnTo>
                          <a:pt x="228" y="180"/>
                        </a:lnTo>
                        <a:lnTo>
                          <a:pt x="234" y="186"/>
                        </a:lnTo>
                        <a:lnTo>
                          <a:pt x="234" y="204"/>
                        </a:lnTo>
                        <a:lnTo>
                          <a:pt x="228" y="210"/>
                        </a:lnTo>
                        <a:lnTo>
                          <a:pt x="228" y="222"/>
                        </a:lnTo>
                        <a:lnTo>
                          <a:pt x="234" y="222"/>
                        </a:lnTo>
                        <a:lnTo>
                          <a:pt x="240" y="228"/>
                        </a:lnTo>
                        <a:lnTo>
                          <a:pt x="240" y="234"/>
                        </a:lnTo>
                        <a:lnTo>
                          <a:pt x="234" y="240"/>
                        </a:lnTo>
                        <a:lnTo>
                          <a:pt x="222" y="240"/>
                        </a:lnTo>
                        <a:lnTo>
                          <a:pt x="222" y="246"/>
                        </a:lnTo>
                        <a:lnTo>
                          <a:pt x="234" y="258"/>
                        </a:lnTo>
                        <a:lnTo>
                          <a:pt x="246" y="264"/>
                        </a:lnTo>
                        <a:lnTo>
                          <a:pt x="252" y="270"/>
                        </a:lnTo>
                        <a:lnTo>
                          <a:pt x="258" y="270"/>
                        </a:lnTo>
                        <a:lnTo>
                          <a:pt x="264" y="276"/>
                        </a:lnTo>
                        <a:lnTo>
                          <a:pt x="264" y="282"/>
                        </a:lnTo>
                        <a:lnTo>
                          <a:pt x="282" y="282"/>
                        </a:lnTo>
                        <a:lnTo>
                          <a:pt x="282" y="288"/>
                        </a:lnTo>
                        <a:lnTo>
                          <a:pt x="288" y="282"/>
                        </a:lnTo>
                        <a:lnTo>
                          <a:pt x="288" y="258"/>
                        </a:lnTo>
                        <a:lnTo>
                          <a:pt x="282" y="252"/>
                        </a:lnTo>
                        <a:lnTo>
                          <a:pt x="276" y="252"/>
                        </a:lnTo>
                        <a:lnTo>
                          <a:pt x="270" y="246"/>
                        </a:lnTo>
                        <a:lnTo>
                          <a:pt x="288" y="240"/>
                        </a:lnTo>
                        <a:lnTo>
                          <a:pt x="288" y="210"/>
                        </a:lnTo>
                        <a:lnTo>
                          <a:pt x="300" y="222"/>
                        </a:lnTo>
                        <a:lnTo>
                          <a:pt x="306" y="222"/>
                        </a:lnTo>
                        <a:lnTo>
                          <a:pt x="318" y="210"/>
                        </a:lnTo>
                        <a:lnTo>
                          <a:pt x="300" y="192"/>
                        </a:lnTo>
                        <a:lnTo>
                          <a:pt x="300" y="138"/>
                        </a:lnTo>
                        <a:lnTo>
                          <a:pt x="318" y="138"/>
                        </a:lnTo>
                        <a:lnTo>
                          <a:pt x="330" y="126"/>
                        </a:lnTo>
                        <a:lnTo>
                          <a:pt x="360" y="132"/>
                        </a:lnTo>
                        <a:lnTo>
                          <a:pt x="360" y="120"/>
                        </a:lnTo>
                        <a:lnTo>
                          <a:pt x="354" y="10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83" name="Austria"/>
                  <p:cNvSpPr>
                    <a:spLocks/>
                  </p:cNvSpPr>
                  <p:nvPr/>
                </p:nvSpPr>
                <p:spPr bwMode="gray">
                  <a:xfrm>
                    <a:off x="2828" y="1303"/>
                    <a:ext cx="117" cy="52"/>
                  </a:xfrm>
                  <a:custGeom>
                    <a:avLst/>
                    <a:gdLst>
                      <a:gd name="T0" fmla="*/ 2147483647 w 456"/>
                      <a:gd name="T1" fmla="*/ 2147483647 h 204"/>
                      <a:gd name="T2" fmla="*/ 2147483647 w 456"/>
                      <a:gd name="T3" fmla="*/ 2147483647 h 204"/>
                      <a:gd name="T4" fmla="*/ 2147483647 w 456"/>
                      <a:gd name="T5" fmla="*/ 2147483647 h 204"/>
                      <a:gd name="T6" fmla="*/ 2147483647 w 456"/>
                      <a:gd name="T7" fmla="*/ 2147483647 h 204"/>
                      <a:gd name="T8" fmla="*/ 2147483647 w 456"/>
                      <a:gd name="T9" fmla="*/ 2147483647 h 204"/>
                      <a:gd name="T10" fmla="*/ 2147483647 w 456"/>
                      <a:gd name="T11" fmla="*/ 2147483647 h 204"/>
                      <a:gd name="T12" fmla="*/ 2147483647 w 456"/>
                      <a:gd name="T13" fmla="*/ 2147483647 h 204"/>
                      <a:gd name="T14" fmla="*/ 2147483647 w 456"/>
                      <a:gd name="T15" fmla="*/ 0 h 204"/>
                      <a:gd name="T16" fmla="*/ 2147483647 w 456"/>
                      <a:gd name="T17" fmla="*/ 2147483647 h 204"/>
                      <a:gd name="T18" fmla="*/ 2147483647 w 456"/>
                      <a:gd name="T19" fmla="*/ 2147483647 h 204"/>
                      <a:gd name="T20" fmla="*/ 2147483647 w 456"/>
                      <a:gd name="T21" fmla="*/ 2147483647 h 204"/>
                      <a:gd name="T22" fmla="*/ 2147483647 w 456"/>
                      <a:gd name="T23" fmla="*/ 2147483647 h 204"/>
                      <a:gd name="T24" fmla="*/ 2147483647 w 456"/>
                      <a:gd name="T25" fmla="*/ 2147483647 h 204"/>
                      <a:gd name="T26" fmla="*/ 2147483647 w 456"/>
                      <a:gd name="T27" fmla="*/ 2147483647 h 204"/>
                      <a:gd name="T28" fmla="*/ 2147483647 w 456"/>
                      <a:gd name="T29" fmla="*/ 2147483647 h 204"/>
                      <a:gd name="T30" fmla="*/ 2147483647 w 456"/>
                      <a:gd name="T31" fmla="*/ 2147483647 h 204"/>
                      <a:gd name="T32" fmla="*/ 2147483647 w 456"/>
                      <a:gd name="T33" fmla="*/ 2147483647 h 204"/>
                      <a:gd name="T34" fmla="*/ 2147483647 w 456"/>
                      <a:gd name="T35" fmla="*/ 2147483647 h 204"/>
                      <a:gd name="T36" fmla="*/ 2147483647 w 456"/>
                      <a:gd name="T37" fmla="*/ 2147483647 h 204"/>
                      <a:gd name="T38" fmla="*/ 2147483647 w 456"/>
                      <a:gd name="T39" fmla="*/ 2147483647 h 204"/>
                      <a:gd name="T40" fmla="*/ 2147483647 w 456"/>
                      <a:gd name="T41" fmla="*/ 2147483647 h 204"/>
                      <a:gd name="T42" fmla="*/ 2147483647 w 456"/>
                      <a:gd name="T43" fmla="*/ 2147483647 h 204"/>
                      <a:gd name="T44" fmla="*/ 2147483647 w 456"/>
                      <a:gd name="T45" fmla="*/ 2147483647 h 204"/>
                      <a:gd name="T46" fmla="*/ 2147483647 w 456"/>
                      <a:gd name="T47" fmla="*/ 2147483647 h 204"/>
                      <a:gd name="T48" fmla="*/ 2147483647 w 456"/>
                      <a:gd name="T49" fmla="*/ 2147483647 h 204"/>
                      <a:gd name="T50" fmla="*/ 2147483647 w 456"/>
                      <a:gd name="T51" fmla="*/ 2147483647 h 204"/>
                      <a:gd name="T52" fmla="*/ 2147483647 w 456"/>
                      <a:gd name="T53" fmla="*/ 2147483647 h 204"/>
                      <a:gd name="T54" fmla="*/ 0 w 456"/>
                      <a:gd name="T55" fmla="*/ 2147483647 h 204"/>
                      <a:gd name="T56" fmla="*/ 2147483647 w 456"/>
                      <a:gd name="T57" fmla="*/ 2147483647 h 204"/>
                      <a:gd name="T58" fmla="*/ 2147483647 w 456"/>
                      <a:gd name="T59" fmla="*/ 2147483647 h 204"/>
                      <a:gd name="T60" fmla="*/ 2147483647 w 456"/>
                      <a:gd name="T61" fmla="*/ 2147483647 h 204"/>
                      <a:gd name="T62" fmla="*/ 2147483647 w 456"/>
                      <a:gd name="T63" fmla="*/ 2147483647 h 204"/>
                      <a:gd name="T64" fmla="*/ 2147483647 w 456"/>
                      <a:gd name="T65" fmla="*/ 2147483647 h 204"/>
                      <a:gd name="T66" fmla="*/ 2147483647 w 456"/>
                      <a:gd name="T67" fmla="*/ 2147483647 h 204"/>
                      <a:gd name="T68" fmla="*/ 2147483647 w 456"/>
                      <a:gd name="T69" fmla="*/ 2147483647 h 204"/>
                      <a:gd name="T70" fmla="*/ 2147483647 w 456"/>
                      <a:gd name="T71" fmla="*/ 2147483647 h 204"/>
                      <a:gd name="T72" fmla="*/ 2147483647 w 456"/>
                      <a:gd name="T73" fmla="*/ 2147483647 h 204"/>
                      <a:gd name="T74" fmla="*/ 2147483647 w 456"/>
                      <a:gd name="T75" fmla="*/ 2147483647 h 204"/>
                      <a:gd name="T76" fmla="*/ 2147483647 w 456"/>
                      <a:gd name="T77" fmla="*/ 2147483647 h 204"/>
                      <a:gd name="T78" fmla="*/ 2147483647 w 456"/>
                      <a:gd name="T79" fmla="*/ 2147483647 h 204"/>
                      <a:gd name="T80" fmla="*/ 2147483647 w 456"/>
                      <a:gd name="T81" fmla="*/ 2147483647 h 204"/>
                      <a:gd name="T82" fmla="*/ 2147483647 w 456"/>
                      <a:gd name="T83" fmla="*/ 2147483647 h 204"/>
                      <a:gd name="T84" fmla="*/ 2147483647 w 456"/>
                      <a:gd name="T85" fmla="*/ 2147483647 h 204"/>
                      <a:gd name="T86" fmla="*/ 2147483647 w 456"/>
                      <a:gd name="T87" fmla="*/ 2147483647 h 204"/>
                      <a:gd name="T88" fmla="*/ 2147483647 w 456"/>
                      <a:gd name="T89" fmla="*/ 2147483647 h 204"/>
                      <a:gd name="T90" fmla="*/ 2147483647 w 456"/>
                      <a:gd name="T91" fmla="*/ 2147483647 h 204"/>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456"/>
                      <a:gd name="T139" fmla="*/ 0 h 204"/>
                      <a:gd name="T140" fmla="*/ 456 w 456"/>
                      <a:gd name="T141" fmla="*/ 204 h 204"/>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456" h="204">
                        <a:moveTo>
                          <a:pt x="456" y="102"/>
                        </a:moveTo>
                        <a:lnTo>
                          <a:pt x="456" y="60"/>
                        </a:lnTo>
                        <a:lnTo>
                          <a:pt x="450" y="60"/>
                        </a:lnTo>
                        <a:lnTo>
                          <a:pt x="450" y="48"/>
                        </a:lnTo>
                        <a:lnTo>
                          <a:pt x="456" y="24"/>
                        </a:lnTo>
                        <a:lnTo>
                          <a:pt x="444" y="18"/>
                        </a:lnTo>
                        <a:lnTo>
                          <a:pt x="438" y="18"/>
                        </a:lnTo>
                        <a:lnTo>
                          <a:pt x="432" y="12"/>
                        </a:lnTo>
                        <a:lnTo>
                          <a:pt x="420" y="12"/>
                        </a:lnTo>
                        <a:lnTo>
                          <a:pt x="414" y="18"/>
                        </a:lnTo>
                        <a:lnTo>
                          <a:pt x="402" y="24"/>
                        </a:lnTo>
                        <a:lnTo>
                          <a:pt x="390" y="12"/>
                        </a:lnTo>
                        <a:lnTo>
                          <a:pt x="378" y="18"/>
                        </a:lnTo>
                        <a:lnTo>
                          <a:pt x="366" y="6"/>
                        </a:lnTo>
                        <a:lnTo>
                          <a:pt x="354" y="0"/>
                        </a:lnTo>
                        <a:lnTo>
                          <a:pt x="336" y="0"/>
                        </a:lnTo>
                        <a:lnTo>
                          <a:pt x="330" y="6"/>
                        </a:lnTo>
                        <a:lnTo>
                          <a:pt x="324" y="18"/>
                        </a:lnTo>
                        <a:lnTo>
                          <a:pt x="318" y="18"/>
                        </a:lnTo>
                        <a:lnTo>
                          <a:pt x="318" y="36"/>
                        </a:lnTo>
                        <a:lnTo>
                          <a:pt x="306" y="30"/>
                        </a:lnTo>
                        <a:lnTo>
                          <a:pt x="300" y="30"/>
                        </a:lnTo>
                        <a:lnTo>
                          <a:pt x="288" y="36"/>
                        </a:lnTo>
                        <a:lnTo>
                          <a:pt x="276" y="36"/>
                        </a:lnTo>
                        <a:lnTo>
                          <a:pt x="258" y="18"/>
                        </a:lnTo>
                        <a:lnTo>
                          <a:pt x="252" y="36"/>
                        </a:lnTo>
                        <a:lnTo>
                          <a:pt x="234" y="36"/>
                        </a:lnTo>
                        <a:lnTo>
                          <a:pt x="240" y="48"/>
                        </a:lnTo>
                        <a:lnTo>
                          <a:pt x="240" y="66"/>
                        </a:lnTo>
                        <a:lnTo>
                          <a:pt x="234" y="66"/>
                        </a:lnTo>
                        <a:lnTo>
                          <a:pt x="228" y="60"/>
                        </a:lnTo>
                        <a:lnTo>
                          <a:pt x="210" y="60"/>
                        </a:lnTo>
                        <a:lnTo>
                          <a:pt x="204" y="66"/>
                        </a:lnTo>
                        <a:lnTo>
                          <a:pt x="204" y="72"/>
                        </a:lnTo>
                        <a:lnTo>
                          <a:pt x="198" y="78"/>
                        </a:lnTo>
                        <a:lnTo>
                          <a:pt x="198" y="84"/>
                        </a:lnTo>
                        <a:lnTo>
                          <a:pt x="210" y="84"/>
                        </a:lnTo>
                        <a:lnTo>
                          <a:pt x="210" y="126"/>
                        </a:lnTo>
                        <a:lnTo>
                          <a:pt x="204" y="126"/>
                        </a:lnTo>
                        <a:lnTo>
                          <a:pt x="192" y="114"/>
                        </a:lnTo>
                        <a:lnTo>
                          <a:pt x="174" y="108"/>
                        </a:lnTo>
                        <a:lnTo>
                          <a:pt x="162" y="102"/>
                        </a:lnTo>
                        <a:lnTo>
                          <a:pt x="144" y="114"/>
                        </a:lnTo>
                        <a:lnTo>
                          <a:pt x="126" y="114"/>
                        </a:lnTo>
                        <a:lnTo>
                          <a:pt x="108" y="126"/>
                        </a:lnTo>
                        <a:lnTo>
                          <a:pt x="102" y="132"/>
                        </a:lnTo>
                        <a:lnTo>
                          <a:pt x="84" y="132"/>
                        </a:lnTo>
                        <a:lnTo>
                          <a:pt x="66" y="114"/>
                        </a:lnTo>
                        <a:lnTo>
                          <a:pt x="48" y="114"/>
                        </a:lnTo>
                        <a:lnTo>
                          <a:pt x="48" y="126"/>
                        </a:lnTo>
                        <a:lnTo>
                          <a:pt x="42" y="132"/>
                        </a:lnTo>
                        <a:lnTo>
                          <a:pt x="30" y="132"/>
                        </a:lnTo>
                        <a:lnTo>
                          <a:pt x="30" y="126"/>
                        </a:lnTo>
                        <a:lnTo>
                          <a:pt x="24" y="120"/>
                        </a:lnTo>
                        <a:lnTo>
                          <a:pt x="0" y="120"/>
                        </a:lnTo>
                        <a:lnTo>
                          <a:pt x="0" y="156"/>
                        </a:lnTo>
                        <a:lnTo>
                          <a:pt x="18" y="156"/>
                        </a:lnTo>
                        <a:lnTo>
                          <a:pt x="18" y="174"/>
                        </a:lnTo>
                        <a:lnTo>
                          <a:pt x="24" y="174"/>
                        </a:lnTo>
                        <a:lnTo>
                          <a:pt x="42" y="156"/>
                        </a:lnTo>
                        <a:lnTo>
                          <a:pt x="48" y="156"/>
                        </a:lnTo>
                        <a:lnTo>
                          <a:pt x="60" y="168"/>
                        </a:lnTo>
                        <a:lnTo>
                          <a:pt x="60" y="174"/>
                        </a:lnTo>
                        <a:lnTo>
                          <a:pt x="72" y="174"/>
                        </a:lnTo>
                        <a:lnTo>
                          <a:pt x="84" y="180"/>
                        </a:lnTo>
                        <a:lnTo>
                          <a:pt x="96" y="162"/>
                        </a:lnTo>
                        <a:lnTo>
                          <a:pt x="138" y="162"/>
                        </a:lnTo>
                        <a:lnTo>
                          <a:pt x="138" y="156"/>
                        </a:lnTo>
                        <a:lnTo>
                          <a:pt x="144" y="150"/>
                        </a:lnTo>
                        <a:lnTo>
                          <a:pt x="162" y="150"/>
                        </a:lnTo>
                        <a:lnTo>
                          <a:pt x="168" y="156"/>
                        </a:lnTo>
                        <a:lnTo>
                          <a:pt x="168" y="174"/>
                        </a:lnTo>
                        <a:lnTo>
                          <a:pt x="180" y="174"/>
                        </a:lnTo>
                        <a:lnTo>
                          <a:pt x="186" y="192"/>
                        </a:lnTo>
                        <a:lnTo>
                          <a:pt x="240" y="192"/>
                        </a:lnTo>
                        <a:lnTo>
                          <a:pt x="240" y="204"/>
                        </a:lnTo>
                        <a:lnTo>
                          <a:pt x="258" y="204"/>
                        </a:lnTo>
                        <a:lnTo>
                          <a:pt x="264" y="198"/>
                        </a:lnTo>
                        <a:lnTo>
                          <a:pt x="282" y="198"/>
                        </a:lnTo>
                        <a:lnTo>
                          <a:pt x="288" y="204"/>
                        </a:lnTo>
                        <a:lnTo>
                          <a:pt x="318" y="204"/>
                        </a:lnTo>
                        <a:lnTo>
                          <a:pt x="318" y="192"/>
                        </a:lnTo>
                        <a:lnTo>
                          <a:pt x="366" y="192"/>
                        </a:lnTo>
                        <a:lnTo>
                          <a:pt x="378" y="186"/>
                        </a:lnTo>
                        <a:lnTo>
                          <a:pt x="402" y="192"/>
                        </a:lnTo>
                        <a:lnTo>
                          <a:pt x="414" y="156"/>
                        </a:lnTo>
                        <a:lnTo>
                          <a:pt x="432" y="156"/>
                        </a:lnTo>
                        <a:lnTo>
                          <a:pt x="432" y="132"/>
                        </a:lnTo>
                        <a:lnTo>
                          <a:pt x="444" y="114"/>
                        </a:lnTo>
                        <a:lnTo>
                          <a:pt x="432" y="114"/>
                        </a:lnTo>
                        <a:lnTo>
                          <a:pt x="438" y="102"/>
                        </a:lnTo>
                        <a:lnTo>
                          <a:pt x="456" y="102"/>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84" name="Australia"/>
                  <p:cNvSpPr>
                    <a:spLocks noEditPoints="1"/>
                  </p:cNvSpPr>
                  <p:nvPr/>
                </p:nvSpPr>
                <p:spPr bwMode="gray">
                  <a:xfrm>
                    <a:off x="4633" y="2529"/>
                    <a:ext cx="726" cy="681"/>
                  </a:xfrm>
                  <a:custGeom>
                    <a:avLst/>
                    <a:gdLst>
                      <a:gd name="T0" fmla="*/ 2147483647 w 2838"/>
                      <a:gd name="T1" fmla="*/ 2147483647 h 2664"/>
                      <a:gd name="T2" fmla="*/ 2147483647 w 2838"/>
                      <a:gd name="T3" fmla="*/ 2147483647 h 2664"/>
                      <a:gd name="T4" fmla="*/ 2147483647 w 2838"/>
                      <a:gd name="T5" fmla="*/ 2147483647 h 2664"/>
                      <a:gd name="T6" fmla="*/ 2147483647 w 2838"/>
                      <a:gd name="T7" fmla="*/ 2147483647 h 2664"/>
                      <a:gd name="T8" fmla="*/ 2147483647 w 2838"/>
                      <a:gd name="T9" fmla="*/ 2147483647 h 2664"/>
                      <a:gd name="T10" fmla="*/ 2147483647 w 2838"/>
                      <a:gd name="T11" fmla="*/ 2147483647 h 2664"/>
                      <a:gd name="T12" fmla="*/ 2147483647 w 2838"/>
                      <a:gd name="T13" fmla="*/ 2147483647 h 2664"/>
                      <a:gd name="T14" fmla="*/ 2147483647 w 2838"/>
                      <a:gd name="T15" fmla="*/ 2147483647 h 2664"/>
                      <a:gd name="T16" fmla="*/ 2147483647 w 2838"/>
                      <a:gd name="T17" fmla="*/ 2147483647 h 2664"/>
                      <a:gd name="T18" fmla="*/ 2147483647 w 2838"/>
                      <a:gd name="T19" fmla="*/ 2147483647 h 2664"/>
                      <a:gd name="T20" fmla="*/ 2147483647 w 2838"/>
                      <a:gd name="T21" fmla="*/ 2147483647 h 2664"/>
                      <a:gd name="T22" fmla="*/ 2147483647 w 2838"/>
                      <a:gd name="T23" fmla="*/ 2147483647 h 2664"/>
                      <a:gd name="T24" fmla="*/ 2147483647 w 2838"/>
                      <a:gd name="T25" fmla="*/ 2147483647 h 2664"/>
                      <a:gd name="T26" fmla="*/ 2147483647 w 2838"/>
                      <a:gd name="T27" fmla="*/ 2147483647 h 2664"/>
                      <a:gd name="T28" fmla="*/ 2147483647 w 2838"/>
                      <a:gd name="T29" fmla="*/ 2147483647 h 2664"/>
                      <a:gd name="T30" fmla="*/ 2147483647 w 2838"/>
                      <a:gd name="T31" fmla="*/ 2147483647 h 2664"/>
                      <a:gd name="T32" fmla="*/ 2147483647 w 2838"/>
                      <a:gd name="T33" fmla="*/ 2147483647 h 2664"/>
                      <a:gd name="T34" fmla="*/ 2147483647 w 2838"/>
                      <a:gd name="T35" fmla="*/ 2147483647 h 2664"/>
                      <a:gd name="T36" fmla="*/ 2147483647 w 2838"/>
                      <a:gd name="T37" fmla="*/ 2147483647 h 2664"/>
                      <a:gd name="T38" fmla="*/ 2147483647 w 2838"/>
                      <a:gd name="T39" fmla="*/ 2147483647 h 2664"/>
                      <a:gd name="T40" fmla="*/ 2147483647 w 2838"/>
                      <a:gd name="T41" fmla="*/ 2147483647 h 2664"/>
                      <a:gd name="T42" fmla="*/ 2147483647 w 2838"/>
                      <a:gd name="T43" fmla="*/ 2147483647 h 2664"/>
                      <a:gd name="T44" fmla="*/ 2147483647 w 2838"/>
                      <a:gd name="T45" fmla="*/ 2147483647 h 2664"/>
                      <a:gd name="T46" fmla="*/ 2147483647 w 2838"/>
                      <a:gd name="T47" fmla="*/ 2147483647 h 2664"/>
                      <a:gd name="T48" fmla="*/ 2147483647 w 2838"/>
                      <a:gd name="T49" fmla="*/ 2147483647 h 2664"/>
                      <a:gd name="T50" fmla="*/ 2147483647 w 2838"/>
                      <a:gd name="T51" fmla="*/ 2147483647 h 2664"/>
                      <a:gd name="T52" fmla="*/ 2147483647 w 2838"/>
                      <a:gd name="T53" fmla="*/ 2147483647 h 2664"/>
                      <a:gd name="T54" fmla="*/ 2147483647 w 2838"/>
                      <a:gd name="T55" fmla="*/ 2147483647 h 2664"/>
                      <a:gd name="T56" fmla="*/ 2147483647 w 2838"/>
                      <a:gd name="T57" fmla="*/ 2147483647 h 2664"/>
                      <a:gd name="T58" fmla="*/ 2147483647 w 2838"/>
                      <a:gd name="T59" fmla="*/ 2147483647 h 2664"/>
                      <a:gd name="T60" fmla="*/ 2147483647 w 2838"/>
                      <a:gd name="T61" fmla="*/ 2147483647 h 2664"/>
                      <a:gd name="T62" fmla="*/ 2147483647 w 2838"/>
                      <a:gd name="T63" fmla="*/ 2147483647 h 2664"/>
                      <a:gd name="T64" fmla="*/ 2147483647 w 2838"/>
                      <a:gd name="T65" fmla="*/ 2147483647 h 2664"/>
                      <a:gd name="T66" fmla="*/ 2147483647 w 2838"/>
                      <a:gd name="T67" fmla="*/ 2147483647 h 2664"/>
                      <a:gd name="T68" fmla="*/ 2147483647 w 2838"/>
                      <a:gd name="T69" fmla="*/ 2147483647 h 2664"/>
                      <a:gd name="T70" fmla="*/ 2147483647 w 2838"/>
                      <a:gd name="T71" fmla="*/ 2147483647 h 2664"/>
                      <a:gd name="T72" fmla="*/ 2147483647 w 2838"/>
                      <a:gd name="T73" fmla="*/ 2147483647 h 2664"/>
                      <a:gd name="T74" fmla="*/ 2147483647 w 2838"/>
                      <a:gd name="T75" fmla="*/ 2147483647 h 2664"/>
                      <a:gd name="T76" fmla="*/ 2147483647 w 2838"/>
                      <a:gd name="T77" fmla="*/ 2147483647 h 2664"/>
                      <a:gd name="T78" fmla="*/ 2147483647 w 2838"/>
                      <a:gd name="T79" fmla="*/ 2147483647 h 2664"/>
                      <a:gd name="T80" fmla="*/ 2147483647 w 2838"/>
                      <a:gd name="T81" fmla="*/ 2147483647 h 2664"/>
                      <a:gd name="T82" fmla="*/ 2147483647 w 2838"/>
                      <a:gd name="T83" fmla="*/ 2147483647 h 2664"/>
                      <a:gd name="T84" fmla="*/ 2147483647 w 2838"/>
                      <a:gd name="T85" fmla="*/ 2147483647 h 2664"/>
                      <a:gd name="T86" fmla="*/ 2147483647 w 2838"/>
                      <a:gd name="T87" fmla="*/ 2147483647 h 2664"/>
                      <a:gd name="T88" fmla="*/ 2147483647 w 2838"/>
                      <a:gd name="T89" fmla="*/ 2147483647 h 2664"/>
                      <a:gd name="T90" fmla="*/ 2147483647 w 2838"/>
                      <a:gd name="T91" fmla="*/ 2147483647 h 2664"/>
                      <a:gd name="T92" fmla="*/ 2147483647 w 2838"/>
                      <a:gd name="T93" fmla="*/ 2147483647 h 2664"/>
                      <a:gd name="T94" fmla="*/ 2147483647 w 2838"/>
                      <a:gd name="T95" fmla="*/ 2147483647 h 2664"/>
                      <a:gd name="T96" fmla="*/ 2147483647 w 2838"/>
                      <a:gd name="T97" fmla="*/ 2147483647 h 2664"/>
                      <a:gd name="T98" fmla="*/ 2147483647 w 2838"/>
                      <a:gd name="T99" fmla="*/ 2147483647 h 2664"/>
                      <a:gd name="T100" fmla="*/ 2147483647 w 2838"/>
                      <a:gd name="T101" fmla="*/ 2147483647 h 2664"/>
                      <a:gd name="T102" fmla="*/ 2147483647 w 2838"/>
                      <a:gd name="T103" fmla="*/ 2147483647 h 2664"/>
                      <a:gd name="T104" fmla="*/ 2147483647 w 2838"/>
                      <a:gd name="T105" fmla="*/ 2147483647 h 2664"/>
                      <a:gd name="T106" fmla="*/ 2147483647 w 2838"/>
                      <a:gd name="T107" fmla="*/ 2147483647 h 2664"/>
                      <a:gd name="T108" fmla="*/ 2147483647 w 2838"/>
                      <a:gd name="T109" fmla="*/ 2147483647 h 2664"/>
                      <a:gd name="T110" fmla="*/ 2147483647 w 2838"/>
                      <a:gd name="T111" fmla="*/ 2147483647 h 2664"/>
                      <a:gd name="T112" fmla="*/ 2147483647 w 2838"/>
                      <a:gd name="T113" fmla="*/ 2147483647 h 2664"/>
                      <a:gd name="T114" fmla="*/ 2147483647 w 2838"/>
                      <a:gd name="T115" fmla="*/ 2147483647 h 2664"/>
                      <a:gd name="T116" fmla="*/ 2147483647 w 2838"/>
                      <a:gd name="T117" fmla="*/ 2147483647 h 266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838"/>
                      <a:gd name="T178" fmla="*/ 0 h 2664"/>
                      <a:gd name="T179" fmla="*/ 2838 w 2838"/>
                      <a:gd name="T180" fmla="*/ 2664 h 266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838" h="2664">
                        <a:moveTo>
                          <a:pt x="1530" y="66"/>
                        </a:moveTo>
                        <a:lnTo>
                          <a:pt x="1524" y="60"/>
                        </a:lnTo>
                        <a:lnTo>
                          <a:pt x="1518" y="60"/>
                        </a:lnTo>
                        <a:lnTo>
                          <a:pt x="1506" y="66"/>
                        </a:lnTo>
                        <a:lnTo>
                          <a:pt x="1500" y="72"/>
                        </a:lnTo>
                        <a:lnTo>
                          <a:pt x="1494" y="84"/>
                        </a:lnTo>
                        <a:lnTo>
                          <a:pt x="1494" y="102"/>
                        </a:lnTo>
                        <a:lnTo>
                          <a:pt x="1506" y="102"/>
                        </a:lnTo>
                        <a:lnTo>
                          <a:pt x="1512" y="90"/>
                        </a:lnTo>
                        <a:lnTo>
                          <a:pt x="1524" y="78"/>
                        </a:lnTo>
                        <a:lnTo>
                          <a:pt x="1530" y="66"/>
                        </a:lnTo>
                        <a:close/>
                        <a:moveTo>
                          <a:pt x="1476" y="2016"/>
                        </a:moveTo>
                        <a:lnTo>
                          <a:pt x="1464" y="2016"/>
                        </a:lnTo>
                        <a:lnTo>
                          <a:pt x="1440" y="2028"/>
                        </a:lnTo>
                        <a:lnTo>
                          <a:pt x="1440" y="2034"/>
                        </a:lnTo>
                        <a:lnTo>
                          <a:pt x="1452" y="2046"/>
                        </a:lnTo>
                        <a:lnTo>
                          <a:pt x="1452" y="2052"/>
                        </a:lnTo>
                        <a:lnTo>
                          <a:pt x="1470" y="2052"/>
                        </a:lnTo>
                        <a:lnTo>
                          <a:pt x="1482" y="2046"/>
                        </a:lnTo>
                        <a:lnTo>
                          <a:pt x="1488" y="2040"/>
                        </a:lnTo>
                        <a:lnTo>
                          <a:pt x="1506" y="2040"/>
                        </a:lnTo>
                        <a:lnTo>
                          <a:pt x="1512" y="2034"/>
                        </a:lnTo>
                        <a:lnTo>
                          <a:pt x="1530" y="2034"/>
                        </a:lnTo>
                        <a:lnTo>
                          <a:pt x="1536" y="2028"/>
                        </a:lnTo>
                        <a:lnTo>
                          <a:pt x="1512" y="2028"/>
                        </a:lnTo>
                        <a:lnTo>
                          <a:pt x="1500" y="2016"/>
                        </a:lnTo>
                        <a:lnTo>
                          <a:pt x="1476" y="2016"/>
                        </a:lnTo>
                        <a:close/>
                        <a:moveTo>
                          <a:pt x="2802" y="1164"/>
                        </a:moveTo>
                        <a:lnTo>
                          <a:pt x="2802" y="1134"/>
                        </a:lnTo>
                        <a:lnTo>
                          <a:pt x="2796" y="1116"/>
                        </a:lnTo>
                        <a:lnTo>
                          <a:pt x="2796" y="1092"/>
                        </a:lnTo>
                        <a:lnTo>
                          <a:pt x="2790" y="1086"/>
                        </a:lnTo>
                        <a:lnTo>
                          <a:pt x="2778" y="1086"/>
                        </a:lnTo>
                        <a:lnTo>
                          <a:pt x="2772" y="1080"/>
                        </a:lnTo>
                        <a:lnTo>
                          <a:pt x="2760" y="1080"/>
                        </a:lnTo>
                        <a:lnTo>
                          <a:pt x="2760" y="1062"/>
                        </a:lnTo>
                        <a:lnTo>
                          <a:pt x="2742" y="1050"/>
                        </a:lnTo>
                        <a:lnTo>
                          <a:pt x="2742" y="1014"/>
                        </a:lnTo>
                        <a:lnTo>
                          <a:pt x="2736" y="1008"/>
                        </a:lnTo>
                        <a:lnTo>
                          <a:pt x="2724" y="1002"/>
                        </a:lnTo>
                        <a:lnTo>
                          <a:pt x="2718" y="996"/>
                        </a:lnTo>
                        <a:lnTo>
                          <a:pt x="2706" y="996"/>
                        </a:lnTo>
                        <a:lnTo>
                          <a:pt x="2712" y="996"/>
                        </a:lnTo>
                        <a:lnTo>
                          <a:pt x="2718" y="990"/>
                        </a:lnTo>
                        <a:lnTo>
                          <a:pt x="2730" y="990"/>
                        </a:lnTo>
                        <a:lnTo>
                          <a:pt x="2742" y="984"/>
                        </a:lnTo>
                        <a:lnTo>
                          <a:pt x="2760" y="966"/>
                        </a:lnTo>
                        <a:lnTo>
                          <a:pt x="2754" y="954"/>
                        </a:lnTo>
                        <a:lnTo>
                          <a:pt x="2736" y="936"/>
                        </a:lnTo>
                        <a:lnTo>
                          <a:pt x="2730" y="936"/>
                        </a:lnTo>
                        <a:lnTo>
                          <a:pt x="2730" y="930"/>
                        </a:lnTo>
                        <a:lnTo>
                          <a:pt x="2712" y="912"/>
                        </a:lnTo>
                        <a:lnTo>
                          <a:pt x="2700" y="906"/>
                        </a:lnTo>
                        <a:lnTo>
                          <a:pt x="2694" y="912"/>
                        </a:lnTo>
                        <a:lnTo>
                          <a:pt x="2694" y="936"/>
                        </a:lnTo>
                        <a:lnTo>
                          <a:pt x="2670" y="930"/>
                        </a:lnTo>
                        <a:lnTo>
                          <a:pt x="2670" y="924"/>
                        </a:lnTo>
                        <a:lnTo>
                          <a:pt x="2676" y="918"/>
                        </a:lnTo>
                        <a:lnTo>
                          <a:pt x="2676" y="906"/>
                        </a:lnTo>
                        <a:lnTo>
                          <a:pt x="2682" y="894"/>
                        </a:lnTo>
                        <a:lnTo>
                          <a:pt x="2688" y="876"/>
                        </a:lnTo>
                        <a:lnTo>
                          <a:pt x="2688" y="858"/>
                        </a:lnTo>
                        <a:lnTo>
                          <a:pt x="2682" y="852"/>
                        </a:lnTo>
                        <a:lnTo>
                          <a:pt x="2676" y="840"/>
                        </a:lnTo>
                        <a:lnTo>
                          <a:pt x="2670" y="840"/>
                        </a:lnTo>
                        <a:lnTo>
                          <a:pt x="2652" y="822"/>
                        </a:lnTo>
                        <a:lnTo>
                          <a:pt x="2652" y="816"/>
                        </a:lnTo>
                        <a:lnTo>
                          <a:pt x="2658" y="804"/>
                        </a:lnTo>
                        <a:lnTo>
                          <a:pt x="2658" y="792"/>
                        </a:lnTo>
                        <a:lnTo>
                          <a:pt x="2664" y="774"/>
                        </a:lnTo>
                        <a:lnTo>
                          <a:pt x="2664" y="762"/>
                        </a:lnTo>
                        <a:lnTo>
                          <a:pt x="2652" y="750"/>
                        </a:lnTo>
                        <a:lnTo>
                          <a:pt x="2628" y="732"/>
                        </a:lnTo>
                        <a:lnTo>
                          <a:pt x="2598" y="720"/>
                        </a:lnTo>
                        <a:lnTo>
                          <a:pt x="2580" y="708"/>
                        </a:lnTo>
                        <a:lnTo>
                          <a:pt x="2568" y="702"/>
                        </a:lnTo>
                        <a:lnTo>
                          <a:pt x="2556" y="708"/>
                        </a:lnTo>
                        <a:lnTo>
                          <a:pt x="2550" y="696"/>
                        </a:lnTo>
                        <a:lnTo>
                          <a:pt x="2538" y="684"/>
                        </a:lnTo>
                        <a:lnTo>
                          <a:pt x="2532" y="672"/>
                        </a:lnTo>
                        <a:lnTo>
                          <a:pt x="2520" y="660"/>
                        </a:lnTo>
                        <a:lnTo>
                          <a:pt x="2514" y="642"/>
                        </a:lnTo>
                        <a:lnTo>
                          <a:pt x="2514" y="594"/>
                        </a:lnTo>
                        <a:lnTo>
                          <a:pt x="2520" y="576"/>
                        </a:lnTo>
                        <a:lnTo>
                          <a:pt x="2526" y="564"/>
                        </a:lnTo>
                        <a:lnTo>
                          <a:pt x="2526" y="546"/>
                        </a:lnTo>
                        <a:lnTo>
                          <a:pt x="2520" y="504"/>
                        </a:lnTo>
                        <a:lnTo>
                          <a:pt x="2502" y="462"/>
                        </a:lnTo>
                        <a:lnTo>
                          <a:pt x="2490" y="426"/>
                        </a:lnTo>
                        <a:lnTo>
                          <a:pt x="2490" y="402"/>
                        </a:lnTo>
                        <a:lnTo>
                          <a:pt x="2496" y="390"/>
                        </a:lnTo>
                        <a:lnTo>
                          <a:pt x="2502" y="384"/>
                        </a:lnTo>
                        <a:lnTo>
                          <a:pt x="2502" y="324"/>
                        </a:lnTo>
                        <a:lnTo>
                          <a:pt x="2496" y="312"/>
                        </a:lnTo>
                        <a:lnTo>
                          <a:pt x="2496" y="300"/>
                        </a:lnTo>
                        <a:lnTo>
                          <a:pt x="2472" y="294"/>
                        </a:lnTo>
                        <a:lnTo>
                          <a:pt x="2460" y="288"/>
                        </a:lnTo>
                        <a:lnTo>
                          <a:pt x="2454" y="276"/>
                        </a:lnTo>
                        <a:lnTo>
                          <a:pt x="2442" y="270"/>
                        </a:lnTo>
                        <a:lnTo>
                          <a:pt x="2424" y="270"/>
                        </a:lnTo>
                        <a:lnTo>
                          <a:pt x="2418" y="282"/>
                        </a:lnTo>
                        <a:lnTo>
                          <a:pt x="2412" y="288"/>
                        </a:lnTo>
                        <a:lnTo>
                          <a:pt x="2412" y="282"/>
                        </a:lnTo>
                        <a:lnTo>
                          <a:pt x="2406" y="276"/>
                        </a:lnTo>
                        <a:lnTo>
                          <a:pt x="2400" y="264"/>
                        </a:lnTo>
                        <a:lnTo>
                          <a:pt x="2400" y="228"/>
                        </a:lnTo>
                        <a:lnTo>
                          <a:pt x="2406" y="216"/>
                        </a:lnTo>
                        <a:lnTo>
                          <a:pt x="2406" y="204"/>
                        </a:lnTo>
                        <a:lnTo>
                          <a:pt x="2388" y="180"/>
                        </a:lnTo>
                        <a:lnTo>
                          <a:pt x="2394" y="96"/>
                        </a:lnTo>
                        <a:lnTo>
                          <a:pt x="2382" y="90"/>
                        </a:lnTo>
                        <a:lnTo>
                          <a:pt x="2364" y="72"/>
                        </a:lnTo>
                        <a:lnTo>
                          <a:pt x="2364" y="66"/>
                        </a:lnTo>
                        <a:lnTo>
                          <a:pt x="2370" y="48"/>
                        </a:lnTo>
                        <a:lnTo>
                          <a:pt x="2370" y="24"/>
                        </a:lnTo>
                        <a:lnTo>
                          <a:pt x="2364" y="18"/>
                        </a:lnTo>
                        <a:lnTo>
                          <a:pt x="2346" y="18"/>
                        </a:lnTo>
                        <a:lnTo>
                          <a:pt x="2346" y="0"/>
                        </a:lnTo>
                        <a:lnTo>
                          <a:pt x="2316" y="12"/>
                        </a:lnTo>
                        <a:lnTo>
                          <a:pt x="2310" y="30"/>
                        </a:lnTo>
                        <a:lnTo>
                          <a:pt x="2298" y="36"/>
                        </a:lnTo>
                        <a:lnTo>
                          <a:pt x="2292" y="42"/>
                        </a:lnTo>
                        <a:lnTo>
                          <a:pt x="2280" y="48"/>
                        </a:lnTo>
                        <a:lnTo>
                          <a:pt x="2280" y="66"/>
                        </a:lnTo>
                        <a:lnTo>
                          <a:pt x="2286" y="78"/>
                        </a:lnTo>
                        <a:lnTo>
                          <a:pt x="2286" y="90"/>
                        </a:lnTo>
                        <a:lnTo>
                          <a:pt x="2292" y="102"/>
                        </a:lnTo>
                        <a:lnTo>
                          <a:pt x="2292" y="114"/>
                        </a:lnTo>
                        <a:lnTo>
                          <a:pt x="2286" y="126"/>
                        </a:lnTo>
                        <a:lnTo>
                          <a:pt x="2274" y="138"/>
                        </a:lnTo>
                        <a:lnTo>
                          <a:pt x="2268" y="150"/>
                        </a:lnTo>
                        <a:lnTo>
                          <a:pt x="2238" y="180"/>
                        </a:lnTo>
                        <a:lnTo>
                          <a:pt x="2256" y="192"/>
                        </a:lnTo>
                        <a:lnTo>
                          <a:pt x="2256" y="198"/>
                        </a:lnTo>
                        <a:lnTo>
                          <a:pt x="2250" y="204"/>
                        </a:lnTo>
                        <a:lnTo>
                          <a:pt x="2238" y="228"/>
                        </a:lnTo>
                        <a:lnTo>
                          <a:pt x="2232" y="234"/>
                        </a:lnTo>
                        <a:lnTo>
                          <a:pt x="2232" y="264"/>
                        </a:lnTo>
                        <a:lnTo>
                          <a:pt x="2238" y="276"/>
                        </a:lnTo>
                        <a:lnTo>
                          <a:pt x="2238" y="288"/>
                        </a:lnTo>
                        <a:lnTo>
                          <a:pt x="2232" y="300"/>
                        </a:lnTo>
                        <a:lnTo>
                          <a:pt x="2214" y="408"/>
                        </a:lnTo>
                        <a:lnTo>
                          <a:pt x="2208" y="432"/>
                        </a:lnTo>
                        <a:lnTo>
                          <a:pt x="2202" y="438"/>
                        </a:lnTo>
                        <a:lnTo>
                          <a:pt x="2190" y="462"/>
                        </a:lnTo>
                        <a:lnTo>
                          <a:pt x="2178" y="474"/>
                        </a:lnTo>
                        <a:lnTo>
                          <a:pt x="2172" y="486"/>
                        </a:lnTo>
                        <a:lnTo>
                          <a:pt x="2166" y="492"/>
                        </a:lnTo>
                        <a:lnTo>
                          <a:pt x="2166" y="516"/>
                        </a:lnTo>
                        <a:lnTo>
                          <a:pt x="2160" y="534"/>
                        </a:lnTo>
                        <a:lnTo>
                          <a:pt x="2154" y="546"/>
                        </a:lnTo>
                        <a:lnTo>
                          <a:pt x="2142" y="552"/>
                        </a:lnTo>
                        <a:lnTo>
                          <a:pt x="2088" y="570"/>
                        </a:lnTo>
                        <a:lnTo>
                          <a:pt x="2076" y="570"/>
                        </a:lnTo>
                        <a:lnTo>
                          <a:pt x="2064" y="576"/>
                        </a:lnTo>
                        <a:lnTo>
                          <a:pt x="2058" y="576"/>
                        </a:lnTo>
                        <a:lnTo>
                          <a:pt x="2058" y="570"/>
                        </a:lnTo>
                        <a:lnTo>
                          <a:pt x="2052" y="564"/>
                        </a:lnTo>
                        <a:lnTo>
                          <a:pt x="2028" y="516"/>
                        </a:lnTo>
                        <a:lnTo>
                          <a:pt x="2022" y="510"/>
                        </a:lnTo>
                        <a:lnTo>
                          <a:pt x="1998" y="492"/>
                        </a:lnTo>
                        <a:lnTo>
                          <a:pt x="1956" y="474"/>
                        </a:lnTo>
                        <a:lnTo>
                          <a:pt x="1920" y="462"/>
                        </a:lnTo>
                        <a:lnTo>
                          <a:pt x="1908" y="456"/>
                        </a:lnTo>
                        <a:lnTo>
                          <a:pt x="1896" y="438"/>
                        </a:lnTo>
                        <a:lnTo>
                          <a:pt x="1884" y="426"/>
                        </a:lnTo>
                        <a:lnTo>
                          <a:pt x="1872" y="402"/>
                        </a:lnTo>
                        <a:lnTo>
                          <a:pt x="1866" y="396"/>
                        </a:lnTo>
                        <a:lnTo>
                          <a:pt x="1830" y="396"/>
                        </a:lnTo>
                        <a:lnTo>
                          <a:pt x="1806" y="348"/>
                        </a:lnTo>
                        <a:lnTo>
                          <a:pt x="1824" y="330"/>
                        </a:lnTo>
                        <a:lnTo>
                          <a:pt x="1824" y="306"/>
                        </a:lnTo>
                        <a:lnTo>
                          <a:pt x="1830" y="294"/>
                        </a:lnTo>
                        <a:lnTo>
                          <a:pt x="1836" y="288"/>
                        </a:lnTo>
                        <a:lnTo>
                          <a:pt x="1848" y="282"/>
                        </a:lnTo>
                        <a:lnTo>
                          <a:pt x="1854" y="276"/>
                        </a:lnTo>
                        <a:lnTo>
                          <a:pt x="1848" y="228"/>
                        </a:lnTo>
                        <a:lnTo>
                          <a:pt x="1866" y="210"/>
                        </a:lnTo>
                        <a:lnTo>
                          <a:pt x="1872" y="216"/>
                        </a:lnTo>
                        <a:lnTo>
                          <a:pt x="1884" y="216"/>
                        </a:lnTo>
                        <a:lnTo>
                          <a:pt x="1890" y="222"/>
                        </a:lnTo>
                        <a:lnTo>
                          <a:pt x="1896" y="222"/>
                        </a:lnTo>
                        <a:lnTo>
                          <a:pt x="1902" y="216"/>
                        </a:lnTo>
                        <a:lnTo>
                          <a:pt x="1908" y="204"/>
                        </a:lnTo>
                        <a:lnTo>
                          <a:pt x="1908" y="180"/>
                        </a:lnTo>
                        <a:lnTo>
                          <a:pt x="1944" y="144"/>
                        </a:lnTo>
                        <a:lnTo>
                          <a:pt x="1938" y="132"/>
                        </a:lnTo>
                        <a:lnTo>
                          <a:pt x="1914" y="108"/>
                        </a:lnTo>
                        <a:lnTo>
                          <a:pt x="1890" y="108"/>
                        </a:lnTo>
                        <a:lnTo>
                          <a:pt x="1872" y="114"/>
                        </a:lnTo>
                        <a:lnTo>
                          <a:pt x="1848" y="126"/>
                        </a:lnTo>
                        <a:lnTo>
                          <a:pt x="1842" y="138"/>
                        </a:lnTo>
                        <a:lnTo>
                          <a:pt x="1842" y="120"/>
                        </a:lnTo>
                        <a:lnTo>
                          <a:pt x="1812" y="126"/>
                        </a:lnTo>
                        <a:lnTo>
                          <a:pt x="1794" y="138"/>
                        </a:lnTo>
                        <a:lnTo>
                          <a:pt x="1788" y="120"/>
                        </a:lnTo>
                        <a:lnTo>
                          <a:pt x="1752" y="114"/>
                        </a:lnTo>
                        <a:lnTo>
                          <a:pt x="1746" y="108"/>
                        </a:lnTo>
                        <a:lnTo>
                          <a:pt x="1734" y="102"/>
                        </a:lnTo>
                        <a:lnTo>
                          <a:pt x="1728" y="96"/>
                        </a:lnTo>
                        <a:lnTo>
                          <a:pt x="1716" y="90"/>
                        </a:lnTo>
                        <a:lnTo>
                          <a:pt x="1674" y="90"/>
                        </a:lnTo>
                        <a:lnTo>
                          <a:pt x="1662" y="84"/>
                        </a:lnTo>
                        <a:lnTo>
                          <a:pt x="1650" y="84"/>
                        </a:lnTo>
                        <a:lnTo>
                          <a:pt x="1650" y="78"/>
                        </a:lnTo>
                        <a:lnTo>
                          <a:pt x="1644" y="72"/>
                        </a:lnTo>
                        <a:lnTo>
                          <a:pt x="1632" y="48"/>
                        </a:lnTo>
                        <a:lnTo>
                          <a:pt x="1626" y="42"/>
                        </a:lnTo>
                        <a:lnTo>
                          <a:pt x="1620" y="42"/>
                        </a:lnTo>
                        <a:lnTo>
                          <a:pt x="1620" y="54"/>
                        </a:lnTo>
                        <a:lnTo>
                          <a:pt x="1614" y="60"/>
                        </a:lnTo>
                        <a:lnTo>
                          <a:pt x="1602" y="54"/>
                        </a:lnTo>
                        <a:lnTo>
                          <a:pt x="1596" y="54"/>
                        </a:lnTo>
                        <a:lnTo>
                          <a:pt x="1584" y="48"/>
                        </a:lnTo>
                        <a:lnTo>
                          <a:pt x="1566" y="48"/>
                        </a:lnTo>
                        <a:lnTo>
                          <a:pt x="1566" y="60"/>
                        </a:lnTo>
                        <a:lnTo>
                          <a:pt x="1572" y="66"/>
                        </a:lnTo>
                        <a:lnTo>
                          <a:pt x="1554" y="66"/>
                        </a:lnTo>
                        <a:lnTo>
                          <a:pt x="1548" y="72"/>
                        </a:lnTo>
                        <a:lnTo>
                          <a:pt x="1548" y="78"/>
                        </a:lnTo>
                        <a:lnTo>
                          <a:pt x="1554" y="84"/>
                        </a:lnTo>
                        <a:lnTo>
                          <a:pt x="1566" y="84"/>
                        </a:lnTo>
                        <a:lnTo>
                          <a:pt x="1590" y="96"/>
                        </a:lnTo>
                        <a:lnTo>
                          <a:pt x="1596" y="96"/>
                        </a:lnTo>
                        <a:lnTo>
                          <a:pt x="1608" y="90"/>
                        </a:lnTo>
                        <a:lnTo>
                          <a:pt x="1614" y="84"/>
                        </a:lnTo>
                        <a:lnTo>
                          <a:pt x="1644" y="102"/>
                        </a:lnTo>
                        <a:lnTo>
                          <a:pt x="1638" y="102"/>
                        </a:lnTo>
                        <a:lnTo>
                          <a:pt x="1632" y="108"/>
                        </a:lnTo>
                        <a:lnTo>
                          <a:pt x="1596" y="126"/>
                        </a:lnTo>
                        <a:lnTo>
                          <a:pt x="1572" y="126"/>
                        </a:lnTo>
                        <a:lnTo>
                          <a:pt x="1554" y="132"/>
                        </a:lnTo>
                        <a:lnTo>
                          <a:pt x="1512" y="132"/>
                        </a:lnTo>
                        <a:lnTo>
                          <a:pt x="1500" y="138"/>
                        </a:lnTo>
                        <a:lnTo>
                          <a:pt x="1482" y="144"/>
                        </a:lnTo>
                        <a:lnTo>
                          <a:pt x="1470" y="156"/>
                        </a:lnTo>
                        <a:lnTo>
                          <a:pt x="1452" y="162"/>
                        </a:lnTo>
                        <a:lnTo>
                          <a:pt x="1440" y="168"/>
                        </a:lnTo>
                        <a:lnTo>
                          <a:pt x="1434" y="174"/>
                        </a:lnTo>
                        <a:lnTo>
                          <a:pt x="1428" y="174"/>
                        </a:lnTo>
                        <a:lnTo>
                          <a:pt x="1428" y="186"/>
                        </a:lnTo>
                        <a:lnTo>
                          <a:pt x="1422" y="204"/>
                        </a:lnTo>
                        <a:lnTo>
                          <a:pt x="1422" y="228"/>
                        </a:lnTo>
                        <a:lnTo>
                          <a:pt x="1428" y="234"/>
                        </a:lnTo>
                        <a:lnTo>
                          <a:pt x="1440" y="240"/>
                        </a:lnTo>
                        <a:lnTo>
                          <a:pt x="1446" y="246"/>
                        </a:lnTo>
                        <a:lnTo>
                          <a:pt x="1452" y="246"/>
                        </a:lnTo>
                        <a:lnTo>
                          <a:pt x="1398" y="246"/>
                        </a:lnTo>
                        <a:lnTo>
                          <a:pt x="1368" y="282"/>
                        </a:lnTo>
                        <a:lnTo>
                          <a:pt x="1368" y="312"/>
                        </a:lnTo>
                        <a:lnTo>
                          <a:pt x="1362" y="324"/>
                        </a:lnTo>
                        <a:lnTo>
                          <a:pt x="1362" y="330"/>
                        </a:lnTo>
                        <a:lnTo>
                          <a:pt x="1368" y="336"/>
                        </a:lnTo>
                        <a:lnTo>
                          <a:pt x="1380" y="336"/>
                        </a:lnTo>
                        <a:lnTo>
                          <a:pt x="1404" y="348"/>
                        </a:lnTo>
                        <a:lnTo>
                          <a:pt x="1410" y="354"/>
                        </a:lnTo>
                        <a:lnTo>
                          <a:pt x="1410" y="390"/>
                        </a:lnTo>
                        <a:lnTo>
                          <a:pt x="1386" y="366"/>
                        </a:lnTo>
                        <a:lnTo>
                          <a:pt x="1356" y="366"/>
                        </a:lnTo>
                        <a:lnTo>
                          <a:pt x="1344" y="390"/>
                        </a:lnTo>
                        <a:lnTo>
                          <a:pt x="1308" y="354"/>
                        </a:lnTo>
                        <a:lnTo>
                          <a:pt x="1302" y="384"/>
                        </a:lnTo>
                        <a:lnTo>
                          <a:pt x="1278" y="396"/>
                        </a:lnTo>
                        <a:lnTo>
                          <a:pt x="1284" y="420"/>
                        </a:lnTo>
                        <a:lnTo>
                          <a:pt x="1254" y="414"/>
                        </a:lnTo>
                        <a:lnTo>
                          <a:pt x="1284" y="354"/>
                        </a:lnTo>
                        <a:lnTo>
                          <a:pt x="1278" y="348"/>
                        </a:lnTo>
                        <a:lnTo>
                          <a:pt x="1272" y="336"/>
                        </a:lnTo>
                        <a:lnTo>
                          <a:pt x="1272" y="324"/>
                        </a:lnTo>
                        <a:lnTo>
                          <a:pt x="1266" y="318"/>
                        </a:lnTo>
                        <a:lnTo>
                          <a:pt x="1254" y="312"/>
                        </a:lnTo>
                        <a:lnTo>
                          <a:pt x="1236" y="312"/>
                        </a:lnTo>
                        <a:lnTo>
                          <a:pt x="1224" y="282"/>
                        </a:lnTo>
                        <a:lnTo>
                          <a:pt x="1224" y="276"/>
                        </a:lnTo>
                        <a:lnTo>
                          <a:pt x="1230" y="270"/>
                        </a:lnTo>
                        <a:lnTo>
                          <a:pt x="1230" y="258"/>
                        </a:lnTo>
                        <a:lnTo>
                          <a:pt x="1224" y="246"/>
                        </a:lnTo>
                        <a:lnTo>
                          <a:pt x="1218" y="240"/>
                        </a:lnTo>
                        <a:lnTo>
                          <a:pt x="1206" y="234"/>
                        </a:lnTo>
                        <a:lnTo>
                          <a:pt x="1194" y="240"/>
                        </a:lnTo>
                        <a:lnTo>
                          <a:pt x="1188" y="246"/>
                        </a:lnTo>
                        <a:lnTo>
                          <a:pt x="1176" y="252"/>
                        </a:lnTo>
                        <a:lnTo>
                          <a:pt x="1176" y="264"/>
                        </a:lnTo>
                        <a:lnTo>
                          <a:pt x="1182" y="270"/>
                        </a:lnTo>
                        <a:lnTo>
                          <a:pt x="1182" y="282"/>
                        </a:lnTo>
                        <a:lnTo>
                          <a:pt x="1146" y="276"/>
                        </a:lnTo>
                        <a:lnTo>
                          <a:pt x="1152" y="306"/>
                        </a:lnTo>
                        <a:lnTo>
                          <a:pt x="1134" y="300"/>
                        </a:lnTo>
                        <a:lnTo>
                          <a:pt x="1116" y="306"/>
                        </a:lnTo>
                        <a:lnTo>
                          <a:pt x="1122" y="312"/>
                        </a:lnTo>
                        <a:lnTo>
                          <a:pt x="1122" y="330"/>
                        </a:lnTo>
                        <a:lnTo>
                          <a:pt x="1116" y="342"/>
                        </a:lnTo>
                        <a:lnTo>
                          <a:pt x="1110" y="348"/>
                        </a:lnTo>
                        <a:lnTo>
                          <a:pt x="1098" y="354"/>
                        </a:lnTo>
                        <a:lnTo>
                          <a:pt x="1092" y="360"/>
                        </a:lnTo>
                        <a:lnTo>
                          <a:pt x="1104" y="324"/>
                        </a:lnTo>
                        <a:lnTo>
                          <a:pt x="1080" y="348"/>
                        </a:lnTo>
                        <a:lnTo>
                          <a:pt x="1062" y="348"/>
                        </a:lnTo>
                        <a:lnTo>
                          <a:pt x="1056" y="360"/>
                        </a:lnTo>
                        <a:lnTo>
                          <a:pt x="1050" y="366"/>
                        </a:lnTo>
                        <a:lnTo>
                          <a:pt x="1050" y="378"/>
                        </a:lnTo>
                        <a:lnTo>
                          <a:pt x="1056" y="390"/>
                        </a:lnTo>
                        <a:lnTo>
                          <a:pt x="1056" y="396"/>
                        </a:lnTo>
                        <a:lnTo>
                          <a:pt x="1062" y="408"/>
                        </a:lnTo>
                        <a:lnTo>
                          <a:pt x="1014" y="384"/>
                        </a:lnTo>
                        <a:lnTo>
                          <a:pt x="1008" y="420"/>
                        </a:lnTo>
                        <a:lnTo>
                          <a:pt x="996" y="426"/>
                        </a:lnTo>
                        <a:lnTo>
                          <a:pt x="1008" y="450"/>
                        </a:lnTo>
                        <a:lnTo>
                          <a:pt x="1032" y="450"/>
                        </a:lnTo>
                        <a:lnTo>
                          <a:pt x="1026" y="468"/>
                        </a:lnTo>
                        <a:lnTo>
                          <a:pt x="954" y="474"/>
                        </a:lnTo>
                        <a:lnTo>
                          <a:pt x="948" y="468"/>
                        </a:lnTo>
                        <a:lnTo>
                          <a:pt x="936" y="462"/>
                        </a:lnTo>
                        <a:lnTo>
                          <a:pt x="930" y="462"/>
                        </a:lnTo>
                        <a:lnTo>
                          <a:pt x="918" y="468"/>
                        </a:lnTo>
                        <a:lnTo>
                          <a:pt x="912" y="474"/>
                        </a:lnTo>
                        <a:lnTo>
                          <a:pt x="918" y="486"/>
                        </a:lnTo>
                        <a:lnTo>
                          <a:pt x="918" y="492"/>
                        </a:lnTo>
                        <a:lnTo>
                          <a:pt x="924" y="504"/>
                        </a:lnTo>
                        <a:lnTo>
                          <a:pt x="930" y="510"/>
                        </a:lnTo>
                        <a:lnTo>
                          <a:pt x="930" y="540"/>
                        </a:lnTo>
                        <a:lnTo>
                          <a:pt x="924" y="564"/>
                        </a:lnTo>
                        <a:lnTo>
                          <a:pt x="930" y="600"/>
                        </a:lnTo>
                        <a:lnTo>
                          <a:pt x="912" y="600"/>
                        </a:lnTo>
                        <a:lnTo>
                          <a:pt x="906" y="522"/>
                        </a:lnTo>
                        <a:lnTo>
                          <a:pt x="888" y="510"/>
                        </a:lnTo>
                        <a:lnTo>
                          <a:pt x="888" y="480"/>
                        </a:lnTo>
                        <a:lnTo>
                          <a:pt x="870" y="480"/>
                        </a:lnTo>
                        <a:lnTo>
                          <a:pt x="852" y="504"/>
                        </a:lnTo>
                        <a:lnTo>
                          <a:pt x="822" y="534"/>
                        </a:lnTo>
                        <a:lnTo>
                          <a:pt x="804" y="546"/>
                        </a:lnTo>
                        <a:lnTo>
                          <a:pt x="792" y="558"/>
                        </a:lnTo>
                        <a:lnTo>
                          <a:pt x="786" y="570"/>
                        </a:lnTo>
                        <a:lnTo>
                          <a:pt x="786" y="600"/>
                        </a:lnTo>
                        <a:lnTo>
                          <a:pt x="792" y="606"/>
                        </a:lnTo>
                        <a:lnTo>
                          <a:pt x="792" y="618"/>
                        </a:lnTo>
                        <a:lnTo>
                          <a:pt x="798" y="618"/>
                        </a:lnTo>
                        <a:lnTo>
                          <a:pt x="816" y="636"/>
                        </a:lnTo>
                        <a:lnTo>
                          <a:pt x="810" y="648"/>
                        </a:lnTo>
                        <a:lnTo>
                          <a:pt x="792" y="654"/>
                        </a:lnTo>
                        <a:lnTo>
                          <a:pt x="774" y="666"/>
                        </a:lnTo>
                        <a:lnTo>
                          <a:pt x="750" y="678"/>
                        </a:lnTo>
                        <a:lnTo>
                          <a:pt x="750" y="696"/>
                        </a:lnTo>
                        <a:lnTo>
                          <a:pt x="720" y="726"/>
                        </a:lnTo>
                        <a:lnTo>
                          <a:pt x="702" y="732"/>
                        </a:lnTo>
                        <a:lnTo>
                          <a:pt x="690" y="744"/>
                        </a:lnTo>
                        <a:lnTo>
                          <a:pt x="666" y="756"/>
                        </a:lnTo>
                        <a:lnTo>
                          <a:pt x="630" y="762"/>
                        </a:lnTo>
                        <a:lnTo>
                          <a:pt x="600" y="768"/>
                        </a:lnTo>
                        <a:lnTo>
                          <a:pt x="588" y="768"/>
                        </a:lnTo>
                        <a:lnTo>
                          <a:pt x="534" y="762"/>
                        </a:lnTo>
                        <a:lnTo>
                          <a:pt x="492" y="780"/>
                        </a:lnTo>
                        <a:lnTo>
                          <a:pt x="438" y="786"/>
                        </a:lnTo>
                        <a:lnTo>
                          <a:pt x="432" y="798"/>
                        </a:lnTo>
                        <a:lnTo>
                          <a:pt x="414" y="798"/>
                        </a:lnTo>
                        <a:lnTo>
                          <a:pt x="402" y="804"/>
                        </a:lnTo>
                        <a:lnTo>
                          <a:pt x="396" y="810"/>
                        </a:lnTo>
                        <a:lnTo>
                          <a:pt x="384" y="816"/>
                        </a:lnTo>
                        <a:lnTo>
                          <a:pt x="372" y="828"/>
                        </a:lnTo>
                        <a:lnTo>
                          <a:pt x="342" y="828"/>
                        </a:lnTo>
                        <a:lnTo>
                          <a:pt x="324" y="834"/>
                        </a:lnTo>
                        <a:lnTo>
                          <a:pt x="312" y="840"/>
                        </a:lnTo>
                        <a:lnTo>
                          <a:pt x="306" y="852"/>
                        </a:lnTo>
                        <a:lnTo>
                          <a:pt x="294" y="858"/>
                        </a:lnTo>
                        <a:lnTo>
                          <a:pt x="288" y="870"/>
                        </a:lnTo>
                        <a:lnTo>
                          <a:pt x="282" y="876"/>
                        </a:lnTo>
                        <a:lnTo>
                          <a:pt x="282" y="882"/>
                        </a:lnTo>
                        <a:lnTo>
                          <a:pt x="276" y="882"/>
                        </a:lnTo>
                        <a:lnTo>
                          <a:pt x="270" y="888"/>
                        </a:lnTo>
                        <a:lnTo>
                          <a:pt x="252" y="888"/>
                        </a:lnTo>
                        <a:lnTo>
                          <a:pt x="240" y="894"/>
                        </a:lnTo>
                        <a:lnTo>
                          <a:pt x="228" y="894"/>
                        </a:lnTo>
                        <a:lnTo>
                          <a:pt x="216" y="900"/>
                        </a:lnTo>
                        <a:lnTo>
                          <a:pt x="210" y="906"/>
                        </a:lnTo>
                        <a:lnTo>
                          <a:pt x="198" y="912"/>
                        </a:lnTo>
                        <a:lnTo>
                          <a:pt x="192" y="930"/>
                        </a:lnTo>
                        <a:lnTo>
                          <a:pt x="150" y="972"/>
                        </a:lnTo>
                        <a:lnTo>
                          <a:pt x="150" y="978"/>
                        </a:lnTo>
                        <a:lnTo>
                          <a:pt x="162" y="912"/>
                        </a:lnTo>
                        <a:lnTo>
                          <a:pt x="144" y="918"/>
                        </a:lnTo>
                        <a:lnTo>
                          <a:pt x="120" y="978"/>
                        </a:lnTo>
                        <a:lnTo>
                          <a:pt x="90" y="1038"/>
                        </a:lnTo>
                        <a:lnTo>
                          <a:pt x="90" y="1056"/>
                        </a:lnTo>
                        <a:lnTo>
                          <a:pt x="96" y="1062"/>
                        </a:lnTo>
                        <a:lnTo>
                          <a:pt x="108" y="1068"/>
                        </a:lnTo>
                        <a:lnTo>
                          <a:pt x="114" y="1068"/>
                        </a:lnTo>
                        <a:lnTo>
                          <a:pt x="108" y="1080"/>
                        </a:lnTo>
                        <a:lnTo>
                          <a:pt x="96" y="1086"/>
                        </a:lnTo>
                        <a:lnTo>
                          <a:pt x="90" y="1098"/>
                        </a:lnTo>
                        <a:lnTo>
                          <a:pt x="66" y="1122"/>
                        </a:lnTo>
                        <a:lnTo>
                          <a:pt x="66" y="1134"/>
                        </a:lnTo>
                        <a:lnTo>
                          <a:pt x="72" y="1152"/>
                        </a:lnTo>
                        <a:lnTo>
                          <a:pt x="72" y="1164"/>
                        </a:lnTo>
                        <a:lnTo>
                          <a:pt x="84" y="1188"/>
                        </a:lnTo>
                        <a:lnTo>
                          <a:pt x="84" y="1200"/>
                        </a:lnTo>
                        <a:lnTo>
                          <a:pt x="102" y="1236"/>
                        </a:lnTo>
                        <a:lnTo>
                          <a:pt x="108" y="1254"/>
                        </a:lnTo>
                        <a:lnTo>
                          <a:pt x="114" y="1266"/>
                        </a:lnTo>
                        <a:lnTo>
                          <a:pt x="114" y="1278"/>
                        </a:lnTo>
                        <a:lnTo>
                          <a:pt x="108" y="1278"/>
                        </a:lnTo>
                        <a:lnTo>
                          <a:pt x="96" y="1266"/>
                        </a:lnTo>
                        <a:lnTo>
                          <a:pt x="90" y="1254"/>
                        </a:lnTo>
                        <a:lnTo>
                          <a:pt x="72" y="1236"/>
                        </a:lnTo>
                        <a:lnTo>
                          <a:pt x="66" y="1224"/>
                        </a:lnTo>
                        <a:lnTo>
                          <a:pt x="48" y="1218"/>
                        </a:lnTo>
                        <a:lnTo>
                          <a:pt x="66" y="1266"/>
                        </a:lnTo>
                        <a:lnTo>
                          <a:pt x="30" y="1236"/>
                        </a:lnTo>
                        <a:lnTo>
                          <a:pt x="30" y="1290"/>
                        </a:lnTo>
                        <a:lnTo>
                          <a:pt x="60" y="1350"/>
                        </a:lnTo>
                        <a:lnTo>
                          <a:pt x="66" y="1356"/>
                        </a:lnTo>
                        <a:lnTo>
                          <a:pt x="66" y="1368"/>
                        </a:lnTo>
                        <a:lnTo>
                          <a:pt x="60" y="1374"/>
                        </a:lnTo>
                        <a:lnTo>
                          <a:pt x="54" y="1386"/>
                        </a:lnTo>
                        <a:lnTo>
                          <a:pt x="54" y="1398"/>
                        </a:lnTo>
                        <a:lnTo>
                          <a:pt x="48" y="1410"/>
                        </a:lnTo>
                        <a:lnTo>
                          <a:pt x="54" y="1416"/>
                        </a:lnTo>
                        <a:lnTo>
                          <a:pt x="60" y="1428"/>
                        </a:lnTo>
                        <a:lnTo>
                          <a:pt x="78" y="1446"/>
                        </a:lnTo>
                        <a:lnTo>
                          <a:pt x="84" y="1458"/>
                        </a:lnTo>
                        <a:lnTo>
                          <a:pt x="90" y="1464"/>
                        </a:lnTo>
                        <a:lnTo>
                          <a:pt x="96" y="1476"/>
                        </a:lnTo>
                        <a:lnTo>
                          <a:pt x="96" y="1506"/>
                        </a:lnTo>
                        <a:lnTo>
                          <a:pt x="90" y="1518"/>
                        </a:lnTo>
                        <a:lnTo>
                          <a:pt x="84" y="1524"/>
                        </a:lnTo>
                        <a:lnTo>
                          <a:pt x="90" y="1542"/>
                        </a:lnTo>
                        <a:lnTo>
                          <a:pt x="90" y="1554"/>
                        </a:lnTo>
                        <a:lnTo>
                          <a:pt x="96" y="1572"/>
                        </a:lnTo>
                        <a:lnTo>
                          <a:pt x="96" y="1590"/>
                        </a:lnTo>
                        <a:lnTo>
                          <a:pt x="102" y="1596"/>
                        </a:lnTo>
                        <a:lnTo>
                          <a:pt x="102" y="1602"/>
                        </a:lnTo>
                        <a:lnTo>
                          <a:pt x="96" y="1602"/>
                        </a:lnTo>
                        <a:lnTo>
                          <a:pt x="78" y="1620"/>
                        </a:lnTo>
                        <a:lnTo>
                          <a:pt x="84" y="1626"/>
                        </a:lnTo>
                        <a:lnTo>
                          <a:pt x="84" y="1638"/>
                        </a:lnTo>
                        <a:lnTo>
                          <a:pt x="90" y="1650"/>
                        </a:lnTo>
                        <a:lnTo>
                          <a:pt x="90" y="1662"/>
                        </a:lnTo>
                        <a:lnTo>
                          <a:pt x="96" y="1668"/>
                        </a:lnTo>
                        <a:lnTo>
                          <a:pt x="96" y="1674"/>
                        </a:lnTo>
                        <a:lnTo>
                          <a:pt x="102" y="1674"/>
                        </a:lnTo>
                        <a:lnTo>
                          <a:pt x="108" y="1680"/>
                        </a:lnTo>
                        <a:lnTo>
                          <a:pt x="126" y="1716"/>
                        </a:lnTo>
                        <a:lnTo>
                          <a:pt x="126" y="1728"/>
                        </a:lnTo>
                        <a:lnTo>
                          <a:pt x="108" y="1764"/>
                        </a:lnTo>
                        <a:lnTo>
                          <a:pt x="90" y="1782"/>
                        </a:lnTo>
                        <a:lnTo>
                          <a:pt x="90" y="1824"/>
                        </a:lnTo>
                        <a:lnTo>
                          <a:pt x="84" y="1842"/>
                        </a:lnTo>
                        <a:lnTo>
                          <a:pt x="60" y="1866"/>
                        </a:lnTo>
                        <a:lnTo>
                          <a:pt x="42" y="1866"/>
                        </a:lnTo>
                        <a:lnTo>
                          <a:pt x="30" y="1872"/>
                        </a:lnTo>
                        <a:lnTo>
                          <a:pt x="18" y="1866"/>
                        </a:lnTo>
                        <a:lnTo>
                          <a:pt x="6" y="1866"/>
                        </a:lnTo>
                        <a:lnTo>
                          <a:pt x="0" y="1920"/>
                        </a:lnTo>
                        <a:lnTo>
                          <a:pt x="12" y="1920"/>
                        </a:lnTo>
                        <a:lnTo>
                          <a:pt x="24" y="1926"/>
                        </a:lnTo>
                        <a:lnTo>
                          <a:pt x="42" y="1926"/>
                        </a:lnTo>
                        <a:lnTo>
                          <a:pt x="54" y="1932"/>
                        </a:lnTo>
                        <a:lnTo>
                          <a:pt x="72" y="1950"/>
                        </a:lnTo>
                        <a:lnTo>
                          <a:pt x="78" y="1962"/>
                        </a:lnTo>
                        <a:lnTo>
                          <a:pt x="108" y="1956"/>
                        </a:lnTo>
                        <a:lnTo>
                          <a:pt x="114" y="1968"/>
                        </a:lnTo>
                        <a:lnTo>
                          <a:pt x="138" y="1980"/>
                        </a:lnTo>
                        <a:lnTo>
                          <a:pt x="174" y="1980"/>
                        </a:lnTo>
                        <a:lnTo>
                          <a:pt x="210" y="1968"/>
                        </a:lnTo>
                        <a:lnTo>
                          <a:pt x="234" y="1968"/>
                        </a:lnTo>
                        <a:lnTo>
                          <a:pt x="234" y="1950"/>
                        </a:lnTo>
                        <a:lnTo>
                          <a:pt x="228" y="1944"/>
                        </a:lnTo>
                        <a:lnTo>
                          <a:pt x="264" y="1950"/>
                        </a:lnTo>
                        <a:lnTo>
                          <a:pt x="276" y="1932"/>
                        </a:lnTo>
                        <a:lnTo>
                          <a:pt x="318" y="1926"/>
                        </a:lnTo>
                        <a:lnTo>
                          <a:pt x="354" y="1890"/>
                        </a:lnTo>
                        <a:lnTo>
                          <a:pt x="366" y="1884"/>
                        </a:lnTo>
                        <a:lnTo>
                          <a:pt x="372" y="1884"/>
                        </a:lnTo>
                        <a:lnTo>
                          <a:pt x="420" y="1908"/>
                        </a:lnTo>
                        <a:lnTo>
                          <a:pt x="426" y="1902"/>
                        </a:lnTo>
                        <a:lnTo>
                          <a:pt x="474" y="1878"/>
                        </a:lnTo>
                        <a:lnTo>
                          <a:pt x="480" y="1872"/>
                        </a:lnTo>
                        <a:lnTo>
                          <a:pt x="486" y="1872"/>
                        </a:lnTo>
                        <a:lnTo>
                          <a:pt x="498" y="1878"/>
                        </a:lnTo>
                        <a:lnTo>
                          <a:pt x="504" y="1884"/>
                        </a:lnTo>
                        <a:lnTo>
                          <a:pt x="516" y="1884"/>
                        </a:lnTo>
                        <a:lnTo>
                          <a:pt x="528" y="1890"/>
                        </a:lnTo>
                        <a:lnTo>
                          <a:pt x="534" y="1890"/>
                        </a:lnTo>
                        <a:lnTo>
                          <a:pt x="552" y="1884"/>
                        </a:lnTo>
                        <a:lnTo>
                          <a:pt x="576" y="1872"/>
                        </a:lnTo>
                        <a:lnTo>
                          <a:pt x="582" y="1872"/>
                        </a:lnTo>
                        <a:lnTo>
                          <a:pt x="594" y="1878"/>
                        </a:lnTo>
                        <a:lnTo>
                          <a:pt x="606" y="1878"/>
                        </a:lnTo>
                        <a:lnTo>
                          <a:pt x="624" y="1884"/>
                        </a:lnTo>
                        <a:lnTo>
                          <a:pt x="636" y="1884"/>
                        </a:lnTo>
                        <a:lnTo>
                          <a:pt x="648" y="1878"/>
                        </a:lnTo>
                        <a:lnTo>
                          <a:pt x="654" y="1872"/>
                        </a:lnTo>
                        <a:lnTo>
                          <a:pt x="654" y="1848"/>
                        </a:lnTo>
                        <a:lnTo>
                          <a:pt x="666" y="1848"/>
                        </a:lnTo>
                        <a:lnTo>
                          <a:pt x="672" y="1842"/>
                        </a:lnTo>
                        <a:lnTo>
                          <a:pt x="678" y="1842"/>
                        </a:lnTo>
                        <a:lnTo>
                          <a:pt x="684" y="1836"/>
                        </a:lnTo>
                        <a:lnTo>
                          <a:pt x="690" y="1824"/>
                        </a:lnTo>
                        <a:lnTo>
                          <a:pt x="702" y="1788"/>
                        </a:lnTo>
                        <a:lnTo>
                          <a:pt x="714" y="1776"/>
                        </a:lnTo>
                        <a:lnTo>
                          <a:pt x="726" y="1770"/>
                        </a:lnTo>
                        <a:lnTo>
                          <a:pt x="744" y="1764"/>
                        </a:lnTo>
                        <a:lnTo>
                          <a:pt x="756" y="1764"/>
                        </a:lnTo>
                        <a:lnTo>
                          <a:pt x="774" y="1770"/>
                        </a:lnTo>
                        <a:lnTo>
                          <a:pt x="798" y="1770"/>
                        </a:lnTo>
                        <a:lnTo>
                          <a:pt x="822" y="1758"/>
                        </a:lnTo>
                        <a:lnTo>
                          <a:pt x="840" y="1752"/>
                        </a:lnTo>
                        <a:lnTo>
                          <a:pt x="858" y="1740"/>
                        </a:lnTo>
                        <a:lnTo>
                          <a:pt x="876" y="1734"/>
                        </a:lnTo>
                        <a:lnTo>
                          <a:pt x="912" y="1734"/>
                        </a:lnTo>
                        <a:lnTo>
                          <a:pt x="918" y="1740"/>
                        </a:lnTo>
                        <a:lnTo>
                          <a:pt x="930" y="1740"/>
                        </a:lnTo>
                        <a:lnTo>
                          <a:pt x="942" y="1746"/>
                        </a:lnTo>
                        <a:lnTo>
                          <a:pt x="972" y="1740"/>
                        </a:lnTo>
                        <a:lnTo>
                          <a:pt x="1044" y="1704"/>
                        </a:lnTo>
                        <a:lnTo>
                          <a:pt x="1074" y="1692"/>
                        </a:lnTo>
                        <a:lnTo>
                          <a:pt x="1098" y="1686"/>
                        </a:lnTo>
                        <a:lnTo>
                          <a:pt x="1140" y="1680"/>
                        </a:lnTo>
                        <a:lnTo>
                          <a:pt x="1176" y="1674"/>
                        </a:lnTo>
                        <a:lnTo>
                          <a:pt x="1224" y="1674"/>
                        </a:lnTo>
                        <a:lnTo>
                          <a:pt x="1236" y="1662"/>
                        </a:lnTo>
                        <a:lnTo>
                          <a:pt x="1254" y="1680"/>
                        </a:lnTo>
                        <a:lnTo>
                          <a:pt x="1266" y="1686"/>
                        </a:lnTo>
                        <a:lnTo>
                          <a:pt x="1278" y="1698"/>
                        </a:lnTo>
                        <a:lnTo>
                          <a:pt x="1302" y="1710"/>
                        </a:lnTo>
                        <a:lnTo>
                          <a:pt x="1320" y="1716"/>
                        </a:lnTo>
                        <a:lnTo>
                          <a:pt x="1332" y="1716"/>
                        </a:lnTo>
                        <a:lnTo>
                          <a:pt x="1338" y="1710"/>
                        </a:lnTo>
                        <a:lnTo>
                          <a:pt x="1338" y="1716"/>
                        </a:lnTo>
                        <a:lnTo>
                          <a:pt x="1344" y="1722"/>
                        </a:lnTo>
                        <a:lnTo>
                          <a:pt x="1350" y="1734"/>
                        </a:lnTo>
                        <a:lnTo>
                          <a:pt x="1356" y="1740"/>
                        </a:lnTo>
                        <a:lnTo>
                          <a:pt x="1374" y="1740"/>
                        </a:lnTo>
                        <a:lnTo>
                          <a:pt x="1380" y="1734"/>
                        </a:lnTo>
                        <a:lnTo>
                          <a:pt x="1380" y="1752"/>
                        </a:lnTo>
                        <a:lnTo>
                          <a:pt x="1392" y="1752"/>
                        </a:lnTo>
                        <a:lnTo>
                          <a:pt x="1398" y="1758"/>
                        </a:lnTo>
                        <a:lnTo>
                          <a:pt x="1398" y="1770"/>
                        </a:lnTo>
                        <a:lnTo>
                          <a:pt x="1386" y="1794"/>
                        </a:lnTo>
                        <a:lnTo>
                          <a:pt x="1380" y="1800"/>
                        </a:lnTo>
                        <a:lnTo>
                          <a:pt x="1374" y="1812"/>
                        </a:lnTo>
                        <a:lnTo>
                          <a:pt x="1392" y="1842"/>
                        </a:lnTo>
                        <a:lnTo>
                          <a:pt x="1410" y="1830"/>
                        </a:lnTo>
                        <a:lnTo>
                          <a:pt x="1428" y="1866"/>
                        </a:lnTo>
                        <a:lnTo>
                          <a:pt x="1428" y="1872"/>
                        </a:lnTo>
                        <a:lnTo>
                          <a:pt x="1434" y="1878"/>
                        </a:lnTo>
                        <a:lnTo>
                          <a:pt x="1434" y="1902"/>
                        </a:lnTo>
                        <a:lnTo>
                          <a:pt x="1440" y="1914"/>
                        </a:lnTo>
                        <a:lnTo>
                          <a:pt x="1440" y="1926"/>
                        </a:lnTo>
                        <a:lnTo>
                          <a:pt x="1422" y="1926"/>
                        </a:lnTo>
                        <a:lnTo>
                          <a:pt x="1410" y="1920"/>
                        </a:lnTo>
                        <a:lnTo>
                          <a:pt x="1404" y="1920"/>
                        </a:lnTo>
                        <a:lnTo>
                          <a:pt x="1410" y="1956"/>
                        </a:lnTo>
                        <a:lnTo>
                          <a:pt x="1446" y="1956"/>
                        </a:lnTo>
                        <a:lnTo>
                          <a:pt x="1452" y="1962"/>
                        </a:lnTo>
                        <a:lnTo>
                          <a:pt x="1452" y="1968"/>
                        </a:lnTo>
                        <a:lnTo>
                          <a:pt x="1470" y="1968"/>
                        </a:lnTo>
                        <a:lnTo>
                          <a:pt x="1470" y="1956"/>
                        </a:lnTo>
                        <a:lnTo>
                          <a:pt x="1464" y="1938"/>
                        </a:lnTo>
                        <a:lnTo>
                          <a:pt x="1464" y="1926"/>
                        </a:lnTo>
                        <a:lnTo>
                          <a:pt x="1470" y="1914"/>
                        </a:lnTo>
                        <a:lnTo>
                          <a:pt x="1476" y="1908"/>
                        </a:lnTo>
                        <a:lnTo>
                          <a:pt x="1500" y="1896"/>
                        </a:lnTo>
                        <a:lnTo>
                          <a:pt x="1512" y="1896"/>
                        </a:lnTo>
                        <a:lnTo>
                          <a:pt x="1518" y="1890"/>
                        </a:lnTo>
                        <a:lnTo>
                          <a:pt x="1530" y="1884"/>
                        </a:lnTo>
                        <a:lnTo>
                          <a:pt x="1542" y="1872"/>
                        </a:lnTo>
                        <a:lnTo>
                          <a:pt x="1548" y="1860"/>
                        </a:lnTo>
                        <a:lnTo>
                          <a:pt x="1566" y="1842"/>
                        </a:lnTo>
                        <a:lnTo>
                          <a:pt x="1566" y="1836"/>
                        </a:lnTo>
                        <a:lnTo>
                          <a:pt x="1590" y="1842"/>
                        </a:lnTo>
                        <a:lnTo>
                          <a:pt x="1608" y="1788"/>
                        </a:lnTo>
                        <a:lnTo>
                          <a:pt x="1638" y="1788"/>
                        </a:lnTo>
                        <a:lnTo>
                          <a:pt x="1650" y="1782"/>
                        </a:lnTo>
                        <a:lnTo>
                          <a:pt x="1662" y="1770"/>
                        </a:lnTo>
                        <a:lnTo>
                          <a:pt x="1668" y="1752"/>
                        </a:lnTo>
                        <a:lnTo>
                          <a:pt x="1668" y="1740"/>
                        </a:lnTo>
                        <a:lnTo>
                          <a:pt x="1668" y="1746"/>
                        </a:lnTo>
                        <a:lnTo>
                          <a:pt x="1674" y="1752"/>
                        </a:lnTo>
                        <a:lnTo>
                          <a:pt x="1674" y="1764"/>
                        </a:lnTo>
                        <a:lnTo>
                          <a:pt x="1680" y="1776"/>
                        </a:lnTo>
                        <a:lnTo>
                          <a:pt x="1680" y="1782"/>
                        </a:lnTo>
                        <a:lnTo>
                          <a:pt x="1668" y="1794"/>
                        </a:lnTo>
                        <a:lnTo>
                          <a:pt x="1662" y="1806"/>
                        </a:lnTo>
                        <a:lnTo>
                          <a:pt x="1650" y="1812"/>
                        </a:lnTo>
                        <a:lnTo>
                          <a:pt x="1644" y="1818"/>
                        </a:lnTo>
                        <a:lnTo>
                          <a:pt x="1620" y="1818"/>
                        </a:lnTo>
                        <a:lnTo>
                          <a:pt x="1614" y="1830"/>
                        </a:lnTo>
                        <a:lnTo>
                          <a:pt x="1632" y="1866"/>
                        </a:lnTo>
                        <a:lnTo>
                          <a:pt x="1620" y="1866"/>
                        </a:lnTo>
                        <a:lnTo>
                          <a:pt x="1614" y="1872"/>
                        </a:lnTo>
                        <a:lnTo>
                          <a:pt x="1602" y="1878"/>
                        </a:lnTo>
                        <a:lnTo>
                          <a:pt x="1566" y="1914"/>
                        </a:lnTo>
                        <a:lnTo>
                          <a:pt x="1566" y="1926"/>
                        </a:lnTo>
                        <a:lnTo>
                          <a:pt x="1560" y="1932"/>
                        </a:lnTo>
                        <a:lnTo>
                          <a:pt x="1554" y="1944"/>
                        </a:lnTo>
                        <a:lnTo>
                          <a:pt x="1542" y="1956"/>
                        </a:lnTo>
                        <a:lnTo>
                          <a:pt x="1518" y="1968"/>
                        </a:lnTo>
                        <a:lnTo>
                          <a:pt x="1512" y="1974"/>
                        </a:lnTo>
                        <a:lnTo>
                          <a:pt x="1512" y="1980"/>
                        </a:lnTo>
                        <a:lnTo>
                          <a:pt x="1518" y="1986"/>
                        </a:lnTo>
                        <a:lnTo>
                          <a:pt x="1548" y="1986"/>
                        </a:lnTo>
                        <a:lnTo>
                          <a:pt x="1560" y="1980"/>
                        </a:lnTo>
                        <a:lnTo>
                          <a:pt x="1572" y="1980"/>
                        </a:lnTo>
                        <a:lnTo>
                          <a:pt x="1584" y="1968"/>
                        </a:lnTo>
                        <a:lnTo>
                          <a:pt x="1602" y="1932"/>
                        </a:lnTo>
                        <a:lnTo>
                          <a:pt x="1608" y="1926"/>
                        </a:lnTo>
                        <a:lnTo>
                          <a:pt x="1614" y="1914"/>
                        </a:lnTo>
                        <a:lnTo>
                          <a:pt x="1626" y="1908"/>
                        </a:lnTo>
                        <a:lnTo>
                          <a:pt x="1632" y="1902"/>
                        </a:lnTo>
                        <a:lnTo>
                          <a:pt x="1632" y="1920"/>
                        </a:lnTo>
                        <a:lnTo>
                          <a:pt x="1638" y="1932"/>
                        </a:lnTo>
                        <a:lnTo>
                          <a:pt x="1638" y="1956"/>
                        </a:lnTo>
                        <a:lnTo>
                          <a:pt x="1626" y="1968"/>
                        </a:lnTo>
                        <a:lnTo>
                          <a:pt x="1614" y="1974"/>
                        </a:lnTo>
                        <a:lnTo>
                          <a:pt x="1602" y="1986"/>
                        </a:lnTo>
                        <a:lnTo>
                          <a:pt x="1602" y="2004"/>
                        </a:lnTo>
                        <a:lnTo>
                          <a:pt x="1608" y="2010"/>
                        </a:lnTo>
                        <a:lnTo>
                          <a:pt x="1614" y="2010"/>
                        </a:lnTo>
                        <a:lnTo>
                          <a:pt x="1632" y="2016"/>
                        </a:lnTo>
                        <a:lnTo>
                          <a:pt x="1662" y="2016"/>
                        </a:lnTo>
                        <a:lnTo>
                          <a:pt x="1668" y="2028"/>
                        </a:lnTo>
                        <a:lnTo>
                          <a:pt x="1644" y="2052"/>
                        </a:lnTo>
                        <a:lnTo>
                          <a:pt x="1644" y="2058"/>
                        </a:lnTo>
                        <a:lnTo>
                          <a:pt x="1650" y="2064"/>
                        </a:lnTo>
                        <a:lnTo>
                          <a:pt x="1668" y="2100"/>
                        </a:lnTo>
                        <a:lnTo>
                          <a:pt x="1674" y="2106"/>
                        </a:lnTo>
                        <a:lnTo>
                          <a:pt x="1674" y="2118"/>
                        </a:lnTo>
                        <a:lnTo>
                          <a:pt x="1626" y="2166"/>
                        </a:lnTo>
                        <a:lnTo>
                          <a:pt x="1626" y="2178"/>
                        </a:lnTo>
                        <a:lnTo>
                          <a:pt x="1638" y="2190"/>
                        </a:lnTo>
                        <a:lnTo>
                          <a:pt x="1644" y="2202"/>
                        </a:lnTo>
                        <a:lnTo>
                          <a:pt x="1668" y="2214"/>
                        </a:lnTo>
                        <a:lnTo>
                          <a:pt x="1680" y="2226"/>
                        </a:lnTo>
                        <a:lnTo>
                          <a:pt x="1692" y="2232"/>
                        </a:lnTo>
                        <a:lnTo>
                          <a:pt x="1716" y="2256"/>
                        </a:lnTo>
                        <a:lnTo>
                          <a:pt x="1728" y="2262"/>
                        </a:lnTo>
                        <a:lnTo>
                          <a:pt x="1800" y="2262"/>
                        </a:lnTo>
                        <a:lnTo>
                          <a:pt x="1824" y="2286"/>
                        </a:lnTo>
                        <a:lnTo>
                          <a:pt x="1842" y="2292"/>
                        </a:lnTo>
                        <a:lnTo>
                          <a:pt x="1872" y="2286"/>
                        </a:lnTo>
                        <a:lnTo>
                          <a:pt x="1902" y="2274"/>
                        </a:lnTo>
                        <a:lnTo>
                          <a:pt x="1932" y="2256"/>
                        </a:lnTo>
                        <a:lnTo>
                          <a:pt x="1944" y="2250"/>
                        </a:lnTo>
                        <a:lnTo>
                          <a:pt x="1944" y="2226"/>
                        </a:lnTo>
                        <a:lnTo>
                          <a:pt x="1956" y="2214"/>
                        </a:lnTo>
                        <a:lnTo>
                          <a:pt x="1962" y="2214"/>
                        </a:lnTo>
                        <a:lnTo>
                          <a:pt x="1974" y="2226"/>
                        </a:lnTo>
                        <a:lnTo>
                          <a:pt x="1974" y="2256"/>
                        </a:lnTo>
                        <a:lnTo>
                          <a:pt x="1992" y="2256"/>
                        </a:lnTo>
                        <a:lnTo>
                          <a:pt x="1980" y="2280"/>
                        </a:lnTo>
                        <a:lnTo>
                          <a:pt x="1998" y="2280"/>
                        </a:lnTo>
                        <a:lnTo>
                          <a:pt x="1998" y="2292"/>
                        </a:lnTo>
                        <a:lnTo>
                          <a:pt x="2004" y="2298"/>
                        </a:lnTo>
                        <a:lnTo>
                          <a:pt x="2010" y="2310"/>
                        </a:lnTo>
                        <a:lnTo>
                          <a:pt x="2016" y="2316"/>
                        </a:lnTo>
                        <a:lnTo>
                          <a:pt x="2028" y="2316"/>
                        </a:lnTo>
                        <a:lnTo>
                          <a:pt x="2040" y="2304"/>
                        </a:lnTo>
                        <a:lnTo>
                          <a:pt x="2046" y="2304"/>
                        </a:lnTo>
                        <a:lnTo>
                          <a:pt x="2052" y="2298"/>
                        </a:lnTo>
                        <a:lnTo>
                          <a:pt x="2070" y="2292"/>
                        </a:lnTo>
                        <a:lnTo>
                          <a:pt x="2082" y="2286"/>
                        </a:lnTo>
                        <a:lnTo>
                          <a:pt x="2088" y="2280"/>
                        </a:lnTo>
                        <a:lnTo>
                          <a:pt x="2100" y="2274"/>
                        </a:lnTo>
                        <a:lnTo>
                          <a:pt x="2124" y="2250"/>
                        </a:lnTo>
                        <a:lnTo>
                          <a:pt x="2136" y="2244"/>
                        </a:lnTo>
                        <a:lnTo>
                          <a:pt x="2148" y="2232"/>
                        </a:lnTo>
                        <a:lnTo>
                          <a:pt x="2160" y="2226"/>
                        </a:lnTo>
                        <a:lnTo>
                          <a:pt x="2154" y="2214"/>
                        </a:lnTo>
                        <a:lnTo>
                          <a:pt x="2190" y="2202"/>
                        </a:lnTo>
                        <a:lnTo>
                          <a:pt x="2202" y="2214"/>
                        </a:lnTo>
                        <a:lnTo>
                          <a:pt x="2220" y="2214"/>
                        </a:lnTo>
                        <a:lnTo>
                          <a:pt x="2256" y="2208"/>
                        </a:lnTo>
                        <a:lnTo>
                          <a:pt x="2298" y="2196"/>
                        </a:lnTo>
                        <a:lnTo>
                          <a:pt x="2316" y="2178"/>
                        </a:lnTo>
                        <a:lnTo>
                          <a:pt x="2328" y="2148"/>
                        </a:lnTo>
                        <a:lnTo>
                          <a:pt x="2334" y="2118"/>
                        </a:lnTo>
                        <a:lnTo>
                          <a:pt x="2340" y="2100"/>
                        </a:lnTo>
                        <a:lnTo>
                          <a:pt x="2346" y="2088"/>
                        </a:lnTo>
                        <a:lnTo>
                          <a:pt x="2376" y="2058"/>
                        </a:lnTo>
                        <a:lnTo>
                          <a:pt x="2382" y="2058"/>
                        </a:lnTo>
                        <a:lnTo>
                          <a:pt x="2382" y="2034"/>
                        </a:lnTo>
                        <a:lnTo>
                          <a:pt x="2388" y="2034"/>
                        </a:lnTo>
                        <a:lnTo>
                          <a:pt x="2394" y="2028"/>
                        </a:lnTo>
                        <a:lnTo>
                          <a:pt x="2406" y="2022"/>
                        </a:lnTo>
                        <a:lnTo>
                          <a:pt x="2418" y="2010"/>
                        </a:lnTo>
                        <a:lnTo>
                          <a:pt x="2424" y="1998"/>
                        </a:lnTo>
                        <a:lnTo>
                          <a:pt x="2442" y="1980"/>
                        </a:lnTo>
                        <a:lnTo>
                          <a:pt x="2442" y="1956"/>
                        </a:lnTo>
                        <a:lnTo>
                          <a:pt x="2448" y="1944"/>
                        </a:lnTo>
                        <a:lnTo>
                          <a:pt x="2454" y="1926"/>
                        </a:lnTo>
                        <a:lnTo>
                          <a:pt x="2460" y="1914"/>
                        </a:lnTo>
                        <a:lnTo>
                          <a:pt x="2490" y="1884"/>
                        </a:lnTo>
                        <a:lnTo>
                          <a:pt x="2502" y="1866"/>
                        </a:lnTo>
                        <a:lnTo>
                          <a:pt x="2526" y="1842"/>
                        </a:lnTo>
                        <a:lnTo>
                          <a:pt x="2538" y="1836"/>
                        </a:lnTo>
                        <a:lnTo>
                          <a:pt x="2550" y="1824"/>
                        </a:lnTo>
                        <a:lnTo>
                          <a:pt x="2556" y="1812"/>
                        </a:lnTo>
                        <a:lnTo>
                          <a:pt x="2556" y="1800"/>
                        </a:lnTo>
                        <a:lnTo>
                          <a:pt x="2562" y="1788"/>
                        </a:lnTo>
                        <a:lnTo>
                          <a:pt x="2562" y="1782"/>
                        </a:lnTo>
                        <a:lnTo>
                          <a:pt x="2586" y="1782"/>
                        </a:lnTo>
                        <a:lnTo>
                          <a:pt x="2610" y="1770"/>
                        </a:lnTo>
                        <a:lnTo>
                          <a:pt x="2622" y="1752"/>
                        </a:lnTo>
                        <a:lnTo>
                          <a:pt x="2646" y="1728"/>
                        </a:lnTo>
                        <a:lnTo>
                          <a:pt x="2670" y="1698"/>
                        </a:lnTo>
                        <a:lnTo>
                          <a:pt x="2688" y="1674"/>
                        </a:lnTo>
                        <a:lnTo>
                          <a:pt x="2700" y="1662"/>
                        </a:lnTo>
                        <a:lnTo>
                          <a:pt x="2700" y="1656"/>
                        </a:lnTo>
                        <a:lnTo>
                          <a:pt x="2706" y="1638"/>
                        </a:lnTo>
                        <a:lnTo>
                          <a:pt x="2706" y="1614"/>
                        </a:lnTo>
                        <a:lnTo>
                          <a:pt x="2712" y="1596"/>
                        </a:lnTo>
                        <a:lnTo>
                          <a:pt x="2718" y="1590"/>
                        </a:lnTo>
                        <a:lnTo>
                          <a:pt x="2730" y="1572"/>
                        </a:lnTo>
                        <a:lnTo>
                          <a:pt x="2754" y="1542"/>
                        </a:lnTo>
                        <a:lnTo>
                          <a:pt x="2772" y="1494"/>
                        </a:lnTo>
                        <a:lnTo>
                          <a:pt x="2796" y="1458"/>
                        </a:lnTo>
                        <a:lnTo>
                          <a:pt x="2808" y="1428"/>
                        </a:lnTo>
                        <a:lnTo>
                          <a:pt x="2814" y="1416"/>
                        </a:lnTo>
                        <a:lnTo>
                          <a:pt x="2814" y="1386"/>
                        </a:lnTo>
                        <a:lnTo>
                          <a:pt x="2802" y="1362"/>
                        </a:lnTo>
                        <a:lnTo>
                          <a:pt x="2820" y="1308"/>
                        </a:lnTo>
                        <a:lnTo>
                          <a:pt x="2832" y="1290"/>
                        </a:lnTo>
                        <a:lnTo>
                          <a:pt x="2838" y="1266"/>
                        </a:lnTo>
                        <a:lnTo>
                          <a:pt x="2838" y="1224"/>
                        </a:lnTo>
                        <a:lnTo>
                          <a:pt x="2832" y="1194"/>
                        </a:lnTo>
                        <a:lnTo>
                          <a:pt x="2832" y="1176"/>
                        </a:lnTo>
                        <a:lnTo>
                          <a:pt x="2802" y="1164"/>
                        </a:lnTo>
                        <a:close/>
                        <a:moveTo>
                          <a:pt x="2016" y="2436"/>
                        </a:moveTo>
                        <a:lnTo>
                          <a:pt x="2022" y="2442"/>
                        </a:lnTo>
                        <a:lnTo>
                          <a:pt x="2028" y="2442"/>
                        </a:lnTo>
                        <a:lnTo>
                          <a:pt x="2040" y="2436"/>
                        </a:lnTo>
                        <a:lnTo>
                          <a:pt x="2046" y="2430"/>
                        </a:lnTo>
                        <a:lnTo>
                          <a:pt x="2034" y="2418"/>
                        </a:lnTo>
                        <a:lnTo>
                          <a:pt x="2016" y="2436"/>
                        </a:lnTo>
                        <a:close/>
                        <a:moveTo>
                          <a:pt x="1992" y="2454"/>
                        </a:moveTo>
                        <a:lnTo>
                          <a:pt x="1974" y="2454"/>
                        </a:lnTo>
                        <a:lnTo>
                          <a:pt x="1962" y="2466"/>
                        </a:lnTo>
                        <a:lnTo>
                          <a:pt x="1962" y="2472"/>
                        </a:lnTo>
                        <a:lnTo>
                          <a:pt x="1962" y="2460"/>
                        </a:lnTo>
                        <a:lnTo>
                          <a:pt x="1938" y="2460"/>
                        </a:lnTo>
                        <a:lnTo>
                          <a:pt x="1926" y="2466"/>
                        </a:lnTo>
                        <a:lnTo>
                          <a:pt x="1914" y="2466"/>
                        </a:lnTo>
                        <a:lnTo>
                          <a:pt x="1908" y="2478"/>
                        </a:lnTo>
                        <a:lnTo>
                          <a:pt x="1890" y="2460"/>
                        </a:lnTo>
                        <a:lnTo>
                          <a:pt x="1854" y="2460"/>
                        </a:lnTo>
                        <a:lnTo>
                          <a:pt x="1830" y="2430"/>
                        </a:lnTo>
                        <a:lnTo>
                          <a:pt x="1824" y="2436"/>
                        </a:lnTo>
                        <a:lnTo>
                          <a:pt x="1818" y="2436"/>
                        </a:lnTo>
                        <a:lnTo>
                          <a:pt x="1812" y="2442"/>
                        </a:lnTo>
                        <a:lnTo>
                          <a:pt x="1806" y="2442"/>
                        </a:lnTo>
                        <a:lnTo>
                          <a:pt x="1776" y="2412"/>
                        </a:lnTo>
                        <a:lnTo>
                          <a:pt x="1776" y="2424"/>
                        </a:lnTo>
                        <a:lnTo>
                          <a:pt x="1782" y="2448"/>
                        </a:lnTo>
                        <a:lnTo>
                          <a:pt x="1782" y="2472"/>
                        </a:lnTo>
                        <a:lnTo>
                          <a:pt x="1776" y="2478"/>
                        </a:lnTo>
                        <a:lnTo>
                          <a:pt x="1776" y="2484"/>
                        </a:lnTo>
                        <a:lnTo>
                          <a:pt x="1770" y="2490"/>
                        </a:lnTo>
                        <a:lnTo>
                          <a:pt x="1770" y="2502"/>
                        </a:lnTo>
                        <a:lnTo>
                          <a:pt x="1776" y="2514"/>
                        </a:lnTo>
                        <a:lnTo>
                          <a:pt x="1776" y="2532"/>
                        </a:lnTo>
                        <a:lnTo>
                          <a:pt x="1764" y="2538"/>
                        </a:lnTo>
                        <a:lnTo>
                          <a:pt x="1758" y="2544"/>
                        </a:lnTo>
                        <a:lnTo>
                          <a:pt x="1752" y="2544"/>
                        </a:lnTo>
                        <a:lnTo>
                          <a:pt x="1740" y="2532"/>
                        </a:lnTo>
                        <a:lnTo>
                          <a:pt x="1740" y="2538"/>
                        </a:lnTo>
                        <a:lnTo>
                          <a:pt x="1734" y="2544"/>
                        </a:lnTo>
                        <a:lnTo>
                          <a:pt x="1734" y="2556"/>
                        </a:lnTo>
                        <a:lnTo>
                          <a:pt x="1728" y="2574"/>
                        </a:lnTo>
                        <a:lnTo>
                          <a:pt x="1728" y="2586"/>
                        </a:lnTo>
                        <a:lnTo>
                          <a:pt x="1740" y="2610"/>
                        </a:lnTo>
                        <a:lnTo>
                          <a:pt x="1740" y="2616"/>
                        </a:lnTo>
                        <a:lnTo>
                          <a:pt x="1746" y="2628"/>
                        </a:lnTo>
                        <a:lnTo>
                          <a:pt x="1770" y="2628"/>
                        </a:lnTo>
                        <a:lnTo>
                          <a:pt x="1752" y="2640"/>
                        </a:lnTo>
                        <a:lnTo>
                          <a:pt x="1758" y="2664"/>
                        </a:lnTo>
                        <a:lnTo>
                          <a:pt x="1770" y="2658"/>
                        </a:lnTo>
                        <a:lnTo>
                          <a:pt x="1776" y="2658"/>
                        </a:lnTo>
                        <a:lnTo>
                          <a:pt x="1782" y="2652"/>
                        </a:lnTo>
                        <a:lnTo>
                          <a:pt x="1794" y="2652"/>
                        </a:lnTo>
                        <a:lnTo>
                          <a:pt x="1800" y="2658"/>
                        </a:lnTo>
                        <a:lnTo>
                          <a:pt x="1818" y="2658"/>
                        </a:lnTo>
                        <a:lnTo>
                          <a:pt x="1830" y="2652"/>
                        </a:lnTo>
                        <a:lnTo>
                          <a:pt x="1836" y="2646"/>
                        </a:lnTo>
                        <a:lnTo>
                          <a:pt x="1842" y="2634"/>
                        </a:lnTo>
                        <a:lnTo>
                          <a:pt x="1854" y="2634"/>
                        </a:lnTo>
                        <a:lnTo>
                          <a:pt x="1860" y="2640"/>
                        </a:lnTo>
                        <a:lnTo>
                          <a:pt x="1860" y="2646"/>
                        </a:lnTo>
                        <a:lnTo>
                          <a:pt x="1848" y="2658"/>
                        </a:lnTo>
                        <a:lnTo>
                          <a:pt x="1866" y="2664"/>
                        </a:lnTo>
                        <a:lnTo>
                          <a:pt x="1884" y="2646"/>
                        </a:lnTo>
                        <a:lnTo>
                          <a:pt x="1890" y="2634"/>
                        </a:lnTo>
                        <a:lnTo>
                          <a:pt x="1902" y="2628"/>
                        </a:lnTo>
                        <a:lnTo>
                          <a:pt x="1908" y="2616"/>
                        </a:lnTo>
                        <a:lnTo>
                          <a:pt x="1920" y="2604"/>
                        </a:lnTo>
                        <a:lnTo>
                          <a:pt x="1914" y="2604"/>
                        </a:lnTo>
                        <a:lnTo>
                          <a:pt x="1902" y="2592"/>
                        </a:lnTo>
                        <a:lnTo>
                          <a:pt x="1920" y="2562"/>
                        </a:lnTo>
                        <a:lnTo>
                          <a:pt x="1950" y="2562"/>
                        </a:lnTo>
                        <a:lnTo>
                          <a:pt x="1962" y="2538"/>
                        </a:lnTo>
                        <a:lnTo>
                          <a:pt x="1962" y="2514"/>
                        </a:lnTo>
                        <a:lnTo>
                          <a:pt x="1968" y="2502"/>
                        </a:lnTo>
                        <a:lnTo>
                          <a:pt x="1980" y="2496"/>
                        </a:lnTo>
                        <a:lnTo>
                          <a:pt x="1986" y="2484"/>
                        </a:lnTo>
                        <a:lnTo>
                          <a:pt x="1992" y="2478"/>
                        </a:lnTo>
                        <a:lnTo>
                          <a:pt x="1998" y="2466"/>
                        </a:lnTo>
                        <a:lnTo>
                          <a:pt x="1998" y="2460"/>
                        </a:lnTo>
                        <a:lnTo>
                          <a:pt x="1992" y="2454"/>
                        </a:lnTo>
                        <a:close/>
                        <a:moveTo>
                          <a:pt x="1902" y="246"/>
                        </a:moveTo>
                        <a:lnTo>
                          <a:pt x="1890" y="258"/>
                        </a:lnTo>
                        <a:lnTo>
                          <a:pt x="1890" y="270"/>
                        </a:lnTo>
                        <a:lnTo>
                          <a:pt x="1884" y="282"/>
                        </a:lnTo>
                        <a:lnTo>
                          <a:pt x="1884" y="294"/>
                        </a:lnTo>
                        <a:lnTo>
                          <a:pt x="1896" y="300"/>
                        </a:lnTo>
                        <a:lnTo>
                          <a:pt x="1920" y="300"/>
                        </a:lnTo>
                        <a:lnTo>
                          <a:pt x="1926" y="294"/>
                        </a:lnTo>
                        <a:lnTo>
                          <a:pt x="1932" y="294"/>
                        </a:lnTo>
                        <a:lnTo>
                          <a:pt x="1926" y="282"/>
                        </a:lnTo>
                        <a:lnTo>
                          <a:pt x="1932" y="252"/>
                        </a:lnTo>
                        <a:lnTo>
                          <a:pt x="1920" y="252"/>
                        </a:lnTo>
                        <a:lnTo>
                          <a:pt x="1908" y="246"/>
                        </a:lnTo>
                        <a:lnTo>
                          <a:pt x="1902" y="246"/>
                        </a:lnTo>
                        <a:close/>
                        <a:moveTo>
                          <a:pt x="1770" y="2334"/>
                        </a:moveTo>
                        <a:lnTo>
                          <a:pt x="1758" y="2376"/>
                        </a:lnTo>
                        <a:lnTo>
                          <a:pt x="1812" y="2328"/>
                        </a:lnTo>
                        <a:lnTo>
                          <a:pt x="1770" y="2334"/>
                        </a:lnTo>
                        <a:close/>
                        <a:moveTo>
                          <a:pt x="2034" y="2400"/>
                        </a:moveTo>
                        <a:lnTo>
                          <a:pt x="2016" y="2358"/>
                        </a:lnTo>
                        <a:lnTo>
                          <a:pt x="1998" y="2376"/>
                        </a:lnTo>
                        <a:lnTo>
                          <a:pt x="1998" y="2394"/>
                        </a:lnTo>
                        <a:lnTo>
                          <a:pt x="2010" y="2406"/>
                        </a:lnTo>
                        <a:lnTo>
                          <a:pt x="2028" y="2406"/>
                        </a:lnTo>
                        <a:lnTo>
                          <a:pt x="2034" y="2400"/>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85" name="Armenia"/>
                  <p:cNvSpPr>
                    <a:spLocks/>
                  </p:cNvSpPr>
                  <p:nvPr/>
                </p:nvSpPr>
                <p:spPr bwMode="gray">
                  <a:xfrm>
                    <a:off x="3393" y="1458"/>
                    <a:ext cx="57" cy="54"/>
                  </a:xfrm>
                  <a:custGeom>
                    <a:avLst/>
                    <a:gdLst>
                      <a:gd name="T0" fmla="*/ 2147483647 w 222"/>
                      <a:gd name="T1" fmla="*/ 2147483647 h 210"/>
                      <a:gd name="T2" fmla="*/ 2147483647 w 222"/>
                      <a:gd name="T3" fmla="*/ 2147483647 h 210"/>
                      <a:gd name="T4" fmla="*/ 2147483647 w 222"/>
                      <a:gd name="T5" fmla="*/ 2147483647 h 210"/>
                      <a:gd name="T6" fmla="*/ 2147483647 w 222"/>
                      <a:gd name="T7" fmla="*/ 2147483647 h 210"/>
                      <a:gd name="T8" fmla="*/ 2147483647 w 222"/>
                      <a:gd name="T9" fmla="*/ 2147483647 h 210"/>
                      <a:gd name="T10" fmla="*/ 2147483647 w 222"/>
                      <a:gd name="T11" fmla="*/ 2147483647 h 210"/>
                      <a:gd name="T12" fmla="*/ 2147483647 w 222"/>
                      <a:gd name="T13" fmla="*/ 2147483647 h 210"/>
                      <a:gd name="T14" fmla="*/ 2147483647 w 222"/>
                      <a:gd name="T15" fmla="*/ 2147483647 h 210"/>
                      <a:gd name="T16" fmla="*/ 2147483647 w 222"/>
                      <a:gd name="T17" fmla="*/ 2147483647 h 210"/>
                      <a:gd name="T18" fmla="*/ 2147483647 w 222"/>
                      <a:gd name="T19" fmla="*/ 2147483647 h 210"/>
                      <a:gd name="T20" fmla="*/ 2147483647 w 222"/>
                      <a:gd name="T21" fmla="*/ 2147483647 h 210"/>
                      <a:gd name="T22" fmla="*/ 2147483647 w 222"/>
                      <a:gd name="T23" fmla="*/ 2147483647 h 210"/>
                      <a:gd name="T24" fmla="*/ 2147483647 w 222"/>
                      <a:gd name="T25" fmla="*/ 2147483647 h 210"/>
                      <a:gd name="T26" fmla="*/ 2147483647 w 222"/>
                      <a:gd name="T27" fmla="*/ 2147483647 h 210"/>
                      <a:gd name="T28" fmla="*/ 2147483647 w 222"/>
                      <a:gd name="T29" fmla="*/ 2147483647 h 210"/>
                      <a:gd name="T30" fmla="*/ 2147483647 w 222"/>
                      <a:gd name="T31" fmla="*/ 2147483647 h 210"/>
                      <a:gd name="T32" fmla="*/ 2147483647 w 222"/>
                      <a:gd name="T33" fmla="*/ 2147483647 h 210"/>
                      <a:gd name="T34" fmla="*/ 2147483647 w 222"/>
                      <a:gd name="T35" fmla="*/ 2147483647 h 210"/>
                      <a:gd name="T36" fmla="*/ 2147483647 w 222"/>
                      <a:gd name="T37" fmla="*/ 2147483647 h 210"/>
                      <a:gd name="T38" fmla="*/ 2147483647 w 222"/>
                      <a:gd name="T39" fmla="*/ 0 h 210"/>
                      <a:gd name="T40" fmla="*/ 2147483647 w 222"/>
                      <a:gd name="T41" fmla="*/ 0 h 210"/>
                      <a:gd name="T42" fmla="*/ 2147483647 w 222"/>
                      <a:gd name="T43" fmla="*/ 2147483647 h 210"/>
                      <a:gd name="T44" fmla="*/ 2147483647 w 222"/>
                      <a:gd name="T45" fmla="*/ 2147483647 h 210"/>
                      <a:gd name="T46" fmla="*/ 2147483647 w 222"/>
                      <a:gd name="T47" fmla="*/ 2147483647 h 210"/>
                      <a:gd name="T48" fmla="*/ 0 w 222"/>
                      <a:gd name="T49" fmla="*/ 2147483647 h 210"/>
                      <a:gd name="T50" fmla="*/ 2147483647 w 222"/>
                      <a:gd name="T51" fmla="*/ 2147483647 h 210"/>
                      <a:gd name="T52" fmla="*/ 2147483647 w 222"/>
                      <a:gd name="T53" fmla="*/ 2147483647 h 210"/>
                      <a:gd name="T54" fmla="*/ 2147483647 w 222"/>
                      <a:gd name="T55" fmla="*/ 2147483647 h 210"/>
                      <a:gd name="T56" fmla="*/ 2147483647 w 222"/>
                      <a:gd name="T57" fmla="*/ 2147483647 h 210"/>
                      <a:gd name="T58" fmla="*/ 2147483647 w 222"/>
                      <a:gd name="T59" fmla="*/ 2147483647 h 210"/>
                      <a:gd name="T60" fmla="*/ 2147483647 w 222"/>
                      <a:gd name="T61" fmla="*/ 2147483647 h 210"/>
                      <a:gd name="T62" fmla="*/ 2147483647 w 222"/>
                      <a:gd name="T63" fmla="*/ 2147483647 h 210"/>
                      <a:gd name="T64" fmla="*/ 2147483647 w 222"/>
                      <a:gd name="T65" fmla="*/ 2147483647 h 210"/>
                      <a:gd name="T66" fmla="*/ 2147483647 w 222"/>
                      <a:gd name="T67" fmla="*/ 2147483647 h 210"/>
                      <a:gd name="T68" fmla="*/ 2147483647 w 222"/>
                      <a:gd name="T69" fmla="*/ 2147483647 h 210"/>
                      <a:gd name="T70" fmla="*/ 2147483647 w 222"/>
                      <a:gd name="T71" fmla="*/ 2147483647 h 210"/>
                      <a:gd name="T72" fmla="*/ 2147483647 w 222"/>
                      <a:gd name="T73" fmla="*/ 2147483647 h 210"/>
                      <a:gd name="T74" fmla="*/ 2147483647 w 222"/>
                      <a:gd name="T75" fmla="*/ 2147483647 h 210"/>
                      <a:gd name="T76" fmla="*/ 2147483647 w 222"/>
                      <a:gd name="T77" fmla="*/ 2147483647 h 210"/>
                      <a:gd name="T78" fmla="*/ 2147483647 w 222"/>
                      <a:gd name="T79" fmla="*/ 2147483647 h 210"/>
                      <a:gd name="T80" fmla="*/ 2147483647 w 222"/>
                      <a:gd name="T81" fmla="*/ 2147483647 h 210"/>
                      <a:gd name="T82" fmla="*/ 2147483647 w 222"/>
                      <a:gd name="T83" fmla="*/ 2147483647 h 210"/>
                      <a:gd name="T84" fmla="*/ 2147483647 w 222"/>
                      <a:gd name="T85" fmla="*/ 2147483647 h 210"/>
                      <a:gd name="T86" fmla="*/ 2147483647 w 222"/>
                      <a:gd name="T87" fmla="*/ 2147483647 h 210"/>
                      <a:gd name="T88" fmla="*/ 2147483647 w 222"/>
                      <a:gd name="T89" fmla="*/ 2147483647 h 210"/>
                      <a:gd name="T90" fmla="*/ 2147483647 w 222"/>
                      <a:gd name="T91" fmla="*/ 2147483647 h 210"/>
                      <a:gd name="T92" fmla="*/ 2147483647 w 222"/>
                      <a:gd name="T93" fmla="*/ 2147483647 h 210"/>
                      <a:gd name="T94" fmla="*/ 2147483647 w 222"/>
                      <a:gd name="T95" fmla="*/ 2147483647 h 210"/>
                      <a:gd name="T96" fmla="*/ 2147483647 w 222"/>
                      <a:gd name="T97" fmla="*/ 2147483647 h 210"/>
                      <a:gd name="T98" fmla="*/ 2147483647 w 222"/>
                      <a:gd name="T99" fmla="*/ 2147483647 h 210"/>
                      <a:gd name="T100" fmla="*/ 2147483647 w 222"/>
                      <a:gd name="T101" fmla="*/ 2147483647 h 210"/>
                      <a:gd name="T102" fmla="*/ 2147483647 w 222"/>
                      <a:gd name="T103" fmla="*/ 2147483647 h 210"/>
                      <a:gd name="T104" fmla="*/ 2147483647 w 222"/>
                      <a:gd name="T105" fmla="*/ 2147483647 h 210"/>
                      <a:gd name="T106" fmla="*/ 2147483647 w 222"/>
                      <a:gd name="T107" fmla="*/ 2147483647 h 21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22"/>
                      <a:gd name="T163" fmla="*/ 0 h 210"/>
                      <a:gd name="T164" fmla="*/ 222 w 222"/>
                      <a:gd name="T165" fmla="*/ 210 h 210"/>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22" h="210">
                        <a:moveTo>
                          <a:pt x="222" y="168"/>
                        </a:moveTo>
                        <a:lnTo>
                          <a:pt x="216" y="156"/>
                        </a:lnTo>
                        <a:lnTo>
                          <a:pt x="216" y="144"/>
                        </a:lnTo>
                        <a:lnTo>
                          <a:pt x="186" y="138"/>
                        </a:lnTo>
                        <a:lnTo>
                          <a:pt x="174" y="120"/>
                        </a:lnTo>
                        <a:lnTo>
                          <a:pt x="144" y="108"/>
                        </a:lnTo>
                        <a:lnTo>
                          <a:pt x="156" y="108"/>
                        </a:lnTo>
                        <a:lnTo>
                          <a:pt x="174" y="90"/>
                        </a:lnTo>
                        <a:lnTo>
                          <a:pt x="174" y="84"/>
                        </a:lnTo>
                        <a:lnTo>
                          <a:pt x="168" y="78"/>
                        </a:lnTo>
                        <a:lnTo>
                          <a:pt x="144" y="66"/>
                        </a:lnTo>
                        <a:lnTo>
                          <a:pt x="138" y="60"/>
                        </a:lnTo>
                        <a:lnTo>
                          <a:pt x="132" y="60"/>
                        </a:lnTo>
                        <a:lnTo>
                          <a:pt x="138" y="54"/>
                        </a:lnTo>
                        <a:lnTo>
                          <a:pt x="138" y="30"/>
                        </a:lnTo>
                        <a:lnTo>
                          <a:pt x="132" y="24"/>
                        </a:lnTo>
                        <a:lnTo>
                          <a:pt x="114" y="24"/>
                        </a:lnTo>
                        <a:lnTo>
                          <a:pt x="114" y="12"/>
                        </a:lnTo>
                        <a:lnTo>
                          <a:pt x="102" y="6"/>
                        </a:lnTo>
                        <a:lnTo>
                          <a:pt x="96" y="0"/>
                        </a:lnTo>
                        <a:lnTo>
                          <a:pt x="84" y="0"/>
                        </a:lnTo>
                        <a:lnTo>
                          <a:pt x="84" y="18"/>
                        </a:lnTo>
                        <a:lnTo>
                          <a:pt x="30" y="12"/>
                        </a:lnTo>
                        <a:lnTo>
                          <a:pt x="24" y="18"/>
                        </a:lnTo>
                        <a:lnTo>
                          <a:pt x="0" y="24"/>
                        </a:lnTo>
                        <a:lnTo>
                          <a:pt x="6" y="30"/>
                        </a:lnTo>
                        <a:lnTo>
                          <a:pt x="6" y="42"/>
                        </a:lnTo>
                        <a:lnTo>
                          <a:pt x="18" y="78"/>
                        </a:lnTo>
                        <a:lnTo>
                          <a:pt x="18" y="90"/>
                        </a:lnTo>
                        <a:lnTo>
                          <a:pt x="24" y="102"/>
                        </a:lnTo>
                        <a:lnTo>
                          <a:pt x="30" y="108"/>
                        </a:lnTo>
                        <a:lnTo>
                          <a:pt x="42" y="114"/>
                        </a:lnTo>
                        <a:lnTo>
                          <a:pt x="54" y="114"/>
                        </a:lnTo>
                        <a:lnTo>
                          <a:pt x="66" y="108"/>
                        </a:lnTo>
                        <a:lnTo>
                          <a:pt x="72" y="108"/>
                        </a:lnTo>
                        <a:lnTo>
                          <a:pt x="72" y="114"/>
                        </a:lnTo>
                        <a:lnTo>
                          <a:pt x="78" y="120"/>
                        </a:lnTo>
                        <a:lnTo>
                          <a:pt x="78" y="132"/>
                        </a:lnTo>
                        <a:lnTo>
                          <a:pt x="84" y="144"/>
                        </a:lnTo>
                        <a:lnTo>
                          <a:pt x="84" y="150"/>
                        </a:lnTo>
                        <a:lnTo>
                          <a:pt x="90" y="156"/>
                        </a:lnTo>
                        <a:lnTo>
                          <a:pt x="108" y="132"/>
                        </a:lnTo>
                        <a:lnTo>
                          <a:pt x="126" y="132"/>
                        </a:lnTo>
                        <a:lnTo>
                          <a:pt x="138" y="144"/>
                        </a:lnTo>
                        <a:lnTo>
                          <a:pt x="174" y="144"/>
                        </a:lnTo>
                        <a:lnTo>
                          <a:pt x="174" y="156"/>
                        </a:lnTo>
                        <a:lnTo>
                          <a:pt x="180" y="162"/>
                        </a:lnTo>
                        <a:lnTo>
                          <a:pt x="180" y="174"/>
                        </a:lnTo>
                        <a:lnTo>
                          <a:pt x="186" y="186"/>
                        </a:lnTo>
                        <a:lnTo>
                          <a:pt x="186" y="198"/>
                        </a:lnTo>
                        <a:lnTo>
                          <a:pt x="192" y="204"/>
                        </a:lnTo>
                        <a:lnTo>
                          <a:pt x="192" y="210"/>
                        </a:lnTo>
                        <a:lnTo>
                          <a:pt x="222" y="210"/>
                        </a:lnTo>
                        <a:lnTo>
                          <a:pt x="222" y="16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86" name="Argentina"/>
                  <p:cNvSpPr>
                    <a:spLocks noEditPoints="1"/>
                  </p:cNvSpPr>
                  <p:nvPr/>
                </p:nvSpPr>
                <p:spPr bwMode="gray">
                  <a:xfrm>
                    <a:off x="1431" y="2761"/>
                    <a:ext cx="279" cy="624"/>
                  </a:xfrm>
                  <a:custGeom>
                    <a:avLst/>
                    <a:gdLst>
                      <a:gd name="T0" fmla="*/ 2147483647 w 1092"/>
                      <a:gd name="T1" fmla="*/ 2147483647 h 2442"/>
                      <a:gd name="T2" fmla="*/ 2147483647 w 1092"/>
                      <a:gd name="T3" fmla="*/ 2147483647 h 2442"/>
                      <a:gd name="T4" fmla="*/ 2147483647 w 1092"/>
                      <a:gd name="T5" fmla="*/ 2147483647 h 2442"/>
                      <a:gd name="T6" fmla="*/ 2147483647 w 1092"/>
                      <a:gd name="T7" fmla="*/ 2147483647 h 2442"/>
                      <a:gd name="T8" fmla="*/ 2147483647 w 1092"/>
                      <a:gd name="T9" fmla="*/ 2147483647 h 2442"/>
                      <a:gd name="T10" fmla="*/ 2147483647 w 1092"/>
                      <a:gd name="T11" fmla="*/ 2147483647 h 2442"/>
                      <a:gd name="T12" fmla="*/ 2147483647 w 1092"/>
                      <a:gd name="T13" fmla="*/ 2147483647 h 2442"/>
                      <a:gd name="T14" fmla="*/ 2147483647 w 1092"/>
                      <a:gd name="T15" fmla="*/ 2147483647 h 2442"/>
                      <a:gd name="T16" fmla="*/ 2147483647 w 1092"/>
                      <a:gd name="T17" fmla="*/ 2147483647 h 2442"/>
                      <a:gd name="T18" fmla="*/ 2147483647 w 1092"/>
                      <a:gd name="T19" fmla="*/ 2147483647 h 2442"/>
                      <a:gd name="T20" fmla="*/ 2147483647 w 1092"/>
                      <a:gd name="T21" fmla="*/ 0 h 2442"/>
                      <a:gd name="T22" fmla="*/ 2147483647 w 1092"/>
                      <a:gd name="T23" fmla="*/ 2147483647 h 2442"/>
                      <a:gd name="T24" fmla="*/ 2147483647 w 1092"/>
                      <a:gd name="T25" fmla="*/ 2147483647 h 2442"/>
                      <a:gd name="T26" fmla="*/ 2147483647 w 1092"/>
                      <a:gd name="T27" fmla="*/ 2147483647 h 2442"/>
                      <a:gd name="T28" fmla="*/ 2147483647 w 1092"/>
                      <a:gd name="T29" fmla="*/ 2147483647 h 2442"/>
                      <a:gd name="T30" fmla="*/ 2147483647 w 1092"/>
                      <a:gd name="T31" fmla="*/ 2147483647 h 2442"/>
                      <a:gd name="T32" fmla="*/ 2147483647 w 1092"/>
                      <a:gd name="T33" fmla="*/ 2147483647 h 2442"/>
                      <a:gd name="T34" fmla="*/ 2147483647 w 1092"/>
                      <a:gd name="T35" fmla="*/ 2147483647 h 2442"/>
                      <a:gd name="T36" fmla="*/ 2147483647 w 1092"/>
                      <a:gd name="T37" fmla="*/ 2147483647 h 2442"/>
                      <a:gd name="T38" fmla="*/ 2147483647 w 1092"/>
                      <a:gd name="T39" fmla="*/ 2147483647 h 2442"/>
                      <a:gd name="T40" fmla="*/ 2147483647 w 1092"/>
                      <a:gd name="T41" fmla="*/ 2147483647 h 2442"/>
                      <a:gd name="T42" fmla="*/ 2147483647 w 1092"/>
                      <a:gd name="T43" fmla="*/ 2147483647 h 2442"/>
                      <a:gd name="T44" fmla="*/ 2147483647 w 1092"/>
                      <a:gd name="T45" fmla="*/ 2147483647 h 2442"/>
                      <a:gd name="T46" fmla="*/ 2147483647 w 1092"/>
                      <a:gd name="T47" fmla="*/ 2147483647 h 2442"/>
                      <a:gd name="T48" fmla="*/ 2147483647 w 1092"/>
                      <a:gd name="T49" fmla="*/ 2147483647 h 2442"/>
                      <a:gd name="T50" fmla="*/ 2147483647 w 1092"/>
                      <a:gd name="T51" fmla="*/ 2147483647 h 2442"/>
                      <a:gd name="T52" fmla="*/ 2147483647 w 1092"/>
                      <a:gd name="T53" fmla="*/ 2147483647 h 2442"/>
                      <a:gd name="T54" fmla="*/ 2147483647 w 1092"/>
                      <a:gd name="T55" fmla="*/ 2147483647 h 2442"/>
                      <a:gd name="T56" fmla="*/ 2147483647 w 1092"/>
                      <a:gd name="T57" fmla="*/ 2147483647 h 2442"/>
                      <a:gd name="T58" fmla="*/ 2147483647 w 1092"/>
                      <a:gd name="T59" fmla="*/ 2147483647 h 2442"/>
                      <a:gd name="T60" fmla="*/ 2147483647 w 1092"/>
                      <a:gd name="T61" fmla="*/ 2147483647 h 2442"/>
                      <a:gd name="T62" fmla="*/ 2147483647 w 1092"/>
                      <a:gd name="T63" fmla="*/ 2147483647 h 2442"/>
                      <a:gd name="T64" fmla="*/ 2147483647 w 1092"/>
                      <a:gd name="T65" fmla="*/ 2147483647 h 2442"/>
                      <a:gd name="T66" fmla="*/ 2147483647 w 1092"/>
                      <a:gd name="T67" fmla="*/ 2147483647 h 2442"/>
                      <a:gd name="T68" fmla="*/ 2147483647 w 1092"/>
                      <a:gd name="T69" fmla="*/ 2147483647 h 2442"/>
                      <a:gd name="T70" fmla="*/ 2147483647 w 1092"/>
                      <a:gd name="T71" fmla="*/ 2147483647 h 2442"/>
                      <a:gd name="T72" fmla="*/ 2147483647 w 1092"/>
                      <a:gd name="T73" fmla="*/ 2147483647 h 2442"/>
                      <a:gd name="T74" fmla="*/ 2147483647 w 1092"/>
                      <a:gd name="T75" fmla="*/ 2147483647 h 2442"/>
                      <a:gd name="T76" fmla="*/ 2147483647 w 1092"/>
                      <a:gd name="T77" fmla="*/ 2147483647 h 2442"/>
                      <a:gd name="T78" fmla="*/ 2147483647 w 1092"/>
                      <a:gd name="T79" fmla="*/ 2147483647 h 2442"/>
                      <a:gd name="T80" fmla="*/ 2147483647 w 1092"/>
                      <a:gd name="T81" fmla="*/ 2147483647 h 2442"/>
                      <a:gd name="T82" fmla="*/ 2147483647 w 1092"/>
                      <a:gd name="T83" fmla="*/ 2147483647 h 2442"/>
                      <a:gd name="T84" fmla="*/ 2147483647 w 1092"/>
                      <a:gd name="T85" fmla="*/ 2147483647 h 2442"/>
                      <a:gd name="T86" fmla="*/ 2147483647 w 1092"/>
                      <a:gd name="T87" fmla="*/ 2147483647 h 2442"/>
                      <a:gd name="T88" fmla="*/ 2147483647 w 1092"/>
                      <a:gd name="T89" fmla="*/ 2147483647 h 2442"/>
                      <a:gd name="T90" fmla="*/ 2147483647 w 1092"/>
                      <a:gd name="T91" fmla="*/ 2147483647 h 2442"/>
                      <a:gd name="T92" fmla="*/ 2147483647 w 1092"/>
                      <a:gd name="T93" fmla="*/ 2147483647 h 2442"/>
                      <a:gd name="T94" fmla="*/ 2147483647 w 1092"/>
                      <a:gd name="T95" fmla="*/ 2147483647 h 2442"/>
                      <a:gd name="T96" fmla="*/ 2147483647 w 1092"/>
                      <a:gd name="T97" fmla="*/ 2147483647 h 2442"/>
                      <a:gd name="T98" fmla="*/ 2147483647 w 1092"/>
                      <a:gd name="T99" fmla="*/ 2147483647 h 2442"/>
                      <a:gd name="T100" fmla="*/ 2147483647 w 1092"/>
                      <a:gd name="T101" fmla="*/ 2147483647 h 2442"/>
                      <a:gd name="T102" fmla="*/ 2147483647 w 1092"/>
                      <a:gd name="T103" fmla="*/ 2147483647 h 2442"/>
                      <a:gd name="T104" fmla="*/ 2147483647 w 1092"/>
                      <a:gd name="T105" fmla="*/ 2147483647 h 2442"/>
                      <a:gd name="T106" fmla="*/ 2147483647 w 1092"/>
                      <a:gd name="T107" fmla="*/ 2147483647 h 2442"/>
                      <a:gd name="T108" fmla="*/ 2147483647 w 1092"/>
                      <a:gd name="T109" fmla="*/ 2147483647 h 2442"/>
                      <a:gd name="T110" fmla="*/ 2147483647 w 1092"/>
                      <a:gd name="T111" fmla="*/ 2147483647 h 2442"/>
                      <a:gd name="T112" fmla="*/ 2147483647 w 1092"/>
                      <a:gd name="T113" fmla="*/ 2147483647 h 244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92"/>
                      <a:gd name="T172" fmla="*/ 0 h 2442"/>
                      <a:gd name="T173" fmla="*/ 1092 w 1092"/>
                      <a:gd name="T174" fmla="*/ 2442 h 2442"/>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92" h="2442">
                        <a:moveTo>
                          <a:pt x="954" y="534"/>
                        </a:moveTo>
                        <a:lnTo>
                          <a:pt x="978" y="528"/>
                        </a:lnTo>
                        <a:lnTo>
                          <a:pt x="984" y="504"/>
                        </a:lnTo>
                        <a:lnTo>
                          <a:pt x="990" y="498"/>
                        </a:lnTo>
                        <a:lnTo>
                          <a:pt x="990" y="480"/>
                        </a:lnTo>
                        <a:lnTo>
                          <a:pt x="1026" y="480"/>
                        </a:lnTo>
                        <a:lnTo>
                          <a:pt x="1026" y="462"/>
                        </a:lnTo>
                        <a:lnTo>
                          <a:pt x="1032" y="450"/>
                        </a:lnTo>
                        <a:lnTo>
                          <a:pt x="1038" y="444"/>
                        </a:lnTo>
                        <a:lnTo>
                          <a:pt x="1092" y="426"/>
                        </a:lnTo>
                        <a:lnTo>
                          <a:pt x="1092" y="390"/>
                        </a:lnTo>
                        <a:lnTo>
                          <a:pt x="1086" y="372"/>
                        </a:lnTo>
                        <a:lnTo>
                          <a:pt x="1086" y="342"/>
                        </a:lnTo>
                        <a:lnTo>
                          <a:pt x="1080" y="336"/>
                        </a:lnTo>
                        <a:lnTo>
                          <a:pt x="1074" y="336"/>
                        </a:lnTo>
                        <a:lnTo>
                          <a:pt x="1074" y="324"/>
                        </a:lnTo>
                        <a:lnTo>
                          <a:pt x="1062" y="300"/>
                        </a:lnTo>
                        <a:lnTo>
                          <a:pt x="1056" y="294"/>
                        </a:lnTo>
                        <a:lnTo>
                          <a:pt x="1038" y="294"/>
                        </a:lnTo>
                        <a:lnTo>
                          <a:pt x="1032" y="300"/>
                        </a:lnTo>
                        <a:lnTo>
                          <a:pt x="1020" y="306"/>
                        </a:lnTo>
                        <a:lnTo>
                          <a:pt x="1020" y="384"/>
                        </a:lnTo>
                        <a:lnTo>
                          <a:pt x="1008" y="390"/>
                        </a:lnTo>
                        <a:lnTo>
                          <a:pt x="1002" y="402"/>
                        </a:lnTo>
                        <a:lnTo>
                          <a:pt x="990" y="408"/>
                        </a:lnTo>
                        <a:lnTo>
                          <a:pt x="984" y="414"/>
                        </a:lnTo>
                        <a:lnTo>
                          <a:pt x="978" y="414"/>
                        </a:lnTo>
                        <a:lnTo>
                          <a:pt x="966" y="426"/>
                        </a:lnTo>
                        <a:lnTo>
                          <a:pt x="954" y="450"/>
                        </a:lnTo>
                        <a:lnTo>
                          <a:pt x="948" y="456"/>
                        </a:lnTo>
                        <a:lnTo>
                          <a:pt x="948" y="450"/>
                        </a:lnTo>
                        <a:lnTo>
                          <a:pt x="942" y="444"/>
                        </a:lnTo>
                        <a:lnTo>
                          <a:pt x="930" y="444"/>
                        </a:lnTo>
                        <a:lnTo>
                          <a:pt x="924" y="450"/>
                        </a:lnTo>
                        <a:lnTo>
                          <a:pt x="924" y="468"/>
                        </a:lnTo>
                        <a:lnTo>
                          <a:pt x="912" y="450"/>
                        </a:lnTo>
                        <a:lnTo>
                          <a:pt x="852" y="450"/>
                        </a:lnTo>
                        <a:lnTo>
                          <a:pt x="834" y="444"/>
                        </a:lnTo>
                        <a:lnTo>
                          <a:pt x="822" y="438"/>
                        </a:lnTo>
                        <a:lnTo>
                          <a:pt x="816" y="432"/>
                        </a:lnTo>
                        <a:lnTo>
                          <a:pt x="804" y="426"/>
                        </a:lnTo>
                        <a:lnTo>
                          <a:pt x="798" y="426"/>
                        </a:lnTo>
                        <a:lnTo>
                          <a:pt x="786" y="432"/>
                        </a:lnTo>
                        <a:lnTo>
                          <a:pt x="762" y="432"/>
                        </a:lnTo>
                        <a:lnTo>
                          <a:pt x="756" y="426"/>
                        </a:lnTo>
                        <a:lnTo>
                          <a:pt x="756" y="414"/>
                        </a:lnTo>
                        <a:lnTo>
                          <a:pt x="762" y="402"/>
                        </a:lnTo>
                        <a:lnTo>
                          <a:pt x="768" y="396"/>
                        </a:lnTo>
                        <a:lnTo>
                          <a:pt x="774" y="384"/>
                        </a:lnTo>
                        <a:lnTo>
                          <a:pt x="780" y="378"/>
                        </a:lnTo>
                        <a:lnTo>
                          <a:pt x="780" y="342"/>
                        </a:lnTo>
                        <a:lnTo>
                          <a:pt x="798" y="342"/>
                        </a:lnTo>
                        <a:lnTo>
                          <a:pt x="804" y="336"/>
                        </a:lnTo>
                        <a:lnTo>
                          <a:pt x="804" y="330"/>
                        </a:lnTo>
                        <a:lnTo>
                          <a:pt x="798" y="318"/>
                        </a:lnTo>
                        <a:lnTo>
                          <a:pt x="792" y="312"/>
                        </a:lnTo>
                        <a:lnTo>
                          <a:pt x="798" y="300"/>
                        </a:lnTo>
                        <a:lnTo>
                          <a:pt x="804" y="294"/>
                        </a:lnTo>
                        <a:lnTo>
                          <a:pt x="804" y="282"/>
                        </a:lnTo>
                        <a:lnTo>
                          <a:pt x="810" y="276"/>
                        </a:lnTo>
                        <a:lnTo>
                          <a:pt x="804" y="270"/>
                        </a:lnTo>
                        <a:lnTo>
                          <a:pt x="792" y="264"/>
                        </a:lnTo>
                        <a:lnTo>
                          <a:pt x="774" y="258"/>
                        </a:lnTo>
                        <a:lnTo>
                          <a:pt x="762" y="252"/>
                        </a:lnTo>
                        <a:lnTo>
                          <a:pt x="750" y="252"/>
                        </a:lnTo>
                        <a:lnTo>
                          <a:pt x="744" y="246"/>
                        </a:lnTo>
                        <a:lnTo>
                          <a:pt x="708" y="228"/>
                        </a:lnTo>
                        <a:lnTo>
                          <a:pt x="690" y="216"/>
                        </a:lnTo>
                        <a:lnTo>
                          <a:pt x="678" y="210"/>
                        </a:lnTo>
                        <a:lnTo>
                          <a:pt x="672" y="204"/>
                        </a:lnTo>
                        <a:lnTo>
                          <a:pt x="666" y="204"/>
                        </a:lnTo>
                        <a:lnTo>
                          <a:pt x="660" y="198"/>
                        </a:lnTo>
                        <a:lnTo>
                          <a:pt x="648" y="192"/>
                        </a:lnTo>
                        <a:lnTo>
                          <a:pt x="642" y="186"/>
                        </a:lnTo>
                        <a:lnTo>
                          <a:pt x="630" y="180"/>
                        </a:lnTo>
                        <a:lnTo>
                          <a:pt x="600" y="180"/>
                        </a:lnTo>
                        <a:lnTo>
                          <a:pt x="564" y="162"/>
                        </a:lnTo>
                        <a:lnTo>
                          <a:pt x="558" y="156"/>
                        </a:lnTo>
                        <a:lnTo>
                          <a:pt x="552" y="156"/>
                        </a:lnTo>
                        <a:lnTo>
                          <a:pt x="546" y="138"/>
                        </a:lnTo>
                        <a:lnTo>
                          <a:pt x="534" y="132"/>
                        </a:lnTo>
                        <a:lnTo>
                          <a:pt x="516" y="114"/>
                        </a:lnTo>
                        <a:lnTo>
                          <a:pt x="492" y="102"/>
                        </a:lnTo>
                        <a:lnTo>
                          <a:pt x="486" y="96"/>
                        </a:lnTo>
                        <a:lnTo>
                          <a:pt x="480" y="84"/>
                        </a:lnTo>
                        <a:lnTo>
                          <a:pt x="468" y="78"/>
                        </a:lnTo>
                        <a:lnTo>
                          <a:pt x="462" y="66"/>
                        </a:lnTo>
                        <a:lnTo>
                          <a:pt x="456" y="60"/>
                        </a:lnTo>
                        <a:lnTo>
                          <a:pt x="456" y="54"/>
                        </a:lnTo>
                        <a:lnTo>
                          <a:pt x="438" y="36"/>
                        </a:lnTo>
                        <a:lnTo>
                          <a:pt x="402" y="12"/>
                        </a:lnTo>
                        <a:lnTo>
                          <a:pt x="330" y="18"/>
                        </a:lnTo>
                        <a:lnTo>
                          <a:pt x="318" y="72"/>
                        </a:lnTo>
                        <a:lnTo>
                          <a:pt x="288" y="24"/>
                        </a:lnTo>
                        <a:lnTo>
                          <a:pt x="234" y="24"/>
                        </a:lnTo>
                        <a:lnTo>
                          <a:pt x="216" y="18"/>
                        </a:lnTo>
                        <a:lnTo>
                          <a:pt x="204" y="18"/>
                        </a:lnTo>
                        <a:lnTo>
                          <a:pt x="180" y="6"/>
                        </a:lnTo>
                        <a:lnTo>
                          <a:pt x="174" y="0"/>
                        </a:lnTo>
                        <a:lnTo>
                          <a:pt x="162" y="24"/>
                        </a:lnTo>
                        <a:lnTo>
                          <a:pt x="138" y="30"/>
                        </a:lnTo>
                        <a:lnTo>
                          <a:pt x="138" y="48"/>
                        </a:lnTo>
                        <a:lnTo>
                          <a:pt x="126" y="48"/>
                        </a:lnTo>
                        <a:lnTo>
                          <a:pt x="126" y="78"/>
                        </a:lnTo>
                        <a:lnTo>
                          <a:pt x="114" y="78"/>
                        </a:lnTo>
                        <a:lnTo>
                          <a:pt x="126" y="96"/>
                        </a:lnTo>
                        <a:lnTo>
                          <a:pt x="114" y="180"/>
                        </a:lnTo>
                        <a:lnTo>
                          <a:pt x="108" y="180"/>
                        </a:lnTo>
                        <a:lnTo>
                          <a:pt x="102" y="186"/>
                        </a:lnTo>
                        <a:lnTo>
                          <a:pt x="90" y="192"/>
                        </a:lnTo>
                        <a:lnTo>
                          <a:pt x="72" y="198"/>
                        </a:lnTo>
                        <a:lnTo>
                          <a:pt x="60" y="210"/>
                        </a:lnTo>
                        <a:lnTo>
                          <a:pt x="48" y="216"/>
                        </a:lnTo>
                        <a:lnTo>
                          <a:pt x="42" y="228"/>
                        </a:lnTo>
                        <a:lnTo>
                          <a:pt x="36" y="234"/>
                        </a:lnTo>
                        <a:lnTo>
                          <a:pt x="36" y="240"/>
                        </a:lnTo>
                        <a:lnTo>
                          <a:pt x="42" y="246"/>
                        </a:lnTo>
                        <a:lnTo>
                          <a:pt x="54" y="252"/>
                        </a:lnTo>
                        <a:lnTo>
                          <a:pt x="66" y="252"/>
                        </a:lnTo>
                        <a:lnTo>
                          <a:pt x="66" y="258"/>
                        </a:lnTo>
                        <a:lnTo>
                          <a:pt x="42" y="282"/>
                        </a:lnTo>
                        <a:lnTo>
                          <a:pt x="42" y="300"/>
                        </a:lnTo>
                        <a:lnTo>
                          <a:pt x="48" y="306"/>
                        </a:lnTo>
                        <a:lnTo>
                          <a:pt x="60" y="312"/>
                        </a:lnTo>
                        <a:lnTo>
                          <a:pt x="72" y="324"/>
                        </a:lnTo>
                        <a:lnTo>
                          <a:pt x="78" y="336"/>
                        </a:lnTo>
                        <a:lnTo>
                          <a:pt x="72" y="342"/>
                        </a:lnTo>
                        <a:lnTo>
                          <a:pt x="66" y="354"/>
                        </a:lnTo>
                        <a:lnTo>
                          <a:pt x="54" y="366"/>
                        </a:lnTo>
                        <a:lnTo>
                          <a:pt x="48" y="366"/>
                        </a:lnTo>
                        <a:lnTo>
                          <a:pt x="54" y="366"/>
                        </a:lnTo>
                        <a:lnTo>
                          <a:pt x="60" y="372"/>
                        </a:lnTo>
                        <a:lnTo>
                          <a:pt x="84" y="384"/>
                        </a:lnTo>
                        <a:lnTo>
                          <a:pt x="90" y="396"/>
                        </a:lnTo>
                        <a:lnTo>
                          <a:pt x="90" y="408"/>
                        </a:lnTo>
                        <a:lnTo>
                          <a:pt x="78" y="414"/>
                        </a:lnTo>
                        <a:lnTo>
                          <a:pt x="72" y="420"/>
                        </a:lnTo>
                        <a:lnTo>
                          <a:pt x="54" y="420"/>
                        </a:lnTo>
                        <a:lnTo>
                          <a:pt x="54" y="432"/>
                        </a:lnTo>
                        <a:lnTo>
                          <a:pt x="48" y="450"/>
                        </a:lnTo>
                        <a:lnTo>
                          <a:pt x="48" y="462"/>
                        </a:lnTo>
                        <a:lnTo>
                          <a:pt x="42" y="474"/>
                        </a:lnTo>
                        <a:lnTo>
                          <a:pt x="42" y="486"/>
                        </a:lnTo>
                        <a:lnTo>
                          <a:pt x="30" y="498"/>
                        </a:lnTo>
                        <a:lnTo>
                          <a:pt x="24" y="510"/>
                        </a:lnTo>
                        <a:lnTo>
                          <a:pt x="18" y="516"/>
                        </a:lnTo>
                        <a:lnTo>
                          <a:pt x="18" y="582"/>
                        </a:lnTo>
                        <a:lnTo>
                          <a:pt x="6" y="594"/>
                        </a:lnTo>
                        <a:lnTo>
                          <a:pt x="6" y="606"/>
                        </a:lnTo>
                        <a:lnTo>
                          <a:pt x="18" y="630"/>
                        </a:lnTo>
                        <a:lnTo>
                          <a:pt x="30" y="666"/>
                        </a:lnTo>
                        <a:lnTo>
                          <a:pt x="36" y="678"/>
                        </a:lnTo>
                        <a:lnTo>
                          <a:pt x="36" y="684"/>
                        </a:lnTo>
                        <a:lnTo>
                          <a:pt x="12" y="684"/>
                        </a:lnTo>
                        <a:lnTo>
                          <a:pt x="18" y="738"/>
                        </a:lnTo>
                        <a:lnTo>
                          <a:pt x="6" y="744"/>
                        </a:lnTo>
                        <a:lnTo>
                          <a:pt x="0" y="744"/>
                        </a:lnTo>
                        <a:lnTo>
                          <a:pt x="0" y="768"/>
                        </a:lnTo>
                        <a:lnTo>
                          <a:pt x="6" y="774"/>
                        </a:lnTo>
                        <a:lnTo>
                          <a:pt x="6" y="780"/>
                        </a:lnTo>
                        <a:lnTo>
                          <a:pt x="18" y="786"/>
                        </a:lnTo>
                        <a:lnTo>
                          <a:pt x="36" y="804"/>
                        </a:lnTo>
                        <a:lnTo>
                          <a:pt x="36" y="816"/>
                        </a:lnTo>
                        <a:lnTo>
                          <a:pt x="30" y="822"/>
                        </a:lnTo>
                        <a:lnTo>
                          <a:pt x="30" y="828"/>
                        </a:lnTo>
                        <a:lnTo>
                          <a:pt x="48" y="846"/>
                        </a:lnTo>
                        <a:lnTo>
                          <a:pt x="60" y="876"/>
                        </a:lnTo>
                        <a:lnTo>
                          <a:pt x="66" y="888"/>
                        </a:lnTo>
                        <a:lnTo>
                          <a:pt x="60" y="894"/>
                        </a:lnTo>
                        <a:lnTo>
                          <a:pt x="60" y="906"/>
                        </a:lnTo>
                        <a:lnTo>
                          <a:pt x="72" y="918"/>
                        </a:lnTo>
                        <a:lnTo>
                          <a:pt x="96" y="918"/>
                        </a:lnTo>
                        <a:lnTo>
                          <a:pt x="102" y="960"/>
                        </a:lnTo>
                        <a:lnTo>
                          <a:pt x="108" y="972"/>
                        </a:lnTo>
                        <a:lnTo>
                          <a:pt x="114" y="978"/>
                        </a:lnTo>
                        <a:lnTo>
                          <a:pt x="120" y="990"/>
                        </a:lnTo>
                        <a:lnTo>
                          <a:pt x="120" y="996"/>
                        </a:lnTo>
                        <a:lnTo>
                          <a:pt x="102" y="1014"/>
                        </a:lnTo>
                        <a:lnTo>
                          <a:pt x="102" y="1038"/>
                        </a:lnTo>
                        <a:lnTo>
                          <a:pt x="96" y="1056"/>
                        </a:lnTo>
                        <a:lnTo>
                          <a:pt x="96" y="1086"/>
                        </a:lnTo>
                        <a:lnTo>
                          <a:pt x="84" y="1086"/>
                        </a:lnTo>
                        <a:lnTo>
                          <a:pt x="90" y="1092"/>
                        </a:lnTo>
                        <a:lnTo>
                          <a:pt x="96" y="1104"/>
                        </a:lnTo>
                        <a:lnTo>
                          <a:pt x="102" y="1110"/>
                        </a:lnTo>
                        <a:lnTo>
                          <a:pt x="108" y="1122"/>
                        </a:lnTo>
                        <a:lnTo>
                          <a:pt x="114" y="1128"/>
                        </a:lnTo>
                        <a:lnTo>
                          <a:pt x="114" y="1140"/>
                        </a:lnTo>
                        <a:lnTo>
                          <a:pt x="108" y="1152"/>
                        </a:lnTo>
                        <a:lnTo>
                          <a:pt x="108" y="1158"/>
                        </a:lnTo>
                        <a:lnTo>
                          <a:pt x="102" y="1176"/>
                        </a:lnTo>
                        <a:lnTo>
                          <a:pt x="78" y="1182"/>
                        </a:lnTo>
                        <a:lnTo>
                          <a:pt x="78" y="1188"/>
                        </a:lnTo>
                        <a:lnTo>
                          <a:pt x="84" y="1194"/>
                        </a:lnTo>
                        <a:lnTo>
                          <a:pt x="84" y="1206"/>
                        </a:lnTo>
                        <a:lnTo>
                          <a:pt x="90" y="1224"/>
                        </a:lnTo>
                        <a:lnTo>
                          <a:pt x="96" y="1236"/>
                        </a:lnTo>
                        <a:lnTo>
                          <a:pt x="96" y="1284"/>
                        </a:lnTo>
                        <a:lnTo>
                          <a:pt x="126" y="1308"/>
                        </a:lnTo>
                        <a:lnTo>
                          <a:pt x="126" y="1326"/>
                        </a:lnTo>
                        <a:lnTo>
                          <a:pt x="132" y="1326"/>
                        </a:lnTo>
                        <a:lnTo>
                          <a:pt x="150" y="1344"/>
                        </a:lnTo>
                        <a:lnTo>
                          <a:pt x="150" y="1350"/>
                        </a:lnTo>
                        <a:lnTo>
                          <a:pt x="144" y="1362"/>
                        </a:lnTo>
                        <a:lnTo>
                          <a:pt x="132" y="1368"/>
                        </a:lnTo>
                        <a:lnTo>
                          <a:pt x="126" y="1374"/>
                        </a:lnTo>
                        <a:lnTo>
                          <a:pt x="120" y="1374"/>
                        </a:lnTo>
                        <a:lnTo>
                          <a:pt x="132" y="1416"/>
                        </a:lnTo>
                        <a:lnTo>
                          <a:pt x="114" y="1428"/>
                        </a:lnTo>
                        <a:lnTo>
                          <a:pt x="132" y="1446"/>
                        </a:lnTo>
                        <a:lnTo>
                          <a:pt x="132" y="1452"/>
                        </a:lnTo>
                        <a:lnTo>
                          <a:pt x="126" y="1464"/>
                        </a:lnTo>
                        <a:lnTo>
                          <a:pt x="126" y="1470"/>
                        </a:lnTo>
                        <a:lnTo>
                          <a:pt x="144" y="1482"/>
                        </a:lnTo>
                        <a:lnTo>
                          <a:pt x="144" y="1494"/>
                        </a:lnTo>
                        <a:lnTo>
                          <a:pt x="138" y="1500"/>
                        </a:lnTo>
                        <a:lnTo>
                          <a:pt x="138" y="1530"/>
                        </a:lnTo>
                        <a:lnTo>
                          <a:pt x="144" y="1536"/>
                        </a:lnTo>
                        <a:lnTo>
                          <a:pt x="150" y="1548"/>
                        </a:lnTo>
                        <a:lnTo>
                          <a:pt x="150" y="1572"/>
                        </a:lnTo>
                        <a:lnTo>
                          <a:pt x="156" y="1584"/>
                        </a:lnTo>
                        <a:lnTo>
                          <a:pt x="174" y="1602"/>
                        </a:lnTo>
                        <a:lnTo>
                          <a:pt x="186" y="1608"/>
                        </a:lnTo>
                        <a:lnTo>
                          <a:pt x="198" y="1620"/>
                        </a:lnTo>
                        <a:lnTo>
                          <a:pt x="192" y="1620"/>
                        </a:lnTo>
                        <a:lnTo>
                          <a:pt x="180" y="1626"/>
                        </a:lnTo>
                        <a:lnTo>
                          <a:pt x="174" y="1632"/>
                        </a:lnTo>
                        <a:lnTo>
                          <a:pt x="174" y="1644"/>
                        </a:lnTo>
                        <a:lnTo>
                          <a:pt x="180" y="1656"/>
                        </a:lnTo>
                        <a:lnTo>
                          <a:pt x="180" y="1674"/>
                        </a:lnTo>
                        <a:lnTo>
                          <a:pt x="186" y="1686"/>
                        </a:lnTo>
                        <a:lnTo>
                          <a:pt x="186" y="1698"/>
                        </a:lnTo>
                        <a:lnTo>
                          <a:pt x="192" y="1704"/>
                        </a:lnTo>
                        <a:lnTo>
                          <a:pt x="216" y="1716"/>
                        </a:lnTo>
                        <a:lnTo>
                          <a:pt x="210" y="1746"/>
                        </a:lnTo>
                        <a:lnTo>
                          <a:pt x="216" y="1746"/>
                        </a:lnTo>
                        <a:lnTo>
                          <a:pt x="228" y="1752"/>
                        </a:lnTo>
                        <a:lnTo>
                          <a:pt x="234" y="1758"/>
                        </a:lnTo>
                        <a:lnTo>
                          <a:pt x="234" y="1764"/>
                        </a:lnTo>
                        <a:lnTo>
                          <a:pt x="240" y="1776"/>
                        </a:lnTo>
                        <a:lnTo>
                          <a:pt x="240" y="1806"/>
                        </a:lnTo>
                        <a:lnTo>
                          <a:pt x="252" y="1818"/>
                        </a:lnTo>
                        <a:lnTo>
                          <a:pt x="282" y="1818"/>
                        </a:lnTo>
                        <a:lnTo>
                          <a:pt x="294" y="1824"/>
                        </a:lnTo>
                        <a:lnTo>
                          <a:pt x="294" y="1830"/>
                        </a:lnTo>
                        <a:lnTo>
                          <a:pt x="288" y="1836"/>
                        </a:lnTo>
                        <a:lnTo>
                          <a:pt x="276" y="1836"/>
                        </a:lnTo>
                        <a:lnTo>
                          <a:pt x="264" y="1842"/>
                        </a:lnTo>
                        <a:lnTo>
                          <a:pt x="246" y="1842"/>
                        </a:lnTo>
                        <a:lnTo>
                          <a:pt x="252" y="1848"/>
                        </a:lnTo>
                        <a:lnTo>
                          <a:pt x="258" y="1848"/>
                        </a:lnTo>
                        <a:lnTo>
                          <a:pt x="270" y="1854"/>
                        </a:lnTo>
                        <a:lnTo>
                          <a:pt x="276" y="1860"/>
                        </a:lnTo>
                        <a:lnTo>
                          <a:pt x="288" y="1860"/>
                        </a:lnTo>
                        <a:lnTo>
                          <a:pt x="312" y="1884"/>
                        </a:lnTo>
                        <a:lnTo>
                          <a:pt x="306" y="1890"/>
                        </a:lnTo>
                        <a:lnTo>
                          <a:pt x="300" y="1902"/>
                        </a:lnTo>
                        <a:lnTo>
                          <a:pt x="288" y="1914"/>
                        </a:lnTo>
                        <a:lnTo>
                          <a:pt x="312" y="1932"/>
                        </a:lnTo>
                        <a:lnTo>
                          <a:pt x="306" y="1956"/>
                        </a:lnTo>
                        <a:lnTo>
                          <a:pt x="330" y="1980"/>
                        </a:lnTo>
                        <a:lnTo>
                          <a:pt x="324" y="2016"/>
                        </a:lnTo>
                        <a:lnTo>
                          <a:pt x="336" y="2040"/>
                        </a:lnTo>
                        <a:lnTo>
                          <a:pt x="324" y="2046"/>
                        </a:lnTo>
                        <a:lnTo>
                          <a:pt x="318" y="2088"/>
                        </a:lnTo>
                        <a:lnTo>
                          <a:pt x="324" y="2088"/>
                        </a:lnTo>
                        <a:lnTo>
                          <a:pt x="348" y="2112"/>
                        </a:lnTo>
                        <a:lnTo>
                          <a:pt x="348" y="2118"/>
                        </a:lnTo>
                        <a:lnTo>
                          <a:pt x="342" y="2118"/>
                        </a:lnTo>
                        <a:lnTo>
                          <a:pt x="330" y="2124"/>
                        </a:lnTo>
                        <a:lnTo>
                          <a:pt x="324" y="2130"/>
                        </a:lnTo>
                        <a:lnTo>
                          <a:pt x="348" y="2154"/>
                        </a:lnTo>
                        <a:lnTo>
                          <a:pt x="348" y="2160"/>
                        </a:lnTo>
                        <a:lnTo>
                          <a:pt x="342" y="2166"/>
                        </a:lnTo>
                        <a:lnTo>
                          <a:pt x="336" y="2166"/>
                        </a:lnTo>
                        <a:lnTo>
                          <a:pt x="330" y="2172"/>
                        </a:lnTo>
                        <a:lnTo>
                          <a:pt x="324" y="2172"/>
                        </a:lnTo>
                        <a:lnTo>
                          <a:pt x="324" y="2196"/>
                        </a:lnTo>
                        <a:lnTo>
                          <a:pt x="312" y="2202"/>
                        </a:lnTo>
                        <a:lnTo>
                          <a:pt x="312" y="2214"/>
                        </a:lnTo>
                        <a:lnTo>
                          <a:pt x="318" y="2226"/>
                        </a:lnTo>
                        <a:lnTo>
                          <a:pt x="324" y="2232"/>
                        </a:lnTo>
                        <a:lnTo>
                          <a:pt x="324" y="2268"/>
                        </a:lnTo>
                        <a:lnTo>
                          <a:pt x="354" y="2274"/>
                        </a:lnTo>
                        <a:lnTo>
                          <a:pt x="354" y="2280"/>
                        </a:lnTo>
                        <a:lnTo>
                          <a:pt x="360" y="2286"/>
                        </a:lnTo>
                        <a:lnTo>
                          <a:pt x="360" y="2298"/>
                        </a:lnTo>
                        <a:lnTo>
                          <a:pt x="366" y="2304"/>
                        </a:lnTo>
                        <a:lnTo>
                          <a:pt x="378" y="2310"/>
                        </a:lnTo>
                        <a:lnTo>
                          <a:pt x="384" y="2310"/>
                        </a:lnTo>
                        <a:lnTo>
                          <a:pt x="396" y="2298"/>
                        </a:lnTo>
                        <a:lnTo>
                          <a:pt x="414" y="2298"/>
                        </a:lnTo>
                        <a:lnTo>
                          <a:pt x="426" y="2304"/>
                        </a:lnTo>
                        <a:lnTo>
                          <a:pt x="438" y="2316"/>
                        </a:lnTo>
                        <a:lnTo>
                          <a:pt x="438" y="2340"/>
                        </a:lnTo>
                        <a:lnTo>
                          <a:pt x="456" y="2364"/>
                        </a:lnTo>
                        <a:lnTo>
                          <a:pt x="468" y="2382"/>
                        </a:lnTo>
                        <a:lnTo>
                          <a:pt x="504" y="2400"/>
                        </a:lnTo>
                        <a:lnTo>
                          <a:pt x="522" y="2418"/>
                        </a:lnTo>
                        <a:lnTo>
                          <a:pt x="534" y="2418"/>
                        </a:lnTo>
                        <a:lnTo>
                          <a:pt x="546" y="2412"/>
                        </a:lnTo>
                        <a:lnTo>
                          <a:pt x="642" y="2412"/>
                        </a:lnTo>
                        <a:lnTo>
                          <a:pt x="666" y="2430"/>
                        </a:lnTo>
                        <a:lnTo>
                          <a:pt x="660" y="2442"/>
                        </a:lnTo>
                        <a:lnTo>
                          <a:pt x="666" y="2424"/>
                        </a:lnTo>
                        <a:lnTo>
                          <a:pt x="672" y="2418"/>
                        </a:lnTo>
                        <a:lnTo>
                          <a:pt x="684" y="2418"/>
                        </a:lnTo>
                        <a:lnTo>
                          <a:pt x="690" y="2424"/>
                        </a:lnTo>
                        <a:lnTo>
                          <a:pt x="702" y="2424"/>
                        </a:lnTo>
                        <a:lnTo>
                          <a:pt x="714" y="2430"/>
                        </a:lnTo>
                        <a:lnTo>
                          <a:pt x="720" y="2436"/>
                        </a:lnTo>
                        <a:lnTo>
                          <a:pt x="678" y="2382"/>
                        </a:lnTo>
                        <a:lnTo>
                          <a:pt x="660" y="2382"/>
                        </a:lnTo>
                        <a:lnTo>
                          <a:pt x="666" y="2370"/>
                        </a:lnTo>
                        <a:lnTo>
                          <a:pt x="630" y="2340"/>
                        </a:lnTo>
                        <a:lnTo>
                          <a:pt x="630" y="2310"/>
                        </a:lnTo>
                        <a:lnTo>
                          <a:pt x="618" y="2298"/>
                        </a:lnTo>
                        <a:lnTo>
                          <a:pt x="624" y="2286"/>
                        </a:lnTo>
                        <a:lnTo>
                          <a:pt x="630" y="2286"/>
                        </a:lnTo>
                        <a:lnTo>
                          <a:pt x="642" y="2274"/>
                        </a:lnTo>
                        <a:lnTo>
                          <a:pt x="642" y="2268"/>
                        </a:lnTo>
                        <a:lnTo>
                          <a:pt x="636" y="2268"/>
                        </a:lnTo>
                        <a:lnTo>
                          <a:pt x="624" y="2262"/>
                        </a:lnTo>
                        <a:lnTo>
                          <a:pt x="606" y="2262"/>
                        </a:lnTo>
                        <a:lnTo>
                          <a:pt x="618" y="2250"/>
                        </a:lnTo>
                        <a:lnTo>
                          <a:pt x="618" y="2232"/>
                        </a:lnTo>
                        <a:lnTo>
                          <a:pt x="636" y="2256"/>
                        </a:lnTo>
                        <a:lnTo>
                          <a:pt x="648" y="2262"/>
                        </a:lnTo>
                        <a:lnTo>
                          <a:pt x="666" y="2262"/>
                        </a:lnTo>
                        <a:lnTo>
                          <a:pt x="672" y="2256"/>
                        </a:lnTo>
                        <a:lnTo>
                          <a:pt x="678" y="2244"/>
                        </a:lnTo>
                        <a:lnTo>
                          <a:pt x="678" y="2226"/>
                        </a:lnTo>
                        <a:lnTo>
                          <a:pt x="672" y="2208"/>
                        </a:lnTo>
                        <a:lnTo>
                          <a:pt x="666" y="2196"/>
                        </a:lnTo>
                        <a:lnTo>
                          <a:pt x="666" y="2178"/>
                        </a:lnTo>
                        <a:lnTo>
                          <a:pt x="678" y="2154"/>
                        </a:lnTo>
                        <a:lnTo>
                          <a:pt x="690" y="2142"/>
                        </a:lnTo>
                        <a:lnTo>
                          <a:pt x="708" y="2130"/>
                        </a:lnTo>
                        <a:lnTo>
                          <a:pt x="738" y="2100"/>
                        </a:lnTo>
                        <a:lnTo>
                          <a:pt x="726" y="2088"/>
                        </a:lnTo>
                        <a:lnTo>
                          <a:pt x="702" y="2088"/>
                        </a:lnTo>
                        <a:lnTo>
                          <a:pt x="726" y="2082"/>
                        </a:lnTo>
                        <a:lnTo>
                          <a:pt x="726" y="2064"/>
                        </a:lnTo>
                        <a:lnTo>
                          <a:pt x="714" y="2040"/>
                        </a:lnTo>
                        <a:lnTo>
                          <a:pt x="708" y="2034"/>
                        </a:lnTo>
                        <a:lnTo>
                          <a:pt x="696" y="2028"/>
                        </a:lnTo>
                        <a:lnTo>
                          <a:pt x="690" y="2028"/>
                        </a:lnTo>
                        <a:lnTo>
                          <a:pt x="684" y="2034"/>
                        </a:lnTo>
                        <a:lnTo>
                          <a:pt x="672" y="2016"/>
                        </a:lnTo>
                        <a:lnTo>
                          <a:pt x="642" y="2016"/>
                        </a:lnTo>
                        <a:lnTo>
                          <a:pt x="636" y="2010"/>
                        </a:lnTo>
                        <a:lnTo>
                          <a:pt x="624" y="2004"/>
                        </a:lnTo>
                        <a:lnTo>
                          <a:pt x="606" y="1992"/>
                        </a:lnTo>
                        <a:lnTo>
                          <a:pt x="582" y="1968"/>
                        </a:lnTo>
                        <a:lnTo>
                          <a:pt x="570" y="1950"/>
                        </a:lnTo>
                        <a:lnTo>
                          <a:pt x="564" y="1938"/>
                        </a:lnTo>
                        <a:lnTo>
                          <a:pt x="564" y="1926"/>
                        </a:lnTo>
                        <a:lnTo>
                          <a:pt x="570" y="1914"/>
                        </a:lnTo>
                        <a:lnTo>
                          <a:pt x="570" y="1908"/>
                        </a:lnTo>
                        <a:lnTo>
                          <a:pt x="576" y="1908"/>
                        </a:lnTo>
                        <a:lnTo>
                          <a:pt x="582" y="1902"/>
                        </a:lnTo>
                        <a:lnTo>
                          <a:pt x="594" y="1878"/>
                        </a:lnTo>
                        <a:lnTo>
                          <a:pt x="606" y="1878"/>
                        </a:lnTo>
                        <a:lnTo>
                          <a:pt x="612" y="1860"/>
                        </a:lnTo>
                        <a:lnTo>
                          <a:pt x="666" y="1860"/>
                        </a:lnTo>
                        <a:lnTo>
                          <a:pt x="654" y="1848"/>
                        </a:lnTo>
                        <a:lnTo>
                          <a:pt x="654" y="1824"/>
                        </a:lnTo>
                        <a:lnTo>
                          <a:pt x="666" y="1824"/>
                        </a:lnTo>
                        <a:lnTo>
                          <a:pt x="666" y="1794"/>
                        </a:lnTo>
                        <a:lnTo>
                          <a:pt x="660" y="1788"/>
                        </a:lnTo>
                        <a:lnTo>
                          <a:pt x="654" y="1776"/>
                        </a:lnTo>
                        <a:lnTo>
                          <a:pt x="642" y="1764"/>
                        </a:lnTo>
                        <a:lnTo>
                          <a:pt x="642" y="1746"/>
                        </a:lnTo>
                        <a:lnTo>
                          <a:pt x="648" y="1728"/>
                        </a:lnTo>
                        <a:lnTo>
                          <a:pt x="654" y="1716"/>
                        </a:lnTo>
                        <a:lnTo>
                          <a:pt x="666" y="1710"/>
                        </a:lnTo>
                        <a:lnTo>
                          <a:pt x="672" y="1704"/>
                        </a:lnTo>
                        <a:lnTo>
                          <a:pt x="684" y="1704"/>
                        </a:lnTo>
                        <a:lnTo>
                          <a:pt x="684" y="1692"/>
                        </a:lnTo>
                        <a:lnTo>
                          <a:pt x="660" y="1692"/>
                        </a:lnTo>
                        <a:lnTo>
                          <a:pt x="648" y="1686"/>
                        </a:lnTo>
                        <a:lnTo>
                          <a:pt x="642" y="1680"/>
                        </a:lnTo>
                        <a:lnTo>
                          <a:pt x="642" y="1674"/>
                        </a:lnTo>
                        <a:lnTo>
                          <a:pt x="654" y="1668"/>
                        </a:lnTo>
                        <a:lnTo>
                          <a:pt x="666" y="1668"/>
                        </a:lnTo>
                        <a:lnTo>
                          <a:pt x="702" y="1686"/>
                        </a:lnTo>
                        <a:lnTo>
                          <a:pt x="708" y="1692"/>
                        </a:lnTo>
                        <a:lnTo>
                          <a:pt x="714" y="1692"/>
                        </a:lnTo>
                        <a:lnTo>
                          <a:pt x="720" y="1686"/>
                        </a:lnTo>
                        <a:lnTo>
                          <a:pt x="732" y="1680"/>
                        </a:lnTo>
                        <a:lnTo>
                          <a:pt x="732" y="1656"/>
                        </a:lnTo>
                        <a:lnTo>
                          <a:pt x="726" y="1644"/>
                        </a:lnTo>
                        <a:lnTo>
                          <a:pt x="708" y="1626"/>
                        </a:lnTo>
                        <a:lnTo>
                          <a:pt x="696" y="1626"/>
                        </a:lnTo>
                        <a:lnTo>
                          <a:pt x="690" y="1632"/>
                        </a:lnTo>
                        <a:lnTo>
                          <a:pt x="690" y="1650"/>
                        </a:lnTo>
                        <a:lnTo>
                          <a:pt x="684" y="1656"/>
                        </a:lnTo>
                        <a:lnTo>
                          <a:pt x="666" y="1656"/>
                        </a:lnTo>
                        <a:lnTo>
                          <a:pt x="654" y="1650"/>
                        </a:lnTo>
                        <a:lnTo>
                          <a:pt x="648" y="1644"/>
                        </a:lnTo>
                        <a:lnTo>
                          <a:pt x="648" y="1638"/>
                        </a:lnTo>
                        <a:lnTo>
                          <a:pt x="612" y="1638"/>
                        </a:lnTo>
                        <a:lnTo>
                          <a:pt x="606" y="1632"/>
                        </a:lnTo>
                        <a:lnTo>
                          <a:pt x="606" y="1572"/>
                        </a:lnTo>
                        <a:lnTo>
                          <a:pt x="600" y="1566"/>
                        </a:lnTo>
                        <a:lnTo>
                          <a:pt x="594" y="1554"/>
                        </a:lnTo>
                        <a:lnTo>
                          <a:pt x="588" y="1536"/>
                        </a:lnTo>
                        <a:lnTo>
                          <a:pt x="588" y="1524"/>
                        </a:lnTo>
                        <a:lnTo>
                          <a:pt x="594" y="1518"/>
                        </a:lnTo>
                        <a:lnTo>
                          <a:pt x="600" y="1518"/>
                        </a:lnTo>
                        <a:lnTo>
                          <a:pt x="606" y="1524"/>
                        </a:lnTo>
                        <a:lnTo>
                          <a:pt x="618" y="1524"/>
                        </a:lnTo>
                        <a:lnTo>
                          <a:pt x="624" y="1530"/>
                        </a:lnTo>
                        <a:lnTo>
                          <a:pt x="636" y="1536"/>
                        </a:lnTo>
                        <a:lnTo>
                          <a:pt x="672" y="1548"/>
                        </a:lnTo>
                        <a:lnTo>
                          <a:pt x="690" y="1560"/>
                        </a:lnTo>
                        <a:lnTo>
                          <a:pt x="708" y="1560"/>
                        </a:lnTo>
                        <a:lnTo>
                          <a:pt x="726" y="1554"/>
                        </a:lnTo>
                        <a:lnTo>
                          <a:pt x="738" y="1542"/>
                        </a:lnTo>
                        <a:lnTo>
                          <a:pt x="750" y="1536"/>
                        </a:lnTo>
                        <a:lnTo>
                          <a:pt x="768" y="1530"/>
                        </a:lnTo>
                        <a:lnTo>
                          <a:pt x="774" y="1524"/>
                        </a:lnTo>
                        <a:lnTo>
                          <a:pt x="774" y="1512"/>
                        </a:lnTo>
                        <a:lnTo>
                          <a:pt x="762" y="1506"/>
                        </a:lnTo>
                        <a:lnTo>
                          <a:pt x="750" y="1494"/>
                        </a:lnTo>
                        <a:lnTo>
                          <a:pt x="738" y="1488"/>
                        </a:lnTo>
                        <a:lnTo>
                          <a:pt x="738" y="1464"/>
                        </a:lnTo>
                        <a:lnTo>
                          <a:pt x="744" y="1452"/>
                        </a:lnTo>
                        <a:lnTo>
                          <a:pt x="750" y="1446"/>
                        </a:lnTo>
                        <a:lnTo>
                          <a:pt x="750" y="1434"/>
                        </a:lnTo>
                        <a:lnTo>
                          <a:pt x="756" y="1422"/>
                        </a:lnTo>
                        <a:lnTo>
                          <a:pt x="744" y="1410"/>
                        </a:lnTo>
                        <a:lnTo>
                          <a:pt x="726" y="1410"/>
                        </a:lnTo>
                        <a:lnTo>
                          <a:pt x="720" y="1386"/>
                        </a:lnTo>
                        <a:lnTo>
                          <a:pt x="714" y="1380"/>
                        </a:lnTo>
                        <a:lnTo>
                          <a:pt x="714" y="1368"/>
                        </a:lnTo>
                        <a:lnTo>
                          <a:pt x="720" y="1362"/>
                        </a:lnTo>
                        <a:lnTo>
                          <a:pt x="726" y="1362"/>
                        </a:lnTo>
                        <a:lnTo>
                          <a:pt x="732" y="1374"/>
                        </a:lnTo>
                        <a:lnTo>
                          <a:pt x="738" y="1380"/>
                        </a:lnTo>
                        <a:lnTo>
                          <a:pt x="738" y="1386"/>
                        </a:lnTo>
                        <a:lnTo>
                          <a:pt x="744" y="1398"/>
                        </a:lnTo>
                        <a:lnTo>
                          <a:pt x="756" y="1398"/>
                        </a:lnTo>
                        <a:lnTo>
                          <a:pt x="750" y="1380"/>
                        </a:lnTo>
                        <a:lnTo>
                          <a:pt x="828" y="1386"/>
                        </a:lnTo>
                        <a:lnTo>
                          <a:pt x="834" y="1380"/>
                        </a:lnTo>
                        <a:lnTo>
                          <a:pt x="840" y="1380"/>
                        </a:lnTo>
                        <a:lnTo>
                          <a:pt x="846" y="1374"/>
                        </a:lnTo>
                        <a:lnTo>
                          <a:pt x="864" y="1368"/>
                        </a:lnTo>
                        <a:lnTo>
                          <a:pt x="894" y="1362"/>
                        </a:lnTo>
                        <a:lnTo>
                          <a:pt x="930" y="1350"/>
                        </a:lnTo>
                        <a:lnTo>
                          <a:pt x="972" y="1338"/>
                        </a:lnTo>
                        <a:lnTo>
                          <a:pt x="1002" y="1326"/>
                        </a:lnTo>
                        <a:lnTo>
                          <a:pt x="1014" y="1320"/>
                        </a:lnTo>
                        <a:lnTo>
                          <a:pt x="1014" y="1284"/>
                        </a:lnTo>
                        <a:lnTo>
                          <a:pt x="1032" y="1272"/>
                        </a:lnTo>
                        <a:lnTo>
                          <a:pt x="1044" y="1218"/>
                        </a:lnTo>
                        <a:lnTo>
                          <a:pt x="1038" y="1194"/>
                        </a:lnTo>
                        <a:lnTo>
                          <a:pt x="1038" y="1170"/>
                        </a:lnTo>
                        <a:lnTo>
                          <a:pt x="1032" y="1170"/>
                        </a:lnTo>
                        <a:lnTo>
                          <a:pt x="1026" y="1164"/>
                        </a:lnTo>
                        <a:lnTo>
                          <a:pt x="1002" y="1152"/>
                        </a:lnTo>
                        <a:lnTo>
                          <a:pt x="990" y="1152"/>
                        </a:lnTo>
                        <a:lnTo>
                          <a:pt x="984" y="1146"/>
                        </a:lnTo>
                        <a:lnTo>
                          <a:pt x="978" y="1146"/>
                        </a:lnTo>
                        <a:lnTo>
                          <a:pt x="972" y="1140"/>
                        </a:lnTo>
                        <a:lnTo>
                          <a:pt x="990" y="1122"/>
                        </a:lnTo>
                        <a:lnTo>
                          <a:pt x="990" y="1092"/>
                        </a:lnTo>
                        <a:lnTo>
                          <a:pt x="984" y="1080"/>
                        </a:lnTo>
                        <a:lnTo>
                          <a:pt x="978" y="1074"/>
                        </a:lnTo>
                        <a:lnTo>
                          <a:pt x="954" y="1062"/>
                        </a:lnTo>
                        <a:lnTo>
                          <a:pt x="918" y="1050"/>
                        </a:lnTo>
                        <a:lnTo>
                          <a:pt x="906" y="1044"/>
                        </a:lnTo>
                        <a:lnTo>
                          <a:pt x="888" y="1032"/>
                        </a:lnTo>
                        <a:lnTo>
                          <a:pt x="876" y="1020"/>
                        </a:lnTo>
                        <a:lnTo>
                          <a:pt x="876" y="1002"/>
                        </a:lnTo>
                        <a:lnTo>
                          <a:pt x="882" y="990"/>
                        </a:lnTo>
                        <a:lnTo>
                          <a:pt x="888" y="990"/>
                        </a:lnTo>
                        <a:lnTo>
                          <a:pt x="888" y="984"/>
                        </a:lnTo>
                        <a:lnTo>
                          <a:pt x="858" y="948"/>
                        </a:lnTo>
                        <a:lnTo>
                          <a:pt x="858" y="900"/>
                        </a:lnTo>
                        <a:lnTo>
                          <a:pt x="882" y="900"/>
                        </a:lnTo>
                        <a:lnTo>
                          <a:pt x="888" y="894"/>
                        </a:lnTo>
                        <a:lnTo>
                          <a:pt x="894" y="894"/>
                        </a:lnTo>
                        <a:lnTo>
                          <a:pt x="894" y="888"/>
                        </a:lnTo>
                        <a:lnTo>
                          <a:pt x="888" y="876"/>
                        </a:lnTo>
                        <a:lnTo>
                          <a:pt x="876" y="870"/>
                        </a:lnTo>
                        <a:lnTo>
                          <a:pt x="870" y="858"/>
                        </a:lnTo>
                        <a:lnTo>
                          <a:pt x="864" y="852"/>
                        </a:lnTo>
                        <a:lnTo>
                          <a:pt x="876" y="834"/>
                        </a:lnTo>
                        <a:lnTo>
                          <a:pt x="864" y="822"/>
                        </a:lnTo>
                        <a:lnTo>
                          <a:pt x="858" y="810"/>
                        </a:lnTo>
                        <a:lnTo>
                          <a:pt x="852" y="804"/>
                        </a:lnTo>
                        <a:lnTo>
                          <a:pt x="864" y="792"/>
                        </a:lnTo>
                        <a:lnTo>
                          <a:pt x="882" y="792"/>
                        </a:lnTo>
                        <a:lnTo>
                          <a:pt x="858" y="774"/>
                        </a:lnTo>
                        <a:lnTo>
                          <a:pt x="858" y="738"/>
                        </a:lnTo>
                        <a:lnTo>
                          <a:pt x="882" y="726"/>
                        </a:lnTo>
                        <a:lnTo>
                          <a:pt x="876" y="726"/>
                        </a:lnTo>
                        <a:lnTo>
                          <a:pt x="852" y="702"/>
                        </a:lnTo>
                        <a:lnTo>
                          <a:pt x="852" y="696"/>
                        </a:lnTo>
                        <a:lnTo>
                          <a:pt x="870" y="678"/>
                        </a:lnTo>
                        <a:lnTo>
                          <a:pt x="870" y="666"/>
                        </a:lnTo>
                        <a:lnTo>
                          <a:pt x="876" y="654"/>
                        </a:lnTo>
                        <a:lnTo>
                          <a:pt x="876" y="642"/>
                        </a:lnTo>
                        <a:lnTo>
                          <a:pt x="882" y="636"/>
                        </a:lnTo>
                        <a:lnTo>
                          <a:pt x="900" y="636"/>
                        </a:lnTo>
                        <a:lnTo>
                          <a:pt x="906" y="630"/>
                        </a:lnTo>
                        <a:lnTo>
                          <a:pt x="912" y="618"/>
                        </a:lnTo>
                        <a:lnTo>
                          <a:pt x="918" y="612"/>
                        </a:lnTo>
                        <a:lnTo>
                          <a:pt x="918" y="588"/>
                        </a:lnTo>
                        <a:lnTo>
                          <a:pt x="930" y="588"/>
                        </a:lnTo>
                        <a:lnTo>
                          <a:pt x="948" y="570"/>
                        </a:lnTo>
                        <a:lnTo>
                          <a:pt x="948" y="558"/>
                        </a:lnTo>
                        <a:lnTo>
                          <a:pt x="954" y="546"/>
                        </a:lnTo>
                        <a:lnTo>
                          <a:pt x="954" y="534"/>
                        </a:lnTo>
                        <a:close/>
                        <a:moveTo>
                          <a:pt x="930" y="1020"/>
                        </a:moveTo>
                        <a:lnTo>
                          <a:pt x="942" y="1020"/>
                        </a:lnTo>
                        <a:lnTo>
                          <a:pt x="930" y="1014"/>
                        </a:lnTo>
                        <a:lnTo>
                          <a:pt x="930" y="1020"/>
                        </a:lnTo>
                        <a:close/>
                      </a:path>
                    </a:pathLst>
                  </a:custGeom>
                  <a:solidFill>
                    <a:schemeClr val="accent1"/>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87" name="Angola"/>
                  <p:cNvSpPr>
                    <a:spLocks noEditPoints="1"/>
                  </p:cNvSpPr>
                  <p:nvPr/>
                </p:nvSpPr>
                <p:spPr bwMode="gray">
                  <a:xfrm>
                    <a:off x="2864" y="2398"/>
                    <a:ext cx="227" cy="283"/>
                  </a:xfrm>
                  <a:custGeom>
                    <a:avLst/>
                    <a:gdLst>
                      <a:gd name="T0" fmla="*/ 2147483647 w 888"/>
                      <a:gd name="T1" fmla="*/ 2147483647 h 1104"/>
                      <a:gd name="T2" fmla="*/ 2147483647 w 888"/>
                      <a:gd name="T3" fmla="*/ 2147483647 h 1104"/>
                      <a:gd name="T4" fmla="*/ 2147483647 w 888"/>
                      <a:gd name="T5" fmla="*/ 2147483647 h 1104"/>
                      <a:gd name="T6" fmla="*/ 2147483647 w 888"/>
                      <a:gd name="T7" fmla="*/ 0 h 1104"/>
                      <a:gd name="T8" fmla="*/ 2147483647 w 888"/>
                      <a:gd name="T9" fmla="*/ 2147483647 h 1104"/>
                      <a:gd name="T10" fmla="*/ 2147483647 w 888"/>
                      <a:gd name="T11" fmla="*/ 2147483647 h 1104"/>
                      <a:gd name="T12" fmla="*/ 2147483647 w 888"/>
                      <a:gd name="T13" fmla="*/ 2147483647 h 1104"/>
                      <a:gd name="T14" fmla="*/ 2147483647 w 888"/>
                      <a:gd name="T15" fmla="*/ 2147483647 h 1104"/>
                      <a:gd name="T16" fmla="*/ 2147483647 w 888"/>
                      <a:gd name="T17" fmla="*/ 2147483647 h 1104"/>
                      <a:gd name="T18" fmla="*/ 2147483647 w 888"/>
                      <a:gd name="T19" fmla="*/ 2147483647 h 1104"/>
                      <a:gd name="T20" fmla="*/ 2147483647 w 888"/>
                      <a:gd name="T21" fmla="*/ 2147483647 h 1104"/>
                      <a:gd name="T22" fmla="*/ 2147483647 w 888"/>
                      <a:gd name="T23" fmla="*/ 2147483647 h 1104"/>
                      <a:gd name="T24" fmla="*/ 2147483647 w 888"/>
                      <a:gd name="T25" fmla="*/ 2147483647 h 1104"/>
                      <a:gd name="T26" fmla="*/ 2147483647 w 888"/>
                      <a:gd name="T27" fmla="*/ 2147483647 h 1104"/>
                      <a:gd name="T28" fmla="*/ 2147483647 w 888"/>
                      <a:gd name="T29" fmla="*/ 2147483647 h 1104"/>
                      <a:gd name="T30" fmla="*/ 2147483647 w 888"/>
                      <a:gd name="T31" fmla="*/ 2147483647 h 1104"/>
                      <a:gd name="T32" fmla="*/ 2147483647 w 888"/>
                      <a:gd name="T33" fmla="*/ 2147483647 h 1104"/>
                      <a:gd name="T34" fmla="*/ 2147483647 w 888"/>
                      <a:gd name="T35" fmla="*/ 2147483647 h 1104"/>
                      <a:gd name="T36" fmla="*/ 2147483647 w 888"/>
                      <a:gd name="T37" fmla="*/ 2147483647 h 1104"/>
                      <a:gd name="T38" fmla="*/ 2147483647 w 888"/>
                      <a:gd name="T39" fmla="*/ 2147483647 h 1104"/>
                      <a:gd name="T40" fmla="*/ 2147483647 w 888"/>
                      <a:gd name="T41" fmla="*/ 2147483647 h 1104"/>
                      <a:gd name="T42" fmla="*/ 2147483647 w 888"/>
                      <a:gd name="T43" fmla="*/ 2147483647 h 1104"/>
                      <a:gd name="T44" fmla="*/ 2147483647 w 888"/>
                      <a:gd name="T45" fmla="*/ 2147483647 h 1104"/>
                      <a:gd name="T46" fmla="*/ 2147483647 w 888"/>
                      <a:gd name="T47" fmla="*/ 2147483647 h 1104"/>
                      <a:gd name="T48" fmla="*/ 2147483647 w 888"/>
                      <a:gd name="T49" fmla="*/ 2147483647 h 1104"/>
                      <a:gd name="T50" fmla="*/ 2147483647 w 888"/>
                      <a:gd name="T51" fmla="*/ 2147483647 h 1104"/>
                      <a:gd name="T52" fmla="*/ 2147483647 w 888"/>
                      <a:gd name="T53" fmla="*/ 2147483647 h 1104"/>
                      <a:gd name="T54" fmla="*/ 2147483647 w 888"/>
                      <a:gd name="T55" fmla="*/ 2147483647 h 1104"/>
                      <a:gd name="T56" fmla="*/ 2147483647 w 888"/>
                      <a:gd name="T57" fmla="*/ 2147483647 h 1104"/>
                      <a:gd name="T58" fmla="*/ 2147483647 w 888"/>
                      <a:gd name="T59" fmla="*/ 2147483647 h 1104"/>
                      <a:gd name="T60" fmla="*/ 2147483647 w 888"/>
                      <a:gd name="T61" fmla="*/ 2147483647 h 1104"/>
                      <a:gd name="T62" fmla="*/ 2147483647 w 888"/>
                      <a:gd name="T63" fmla="*/ 2147483647 h 1104"/>
                      <a:gd name="T64" fmla="*/ 2147483647 w 888"/>
                      <a:gd name="T65" fmla="*/ 2147483647 h 1104"/>
                      <a:gd name="T66" fmla="*/ 2147483647 w 888"/>
                      <a:gd name="T67" fmla="*/ 2147483647 h 1104"/>
                      <a:gd name="T68" fmla="*/ 2147483647 w 888"/>
                      <a:gd name="T69" fmla="*/ 2147483647 h 1104"/>
                      <a:gd name="T70" fmla="*/ 2147483647 w 888"/>
                      <a:gd name="T71" fmla="*/ 2147483647 h 1104"/>
                      <a:gd name="T72" fmla="*/ 2147483647 w 888"/>
                      <a:gd name="T73" fmla="*/ 2147483647 h 1104"/>
                      <a:gd name="T74" fmla="*/ 0 w 888"/>
                      <a:gd name="T75" fmla="*/ 2147483647 h 1104"/>
                      <a:gd name="T76" fmla="*/ 2147483647 w 888"/>
                      <a:gd name="T77" fmla="*/ 2147483647 h 1104"/>
                      <a:gd name="T78" fmla="*/ 2147483647 w 888"/>
                      <a:gd name="T79" fmla="*/ 2147483647 h 1104"/>
                      <a:gd name="T80" fmla="*/ 2147483647 w 888"/>
                      <a:gd name="T81" fmla="*/ 2147483647 h 1104"/>
                      <a:gd name="T82" fmla="*/ 2147483647 w 888"/>
                      <a:gd name="T83" fmla="*/ 2147483647 h 1104"/>
                      <a:gd name="T84" fmla="*/ 2147483647 w 888"/>
                      <a:gd name="T85" fmla="*/ 2147483647 h 1104"/>
                      <a:gd name="T86" fmla="*/ 2147483647 w 888"/>
                      <a:gd name="T87" fmla="*/ 2147483647 h 1104"/>
                      <a:gd name="T88" fmla="*/ 2147483647 w 888"/>
                      <a:gd name="T89" fmla="*/ 2147483647 h 1104"/>
                      <a:gd name="T90" fmla="*/ 2147483647 w 888"/>
                      <a:gd name="T91" fmla="*/ 2147483647 h 1104"/>
                      <a:gd name="T92" fmla="*/ 2147483647 w 888"/>
                      <a:gd name="T93" fmla="*/ 2147483647 h 1104"/>
                      <a:gd name="T94" fmla="*/ 2147483647 w 888"/>
                      <a:gd name="T95" fmla="*/ 2147483647 h 110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88"/>
                      <a:gd name="T145" fmla="*/ 0 h 1104"/>
                      <a:gd name="T146" fmla="*/ 888 w 888"/>
                      <a:gd name="T147" fmla="*/ 1104 h 110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88" h="1104">
                        <a:moveTo>
                          <a:pt x="42" y="114"/>
                        </a:moveTo>
                        <a:lnTo>
                          <a:pt x="42" y="120"/>
                        </a:lnTo>
                        <a:lnTo>
                          <a:pt x="48" y="120"/>
                        </a:lnTo>
                        <a:lnTo>
                          <a:pt x="54" y="114"/>
                        </a:lnTo>
                        <a:lnTo>
                          <a:pt x="66" y="108"/>
                        </a:lnTo>
                        <a:lnTo>
                          <a:pt x="72" y="102"/>
                        </a:lnTo>
                        <a:lnTo>
                          <a:pt x="72" y="96"/>
                        </a:lnTo>
                        <a:lnTo>
                          <a:pt x="66" y="84"/>
                        </a:lnTo>
                        <a:lnTo>
                          <a:pt x="66" y="78"/>
                        </a:lnTo>
                        <a:lnTo>
                          <a:pt x="60" y="66"/>
                        </a:lnTo>
                        <a:lnTo>
                          <a:pt x="96" y="36"/>
                        </a:lnTo>
                        <a:lnTo>
                          <a:pt x="102" y="24"/>
                        </a:lnTo>
                        <a:lnTo>
                          <a:pt x="102" y="18"/>
                        </a:lnTo>
                        <a:lnTo>
                          <a:pt x="96" y="12"/>
                        </a:lnTo>
                        <a:lnTo>
                          <a:pt x="96" y="6"/>
                        </a:lnTo>
                        <a:lnTo>
                          <a:pt x="90" y="0"/>
                        </a:lnTo>
                        <a:lnTo>
                          <a:pt x="84" y="6"/>
                        </a:lnTo>
                        <a:lnTo>
                          <a:pt x="72" y="12"/>
                        </a:lnTo>
                        <a:lnTo>
                          <a:pt x="66" y="18"/>
                        </a:lnTo>
                        <a:lnTo>
                          <a:pt x="54" y="24"/>
                        </a:lnTo>
                        <a:lnTo>
                          <a:pt x="54" y="42"/>
                        </a:lnTo>
                        <a:lnTo>
                          <a:pt x="36" y="42"/>
                        </a:lnTo>
                        <a:lnTo>
                          <a:pt x="36" y="60"/>
                        </a:lnTo>
                        <a:lnTo>
                          <a:pt x="42" y="114"/>
                        </a:lnTo>
                        <a:close/>
                        <a:moveTo>
                          <a:pt x="876" y="546"/>
                        </a:moveTo>
                        <a:lnTo>
                          <a:pt x="852" y="546"/>
                        </a:lnTo>
                        <a:lnTo>
                          <a:pt x="840" y="534"/>
                        </a:lnTo>
                        <a:lnTo>
                          <a:pt x="828" y="534"/>
                        </a:lnTo>
                        <a:lnTo>
                          <a:pt x="828" y="546"/>
                        </a:lnTo>
                        <a:lnTo>
                          <a:pt x="804" y="552"/>
                        </a:lnTo>
                        <a:lnTo>
                          <a:pt x="774" y="546"/>
                        </a:lnTo>
                        <a:lnTo>
                          <a:pt x="768" y="564"/>
                        </a:lnTo>
                        <a:lnTo>
                          <a:pt x="762" y="558"/>
                        </a:lnTo>
                        <a:lnTo>
                          <a:pt x="756" y="558"/>
                        </a:lnTo>
                        <a:lnTo>
                          <a:pt x="750" y="552"/>
                        </a:lnTo>
                        <a:lnTo>
                          <a:pt x="750" y="528"/>
                        </a:lnTo>
                        <a:lnTo>
                          <a:pt x="756" y="522"/>
                        </a:lnTo>
                        <a:lnTo>
                          <a:pt x="756" y="510"/>
                        </a:lnTo>
                        <a:lnTo>
                          <a:pt x="762" y="498"/>
                        </a:lnTo>
                        <a:lnTo>
                          <a:pt x="762" y="480"/>
                        </a:lnTo>
                        <a:lnTo>
                          <a:pt x="756" y="474"/>
                        </a:lnTo>
                        <a:lnTo>
                          <a:pt x="744" y="450"/>
                        </a:lnTo>
                        <a:lnTo>
                          <a:pt x="732" y="432"/>
                        </a:lnTo>
                        <a:lnTo>
                          <a:pt x="726" y="414"/>
                        </a:lnTo>
                        <a:lnTo>
                          <a:pt x="726" y="402"/>
                        </a:lnTo>
                        <a:lnTo>
                          <a:pt x="732" y="396"/>
                        </a:lnTo>
                        <a:lnTo>
                          <a:pt x="732" y="384"/>
                        </a:lnTo>
                        <a:lnTo>
                          <a:pt x="726" y="360"/>
                        </a:lnTo>
                        <a:lnTo>
                          <a:pt x="732" y="354"/>
                        </a:lnTo>
                        <a:lnTo>
                          <a:pt x="738" y="342"/>
                        </a:lnTo>
                        <a:lnTo>
                          <a:pt x="738" y="330"/>
                        </a:lnTo>
                        <a:lnTo>
                          <a:pt x="732" y="318"/>
                        </a:lnTo>
                        <a:lnTo>
                          <a:pt x="720" y="306"/>
                        </a:lnTo>
                        <a:lnTo>
                          <a:pt x="714" y="288"/>
                        </a:lnTo>
                        <a:lnTo>
                          <a:pt x="726" y="270"/>
                        </a:lnTo>
                        <a:lnTo>
                          <a:pt x="726" y="246"/>
                        </a:lnTo>
                        <a:lnTo>
                          <a:pt x="636" y="246"/>
                        </a:lnTo>
                        <a:lnTo>
                          <a:pt x="636" y="222"/>
                        </a:lnTo>
                        <a:lnTo>
                          <a:pt x="624" y="216"/>
                        </a:lnTo>
                        <a:lnTo>
                          <a:pt x="612" y="216"/>
                        </a:lnTo>
                        <a:lnTo>
                          <a:pt x="612" y="222"/>
                        </a:lnTo>
                        <a:lnTo>
                          <a:pt x="564" y="222"/>
                        </a:lnTo>
                        <a:lnTo>
                          <a:pt x="558" y="228"/>
                        </a:lnTo>
                        <a:lnTo>
                          <a:pt x="558" y="234"/>
                        </a:lnTo>
                        <a:lnTo>
                          <a:pt x="564" y="240"/>
                        </a:lnTo>
                        <a:lnTo>
                          <a:pt x="570" y="252"/>
                        </a:lnTo>
                        <a:lnTo>
                          <a:pt x="570" y="264"/>
                        </a:lnTo>
                        <a:lnTo>
                          <a:pt x="558" y="264"/>
                        </a:lnTo>
                        <a:lnTo>
                          <a:pt x="558" y="270"/>
                        </a:lnTo>
                        <a:lnTo>
                          <a:pt x="552" y="276"/>
                        </a:lnTo>
                        <a:lnTo>
                          <a:pt x="552" y="294"/>
                        </a:lnTo>
                        <a:lnTo>
                          <a:pt x="510" y="300"/>
                        </a:lnTo>
                        <a:lnTo>
                          <a:pt x="504" y="294"/>
                        </a:lnTo>
                        <a:lnTo>
                          <a:pt x="492" y="300"/>
                        </a:lnTo>
                        <a:lnTo>
                          <a:pt x="468" y="300"/>
                        </a:lnTo>
                        <a:lnTo>
                          <a:pt x="462" y="312"/>
                        </a:lnTo>
                        <a:lnTo>
                          <a:pt x="450" y="306"/>
                        </a:lnTo>
                        <a:lnTo>
                          <a:pt x="420" y="306"/>
                        </a:lnTo>
                        <a:lnTo>
                          <a:pt x="408" y="282"/>
                        </a:lnTo>
                        <a:lnTo>
                          <a:pt x="402" y="276"/>
                        </a:lnTo>
                        <a:lnTo>
                          <a:pt x="402" y="264"/>
                        </a:lnTo>
                        <a:lnTo>
                          <a:pt x="390" y="252"/>
                        </a:lnTo>
                        <a:lnTo>
                          <a:pt x="384" y="252"/>
                        </a:lnTo>
                        <a:lnTo>
                          <a:pt x="378" y="246"/>
                        </a:lnTo>
                        <a:lnTo>
                          <a:pt x="378" y="240"/>
                        </a:lnTo>
                        <a:lnTo>
                          <a:pt x="384" y="234"/>
                        </a:lnTo>
                        <a:lnTo>
                          <a:pt x="384" y="210"/>
                        </a:lnTo>
                        <a:lnTo>
                          <a:pt x="366" y="192"/>
                        </a:lnTo>
                        <a:lnTo>
                          <a:pt x="366" y="150"/>
                        </a:lnTo>
                        <a:lnTo>
                          <a:pt x="354" y="138"/>
                        </a:lnTo>
                        <a:lnTo>
                          <a:pt x="348" y="126"/>
                        </a:lnTo>
                        <a:lnTo>
                          <a:pt x="342" y="120"/>
                        </a:lnTo>
                        <a:lnTo>
                          <a:pt x="324" y="120"/>
                        </a:lnTo>
                        <a:lnTo>
                          <a:pt x="318" y="126"/>
                        </a:lnTo>
                        <a:lnTo>
                          <a:pt x="294" y="126"/>
                        </a:lnTo>
                        <a:lnTo>
                          <a:pt x="276" y="132"/>
                        </a:lnTo>
                        <a:lnTo>
                          <a:pt x="246" y="132"/>
                        </a:lnTo>
                        <a:lnTo>
                          <a:pt x="234" y="126"/>
                        </a:lnTo>
                        <a:lnTo>
                          <a:pt x="222" y="126"/>
                        </a:lnTo>
                        <a:lnTo>
                          <a:pt x="210" y="132"/>
                        </a:lnTo>
                        <a:lnTo>
                          <a:pt x="180" y="132"/>
                        </a:lnTo>
                        <a:lnTo>
                          <a:pt x="168" y="126"/>
                        </a:lnTo>
                        <a:lnTo>
                          <a:pt x="144" y="132"/>
                        </a:lnTo>
                        <a:lnTo>
                          <a:pt x="132" y="126"/>
                        </a:lnTo>
                        <a:lnTo>
                          <a:pt x="126" y="132"/>
                        </a:lnTo>
                        <a:lnTo>
                          <a:pt x="102" y="126"/>
                        </a:lnTo>
                        <a:lnTo>
                          <a:pt x="54" y="150"/>
                        </a:lnTo>
                        <a:lnTo>
                          <a:pt x="48" y="156"/>
                        </a:lnTo>
                        <a:lnTo>
                          <a:pt x="54" y="168"/>
                        </a:lnTo>
                        <a:lnTo>
                          <a:pt x="60" y="174"/>
                        </a:lnTo>
                        <a:lnTo>
                          <a:pt x="66" y="186"/>
                        </a:lnTo>
                        <a:lnTo>
                          <a:pt x="90" y="210"/>
                        </a:lnTo>
                        <a:lnTo>
                          <a:pt x="84" y="234"/>
                        </a:lnTo>
                        <a:lnTo>
                          <a:pt x="90" y="246"/>
                        </a:lnTo>
                        <a:lnTo>
                          <a:pt x="108" y="270"/>
                        </a:lnTo>
                        <a:lnTo>
                          <a:pt x="120" y="300"/>
                        </a:lnTo>
                        <a:lnTo>
                          <a:pt x="126" y="330"/>
                        </a:lnTo>
                        <a:lnTo>
                          <a:pt x="120" y="354"/>
                        </a:lnTo>
                        <a:lnTo>
                          <a:pt x="108" y="378"/>
                        </a:lnTo>
                        <a:lnTo>
                          <a:pt x="102" y="384"/>
                        </a:lnTo>
                        <a:lnTo>
                          <a:pt x="102" y="408"/>
                        </a:lnTo>
                        <a:lnTo>
                          <a:pt x="114" y="408"/>
                        </a:lnTo>
                        <a:lnTo>
                          <a:pt x="114" y="438"/>
                        </a:lnTo>
                        <a:lnTo>
                          <a:pt x="126" y="474"/>
                        </a:lnTo>
                        <a:lnTo>
                          <a:pt x="150" y="510"/>
                        </a:lnTo>
                        <a:lnTo>
                          <a:pt x="162" y="552"/>
                        </a:lnTo>
                        <a:lnTo>
                          <a:pt x="162" y="582"/>
                        </a:lnTo>
                        <a:lnTo>
                          <a:pt x="156" y="594"/>
                        </a:lnTo>
                        <a:lnTo>
                          <a:pt x="150" y="612"/>
                        </a:lnTo>
                        <a:lnTo>
                          <a:pt x="144" y="618"/>
                        </a:lnTo>
                        <a:lnTo>
                          <a:pt x="138" y="630"/>
                        </a:lnTo>
                        <a:lnTo>
                          <a:pt x="144" y="642"/>
                        </a:lnTo>
                        <a:lnTo>
                          <a:pt x="144" y="660"/>
                        </a:lnTo>
                        <a:lnTo>
                          <a:pt x="138" y="666"/>
                        </a:lnTo>
                        <a:lnTo>
                          <a:pt x="126" y="672"/>
                        </a:lnTo>
                        <a:lnTo>
                          <a:pt x="108" y="672"/>
                        </a:lnTo>
                        <a:lnTo>
                          <a:pt x="96" y="690"/>
                        </a:lnTo>
                        <a:lnTo>
                          <a:pt x="102" y="714"/>
                        </a:lnTo>
                        <a:lnTo>
                          <a:pt x="78" y="714"/>
                        </a:lnTo>
                        <a:lnTo>
                          <a:pt x="66" y="720"/>
                        </a:lnTo>
                        <a:lnTo>
                          <a:pt x="66" y="750"/>
                        </a:lnTo>
                        <a:lnTo>
                          <a:pt x="60" y="762"/>
                        </a:lnTo>
                        <a:lnTo>
                          <a:pt x="60" y="774"/>
                        </a:lnTo>
                        <a:lnTo>
                          <a:pt x="48" y="786"/>
                        </a:lnTo>
                        <a:lnTo>
                          <a:pt x="48" y="858"/>
                        </a:lnTo>
                        <a:lnTo>
                          <a:pt x="36" y="864"/>
                        </a:lnTo>
                        <a:lnTo>
                          <a:pt x="30" y="870"/>
                        </a:lnTo>
                        <a:lnTo>
                          <a:pt x="30" y="912"/>
                        </a:lnTo>
                        <a:lnTo>
                          <a:pt x="6" y="930"/>
                        </a:lnTo>
                        <a:lnTo>
                          <a:pt x="6" y="966"/>
                        </a:lnTo>
                        <a:lnTo>
                          <a:pt x="18" y="984"/>
                        </a:lnTo>
                        <a:lnTo>
                          <a:pt x="0" y="1002"/>
                        </a:lnTo>
                        <a:lnTo>
                          <a:pt x="0" y="1044"/>
                        </a:lnTo>
                        <a:lnTo>
                          <a:pt x="18" y="1044"/>
                        </a:lnTo>
                        <a:lnTo>
                          <a:pt x="36" y="1038"/>
                        </a:lnTo>
                        <a:lnTo>
                          <a:pt x="42" y="1044"/>
                        </a:lnTo>
                        <a:lnTo>
                          <a:pt x="72" y="1044"/>
                        </a:lnTo>
                        <a:lnTo>
                          <a:pt x="90" y="1026"/>
                        </a:lnTo>
                        <a:lnTo>
                          <a:pt x="90" y="1020"/>
                        </a:lnTo>
                        <a:lnTo>
                          <a:pt x="120" y="1020"/>
                        </a:lnTo>
                        <a:lnTo>
                          <a:pt x="126" y="1026"/>
                        </a:lnTo>
                        <a:lnTo>
                          <a:pt x="132" y="1038"/>
                        </a:lnTo>
                        <a:lnTo>
                          <a:pt x="156" y="1050"/>
                        </a:lnTo>
                        <a:lnTo>
                          <a:pt x="168" y="1050"/>
                        </a:lnTo>
                        <a:lnTo>
                          <a:pt x="174" y="1056"/>
                        </a:lnTo>
                        <a:lnTo>
                          <a:pt x="480" y="1056"/>
                        </a:lnTo>
                        <a:lnTo>
                          <a:pt x="480" y="1062"/>
                        </a:lnTo>
                        <a:lnTo>
                          <a:pt x="504" y="1086"/>
                        </a:lnTo>
                        <a:lnTo>
                          <a:pt x="540" y="1086"/>
                        </a:lnTo>
                        <a:lnTo>
                          <a:pt x="546" y="1098"/>
                        </a:lnTo>
                        <a:lnTo>
                          <a:pt x="618" y="1092"/>
                        </a:lnTo>
                        <a:lnTo>
                          <a:pt x="624" y="1104"/>
                        </a:lnTo>
                        <a:lnTo>
                          <a:pt x="696" y="1104"/>
                        </a:lnTo>
                        <a:lnTo>
                          <a:pt x="732" y="1098"/>
                        </a:lnTo>
                        <a:lnTo>
                          <a:pt x="780" y="1092"/>
                        </a:lnTo>
                        <a:lnTo>
                          <a:pt x="816" y="1080"/>
                        </a:lnTo>
                        <a:lnTo>
                          <a:pt x="828" y="1074"/>
                        </a:lnTo>
                        <a:lnTo>
                          <a:pt x="738" y="984"/>
                        </a:lnTo>
                        <a:lnTo>
                          <a:pt x="738" y="966"/>
                        </a:lnTo>
                        <a:lnTo>
                          <a:pt x="732" y="954"/>
                        </a:lnTo>
                        <a:lnTo>
                          <a:pt x="732" y="702"/>
                        </a:lnTo>
                        <a:lnTo>
                          <a:pt x="858" y="708"/>
                        </a:lnTo>
                        <a:lnTo>
                          <a:pt x="864" y="708"/>
                        </a:lnTo>
                        <a:lnTo>
                          <a:pt x="876" y="696"/>
                        </a:lnTo>
                        <a:lnTo>
                          <a:pt x="876" y="672"/>
                        </a:lnTo>
                        <a:lnTo>
                          <a:pt x="870" y="666"/>
                        </a:lnTo>
                        <a:lnTo>
                          <a:pt x="870" y="660"/>
                        </a:lnTo>
                        <a:lnTo>
                          <a:pt x="888" y="654"/>
                        </a:lnTo>
                        <a:lnTo>
                          <a:pt x="876" y="642"/>
                        </a:lnTo>
                        <a:lnTo>
                          <a:pt x="876" y="588"/>
                        </a:lnTo>
                        <a:lnTo>
                          <a:pt x="882" y="588"/>
                        </a:lnTo>
                        <a:lnTo>
                          <a:pt x="888" y="582"/>
                        </a:lnTo>
                        <a:lnTo>
                          <a:pt x="888" y="564"/>
                        </a:lnTo>
                        <a:lnTo>
                          <a:pt x="876" y="552"/>
                        </a:lnTo>
                        <a:lnTo>
                          <a:pt x="876" y="54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88" name="Andorra"/>
                  <p:cNvSpPr>
                    <a:spLocks/>
                  </p:cNvSpPr>
                  <p:nvPr/>
                </p:nvSpPr>
                <p:spPr bwMode="gray">
                  <a:xfrm>
                    <a:off x="2692" y="1432"/>
                    <a:ext cx="8" cy="4"/>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89" name="Algeria"/>
                  <p:cNvSpPr>
                    <a:spLocks/>
                  </p:cNvSpPr>
                  <p:nvPr/>
                </p:nvSpPr>
                <p:spPr bwMode="gray">
                  <a:xfrm>
                    <a:off x="2492" y="1544"/>
                    <a:ext cx="378" cy="374"/>
                  </a:xfrm>
                  <a:custGeom>
                    <a:avLst/>
                    <a:gdLst>
                      <a:gd name="T0" fmla="*/ 2147483647 w 1476"/>
                      <a:gd name="T1" fmla="*/ 2147483647 h 1464"/>
                      <a:gd name="T2" fmla="*/ 2147483647 w 1476"/>
                      <a:gd name="T3" fmla="*/ 2147483647 h 1464"/>
                      <a:gd name="T4" fmla="*/ 2147483647 w 1476"/>
                      <a:gd name="T5" fmla="*/ 2147483647 h 1464"/>
                      <a:gd name="T6" fmla="*/ 2147483647 w 1476"/>
                      <a:gd name="T7" fmla="*/ 2147483647 h 1464"/>
                      <a:gd name="T8" fmla="*/ 2147483647 w 1476"/>
                      <a:gd name="T9" fmla="*/ 2147483647 h 1464"/>
                      <a:gd name="T10" fmla="*/ 2147483647 w 1476"/>
                      <a:gd name="T11" fmla="*/ 2147483647 h 1464"/>
                      <a:gd name="T12" fmla="*/ 2147483647 w 1476"/>
                      <a:gd name="T13" fmla="*/ 2147483647 h 1464"/>
                      <a:gd name="T14" fmla="*/ 2147483647 w 1476"/>
                      <a:gd name="T15" fmla="*/ 2147483647 h 1464"/>
                      <a:gd name="T16" fmla="*/ 2147483647 w 1476"/>
                      <a:gd name="T17" fmla="*/ 2147483647 h 1464"/>
                      <a:gd name="T18" fmla="*/ 2147483647 w 1476"/>
                      <a:gd name="T19" fmla="*/ 2147483647 h 1464"/>
                      <a:gd name="T20" fmla="*/ 2147483647 w 1476"/>
                      <a:gd name="T21" fmla="*/ 2147483647 h 1464"/>
                      <a:gd name="T22" fmla="*/ 2147483647 w 1476"/>
                      <a:gd name="T23" fmla="*/ 2147483647 h 1464"/>
                      <a:gd name="T24" fmla="*/ 2147483647 w 1476"/>
                      <a:gd name="T25" fmla="*/ 2147483647 h 1464"/>
                      <a:gd name="T26" fmla="*/ 2147483647 w 1476"/>
                      <a:gd name="T27" fmla="*/ 2147483647 h 1464"/>
                      <a:gd name="T28" fmla="*/ 2147483647 w 1476"/>
                      <a:gd name="T29" fmla="*/ 2147483647 h 1464"/>
                      <a:gd name="T30" fmla="*/ 2147483647 w 1476"/>
                      <a:gd name="T31" fmla="*/ 2147483647 h 1464"/>
                      <a:gd name="T32" fmla="*/ 2147483647 w 1476"/>
                      <a:gd name="T33" fmla="*/ 2147483647 h 1464"/>
                      <a:gd name="T34" fmla="*/ 2147483647 w 1476"/>
                      <a:gd name="T35" fmla="*/ 2147483647 h 1464"/>
                      <a:gd name="T36" fmla="*/ 2147483647 w 1476"/>
                      <a:gd name="T37" fmla="*/ 2147483647 h 1464"/>
                      <a:gd name="T38" fmla="*/ 2147483647 w 1476"/>
                      <a:gd name="T39" fmla="*/ 2147483647 h 1464"/>
                      <a:gd name="T40" fmla="*/ 2147483647 w 1476"/>
                      <a:gd name="T41" fmla="*/ 2147483647 h 1464"/>
                      <a:gd name="T42" fmla="*/ 2147483647 w 1476"/>
                      <a:gd name="T43" fmla="*/ 2147483647 h 1464"/>
                      <a:gd name="T44" fmla="*/ 2147483647 w 1476"/>
                      <a:gd name="T45" fmla="*/ 2147483647 h 1464"/>
                      <a:gd name="T46" fmla="*/ 2147483647 w 1476"/>
                      <a:gd name="T47" fmla="*/ 2147483647 h 1464"/>
                      <a:gd name="T48" fmla="*/ 2147483647 w 1476"/>
                      <a:gd name="T49" fmla="*/ 2147483647 h 1464"/>
                      <a:gd name="T50" fmla="*/ 2147483647 w 1476"/>
                      <a:gd name="T51" fmla="*/ 2147483647 h 1464"/>
                      <a:gd name="T52" fmla="*/ 2147483647 w 1476"/>
                      <a:gd name="T53" fmla="*/ 2147483647 h 1464"/>
                      <a:gd name="T54" fmla="*/ 2147483647 w 1476"/>
                      <a:gd name="T55" fmla="*/ 2147483647 h 1464"/>
                      <a:gd name="T56" fmla="*/ 2147483647 w 1476"/>
                      <a:gd name="T57" fmla="*/ 2147483647 h 1464"/>
                      <a:gd name="T58" fmla="*/ 2147483647 w 1476"/>
                      <a:gd name="T59" fmla="*/ 2147483647 h 1464"/>
                      <a:gd name="T60" fmla="*/ 2147483647 w 1476"/>
                      <a:gd name="T61" fmla="*/ 2147483647 h 1464"/>
                      <a:gd name="T62" fmla="*/ 2147483647 w 1476"/>
                      <a:gd name="T63" fmla="*/ 2147483647 h 1464"/>
                      <a:gd name="T64" fmla="*/ 2147483647 w 1476"/>
                      <a:gd name="T65" fmla="*/ 2147483647 h 1464"/>
                      <a:gd name="T66" fmla="*/ 2147483647 w 1476"/>
                      <a:gd name="T67" fmla="*/ 2147483647 h 1464"/>
                      <a:gd name="T68" fmla="*/ 2147483647 w 1476"/>
                      <a:gd name="T69" fmla="*/ 2147483647 h 1464"/>
                      <a:gd name="T70" fmla="*/ 2147483647 w 1476"/>
                      <a:gd name="T71" fmla="*/ 2147483647 h 1464"/>
                      <a:gd name="T72" fmla="*/ 2147483647 w 1476"/>
                      <a:gd name="T73" fmla="*/ 2147483647 h 1464"/>
                      <a:gd name="T74" fmla="*/ 2147483647 w 1476"/>
                      <a:gd name="T75" fmla="*/ 2147483647 h 1464"/>
                      <a:gd name="T76" fmla="*/ 2147483647 w 1476"/>
                      <a:gd name="T77" fmla="*/ 2147483647 h 1464"/>
                      <a:gd name="T78" fmla="*/ 2147483647 w 1476"/>
                      <a:gd name="T79" fmla="*/ 2147483647 h 1464"/>
                      <a:gd name="T80" fmla="*/ 2147483647 w 1476"/>
                      <a:gd name="T81" fmla="*/ 2147483647 h 1464"/>
                      <a:gd name="T82" fmla="*/ 2147483647 w 1476"/>
                      <a:gd name="T83" fmla="*/ 2147483647 h 1464"/>
                      <a:gd name="T84" fmla="*/ 2147483647 w 1476"/>
                      <a:gd name="T85" fmla="*/ 2147483647 h 1464"/>
                      <a:gd name="T86" fmla="*/ 2147483647 w 1476"/>
                      <a:gd name="T87" fmla="*/ 2147483647 h 1464"/>
                      <a:gd name="T88" fmla="*/ 2147483647 w 1476"/>
                      <a:gd name="T89" fmla="*/ 2147483647 h 1464"/>
                      <a:gd name="T90" fmla="*/ 2147483647 w 1476"/>
                      <a:gd name="T91" fmla="*/ 2147483647 h 1464"/>
                      <a:gd name="T92" fmla="*/ 2147483647 w 1476"/>
                      <a:gd name="T93" fmla="*/ 2147483647 h 1464"/>
                      <a:gd name="T94" fmla="*/ 2147483647 w 1476"/>
                      <a:gd name="T95" fmla="*/ 2147483647 h 1464"/>
                      <a:gd name="T96" fmla="*/ 2147483647 w 1476"/>
                      <a:gd name="T97" fmla="*/ 2147483647 h 1464"/>
                      <a:gd name="T98" fmla="*/ 2147483647 w 1476"/>
                      <a:gd name="T99" fmla="*/ 2147483647 h 1464"/>
                      <a:gd name="T100" fmla="*/ 2147483647 w 1476"/>
                      <a:gd name="T101" fmla="*/ 2147483647 h 1464"/>
                      <a:gd name="T102" fmla="*/ 2147483647 w 1476"/>
                      <a:gd name="T103" fmla="*/ 2147483647 h 1464"/>
                      <a:gd name="T104" fmla="*/ 2147483647 w 1476"/>
                      <a:gd name="T105" fmla="*/ 2147483647 h 146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476"/>
                      <a:gd name="T160" fmla="*/ 0 h 1464"/>
                      <a:gd name="T161" fmla="*/ 1476 w 1476"/>
                      <a:gd name="T162" fmla="*/ 1464 h 1464"/>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476" h="1464">
                        <a:moveTo>
                          <a:pt x="360" y="534"/>
                        </a:moveTo>
                        <a:lnTo>
                          <a:pt x="318" y="534"/>
                        </a:lnTo>
                        <a:lnTo>
                          <a:pt x="312" y="546"/>
                        </a:lnTo>
                        <a:lnTo>
                          <a:pt x="306" y="552"/>
                        </a:lnTo>
                        <a:lnTo>
                          <a:pt x="294" y="576"/>
                        </a:lnTo>
                        <a:lnTo>
                          <a:pt x="282" y="588"/>
                        </a:lnTo>
                        <a:lnTo>
                          <a:pt x="258" y="588"/>
                        </a:lnTo>
                        <a:lnTo>
                          <a:pt x="246" y="582"/>
                        </a:lnTo>
                        <a:lnTo>
                          <a:pt x="234" y="582"/>
                        </a:lnTo>
                        <a:lnTo>
                          <a:pt x="228" y="594"/>
                        </a:lnTo>
                        <a:lnTo>
                          <a:pt x="204" y="600"/>
                        </a:lnTo>
                        <a:lnTo>
                          <a:pt x="204" y="606"/>
                        </a:lnTo>
                        <a:lnTo>
                          <a:pt x="198" y="618"/>
                        </a:lnTo>
                        <a:lnTo>
                          <a:pt x="186" y="618"/>
                        </a:lnTo>
                        <a:lnTo>
                          <a:pt x="180" y="612"/>
                        </a:lnTo>
                        <a:lnTo>
                          <a:pt x="168" y="606"/>
                        </a:lnTo>
                        <a:lnTo>
                          <a:pt x="138" y="624"/>
                        </a:lnTo>
                        <a:lnTo>
                          <a:pt x="120" y="624"/>
                        </a:lnTo>
                        <a:lnTo>
                          <a:pt x="120" y="630"/>
                        </a:lnTo>
                        <a:lnTo>
                          <a:pt x="90" y="660"/>
                        </a:lnTo>
                        <a:lnTo>
                          <a:pt x="78" y="666"/>
                        </a:lnTo>
                        <a:lnTo>
                          <a:pt x="72" y="672"/>
                        </a:lnTo>
                        <a:lnTo>
                          <a:pt x="60" y="678"/>
                        </a:lnTo>
                        <a:lnTo>
                          <a:pt x="54" y="708"/>
                        </a:lnTo>
                        <a:lnTo>
                          <a:pt x="54" y="768"/>
                        </a:lnTo>
                        <a:lnTo>
                          <a:pt x="0" y="768"/>
                        </a:lnTo>
                        <a:lnTo>
                          <a:pt x="54" y="768"/>
                        </a:lnTo>
                        <a:lnTo>
                          <a:pt x="54" y="804"/>
                        </a:lnTo>
                        <a:lnTo>
                          <a:pt x="312" y="984"/>
                        </a:lnTo>
                        <a:lnTo>
                          <a:pt x="720" y="1296"/>
                        </a:lnTo>
                        <a:lnTo>
                          <a:pt x="720" y="1320"/>
                        </a:lnTo>
                        <a:lnTo>
                          <a:pt x="744" y="1320"/>
                        </a:lnTo>
                        <a:lnTo>
                          <a:pt x="750" y="1326"/>
                        </a:lnTo>
                        <a:lnTo>
                          <a:pt x="750" y="1344"/>
                        </a:lnTo>
                        <a:lnTo>
                          <a:pt x="762" y="1356"/>
                        </a:lnTo>
                        <a:lnTo>
                          <a:pt x="798" y="1356"/>
                        </a:lnTo>
                        <a:lnTo>
                          <a:pt x="804" y="1386"/>
                        </a:lnTo>
                        <a:lnTo>
                          <a:pt x="810" y="1386"/>
                        </a:lnTo>
                        <a:lnTo>
                          <a:pt x="816" y="1380"/>
                        </a:lnTo>
                        <a:lnTo>
                          <a:pt x="846" y="1380"/>
                        </a:lnTo>
                        <a:lnTo>
                          <a:pt x="858" y="1386"/>
                        </a:lnTo>
                        <a:lnTo>
                          <a:pt x="870" y="1410"/>
                        </a:lnTo>
                        <a:lnTo>
                          <a:pt x="870" y="1428"/>
                        </a:lnTo>
                        <a:lnTo>
                          <a:pt x="852" y="1446"/>
                        </a:lnTo>
                        <a:lnTo>
                          <a:pt x="852" y="1452"/>
                        </a:lnTo>
                        <a:lnTo>
                          <a:pt x="858" y="1458"/>
                        </a:lnTo>
                        <a:lnTo>
                          <a:pt x="870" y="1464"/>
                        </a:lnTo>
                        <a:lnTo>
                          <a:pt x="900" y="1464"/>
                        </a:lnTo>
                        <a:lnTo>
                          <a:pt x="906" y="1458"/>
                        </a:lnTo>
                        <a:lnTo>
                          <a:pt x="924" y="1458"/>
                        </a:lnTo>
                        <a:lnTo>
                          <a:pt x="954" y="1452"/>
                        </a:lnTo>
                        <a:lnTo>
                          <a:pt x="984" y="1440"/>
                        </a:lnTo>
                        <a:lnTo>
                          <a:pt x="1020" y="1434"/>
                        </a:lnTo>
                        <a:lnTo>
                          <a:pt x="1038" y="1434"/>
                        </a:lnTo>
                        <a:lnTo>
                          <a:pt x="1062" y="1416"/>
                        </a:lnTo>
                        <a:lnTo>
                          <a:pt x="1098" y="1386"/>
                        </a:lnTo>
                        <a:lnTo>
                          <a:pt x="1128" y="1350"/>
                        </a:lnTo>
                        <a:lnTo>
                          <a:pt x="1158" y="1326"/>
                        </a:lnTo>
                        <a:lnTo>
                          <a:pt x="1182" y="1314"/>
                        </a:lnTo>
                        <a:lnTo>
                          <a:pt x="1224" y="1284"/>
                        </a:lnTo>
                        <a:lnTo>
                          <a:pt x="1272" y="1248"/>
                        </a:lnTo>
                        <a:lnTo>
                          <a:pt x="1332" y="1206"/>
                        </a:lnTo>
                        <a:lnTo>
                          <a:pt x="1386" y="1170"/>
                        </a:lnTo>
                        <a:lnTo>
                          <a:pt x="1434" y="1134"/>
                        </a:lnTo>
                        <a:lnTo>
                          <a:pt x="1464" y="1110"/>
                        </a:lnTo>
                        <a:lnTo>
                          <a:pt x="1476" y="1104"/>
                        </a:lnTo>
                        <a:lnTo>
                          <a:pt x="1476" y="1098"/>
                        </a:lnTo>
                        <a:lnTo>
                          <a:pt x="1470" y="1092"/>
                        </a:lnTo>
                        <a:lnTo>
                          <a:pt x="1464" y="1080"/>
                        </a:lnTo>
                        <a:lnTo>
                          <a:pt x="1458" y="1062"/>
                        </a:lnTo>
                        <a:lnTo>
                          <a:pt x="1452" y="1050"/>
                        </a:lnTo>
                        <a:lnTo>
                          <a:pt x="1452" y="1044"/>
                        </a:lnTo>
                        <a:lnTo>
                          <a:pt x="1440" y="1032"/>
                        </a:lnTo>
                        <a:lnTo>
                          <a:pt x="1428" y="1032"/>
                        </a:lnTo>
                        <a:lnTo>
                          <a:pt x="1392" y="1014"/>
                        </a:lnTo>
                        <a:lnTo>
                          <a:pt x="1386" y="1014"/>
                        </a:lnTo>
                        <a:lnTo>
                          <a:pt x="1362" y="1026"/>
                        </a:lnTo>
                        <a:lnTo>
                          <a:pt x="1338" y="1002"/>
                        </a:lnTo>
                        <a:lnTo>
                          <a:pt x="1338" y="960"/>
                        </a:lnTo>
                        <a:lnTo>
                          <a:pt x="1332" y="954"/>
                        </a:lnTo>
                        <a:lnTo>
                          <a:pt x="1326" y="942"/>
                        </a:lnTo>
                        <a:lnTo>
                          <a:pt x="1314" y="930"/>
                        </a:lnTo>
                        <a:lnTo>
                          <a:pt x="1308" y="912"/>
                        </a:lnTo>
                        <a:lnTo>
                          <a:pt x="1296" y="900"/>
                        </a:lnTo>
                        <a:lnTo>
                          <a:pt x="1290" y="888"/>
                        </a:lnTo>
                        <a:lnTo>
                          <a:pt x="1290" y="882"/>
                        </a:lnTo>
                        <a:lnTo>
                          <a:pt x="1296" y="876"/>
                        </a:lnTo>
                        <a:lnTo>
                          <a:pt x="1308" y="876"/>
                        </a:lnTo>
                        <a:lnTo>
                          <a:pt x="1320" y="870"/>
                        </a:lnTo>
                        <a:lnTo>
                          <a:pt x="1326" y="864"/>
                        </a:lnTo>
                        <a:lnTo>
                          <a:pt x="1332" y="852"/>
                        </a:lnTo>
                        <a:lnTo>
                          <a:pt x="1332" y="840"/>
                        </a:lnTo>
                        <a:lnTo>
                          <a:pt x="1326" y="834"/>
                        </a:lnTo>
                        <a:lnTo>
                          <a:pt x="1326" y="828"/>
                        </a:lnTo>
                        <a:lnTo>
                          <a:pt x="1320" y="774"/>
                        </a:lnTo>
                        <a:lnTo>
                          <a:pt x="1332" y="750"/>
                        </a:lnTo>
                        <a:lnTo>
                          <a:pt x="1326" y="732"/>
                        </a:lnTo>
                        <a:lnTo>
                          <a:pt x="1326" y="726"/>
                        </a:lnTo>
                        <a:lnTo>
                          <a:pt x="1332" y="720"/>
                        </a:lnTo>
                        <a:lnTo>
                          <a:pt x="1332" y="690"/>
                        </a:lnTo>
                        <a:lnTo>
                          <a:pt x="1338" y="678"/>
                        </a:lnTo>
                        <a:lnTo>
                          <a:pt x="1338" y="672"/>
                        </a:lnTo>
                        <a:lnTo>
                          <a:pt x="1326" y="648"/>
                        </a:lnTo>
                        <a:lnTo>
                          <a:pt x="1302" y="588"/>
                        </a:lnTo>
                        <a:lnTo>
                          <a:pt x="1290" y="570"/>
                        </a:lnTo>
                        <a:lnTo>
                          <a:pt x="1296" y="564"/>
                        </a:lnTo>
                        <a:lnTo>
                          <a:pt x="1308" y="558"/>
                        </a:lnTo>
                        <a:lnTo>
                          <a:pt x="1296" y="528"/>
                        </a:lnTo>
                        <a:lnTo>
                          <a:pt x="1284" y="480"/>
                        </a:lnTo>
                        <a:lnTo>
                          <a:pt x="1278" y="438"/>
                        </a:lnTo>
                        <a:lnTo>
                          <a:pt x="1272" y="414"/>
                        </a:lnTo>
                        <a:lnTo>
                          <a:pt x="1266" y="408"/>
                        </a:lnTo>
                        <a:lnTo>
                          <a:pt x="1260" y="396"/>
                        </a:lnTo>
                        <a:lnTo>
                          <a:pt x="1236" y="384"/>
                        </a:lnTo>
                        <a:lnTo>
                          <a:pt x="1230" y="378"/>
                        </a:lnTo>
                        <a:lnTo>
                          <a:pt x="1224" y="378"/>
                        </a:lnTo>
                        <a:lnTo>
                          <a:pt x="1224" y="336"/>
                        </a:lnTo>
                        <a:lnTo>
                          <a:pt x="1212" y="324"/>
                        </a:lnTo>
                        <a:lnTo>
                          <a:pt x="1194" y="318"/>
                        </a:lnTo>
                        <a:lnTo>
                          <a:pt x="1182" y="318"/>
                        </a:lnTo>
                        <a:lnTo>
                          <a:pt x="1182" y="288"/>
                        </a:lnTo>
                        <a:lnTo>
                          <a:pt x="1170" y="288"/>
                        </a:lnTo>
                        <a:lnTo>
                          <a:pt x="1170" y="246"/>
                        </a:lnTo>
                        <a:lnTo>
                          <a:pt x="1194" y="222"/>
                        </a:lnTo>
                        <a:lnTo>
                          <a:pt x="1218" y="204"/>
                        </a:lnTo>
                        <a:lnTo>
                          <a:pt x="1218" y="198"/>
                        </a:lnTo>
                        <a:lnTo>
                          <a:pt x="1224" y="192"/>
                        </a:lnTo>
                        <a:lnTo>
                          <a:pt x="1224" y="180"/>
                        </a:lnTo>
                        <a:lnTo>
                          <a:pt x="1230" y="168"/>
                        </a:lnTo>
                        <a:lnTo>
                          <a:pt x="1230" y="126"/>
                        </a:lnTo>
                        <a:lnTo>
                          <a:pt x="1224" y="114"/>
                        </a:lnTo>
                        <a:lnTo>
                          <a:pt x="1224" y="78"/>
                        </a:lnTo>
                        <a:lnTo>
                          <a:pt x="1230" y="66"/>
                        </a:lnTo>
                        <a:lnTo>
                          <a:pt x="1230" y="54"/>
                        </a:lnTo>
                        <a:lnTo>
                          <a:pt x="1212" y="48"/>
                        </a:lnTo>
                        <a:lnTo>
                          <a:pt x="1254" y="30"/>
                        </a:lnTo>
                        <a:lnTo>
                          <a:pt x="1254" y="18"/>
                        </a:lnTo>
                        <a:lnTo>
                          <a:pt x="1242" y="18"/>
                        </a:lnTo>
                        <a:lnTo>
                          <a:pt x="1236" y="12"/>
                        </a:lnTo>
                        <a:lnTo>
                          <a:pt x="1224" y="12"/>
                        </a:lnTo>
                        <a:lnTo>
                          <a:pt x="1206" y="24"/>
                        </a:lnTo>
                        <a:lnTo>
                          <a:pt x="1170" y="6"/>
                        </a:lnTo>
                        <a:lnTo>
                          <a:pt x="1152" y="6"/>
                        </a:lnTo>
                        <a:lnTo>
                          <a:pt x="1152" y="18"/>
                        </a:lnTo>
                        <a:lnTo>
                          <a:pt x="1116" y="18"/>
                        </a:lnTo>
                        <a:lnTo>
                          <a:pt x="1092" y="0"/>
                        </a:lnTo>
                        <a:lnTo>
                          <a:pt x="1086" y="30"/>
                        </a:lnTo>
                        <a:lnTo>
                          <a:pt x="1056" y="18"/>
                        </a:lnTo>
                        <a:lnTo>
                          <a:pt x="1026" y="42"/>
                        </a:lnTo>
                        <a:lnTo>
                          <a:pt x="1002" y="30"/>
                        </a:lnTo>
                        <a:lnTo>
                          <a:pt x="984" y="30"/>
                        </a:lnTo>
                        <a:lnTo>
                          <a:pt x="966" y="24"/>
                        </a:lnTo>
                        <a:lnTo>
                          <a:pt x="948" y="24"/>
                        </a:lnTo>
                        <a:lnTo>
                          <a:pt x="924" y="30"/>
                        </a:lnTo>
                        <a:lnTo>
                          <a:pt x="906" y="30"/>
                        </a:lnTo>
                        <a:lnTo>
                          <a:pt x="900" y="36"/>
                        </a:lnTo>
                        <a:lnTo>
                          <a:pt x="888" y="36"/>
                        </a:lnTo>
                        <a:lnTo>
                          <a:pt x="876" y="42"/>
                        </a:lnTo>
                        <a:lnTo>
                          <a:pt x="816" y="42"/>
                        </a:lnTo>
                        <a:lnTo>
                          <a:pt x="810" y="48"/>
                        </a:lnTo>
                        <a:lnTo>
                          <a:pt x="750" y="48"/>
                        </a:lnTo>
                        <a:lnTo>
                          <a:pt x="744" y="54"/>
                        </a:lnTo>
                        <a:lnTo>
                          <a:pt x="726" y="54"/>
                        </a:lnTo>
                        <a:lnTo>
                          <a:pt x="714" y="60"/>
                        </a:lnTo>
                        <a:lnTo>
                          <a:pt x="696" y="66"/>
                        </a:lnTo>
                        <a:lnTo>
                          <a:pt x="684" y="78"/>
                        </a:lnTo>
                        <a:lnTo>
                          <a:pt x="678" y="90"/>
                        </a:lnTo>
                        <a:lnTo>
                          <a:pt x="666" y="102"/>
                        </a:lnTo>
                        <a:lnTo>
                          <a:pt x="666" y="108"/>
                        </a:lnTo>
                        <a:lnTo>
                          <a:pt x="636" y="108"/>
                        </a:lnTo>
                        <a:lnTo>
                          <a:pt x="624" y="114"/>
                        </a:lnTo>
                        <a:lnTo>
                          <a:pt x="606" y="114"/>
                        </a:lnTo>
                        <a:lnTo>
                          <a:pt x="594" y="120"/>
                        </a:lnTo>
                        <a:lnTo>
                          <a:pt x="588" y="126"/>
                        </a:lnTo>
                        <a:lnTo>
                          <a:pt x="588" y="132"/>
                        </a:lnTo>
                        <a:lnTo>
                          <a:pt x="558" y="162"/>
                        </a:lnTo>
                        <a:lnTo>
                          <a:pt x="546" y="168"/>
                        </a:lnTo>
                        <a:lnTo>
                          <a:pt x="522" y="168"/>
                        </a:lnTo>
                        <a:lnTo>
                          <a:pt x="528" y="174"/>
                        </a:lnTo>
                        <a:lnTo>
                          <a:pt x="534" y="186"/>
                        </a:lnTo>
                        <a:lnTo>
                          <a:pt x="546" y="192"/>
                        </a:lnTo>
                        <a:lnTo>
                          <a:pt x="540" y="198"/>
                        </a:lnTo>
                        <a:lnTo>
                          <a:pt x="540" y="210"/>
                        </a:lnTo>
                        <a:lnTo>
                          <a:pt x="552" y="210"/>
                        </a:lnTo>
                        <a:lnTo>
                          <a:pt x="546" y="276"/>
                        </a:lnTo>
                        <a:lnTo>
                          <a:pt x="558" y="294"/>
                        </a:lnTo>
                        <a:lnTo>
                          <a:pt x="546" y="324"/>
                        </a:lnTo>
                        <a:lnTo>
                          <a:pt x="564" y="324"/>
                        </a:lnTo>
                        <a:lnTo>
                          <a:pt x="564" y="354"/>
                        </a:lnTo>
                        <a:lnTo>
                          <a:pt x="588" y="372"/>
                        </a:lnTo>
                        <a:lnTo>
                          <a:pt x="570" y="390"/>
                        </a:lnTo>
                        <a:lnTo>
                          <a:pt x="570" y="402"/>
                        </a:lnTo>
                        <a:lnTo>
                          <a:pt x="516" y="408"/>
                        </a:lnTo>
                        <a:lnTo>
                          <a:pt x="504" y="402"/>
                        </a:lnTo>
                        <a:lnTo>
                          <a:pt x="486" y="402"/>
                        </a:lnTo>
                        <a:lnTo>
                          <a:pt x="486" y="408"/>
                        </a:lnTo>
                        <a:lnTo>
                          <a:pt x="480" y="414"/>
                        </a:lnTo>
                        <a:lnTo>
                          <a:pt x="474" y="408"/>
                        </a:lnTo>
                        <a:lnTo>
                          <a:pt x="462" y="408"/>
                        </a:lnTo>
                        <a:lnTo>
                          <a:pt x="462" y="414"/>
                        </a:lnTo>
                        <a:lnTo>
                          <a:pt x="456" y="420"/>
                        </a:lnTo>
                        <a:lnTo>
                          <a:pt x="456" y="432"/>
                        </a:lnTo>
                        <a:lnTo>
                          <a:pt x="432" y="432"/>
                        </a:lnTo>
                        <a:lnTo>
                          <a:pt x="420" y="438"/>
                        </a:lnTo>
                        <a:lnTo>
                          <a:pt x="396" y="438"/>
                        </a:lnTo>
                        <a:lnTo>
                          <a:pt x="390" y="444"/>
                        </a:lnTo>
                        <a:lnTo>
                          <a:pt x="390" y="456"/>
                        </a:lnTo>
                        <a:lnTo>
                          <a:pt x="396" y="462"/>
                        </a:lnTo>
                        <a:lnTo>
                          <a:pt x="402" y="474"/>
                        </a:lnTo>
                        <a:lnTo>
                          <a:pt x="414" y="492"/>
                        </a:lnTo>
                        <a:lnTo>
                          <a:pt x="390" y="504"/>
                        </a:lnTo>
                        <a:lnTo>
                          <a:pt x="390" y="510"/>
                        </a:lnTo>
                        <a:lnTo>
                          <a:pt x="378" y="522"/>
                        </a:lnTo>
                        <a:lnTo>
                          <a:pt x="366" y="528"/>
                        </a:lnTo>
                        <a:lnTo>
                          <a:pt x="360" y="53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90" name="Albania"/>
                  <p:cNvSpPr>
                    <a:spLocks/>
                  </p:cNvSpPr>
                  <p:nvPr/>
                </p:nvSpPr>
                <p:spPr bwMode="gray">
                  <a:xfrm>
                    <a:off x="2965" y="1416"/>
                    <a:ext cx="63" cy="77"/>
                  </a:xfrm>
                  <a:custGeom>
                    <a:avLst/>
                    <a:gdLst>
                      <a:gd name="T0" fmla="*/ 2147483647 w 144"/>
                      <a:gd name="T1" fmla="*/ 2147483647 h 246"/>
                      <a:gd name="T2" fmla="*/ 2147483647 w 144"/>
                      <a:gd name="T3" fmla="*/ 2147483647 h 246"/>
                      <a:gd name="T4" fmla="*/ 2147483647 w 144"/>
                      <a:gd name="T5" fmla="*/ 2147483647 h 246"/>
                      <a:gd name="T6" fmla="*/ 2147483647 w 144"/>
                      <a:gd name="T7" fmla="*/ 2147483647 h 246"/>
                      <a:gd name="T8" fmla="*/ 2147483647 w 144"/>
                      <a:gd name="T9" fmla="*/ 2147483647 h 246"/>
                      <a:gd name="T10" fmla="*/ 2147483647 w 144"/>
                      <a:gd name="T11" fmla="*/ 2147483647 h 246"/>
                      <a:gd name="T12" fmla="*/ 2147483647 w 144"/>
                      <a:gd name="T13" fmla="*/ 2147483647 h 246"/>
                      <a:gd name="T14" fmla="*/ 2147483647 w 144"/>
                      <a:gd name="T15" fmla="*/ 2147483647 h 246"/>
                      <a:gd name="T16" fmla="*/ 2147483647 w 144"/>
                      <a:gd name="T17" fmla="*/ 2147483647 h 246"/>
                      <a:gd name="T18" fmla="*/ 2147483647 w 144"/>
                      <a:gd name="T19" fmla="*/ 2147483647 h 246"/>
                      <a:gd name="T20" fmla="*/ 2147483647 w 144"/>
                      <a:gd name="T21" fmla="*/ 2147483647 h 246"/>
                      <a:gd name="T22" fmla="*/ 2147483647 w 144"/>
                      <a:gd name="T23" fmla="*/ 2147483647 h 246"/>
                      <a:gd name="T24" fmla="*/ 2147483647 w 144"/>
                      <a:gd name="T25" fmla="*/ 2147483647 h 246"/>
                      <a:gd name="T26" fmla="*/ 2147483647 w 144"/>
                      <a:gd name="T27" fmla="*/ 2147483647 h 246"/>
                      <a:gd name="T28" fmla="*/ 2147483647 w 144"/>
                      <a:gd name="T29" fmla="*/ 2147483647 h 246"/>
                      <a:gd name="T30" fmla="*/ 2147483647 w 144"/>
                      <a:gd name="T31" fmla="*/ 2147483647 h 246"/>
                      <a:gd name="T32" fmla="*/ 2147483647 w 144"/>
                      <a:gd name="T33" fmla="*/ 2147483647 h 246"/>
                      <a:gd name="T34" fmla="*/ 2147483647 w 144"/>
                      <a:gd name="T35" fmla="*/ 2147483647 h 246"/>
                      <a:gd name="T36" fmla="*/ 2147483647 w 144"/>
                      <a:gd name="T37" fmla="*/ 2147483647 h 246"/>
                      <a:gd name="T38" fmla="*/ 2147483647 w 144"/>
                      <a:gd name="T39" fmla="*/ 0 h 246"/>
                      <a:gd name="T40" fmla="*/ 2147483647 w 144"/>
                      <a:gd name="T41" fmla="*/ 2147483647 h 246"/>
                      <a:gd name="T42" fmla="*/ 2147483647 w 144"/>
                      <a:gd name="T43" fmla="*/ 2147483647 h 246"/>
                      <a:gd name="T44" fmla="*/ 0 w 144"/>
                      <a:gd name="T45" fmla="*/ 2147483647 h 246"/>
                      <a:gd name="T46" fmla="*/ 2147483647 w 144"/>
                      <a:gd name="T47" fmla="*/ 2147483647 h 246"/>
                      <a:gd name="T48" fmla="*/ 2147483647 w 144"/>
                      <a:gd name="T49" fmla="*/ 2147483647 h 246"/>
                      <a:gd name="T50" fmla="*/ 2147483647 w 144"/>
                      <a:gd name="T51" fmla="*/ 2147483647 h 246"/>
                      <a:gd name="T52" fmla="*/ 2147483647 w 144"/>
                      <a:gd name="T53" fmla="*/ 2147483647 h 246"/>
                      <a:gd name="T54" fmla="*/ 2147483647 w 144"/>
                      <a:gd name="T55" fmla="*/ 2147483647 h 246"/>
                      <a:gd name="T56" fmla="*/ 2147483647 w 144"/>
                      <a:gd name="T57" fmla="*/ 2147483647 h 246"/>
                      <a:gd name="T58" fmla="*/ 2147483647 w 144"/>
                      <a:gd name="T59" fmla="*/ 2147483647 h 246"/>
                      <a:gd name="T60" fmla="*/ 2147483647 w 144"/>
                      <a:gd name="T61" fmla="*/ 2147483647 h 246"/>
                      <a:gd name="T62" fmla="*/ 2147483647 w 144"/>
                      <a:gd name="T63" fmla="*/ 2147483647 h 246"/>
                      <a:gd name="T64" fmla="*/ 2147483647 w 144"/>
                      <a:gd name="T65" fmla="*/ 2147483647 h 246"/>
                      <a:gd name="T66" fmla="*/ 2147483647 w 144"/>
                      <a:gd name="T67" fmla="*/ 2147483647 h 246"/>
                      <a:gd name="T68" fmla="*/ 2147483647 w 144"/>
                      <a:gd name="T69" fmla="*/ 2147483647 h 246"/>
                      <a:gd name="T70" fmla="*/ 2147483647 w 144"/>
                      <a:gd name="T71" fmla="*/ 2147483647 h 246"/>
                      <a:gd name="T72" fmla="*/ 2147483647 w 144"/>
                      <a:gd name="T73" fmla="*/ 2147483647 h 246"/>
                      <a:gd name="T74" fmla="*/ 2147483647 w 144"/>
                      <a:gd name="T75" fmla="*/ 2147483647 h 246"/>
                      <a:gd name="T76" fmla="*/ 2147483647 w 144"/>
                      <a:gd name="T77" fmla="*/ 2147483647 h 246"/>
                      <a:gd name="T78" fmla="*/ 2147483647 w 144"/>
                      <a:gd name="T79" fmla="*/ 2147483647 h 246"/>
                      <a:gd name="T80" fmla="*/ 2147483647 w 144"/>
                      <a:gd name="T81" fmla="*/ 2147483647 h 246"/>
                      <a:gd name="T82" fmla="*/ 2147483647 w 144"/>
                      <a:gd name="T83" fmla="*/ 2147483647 h 246"/>
                      <a:gd name="T84" fmla="*/ 2147483647 w 144"/>
                      <a:gd name="T85" fmla="*/ 2147483647 h 246"/>
                      <a:gd name="T86" fmla="*/ 2147483647 w 144"/>
                      <a:gd name="T87" fmla="*/ 2147483647 h 246"/>
                      <a:gd name="T88" fmla="*/ 2147483647 w 144"/>
                      <a:gd name="T89" fmla="*/ 2147483647 h 24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144"/>
                      <a:gd name="T136" fmla="*/ 0 h 246"/>
                      <a:gd name="T137" fmla="*/ 144 w 144"/>
                      <a:gd name="T138" fmla="*/ 246 h 24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144" h="246">
                        <a:moveTo>
                          <a:pt x="96" y="210"/>
                        </a:moveTo>
                        <a:lnTo>
                          <a:pt x="96" y="204"/>
                        </a:lnTo>
                        <a:lnTo>
                          <a:pt x="108" y="204"/>
                        </a:lnTo>
                        <a:lnTo>
                          <a:pt x="120" y="198"/>
                        </a:lnTo>
                        <a:lnTo>
                          <a:pt x="120" y="174"/>
                        </a:lnTo>
                        <a:lnTo>
                          <a:pt x="138" y="174"/>
                        </a:lnTo>
                        <a:lnTo>
                          <a:pt x="144" y="168"/>
                        </a:lnTo>
                        <a:lnTo>
                          <a:pt x="144" y="138"/>
                        </a:lnTo>
                        <a:lnTo>
                          <a:pt x="120" y="144"/>
                        </a:lnTo>
                        <a:lnTo>
                          <a:pt x="120" y="126"/>
                        </a:lnTo>
                        <a:lnTo>
                          <a:pt x="114" y="126"/>
                        </a:lnTo>
                        <a:lnTo>
                          <a:pt x="108" y="120"/>
                        </a:lnTo>
                        <a:lnTo>
                          <a:pt x="108" y="96"/>
                        </a:lnTo>
                        <a:lnTo>
                          <a:pt x="102" y="84"/>
                        </a:lnTo>
                        <a:lnTo>
                          <a:pt x="102" y="42"/>
                        </a:lnTo>
                        <a:lnTo>
                          <a:pt x="96" y="24"/>
                        </a:lnTo>
                        <a:lnTo>
                          <a:pt x="84" y="24"/>
                        </a:lnTo>
                        <a:lnTo>
                          <a:pt x="72" y="6"/>
                        </a:lnTo>
                        <a:lnTo>
                          <a:pt x="66" y="12"/>
                        </a:lnTo>
                        <a:lnTo>
                          <a:pt x="36" y="0"/>
                        </a:lnTo>
                        <a:lnTo>
                          <a:pt x="36" y="18"/>
                        </a:lnTo>
                        <a:lnTo>
                          <a:pt x="24" y="24"/>
                        </a:lnTo>
                        <a:lnTo>
                          <a:pt x="0" y="24"/>
                        </a:lnTo>
                        <a:lnTo>
                          <a:pt x="18" y="36"/>
                        </a:lnTo>
                        <a:lnTo>
                          <a:pt x="24" y="30"/>
                        </a:lnTo>
                        <a:lnTo>
                          <a:pt x="30" y="48"/>
                        </a:lnTo>
                        <a:lnTo>
                          <a:pt x="18" y="60"/>
                        </a:lnTo>
                        <a:lnTo>
                          <a:pt x="24" y="66"/>
                        </a:lnTo>
                        <a:lnTo>
                          <a:pt x="48" y="66"/>
                        </a:lnTo>
                        <a:lnTo>
                          <a:pt x="48" y="84"/>
                        </a:lnTo>
                        <a:lnTo>
                          <a:pt x="42" y="96"/>
                        </a:lnTo>
                        <a:lnTo>
                          <a:pt x="42" y="114"/>
                        </a:lnTo>
                        <a:lnTo>
                          <a:pt x="36" y="132"/>
                        </a:lnTo>
                        <a:lnTo>
                          <a:pt x="36" y="156"/>
                        </a:lnTo>
                        <a:lnTo>
                          <a:pt x="24" y="180"/>
                        </a:lnTo>
                        <a:lnTo>
                          <a:pt x="24" y="186"/>
                        </a:lnTo>
                        <a:lnTo>
                          <a:pt x="42" y="204"/>
                        </a:lnTo>
                        <a:lnTo>
                          <a:pt x="54" y="210"/>
                        </a:lnTo>
                        <a:lnTo>
                          <a:pt x="60" y="216"/>
                        </a:lnTo>
                        <a:lnTo>
                          <a:pt x="60" y="234"/>
                        </a:lnTo>
                        <a:lnTo>
                          <a:pt x="66" y="240"/>
                        </a:lnTo>
                        <a:lnTo>
                          <a:pt x="84" y="240"/>
                        </a:lnTo>
                        <a:lnTo>
                          <a:pt x="90" y="246"/>
                        </a:lnTo>
                        <a:lnTo>
                          <a:pt x="96" y="246"/>
                        </a:lnTo>
                        <a:lnTo>
                          <a:pt x="96" y="21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91" name="South Africa"/>
                  <p:cNvSpPr>
                    <a:spLocks noEditPoints="1"/>
                  </p:cNvSpPr>
                  <p:nvPr/>
                </p:nvSpPr>
                <p:spPr bwMode="gray">
                  <a:xfrm>
                    <a:off x="2948" y="2767"/>
                    <a:ext cx="290" cy="261"/>
                  </a:xfrm>
                  <a:custGeom>
                    <a:avLst/>
                    <a:gdLst>
                      <a:gd name="T0" fmla="*/ 2147483647 w 1134"/>
                      <a:gd name="T1" fmla="*/ 2147483647 h 1020"/>
                      <a:gd name="T2" fmla="*/ 2147483647 w 1134"/>
                      <a:gd name="T3" fmla="*/ 2147483647 h 1020"/>
                      <a:gd name="T4" fmla="*/ 2147483647 w 1134"/>
                      <a:gd name="T5" fmla="*/ 2147483647 h 1020"/>
                      <a:gd name="T6" fmla="*/ 2147483647 w 1134"/>
                      <a:gd name="T7" fmla="*/ 2147483647 h 1020"/>
                      <a:gd name="T8" fmla="*/ 2147483647 w 1134"/>
                      <a:gd name="T9" fmla="*/ 2147483647 h 1020"/>
                      <a:gd name="T10" fmla="*/ 2147483647 w 1134"/>
                      <a:gd name="T11" fmla="*/ 2147483647 h 1020"/>
                      <a:gd name="T12" fmla="*/ 2147483647 w 1134"/>
                      <a:gd name="T13" fmla="*/ 2147483647 h 1020"/>
                      <a:gd name="T14" fmla="*/ 2147483647 w 1134"/>
                      <a:gd name="T15" fmla="*/ 2147483647 h 1020"/>
                      <a:gd name="T16" fmla="*/ 2147483647 w 1134"/>
                      <a:gd name="T17" fmla="*/ 2147483647 h 1020"/>
                      <a:gd name="T18" fmla="*/ 2147483647 w 1134"/>
                      <a:gd name="T19" fmla="*/ 2147483647 h 1020"/>
                      <a:gd name="T20" fmla="*/ 2147483647 w 1134"/>
                      <a:gd name="T21" fmla="*/ 2147483647 h 1020"/>
                      <a:gd name="T22" fmla="*/ 2147483647 w 1134"/>
                      <a:gd name="T23" fmla="*/ 2147483647 h 1020"/>
                      <a:gd name="T24" fmla="*/ 2147483647 w 1134"/>
                      <a:gd name="T25" fmla="*/ 2147483647 h 1020"/>
                      <a:gd name="T26" fmla="*/ 2147483647 w 1134"/>
                      <a:gd name="T27" fmla="*/ 2147483647 h 1020"/>
                      <a:gd name="T28" fmla="*/ 2147483647 w 1134"/>
                      <a:gd name="T29" fmla="*/ 2147483647 h 1020"/>
                      <a:gd name="T30" fmla="*/ 2147483647 w 1134"/>
                      <a:gd name="T31" fmla="*/ 2147483647 h 1020"/>
                      <a:gd name="T32" fmla="*/ 2147483647 w 1134"/>
                      <a:gd name="T33" fmla="*/ 2147483647 h 1020"/>
                      <a:gd name="T34" fmla="*/ 2147483647 w 1134"/>
                      <a:gd name="T35" fmla="*/ 2147483647 h 1020"/>
                      <a:gd name="T36" fmla="*/ 2147483647 w 1134"/>
                      <a:gd name="T37" fmla="*/ 2147483647 h 1020"/>
                      <a:gd name="T38" fmla="*/ 2147483647 w 1134"/>
                      <a:gd name="T39" fmla="*/ 2147483647 h 1020"/>
                      <a:gd name="T40" fmla="*/ 2147483647 w 1134"/>
                      <a:gd name="T41" fmla="*/ 2147483647 h 1020"/>
                      <a:gd name="T42" fmla="*/ 2147483647 w 1134"/>
                      <a:gd name="T43" fmla="*/ 2147483647 h 1020"/>
                      <a:gd name="T44" fmla="*/ 2147483647 w 1134"/>
                      <a:gd name="T45" fmla="*/ 2147483647 h 1020"/>
                      <a:gd name="T46" fmla="*/ 2147483647 w 1134"/>
                      <a:gd name="T47" fmla="*/ 2147483647 h 1020"/>
                      <a:gd name="T48" fmla="*/ 2147483647 w 1134"/>
                      <a:gd name="T49" fmla="*/ 2147483647 h 1020"/>
                      <a:gd name="T50" fmla="*/ 2147483647 w 1134"/>
                      <a:gd name="T51" fmla="*/ 2147483647 h 1020"/>
                      <a:gd name="T52" fmla="*/ 2147483647 w 1134"/>
                      <a:gd name="T53" fmla="*/ 2147483647 h 1020"/>
                      <a:gd name="T54" fmla="*/ 2147483647 w 1134"/>
                      <a:gd name="T55" fmla="*/ 2147483647 h 1020"/>
                      <a:gd name="T56" fmla="*/ 2147483647 w 1134"/>
                      <a:gd name="T57" fmla="*/ 2147483647 h 1020"/>
                      <a:gd name="T58" fmla="*/ 2147483647 w 1134"/>
                      <a:gd name="T59" fmla="*/ 2147483647 h 1020"/>
                      <a:gd name="T60" fmla="*/ 2147483647 w 1134"/>
                      <a:gd name="T61" fmla="*/ 2147483647 h 1020"/>
                      <a:gd name="T62" fmla="*/ 0 w 1134"/>
                      <a:gd name="T63" fmla="*/ 2147483647 h 1020"/>
                      <a:gd name="T64" fmla="*/ 2147483647 w 1134"/>
                      <a:gd name="T65" fmla="*/ 2147483647 h 1020"/>
                      <a:gd name="T66" fmla="*/ 2147483647 w 1134"/>
                      <a:gd name="T67" fmla="*/ 2147483647 h 1020"/>
                      <a:gd name="T68" fmla="*/ 2147483647 w 1134"/>
                      <a:gd name="T69" fmla="*/ 2147483647 h 1020"/>
                      <a:gd name="T70" fmla="*/ 2147483647 w 1134"/>
                      <a:gd name="T71" fmla="*/ 2147483647 h 1020"/>
                      <a:gd name="T72" fmla="*/ 2147483647 w 1134"/>
                      <a:gd name="T73" fmla="*/ 2147483647 h 1020"/>
                      <a:gd name="T74" fmla="*/ 2147483647 w 1134"/>
                      <a:gd name="T75" fmla="*/ 2147483647 h 1020"/>
                      <a:gd name="T76" fmla="*/ 2147483647 w 1134"/>
                      <a:gd name="T77" fmla="*/ 2147483647 h 1020"/>
                      <a:gd name="T78" fmla="*/ 2147483647 w 1134"/>
                      <a:gd name="T79" fmla="*/ 2147483647 h 1020"/>
                      <a:gd name="T80" fmla="*/ 2147483647 w 1134"/>
                      <a:gd name="T81" fmla="*/ 2147483647 h 1020"/>
                      <a:gd name="T82" fmla="*/ 2147483647 w 1134"/>
                      <a:gd name="T83" fmla="*/ 2147483647 h 1020"/>
                      <a:gd name="T84" fmla="*/ 2147483647 w 1134"/>
                      <a:gd name="T85" fmla="*/ 2147483647 h 1020"/>
                      <a:gd name="T86" fmla="*/ 2147483647 w 1134"/>
                      <a:gd name="T87" fmla="*/ 2147483647 h 1020"/>
                      <a:gd name="T88" fmla="*/ 2147483647 w 1134"/>
                      <a:gd name="T89" fmla="*/ 2147483647 h 1020"/>
                      <a:gd name="T90" fmla="*/ 2147483647 w 1134"/>
                      <a:gd name="T91" fmla="*/ 2147483647 h 1020"/>
                      <a:gd name="T92" fmla="*/ 2147483647 w 1134"/>
                      <a:gd name="T93" fmla="*/ 2147483647 h 1020"/>
                      <a:gd name="T94" fmla="*/ 2147483647 w 1134"/>
                      <a:gd name="T95" fmla="*/ 2147483647 h 1020"/>
                      <a:gd name="T96" fmla="*/ 2147483647 w 1134"/>
                      <a:gd name="T97" fmla="*/ 2147483647 h 1020"/>
                      <a:gd name="T98" fmla="*/ 2147483647 w 1134"/>
                      <a:gd name="T99" fmla="*/ 2147483647 h 1020"/>
                      <a:gd name="T100" fmla="*/ 2147483647 w 1134"/>
                      <a:gd name="T101" fmla="*/ 2147483647 h 1020"/>
                      <a:gd name="T102" fmla="*/ 2147483647 w 1134"/>
                      <a:gd name="T103" fmla="*/ 2147483647 h 1020"/>
                      <a:gd name="T104" fmla="*/ 2147483647 w 1134"/>
                      <a:gd name="T105" fmla="*/ 2147483647 h 1020"/>
                      <a:gd name="T106" fmla="*/ 2147483647 w 1134"/>
                      <a:gd name="T107" fmla="*/ 2147483647 h 1020"/>
                      <a:gd name="T108" fmla="*/ 2147483647 w 1134"/>
                      <a:gd name="T109" fmla="*/ 2147483647 h 1020"/>
                      <a:gd name="T110" fmla="*/ 2147483647 w 1134"/>
                      <a:gd name="T111" fmla="*/ 2147483647 h 1020"/>
                      <a:gd name="T112" fmla="*/ 2147483647 w 1134"/>
                      <a:gd name="T113" fmla="*/ 2147483647 h 1020"/>
                      <a:gd name="T114" fmla="*/ 2147483647 w 1134"/>
                      <a:gd name="T115" fmla="*/ 2147483647 h 1020"/>
                      <a:gd name="T116" fmla="*/ 2147483647 w 1134"/>
                      <a:gd name="T117" fmla="*/ 2147483647 h 1020"/>
                      <a:gd name="T118" fmla="*/ 2147483647 w 1134"/>
                      <a:gd name="T119" fmla="*/ 2147483647 h 1020"/>
                      <a:gd name="T120" fmla="*/ 2147483647 w 1134"/>
                      <a:gd name="T121" fmla="*/ 2147483647 h 1020"/>
                      <a:gd name="T122" fmla="*/ 2147483647 w 1134"/>
                      <a:gd name="T123" fmla="*/ 2147483647 h 1020"/>
                      <a:gd name="T124" fmla="*/ 2147483647 w 1134"/>
                      <a:gd name="T125" fmla="*/ 2147483647 h 1020"/>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134"/>
                      <a:gd name="T190" fmla="*/ 0 h 1020"/>
                      <a:gd name="T191" fmla="*/ 1134 w 1134"/>
                      <a:gd name="T192" fmla="*/ 1020 h 1020"/>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134" h="1020">
                        <a:moveTo>
                          <a:pt x="1116" y="372"/>
                        </a:moveTo>
                        <a:lnTo>
                          <a:pt x="1098" y="372"/>
                        </a:lnTo>
                        <a:lnTo>
                          <a:pt x="1092" y="378"/>
                        </a:lnTo>
                        <a:lnTo>
                          <a:pt x="1086" y="378"/>
                        </a:lnTo>
                        <a:lnTo>
                          <a:pt x="1074" y="420"/>
                        </a:lnTo>
                        <a:lnTo>
                          <a:pt x="1062" y="420"/>
                        </a:lnTo>
                        <a:lnTo>
                          <a:pt x="1050" y="414"/>
                        </a:lnTo>
                        <a:lnTo>
                          <a:pt x="1032" y="414"/>
                        </a:lnTo>
                        <a:lnTo>
                          <a:pt x="1020" y="402"/>
                        </a:lnTo>
                        <a:lnTo>
                          <a:pt x="1008" y="396"/>
                        </a:lnTo>
                        <a:lnTo>
                          <a:pt x="996" y="372"/>
                        </a:lnTo>
                        <a:lnTo>
                          <a:pt x="996" y="348"/>
                        </a:lnTo>
                        <a:lnTo>
                          <a:pt x="1002" y="336"/>
                        </a:lnTo>
                        <a:lnTo>
                          <a:pt x="1014" y="324"/>
                        </a:lnTo>
                        <a:lnTo>
                          <a:pt x="1014" y="312"/>
                        </a:lnTo>
                        <a:lnTo>
                          <a:pt x="1020" y="300"/>
                        </a:lnTo>
                        <a:lnTo>
                          <a:pt x="1032" y="288"/>
                        </a:lnTo>
                        <a:lnTo>
                          <a:pt x="1038" y="288"/>
                        </a:lnTo>
                        <a:lnTo>
                          <a:pt x="1050" y="294"/>
                        </a:lnTo>
                        <a:lnTo>
                          <a:pt x="1062" y="306"/>
                        </a:lnTo>
                        <a:lnTo>
                          <a:pt x="1086" y="270"/>
                        </a:lnTo>
                        <a:lnTo>
                          <a:pt x="1086" y="180"/>
                        </a:lnTo>
                        <a:lnTo>
                          <a:pt x="1056" y="120"/>
                        </a:lnTo>
                        <a:lnTo>
                          <a:pt x="1056" y="102"/>
                        </a:lnTo>
                        <a:lnTo>
                          <a:pt x="1050" y="90"/>
                        </a:lnTo>
                        <a:lnTo>
                          <a:pt x="1050" y="72"/>
                        </a:lnTo>
                        <a:lnTo>
                          <a:pt x="1044" y="54"/>
                        </a:lnTo>
                        <a:lnTo>
                          <a:pt x="1044" y="24"/>
                        </a:lnTo>
                        <a:lnTo>
                          <a:pt x="1026" y="12"/>
                        </a:lnTo>
                        <a:lnTo>
                          <a:pt x="966" y="12"/>
                        </a:lnTo>
                        <a:lnTo>
                          <a:pt x="954" y="6"/>
                        </a:lnTo>
                        <a:lnTo>
                          <a:pt x="948" y="6"/>
                        </a:lnTo>
                        <a:lnTo>
                          <a:pt x="936" y="0"/>
                        </a:lnTo>
                        <a:lnTo>
                          <a:pt x="876" y="0"/>
                        </a:lnTo>
                        <a:lnTo>
                          <a:pt x="864" y="24"/>
                        </a:lnTo>
                        <a:lnTo>
                          <a:pt x="852" y="24"/>
                        </a:lnTo>
                        <a:lnTo>
                          <a:pt x="840" y="30"/>
                        </a:lnTo>
                        <a:lnTo>
                          <a:pt x="828" y="30"/>
                        </a:lnTo>
                        <a:lnTo>
                          <a:pt x="822" y="36"/>
                        </a:lnTo>
                        <a:lnTo>
                          <a:pt x="810" y="60"/>
                        </a:lnTo>
                        <a:lnTo>
                          <a:pt x="768" y="102"/>
                        </a:lnTo>
                        <a:lnTo>
                          <a:pt x="756" y="108"/>
                        </a:lnTo>
                        <a:lnTo>
                          <a:pt x="750" y="108"/>
                        </a:lnTo>
                        <a:lnTo>
                          <a:pt x="738" y="114"/>
                        </a:lnTo>
                        <a:lnTo>
                          <a:pt x="726" y="138"/>
                        </a:lnTo>
                        <a:lnTo>
                          <a:pt x="726" y="174"/>
                        </a:lnTo>
                        <a:lnTo>
                          <a:pt x="714" y="180"/>
                        </a:lnTo>
                        <a:lnTo>
                          <a:pt x="708" y="192"/>
                        </a:lnTo>
                        <a:lnTo>
                          <a:pt x="702" y="198"/>
                        </a:lnTo>
                        <a:lnTo>
                          <a:pt x="690" y="204"/>
                        </a:lnTo>
                        <a:lnTo>
                          <a:pt x="672" y="210"/>
                        </a:lnTo>
                        <a:lnTo>
                          <a:pt x="654" y="228"/>
                        </a:lnTo>
                        <a:lnTo>
                          <a:pt x="654" y="240"/>
                        </a:lnTo>
                        <a:lnTo>
                          <a:pt x="648" y="252"/>
                        </a:lnTo>
                        <a:lnTo>
                          <a:pt x="642" y="270"/>
                        </a:lnTo>
                        <a:lnTo>
                          <a:pt x="636" y="282"/>
                        </a:lnTo>
                        <a:lnTo>
                          <a:pt x="630" y="288"/>
                        </a:lnTo>
                        <a:lnTo>
                          <a:pt x="618" y="294"/>
                        </a:lnTo>
                        <a:lnTo>
                          <a:pt x="606" y="294"/>
                        </a:lnTo>
                        <a:lnTo>
                          <a:pt x="600" y="288"/>
                        </a:lnTo>
                        <a:lnTo>
                          <a:pt x="594" y="294"/>
                        </a:lnTo>
                        <a:lnTo>
                          <a:pt x="582" y="300"/>
                        </a:lnTo>
                        <a:lnTo>
                          <a:pt x="570" y="300"/>
                        </a:lnTo>
                        <a:lnTo>
                          <a:pt x="564" y="294"/>
                        </a:lnTo>
                        <a:lnTo>
                          <a:pt x="552" y="288"/>
                        </a:lnTo>
                        <a:lnTo>
                          <a:pt x="546" y="282"/>
                        </a:lnTo>
                        <a:lnTo>
                          <a:pt x="516" y="282"/>
                        </a:lnTo>
                        <a:lnTo>
                          <a:pt x="504" y="270"/>
                        </a:lnTo>
                        <a:lnTo>
                          <a:pt x="492" y="264"/>
                        </a:lnTo>
                        <a:lnTo>
                          <a:pt x="486" y="258"/>
                        </a:lnTo>
                        <a:lnTo>
                          <a:pt x="474" y="252"/>
                        </a:lnTo>
                        <a:lnTo>
                          <a:pt x="462" y="252"/>
                        </a:lnTo>
                        <a:lnTo>
                          <a:pt x="450" y="258"/>
                        </a:lnTo>
                        <a:lnTo>
                          <a:pt x="444" y="264"/>
                        </a:lnTo>
                        <a:lnTo>
                          <a:pt x="438" y="276"/>
                        </a:lnTo>
                        <a:lnTo>
                          <a:pt x="438" y="288"/>
                        </a:lnTo>
                        <a:lnTo>
                          <a:pt x="432" y="300"/>
                        </a:lnTo>
                        <a:lnTo>
                          <a:pt x="432" y="324"/>
                        </a:lnTo>
                        <a:lnTo>
                          <a:pt x="420" y="324"/>
                        </a:lnTo>
                        <a:lnTo>
                          <a:pt x="414" y="330"/>
                        </a:lnTo>
                        <a:lnTo>
                          <a:pt x="408" y="330"/>
                        </a:lnTo>
                        <a:lnTo>
                          <a:pt x="402" y="336"/>
                        </a:lnTo>
                        <a:lnTo>
                          <a:pt x="396" y="348"/>
                        </a:lnTo>
                        <a:lnTo>
                          <a:pt x="390" y="354"/>
                        </a:lnTo>
                        <a:lnTo>
                          <a:pt x="390" y="360"/>
                        </a:lnTo>
                        <a:lnTo>
                          <a:pt x="366" y="360"/>
                        </a:lnTo>
                        <a:lnTo>
                          <a:pt x="366" y="378"/>
                        </a:lnTo>
                        <a:lnTo>
                          <a:pt x="288" y="378"/>
                        </a:lnTo>
                        <a:lnTo>
                          <a:pt x="288" y="348"/>
                        </a:lnTo>
                        <a:lnTo>
                          <a:pt x="294" y="336"/>
                        </a:lnTo>
                        <a:lnTo>
                          <a:pt x="294" y="330"/>
                        </a:lnTo>
                        <a:lnTo>
                          <a:pt x="300" y="318"/>
                        </a:lnTo>
                        <a:lnTo>
                          <a:pt x="300" y="294"/>
                        </a:lnTo>
                        <a:lnTo>
                          <a:pt x="294" y="288"/>
                        </a:lnTo>
                        <a:lnTo>
                          <a:pt x="294" y="270"/>
                        </a:lnTo>
                        <a:lnTo>
                          <a:pt x="288" y="258"/>
                        </a:lnTo>
                        <a:lnTo>
                          <a:pt x="282" y="240"/>
                        </a:lnTo>
                        <a:lnTo>
                          <a:pt x="276" y="234"/>
                        </a:lnTo>
                        <a:lnTo>
                          <a:pt x="264" y="228"/>
                        </a:lnTo>
                        <a:lnTo>
                          <a:pt x="258" y="222"/>
                        </a:lnTo>
                        <a:lnTo>
                          <a:pt x="246" y="216"/>
                        </a:lnTo>
                        <a:lnTo>
                          <a:pt x="240" y="510"/>
                        </a:lnTo>
                        <a:lnTo>
                          <a:pt x="222" y="510"/>
                        </a:lnTo>
                        <a:lnTo>
                          <a:pt x="210" y="516"/>
                        </a:lnTo>
                        <a:lnTo>
                          <a:pt x="204" y="522"/>
                        </a:lnTo>
                        <a:lnTo>
                          <a:pt x="204" y="528"/>
                        </a:lnTo>
                        <a:lnTo>
                          <a:pt x="192" y="528"/>
                        </a:lnTo>
                        <a:lnTo>
                          <a:pt x="192" y="552"/>
                        </a:lnTo>
                        <a:lnTo>
                          <a:pt x="168" y="552"/>
                        </a:lnTo>
                        <a:lnTo>
                          <a:pt x="156" y="540"/>
                        </a:lnTo>
                        <a:lnTo>
                          <a:pt x="144" y="540"/>
                        </a:lnTo>
                        <a:lnTo>
                          <a:pt x="132" y="552"/>
                        </a:lnTo>
                        <a:lnTo>
                          <a:pt x="108" y="552"/>
                        </a:lnTo>
                        <a:lnTo>
                          <a:pt x="102" y="546"/>
                        </a:lnTo>
                        <a:lnTo>
                          <a:pt x="102" y="540"/>
                        </a:lnTo>
                        <a:lnTo>
                          <a:pt x="96" y="534"/>
                        </a:lnTo>
                        <a:lnTo>
                          <a:pt x="72" y="534"/>
                        </a:lnTo>
                        <a:lnTo>
                          <a:pt x="66" y="528"/>
                        </a:lnTo>
                        <a:lnTo>
                          <a:pt x="60" y="516"/>
                        </a:lnTo>
                        <a:lnTo>
                          <a:pt x="60" y="492"/>
                        </a:lnTo>
                        <a:lnTo>
                          <a:pt x="42" y="474"/>
                        </a:lnTo>
                        <a:lnTo>
                          <a:pt x="36" y="474"/>
                        </a:lnTo>
                        <a:lnTo>
                          <a:pt x="30" y="480"/>
                        </a:lnTo>
                        <a:lnTo>
                          <a:pt x="30" y="486"/>
                        </a:lnTo>
                        <a:lnTo>
                          <a:pt x="24" y="498"/>
                        </a:lnTo>
                        <a:lnTo>
                          <a:pt x="18" y="504"/>
                        </a:lnTo>
                        <a:lnTo>
                          <a:pt x="18" y="510"/>
                        </a:lnTo>
                        <a:lnTo>
                          <a:pt x="0" y="522"/>
                        </a:lnTo>
                        <a:lnTo>
                          <a:pt x="0" y="516"/>
                        </a:lnTo>
                        <a:lnTo>
                          <a:pt x="0" y="528"/>
                        </a:lnTo>
                        <a:lnTo>
                          <a:pt x="6" y="540"/>
                        </a:lnTo>
                        <a:lnTo>
                          <a:pt x="6" y="552"/>
                        </a:lnTo>
                        <a:lnTo>
                          <a:pt x="36" y="582"/>
                        </a:lnTo>
                        <a:lnTo>
                          <a:pt x="42" y="600"/>
                        </a:lnTo>
                        <a:lnTo>
                          <a:pt x="42" y="648"/>
                        </a:lnTo>
                        <a:lnTo>
                          <a:pt x="48" y="672"/>
                        </a:lnTo>
                        <a:lnTo>
                          <a:pt x="54" y="690"/>
                        </a:lnTo>
                        <a:lnTo>
                          <a:pt x="72" y="714"/>
                        </a:lnTo>
                        <a:lnTo>
                          <a:pt x="96" y="738"/>
                        </a:lnTo>
                        <a:lnTo>
                          <a:pt x="114" y="762"/>
                        </a:lnTo>
                        <a:lnTo>
                          <a:pt x="120" y="786"/>
                        </a:lnTo>
                        <a:lnTo>
                          <a:pt x="120" y="834"/>
                        </a:lnTo>
                        <a:lnTo>
                          <a:pt x="114" y="846"/>
                        </a:lnTo>
                        <a:lnTo>
                          <a:pt x="114" y="852"/>
                        </a:lnTo>
                        <a:lnTo>
                          <a:pt x="90" y="852"/>
                        </a:lnTo>
                        <a:lnTo>
                          <a:pt x="90" y="876"/>
                        </a:lnTo>
                        <a:lnTo>
                          <a:pt x="96" y="888"/>
                        </a:lnTo>
                        <a:lnTo>
                          <a:pt x="108" y="906"/>
                        </a:lnTo>
                        <a:lnTo>
                          <a:pt x="114" y="918"/>
                        </a:lnTo>
                        <a:lnTo>
                          <a:pt x="114" y="960"/>
                        </a:lnTo>
                        <a:lnTo>
                          <a:pt x="120" y="972"/>
                        </a:lnTo>
                        <a:lnTo>
                          <a:pt x="120" y="978"/>
                        </a:lnTo>
                        <a:lnTo>
                          <a:pt x="126" y="978"/>
                        </a:lnTo>
                        <a:lnTo>
                          <a:pt x="126" y="972"/>
                        </a:lnTo>
                        <a:lnTo>
                          <a:pt x="132" y="966"/>
                        </a:lnTo>
                        <a:lnTo>
                          <a:pt x="144" y="966"/>
                        </a:lnTo>
                        <a:lnTo>
                          <a:pt x="150" y="972"/>
                        </a:lnTo>
                        <a:lnTo>
                          <a:pt x="180" y="984"/>
                        </a:lnTo>
                        <a:lnTo>
                          <a:pt x="180" y="996"/>
                        </a:lnTo>
                        <a:lnTo>
                          <a:pt x="204" y="1020"/>
                        </a:lnTo>
                        <a:lnTo>
                          <a:pt x="216" y="1020"/>
                        </a:lnTo>
                        <a:lnTo>
                          <a:pt x="240" y="1008"/>
                        </a:lnTo>
                        <a:lnTo>
                          <a:pt x="246" y="996"/>
                        </a:lnTo>
                        <a:lnTo>
                          <a:pt x="252" y="990"/>
                        </a:lnTo>
                        <a:lnTo>
                          <a:pt x="264" y="984"/>
                        </a:lnTo>
                        <a:lnTo>
                          <a:pt x="294" y="984"/>
                        </a:lnTo>
                        <a:lnTo>
                          <a:pt x="306" y="990"/>
                        </a:lnTo>
                        <a:lnTo>
                          <a:pt x="354" y="990"/>
                        </a:lnTo>
                        <a:lnTo>
                          <a:pt x="354" y="984"/>
                        </a:lnTo>
                        <a:lnTo>
                          <a:pt x="360" y="978"/>
                        </a:lnTo>
                        <a:lnTo>
                          <a:pt x="360" y="966"/>
                        </a:lnTo>
                        <a:lnTo>
                          <a:pt x="366" y="960"/>
                        </a:lnTo>
                        <a:lnTo>
                          <a:pt x="378" y="954"/>
                        </a:lnTo>
                        <a:lnTo>
                          <a:pt x="408" y="954"/>
                        </a:lnTo>
                        <a:lnTo>
                          <a:pt x="420" y="960"/>
                        </a:lnTo>
                        <a:lnTo>
                          <a:pt x="432" y="960"/>
                        </a:lnTo>
                        <a:lnTo>
                          <a:pt x="438" y="966"/>
                        </a:lnTo>
                        <a:lnTo>
                          <a:pt x="444" y="960"/>
                        </a:lnTo>
                        <a:lnTo>
                          <a:pt x="456" y="960"/>
                        </a:lnTo>
                        <a:lnTo>
                          <a:pt x="468" y="954"/>
                        </a:lnTo>
                        <a:lnTo>
                          <a:pt x="504" y="954"/>
                        </a:lnTo>
                        <a:lnTo>
                          <a:pt x="522" y="960"/>
                        </a:lnTo>
                        <a:lnTo>
                          <a:pt x="534" y="966"/>
                        </a:lnTo>
                        <a:lnTo>
                          <a:pt x="552" y="966"/>
                        </a:lnTo>
                        <a:lnTo>
                          <a:pt x="558" y="960"/>
                        </a:lnTo>
                        <a:lnTo>
                          <a:pt x="570" y="954"/>
                        </a:lnTo>
                        <a:lnTo>
                          <a:pt x="606" y="954"/>
                        </a:lnTo>
                        <a:lnTo>
                          <a:pt x="618" y="948"/>
                        </a:lnTo>
                        <a:lnTo>
                          <a:pt x="624" y="942"/>
                        </a:lnTo>
                        <a:lnTo>
                          <a:pt x="636" y="936"/>
                        </a:lnTo>
                        <a:lnTo>
                          <a:pt x="684" y="936"/>
                        </a:lnTo>
                        <a:lnTo>
                          <a:pt x="708" y="924"/>
                        </a:lnTo>
                        <a:lnTo>
                          <a:pt x="720" y="912"/>
                        </a:lnTo>
                        <a:lnTo>
                          <a:pt x="738" y="900"/>
                        </a:lnTo>
                        <a:lnTo>
                          <a:pt x="774" y="864"/>
                        </a:lnTo>
                        <a:lnTo>
                          <a:pt x="786" y="858"/>
                        </a:lnTo>
                        <a:lnTo>
                          <a:pt x="804" y="846"/>
                        </a:lnTo>
                        <a:lnTo>
                          <a:pt x="900" y="750"/>
                        </a:lnTo>
                        <a:lnTo>
                          <a:pt x="918" y="750"/>
                        </a:lnTo>
                        <a:lnTo>
                          <a:pt x="924" y="744"/>
                        </a:lnTo>
                        <a:lnTo>
                          <a:pt x="960" y="696"/>
                        </a:lnTo>
                        <a:lnTo>
                          <a:pt x="972" y="672"/>
                        </a:lnTo>
                        <a:lnTo>
                          <a:pt x="984" y="654"/>
                        </a:lnTo>
                        <a:lnTo>
                          <a:pt x="990" y="642"/>
                        </a:lnTo>
                        <a:lnTo>
                          <a:pt x="1002" y="606"/>
                        </a:lnTo>
                        <a:lnTo>
                          <a:pt x="1014" y="588"/>
                        </a:lnTo>
                        <a:lnTo>
                          <a:pt x="1020" y="576"/>
                        </a:lnTo>
                        <a:lnTo>
                          <a:pt x="1026" y="570"/>
                        </a:lnTo>
                        <a:lnTo>
                          <a:pt x="1038" y="564"/>
                        </a:lnTo>
                        <a:lnTo>
                          <a:pt x="1050" y="552"/>
                        </a:lnTo>
                        <a:lnTo>
                          <a:pt x="1068" y="546"/>
                        </a:lnTo>
                        <a:lnTo>
                          <a:pt x="1086" y="534"/>
                        </a:lnTo>
                        <a:lnTo>
                          <a:pt x="1098" y="510"/>
                        </a:lnTo>
                        <a:lnTo>
                          <a:pt x="1098" y="498"/>
                        </a:lnTo>
                        <a:lnTo>
                          <a:pt x="1104" y="486"/>
                        </a:lnTo>
                        <a:lnTo>
                          <a:pt x="1110" y="468"/>
                        </a:lnTo>
                        <a:lnTo>
                          <a:pt x="1116" y="456"/>
                        </a:lnTo>
                        <a:lnTo>
                          <a:pt x="1122" y="450"/>
                        </a:lnTo>
                        <a:lnTo>
                          <a:pt x="1122" y="438"/>
                        </a:lnTo>
                        <a:lnTo>
                          <a:pt x="1128" y="432"/>
                        </a:lnTo>
                        <a:lnTo>
                          <a:pt x="1128" y="414"/>
                        </a:lnTo>
                        <a:lnTo>
                          <a:pt x="1134" y="396"/>
                        </a:lnTo>
                        <a:lnTo>
                          <a:pt x="1128" y="384"/>
                        </a:lnTo>
                        <a:lnTo>
                          <a:pt x="1116" y="372"/>
                        </a:lnTo>
                        <a:close/>
                        <a:moveTo>
                          <a:pt x="870" y="624"/>
                        </a:moveTo>
                        <a:lnTo>
                          <a:pt x="858" y="630"/>
                        </a:lnTo>
                        <a:lnTo>
                          <a:pt x="852" y="636"/>
                        </a:lnTo>
                        <a:lnTo>
                          <a:pt x="840" y="642"/>
                        </a:lnTo>
                        <a:lnTo>
                          <a:pt x="822" y="642"/>
                        </a:lnTo>
                        <a:lnTo>
                          <a:pt x="810" y="648"/>
                        </a:lnTo>
                        <a:lnTo>
                          <a:pt x="804" y="654"/>
                        </a:lnTo>
                        <a:lnTo>
                          <a:pt x="798" y="666"/>
                        </a:lnTo>
                        <a:lnTo>
                          <a:pt x="792" y="672"/>
                        </a:lnTo>
                        <a:lnTo>
                          <a:pt x="792" y="684"/>
                        </a:lnTo>
                        <a:lnTo>
                          <a:pt x="774" y="684"/>
                        </a:lnTo>
                        <a:lnTo>
                          <a:pt x="744" y="654"/>
                        </a:lnTo>
                        <a:lnTo>
                          <a:pt x="744" y="636"/>
                        </a:lnTo>
                        <a:lnTo>
                          <a:pt x="720" y="600"/>
                        </a:lnTo>
                        <a:lnTo>
                          <a:pt x="744" y="600"/>
                        </a:lnTo>
                        <a:lnTo>
                          <a:pt x="750" y="582"/>
                        </a:lnTo>
                        <a:lnTo>
                          <a:pt x="768" y="564"/>
                        </a:lnTo>
                        <a:lnTo>
                          <a:pt x="768" y="546"/>
                        </a:lnTo>
                        <a:lnTo>
                          <a:pt x="774" y="540"/>
                        </a:lnTo>
                        <a:lnTo>
                          <a:pt x="798" y="540"/>
                        </a:lnTo>
                        <a:lnTo>
                          <a:pt x="798" y="528"/>
                        </a:lnTo>
                        <a:lnTo>
                          <a:pt x="810" y="522"/>
                        </a:lnTo>
                        <a:lnTo>
                          <a:pt x="846" y="522"/>
                        </a:lnTo>
                        <a:lnTo>
                          <a:pt x="852" y="528"/>
                        </a:lnTo>
                        <a:lnTo>
                          <a:pt x="858" y="540"/>
                        </a:lnTo>
                        <a:lnTo>
                          <a:pt x="864" y="546"/>
                        </a:lnTo>
                        <a:lnTo>
                          <a:pt x="870" y="558"/>
                        </a:lnTo>
                        <a:lnTo>
                          <a:pt x="882" y="564"/>
                        </a:lnTo>
                        <a:lnTo>
                          <a:pt x="888" y="588"/>
                        </a:lnTo>
                        <a:lnTo>
                          <a:pt x="864" y="606"/>
                        </a:lnTo>
                        <a:lnTo>
                          <a:pt x="870" y="624"/>
                        </a:lnTo>
                        <a:close/>
                      </a:path>
                    </a:pathLst>
                  </a:cu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692" name="Afghanistan"/>
                  <p:cNvSpPr>
                    <a:spLocks/>
                  </p:cNvSpPr>
                  <p:nvPr/>
                </p:nvSpPr>
                <p:spPr bwMode="gray">
                  <a:xfrm>
                    <a:off x="3703" y="1516"/>
                    <a:ext cx="232" cy="189"/>
                  </a:xfrm>
                  <a:custGeom>
                    <a:avLst/>
                    <a:gdLst>
                      <a:gd name="T0" fmla="*/ 2147483647 w 906"/>
                      <a:gd name="T1" fmla="*/ 2147483647 h 738"/>
                      <a:gd name="T2" fmla="*/ 2147483647 w 906"/>
                      <a:gd name="T3" fmla="*/ 2147483647 h 738"/>
                      <a:gd name="T4" fmla="*/ 2147483647 w 906"/>
                      <a:gd name="T5" fmla="*/ 2147483647 h 738"/>
                      <a:gd name="T6" fmla="*/ 2147483647 w 906"/>
                      <a:gd name="T7" fmla="*/ 2147483647 h 738"/>
                      <a:gd name="T8" fmla="*/ 2147483647 w 906"/>
                      <a:gd name="T9" fmla="*/ 2147483647 h 738"/>
                      <a:gd name="T10" fmla="*/ 2147483647 w 906"/>
                      <a:gd name="T11" fmla="*/ 0 h 738"/>
                      <a:gd name="T12" fmla="*/ 2147483647 w 906"/>
                      <a:gd name="T13" fmla="*/ 2147483647 h 738"/>
                      <a:gd name="T14" fmla="*/ 2147483647 w 906"/>
                      <a:gd name="T15" fmla="*/ 2147483647 h 738"/>
                      <a:gd name="T16" fmla="*/ 2147483647 w 906"/>
                      <a:gd name="T17" fmla="*/ 2147483647 h 738"/>
                      <a:gd name="T18" fmla="*/ 2147483647 w 906"/>
                      <a:gd name="T19" fmla="*/ 2147483647 h 738"/>
                      <a:gd name="T20" fmla="*/ 2147483647 w 906"/>
                      <a:gd name="T21" fmla="*/ 2147483647 h 738"/>
                      <a:gd name="T22" fmla="*/ 2147483647 w 906"/>
                      <a:gd name="T23" fmla="*/ 2147483647 h 738"/>
                      <a:gd name="T24" fmla="*/ 2147483647 w 906"/>
                      <a:gd name="T25" fmla="*/ 2147483647 h 738"/>
                      <a:gd name="T26" fmla="*/ 2147483647 w 906"/>
                      <a:gd name="T27" fmla="*/ 2147483647 h 738"/>
                      <a:gd name="T28" fmla="*/ 2147483647 w 906"/>
                      <a:gd name="T29" fmla="*/ 2147483647 h 738"/>
                      <a:gd name="T30" fmla="*/ 2147483647 w 906"/>
                      <a:gd name="T31" fmla="*/ 2147483647 h 738"/>
                      <a:gd name="T32" fmla="*/ 2147483647 w 906"/>
                      <a:gd name="T33" fmla="*/ 2147483647 h 738"/>
                      <a:gd name="T34" fmla="*/ 2147483647 w 906"/>
                      <a:gd name="T35" fmla="*/ 2147483647 h 738"/>
                      <a:gd name="T36" fmla="*/ 2147483647 w 906"/>
                      <a:gd name="T37" fmla="*/ 2147483647 h 738"/>
                      <a:gd name="T38" fmla="*/ 2147483647 w 906"/>
                      <a:gd name="T39" fmla="*/ 2147483647 h 738"/>
                      <a:gd name="T40" fmla="*/ 2147483647 w 906"/>
                      <a:gd name="T41" fmla="*/ 2147483647 h 738"/>
                      <a:gd name="T42" fmla="*/ 2147483647 w 906"/>
                      <a:gd name="T43" fmla="*/ 2147483647 h 738"/>
                      <a:gd name="T44" fmla="*/ 2147483647 w 906"/>
                      <a:gd name="T45" fmla="*/ 2147483647 h 738"/>
                      <a:gd name="T46" fmla="*/ 0 w 906"/>
                      <a:gd name="T47" fmla="*/ 2147483647 h 738"/>
                      <a:gd name="T48" fmla="*/ 2147483647 w 906"/>
                      <a:gd name="T49" fmla="*/ 2147483647 h 738"/>
                      <a:gd name="T50" fmla="*/ 2147483647 w 906"/>
                      <a:gd name="T51" fmla="*/ 2147483647 h 738"/>
                      <a:gd name="T52" fmla="*/ 2147483647 w 906"/>
                      <a:gd name="T53" fmla="*/ 2147483647 h 738"/>
                      <a:gd name="T54" fmla="*/ 2147483647 w 906"/>
                      <a:gd name="T55" fmla="*/ 2147483647 h 738"/>
                      <a:gd name="T56" fmla="*/ 2147483647 w 906"/>
                      <a:gd name="T57" fmla="*/ 2147483647 h 738"/>
                      <a:gd name="T58" fmla="*/ 2147483647 w 906"/>
                      <a:gd name="T59" fmla="*/ 2147483647 h 738"/>
                      <a:gd name="T60" fmla="*/ 2147483647 w 906"/>
                      <a:gd name="T61" fmla="*/ 2147483647 h 738"/>
                      <a:gd name="T62" fmla="*/ 2147483647 w 906"/>
                      <a:gd name="T63" fmla="*/ 2147483647 h 738"/>
                      <a:gd name="T64" fmla="*/ 2147483647 w 906"/>
                      <a:gd name="T65" fmla="*/ 2147483647 h 738"/>
                      <a:gd name="T66" fmla="*/ 2147483647 w 906"/>
                      <a:gd name="T67" fmla="*/ 2147483647 h 738"/>
                      <a:gd name="T68" fmla="*/ 2147483647 w 906"/>
                      <a:gd name="T69" fmla="*/ 2147483647 h 738"/>
                      <a:gd name="T70" fmla="*/ 2147483647 w 906"/>
                      <a:gd name="T71" fmla="*/ 2147483647 h 738"/>
                      <a:gd name="T72" fmla="*/ 2147483647 w 906"/>
                      <a:gd name="T73" fmla="*/ 2147483647 h 738"/>
                      <a:gd name="T74" fmla="*/ 2147483647 w 906"/>
                      <a:gd name="T75" fmla="*/ 2147483647 h 738"/>
                      <a:gd name="T76" fmla="*/ 2147483647 w 906"/>
                      <a:gd name="T77" fmla="*/ 2147483647 h 738"/>
                      <a:gd name="T78" fmla="*/ 2147483647 w 906"/>
                      <a:gd name="T79" fmla="*/ 2147483647 h 738"/>
                      <a:gd name="T80" fmla="*/ 2147483647 w 906"/>
                      <a:gd name="T81" fmla="*/ 2147483647 h 738"/>
                      <a:gd name="T82" fmla="*/ 2147483647 w 906"/>
                      <a:gd name="T83" fmla="*/ 2147483647 h 738"/>
                      <a:gd name="T84" fmla="*/ 2147483647 w 906"/>
                      <a:gd name="T85" fmla="*/ 2147483647 h 738"/>
                      <a:gd name="T86" fmla="*/ 2147483647 w 906"/>
                      <a:gd name="T87" fmla="*/ 2147483647 h 738"/>
                      <a:gd name="T88" fmla="*/ 2147483647 w 906"/>
                      <a:gd name="T89" fmla="*/ 2147483647 h 738"/>
                      <a:gd name="T90" fmla="*/ 2147483647 w 906"/>
                      <a:gd name="T91" fmla="*/ 2147483647 h 738"/>
                      <a:gd name="T92" fmla="*/ 2147483647 w 906"/>
                      <a:gd name="T93" fmla="*/ 2147483647 h 738"/>
                      <a:gd name="T94" fmla="*/ 2147483647 w 906"/>
                      <a:gd name="T95" fmla="*/ 2147483647 h 738"/>
                      <a:gd name="T96" fmla="*/ 2147483647 w 906"/>
                      <a:gd name="T97" fmla="*/ 2147483647 h 738"/>
                      <a:gd name="T98" fmla="*/ 2147483647 w 906"/>
                      <a:gd name="T99" fmla="*/ 2147483647 h 738"/>
                      <a:gd name="T100" fmla="*/ 2147483647 w 906"/>
                      <a:gd name="T101" fmla="*/ 2147483647 h 738"/>
                      <a:gd name="T102" fmla="*/ 2147483647 w 906"/>
                      <a:gd name="T103" fmla="*/ 2147483647 h 738"/>
                      <a:gd name="T104" fmla="*/ 2147483647 w 906"/>
                      <a:gd name="T105" fmla="*/ 2147483647 h 738"/>
                      <a:gd name="T106" fmla="*/ 2147483647 w 906"/>
                      <a:gd name="T107" fmla="*/ 2147483647 h 738"/>
                      <a:gd name="T108" fmla="*/ 2147483647 w 906"/>
                      <a:gd name="T109" fmla="*/ 2147483647 h 73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06"/>
                      <a:gd name="T166" fmla="*/ 0 h 738"/>
                      <a:gd name="T167" fmla="*/ 906 w 906"/>
                      <a:gd name="T168" fmla="*/ 738 h 73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06" h="738">
                        <a:moveTo>
                          <a:pt x="894" y="108"/>
                        </a:moveTo>
                        <a:lnTo>
                          <a:pt x="894" y="96"/>
                        </a:lnTo>
                        <a:lnTo>
                          <a:pt x="906" y="96"/>
                        </a:lnTo>
                        <a:lnTo>
                          <a:pt x="900" y="90"/>
                        </a:lnTo>
                        <a:lnTo>
                          <a:pt x="876" y="90"/>
                        </a:lnTo>
                        <a:lnTo>
                          <a:pt x="840" y="102"/>
                        </a:lnTo>
                        <a:lnTo>
                          <a:pt x="840" y="84"/>
                        </a:lnTo>
                        <a:lnTo>
                          <a:pt x="816" y="84"/>
                        </a:lnTo>
                        <a:lnTo>
                          <a:pt x="792" y="96"/>
                        </a:lnTo>
                        <a:lnTo>
                          <a:pt x="786" y="102"/>
                        </a:lnTo>
                        <a:lnTo>
                          <a:pt x="780" y="114"/>
                        </a:lnTo>
                        <a:lnTo>
                          <a:pt x="774" y="120"/>
                        </a:lnTo>
                        <a:lnTo>
                          <a:pt x="756" y="120"/>
                        </a:lnTo>
                        <a:lnTo>
                          <a:pt x="750" y="126"/>
                        </a:lnTo>
                        <a:lnTo>
                          <a:pt x="744" y="138"/>
                        </a:lnTo>
                        <a:lnTo>
                          <a:pt x="732" y="144"/>
                        </a:lnTo>
                        <a:lnTo>
                          <a:pt x="726" y="150"/>
                        </a:lnTo>
                        <a:lnTo>
                          <a:pt x="720" y="150"/>
                        </a:lnTo>
                        <a:lnTo>
                          <a:pt x="690" y="120"/>
                        </a:lnTo>
                        <a:lnTo>
                          <a:pt x="690" y="114"/>
                        </a:lnTo>
                        <a:lnTo>
                          <a:pt x="678" y="48"/>
                        </a:lnTo>
                        <a:lnTo>
                          <a:pt x="660" y="48"/>
                        </a:lnTo>
                        <a:lnTo>
                          <a:pt x="660" y="18"/>
                        </a:lnTo>
                        <a:lnTo>
                          <a:pt x="642" y="0"/>
                        </a:lnTo>
                        <a:lnTo>
                          <a:pt x="624" y="0"/>
                        </a:lnTo>
                        <a:lnTo>
                          <a:pt x="618" y="6"/>
                        </a:lnTo>
                        <a:lnTo>
                          <a:pt x="618" y="30"/>
                        </a:lnTo>
                        <a:lnTo>
                          <a:pt x="612" y="36"/>
                        </a:lnTo>
                        <a:lnTo>
                          <a:pt x="606" y="36"/>
                        </a:lnTo>
                        <a:lnTo>
                          <a:pt x="594" y="48"/>
                        </a:lnTo>
                        <a:lnTo>
                          <a:pt x="594" y="54"/>
                        </a:lnTo>
                        <a:lnTo>
                          <a:pt x="600" y="60"/>
                        </a:lnTo>
                        <a:lnTo>
                          <a:pt x="606" y="60"/>
                        </a:lnTo>
                        <a:lnTo>
                          <a:pt x="600" y="84"/>
                        </a:lnTo>
                        <a:lnTo>
                          <a:pt x="588" y="72"/>
                        </a:lnTo>
                        <a:lnTo>
                          <a:pt x="570" y="72"/>
                        </a:lnTo>
                        <a:lnTo>
                          <a:pt x="558" y="78"/>
                        </a:lnTo>
                        <a:lnTo>
                          <a:pt x="546" y="90"/>
                        </a:lnTo>
                        <a:lnTo>
                          <a:pt x="546" y="120"/>
                        </a:lnTo>
                        <a:lnTo>
                          <a:pt x="540" y="120"/>
                        </a:lnTo>
                        <a:lnTo>
                          <a:pt x="534" y="114"/>
                        </a:lnTo>
                        <a:lnTo>
                          <a:pt x="528" y="102"/>
                        </a:lnTo>
                        <a:lnTo>
                          <a:pt x="522" y="96"/>
                        </a:lnTo>
                        <a:lnTo>
                          <a:pt x="510" y="96"/>
                        </a:lnTo>
                        <a:lnTo>
                          <a:pt x="504" y="102"/>
                        </a:lnTo>
                        <a:lnTo>
                          <a:pt x="492" y="108"/>
                        </a:lnTo>
                        <a:lnTo>
                          <a:pt x="474" y="126"/>
                        </a:lnTo>
                        <a:lnTo>
                          <a:pt x="468" y="126"/>
                        </a:lnTo>
                        <a:lnTo>
                          <a:pt x="456" y="114"/>
                        </a:lnTo>
                        <a:lnTo>
                          <a:pt x="444" y="108"/>
                        </a:lnTo>
                        <a:lnTo>
                          <a:pt x="438" y="102"/>
                        </a:lnTo>
                        <a:lnTo>
                          <a:pt x="426" y="102"/>
                        </a:lnTo>
                        <a:lnTo>
                          <a:pt x="414" y="108"/>
                        </a:lnTo>
                        <a:lnTo>
                          <a:pt x="396" y="84"/>
                        </a:lnTo>
                        <a:lnTo>
                          <a:pt x="384" y="96"/>
                        </a:lnTo>
                        <a:lnTo>
                          <a:pt x="342" y="96"/>
                        </a:lnTo>
                        <a:lnTo>
                          <a:pt x="330" y="90"/>
                        </a:lnTo>
                        <a:lnTo>
                          <a:pt x="324" y="84"/>
                        </a:lnTo>
                        <a:lnTo>
                          <a:pt x="312" y="78"/>
                        </a:lnTo>
                        <a:lnTo>
                          <a:pt x="300" y="78"/>
                        </a:lnTo>
                        <a:lnTo>
                          <a:pt x="300" y="102"/>
                        </a:lnTo>
                        <a:lnTo>
                          <a:pt x="264" y="102"/>
                        </a:lnTo>
                        <a:lnTo>
                          <a:pt x="252" y="108"/>
                        </a:lnTo>
                        <a:lnTo>
                          <a:pt x="246" y="120"/>
                        </a:lnTo>
                        <a:lnTo>
                          <a:pt x="246" y="180"/>
                        </a:lnTo>
                        <a:lnTo>
                          <a:pt x="234" y="180"/>
                        </a:lnTo>
                        <a:lnTo>
                          <a:pt x="222" y="186"/>
                        </a:lnTo>
                        <a:lnTo>
                          <a:pt x="216" y="198"/>
                        </a:lnTo>
                        <a:lnTo>
                          <a:pt x="180" y="216"/>
                        </a:lnTo>
                        <a:lnTo>
                          <a:pt x="168" y="216"/>
                        </a:lnTo>
                        <a:lnTo>
                          <a:pt x="168" y="228"/>
                        </a:lnTo>
                        <a:lnTo>
                          <a:pt x="156" y="252"/>
                        </a:lnTo>
                        <a:lnTo>
                          <a:pt x="150" y="258"/>
                        </a:lnTo>
                        <a:lnTo>
                          <a:pt x="138" y="264"/>
                        </a:lnTo>
                        <a:lnTo>
                          <a:pt x="114" y="264"/>
                        </a:lnTo>
                        <a:lnTo>
                          <a:pt x="90" y="240"/>
                        </a:lnTo>
                        <a:lnTo>
                          <a:pt x="84" y="240"/>
                        </a:lnTo>
                        <a:lnTo>
                          <a:pt x="78" y="246"/>
                        </a:lnTo>
                        <a:lnTo>
                          <a:pt x="66" y="246"/>
                        </a:lnTo>
                        <a:lnTo>
                          <a:pt x="60" y="240"/>
                        </a:lnTo>
                        <a:lnTo>
                          <a:pt x="48" y="240"/>
                        </a:lnTo>
                        <a:lnTo>
                          <a:pt x="42" y="234"/>
                        </a:lnTo>
                        <a:lnTo>
                          <a:pt x="36" y="240"/>
                        </a:lnTo>
                        <a:lnTo>
                          <a:pt x="30" y="252"/>
                        </a:lnTo>
                        <a:lnTo>
                          <a:pt x="30" y="258"/>
                        </a:lnTo>
                        <a:lnTo>
                          <a:pt x="36" y="270"/>
                        </a:lnTo>
                        <a:lnTo>
                          <a:pt x="36" y="294"/>
                        </a:lnTo>
                        <a:lnTo>
                          <a:pt x="42" y="300"/>
                        </a:lnTo>
                        <a:lnTo>
                          <a:pt x="42" y="306"/>
                        </a:lnTo>
                        <a:lnTo>
                          <a:pt x="18" y="312"/>
                        </a:lnTo>
                        <a:lnTo>
                          <a:pt x="30" y="330"/>
                        </a:lnTo>
                        <a:lnTo>
                          <a:pt x="24" y="330"/>
                        </a:lnTo>
                        <a:lnTo>
                          <a:pt x="18" y="336"/>
                        </a:lnTo>
                        <a:lnTo>
                          <a:pt x="6" y="342"/>
                        </a:lnTo>
                        <a:lnTo>
                          <a:pt x="0" y="348"/>
                        </a:lnTo>
                        <a:lnTo>
                          <a:pt x="0" y="354"/>
                        </a:lnTo>
                        <a:lnTo>
                          <a:pt x="12" y="366"/>
                        </a:lnTo>
                        <a:lnTo>
                          <a:pt x="12" y="396"/>
                        </a:lnTo>
                        <a:lnTo>
                          <a:pt x="36" y="396"/>
                        </a:lnTo>
                        <a:lnTo>
                          <a:pt x="42" y="402"/>
                        </a:lnTo>
                        <a:lnTo>
                          <a:pt x="42" y="408"/>
                        </a:lnTo>
                        <a:lnTo>
                          <a:pt x="24" y="426"/>
                        </a:lnTo>
                        <a:lnTo>
                          <a:pt x="18" y="438"/>
                        </a:lnTo>
                        <a:lnTo>
                          <a:pt x="30" y="462"/>
                        </a:lnTo>
                        <a:lnTo>
                          <a:pt x="42" y="480"/>
                        </a:lnTo>
                        <a:lnTo>
                          <a:pt x="54" y="504"/>
                        </a:lnTo>
                        <a:lnTo>
                          <a:pt x="60" y="510"/>
                        </a:lnTo>
                        <a:lnTo>
                          <a:pt x="60" y="564"/>
                        </a:lnTo>
                        <a:lnTo>
                          <a:pt x="66" y="570"/>
                        </a:lnTo>
                        <a:lnTo>
                          <a:pt x="72" y="570"/>
                        </a:lnTo>
                        <a:lnTo>
                          <a:pt x="84" y="576"/>
                        </a:lnTo>
                        <a:lnTo>
                          <a:pt x="120" y="576"/>
                        </a:lnTo>
                        <a:lnTo>
                          <a:pt x="126" y="582"/>
                        </a:lnTo>
                        <a:lnTo>
                          <a:pt x="138" y="606"/>
                        </a:lnTo>
                        <a:lnTo>
                          <a:pt x="114" y="654"/>
                        </a:lnTo>
                        <a:lnTo>
                          <a:pt x="108" y="660"/>
                        </a:lnTo>
                        <a:lnTo>
                          <a:pt x="102" y="672"/>
                        </a:lnTo>
                        <a:lnTo>
                          <a:pt x="84" y="690"/>
                        </a:lnTo>
                        <a:lnTo>
                          <a:pt x="84" y="702"/>
                        </a:lnTo>
                        <a:lnTo>
                          <a:pt x="120" y="702"/>
                        </a:lnTo>
                        <a:lnTo>
                          <a:pt x="132" y="708"/>
                        </a:lnTo>
                        <a:lnTo>
                          <a:pt x="150" y="720"/>
                        </a:lnTo>
                        <a:lnTo>
                          <a:pt x="168" y="726"/>
                        </a:lnTo>
                        <a:lnTo>
                          <a:pt x="192" y="738"/>
                        </a:lnTo>
                        <a:lnTo>
                          <a:pt x="210" y="738"/>
                        </a:lnTo>
                        <a:lnTo>
                          <a:pt x="228" y="732"/>
                        </a:lnTo>
                        <a:lnTo>
                          <a:pt x="234" y="732"/>
                        </a:lnTo>
                        <a:lnTo>
                          <a:pt x="240" y="726"/>
                        </a:lnTo>
                        <a:lnTo>
                          <a:pt x="294" y="726"/>
                        </a:lnTo>
                        <a:lnTo>
                          <a:pt x="294" y="732"/>
                        </a:lnTo>
                        <a:lnTo>
                          <a:pt x="318" y="732"/>
                        </a:lnTo>
                        <a:lnTo>
                          <a:pt x="324" y="726"/>
                        </a:lnTo>
                        <a:lnTo>
                          <a:pt x="348" y="726"/>
                        </a:lnTo>
                        <a:lnTo>
                          <a:pt x="366" y="720"/>
                        </a:lnTo>
                        <a:lnTo>
                          <a:pt x="396" y="720"/>
                        </a:lnTo>
                        <a:lnTo>
                          <a:pt x="444" y="696"/>
                        </a:lnTo>
                        <a:lnTo>
                          <a:pt x="450" y="696"/>
                        </a:lnTo>
                        <a:lnTo>
                          <a:pt x="456" y="690"/>
                        </a:lnTo>
                        <a:lnTo>
                          <a:pt x="456" y="660"/>
                        </a:lnTo>
                        <a:lnTo>
                          <a:pt x="450" y="654"/>
                        </a:lnTo>
                        <a:lnTo>
                          <a:pt x="450" y="636"/>
                        </a:lnTo>
                        <a:lnTo>
                          <a:pt x="444" y="624"/>
                        </a:lnTo>
                        <a:lnTo>
                          <a:pt x="444" y="606"/>
                        </a:lnTo>
                        <a:lnTo>
                          <a:pt x="450" y="594"/>
                        </a:lnTo>
                        <a:lnTo>
                          <a:pt x="462" y="588"/>
                        </a:lnTo>
                        <a:lnTo>
                          <a:pt x="468" y="576"/>
                        </a:lnTo>
                        <a:lnTo>
                          <a:pt x="486" y="576"/>
                        </a:lnTo>
                        <a:lnTo>
                          <a:pt x="486" y="588"/>
                        </a:lnTo>
                        <a:lnTo>
                          <a:pt x="528" y="588"/>
                        </a:lnTo>
                        <a:lnTo>
                          <a:pt x="534" y="582"/>
                        </a:lnTo>
                        <a:lnTo>
                          <a:pt x="534" y="576"/>
                        </a:lnTo>
                        <a:lnTo>
                          <a:pt x="528" y="570"/>
                        </a:lnTo>
                        <a:lnTo>
                          <a:pt x="522" y="570"/>
                        </a:lnTo>
                        <a:lnTo>
                          <a:pt x="522" y="564"/>
                        </a:lnTo>
                        <a:lnTo>
                          <a:pt x="528" y="558"/>
                        </a:lnTo>
                        <a:lnTo>
                          <a:pt x="534" y="558"/>
                        </a:lnTo>
                        <a:lnTo>
                          <a:pt x="546" y="552"/>
                        </a:lnTo>
                        <a:lnTo>
                          <a:pt x="552" y="546"/>
                        </a:lnTo>
                        <a:lnTo>
                          <a:pt x="564" y="540"/>
                        </a:lnTo>
                        <a:lnTo>
                          <a:pt x="594" y="540"/>
                        </a:lnTo>
                        <a:lnTo>
                          <a:pt x="594" y="552"/>
                        </a:lnTo>
                        <a:lnTo>
                          <a:pt x="600" y="558"/>
                        </a:lnTo>
                        <a:lnTo>
                          <a:pt x="612" y="558"/>
                        </a:lnTo>
                        <a:lnTo>
                          <a:pt x="624" y="552"/>
                        </a:lnTo>
                        <a:lnTo>
                          <a:pt x="630" y="540"/>
                        </a:lnTo>
                        <a:lnTo>
                          <a:pt x="636" y="534"/>
                        </a:lnTo>
                        <a:lnTo>
                          <a:pt x="636" y="528"/>
                        </a:lnTo>
                        <a:lnTo>
                          <a:pt x="630" y="522"/>
                        </a:lnTo>
                        <a:lnTo>
                          <a:pt x="630" y="510"/>
                        </a:lnTo>
                        <a:lnTo>
                          <a:pt x="624" y="498"/>
                        </a:lnTo>
                        <a:lnTo>
                          <a:pt x="624" y="480"/>
                        </a:lnTo>
                        <a:lnTo>
                          <a:pt x="630" y="474"/>
                        </a:lnTo>
                        <a:lnTo>
                          <a:pt x="636" y="474"/>
                        </a:lnTo>
                        <a:lnTo>
                          <a:pt x="636" y="438"/>
                        </a:lnTo>
                        <a:lnTo>
                          <a:pt x="642" y="432"/>
                        </a:lnTo>
                        <a:lnTo>
                          <a:pt x="660" y="432"/>
                        </a:lnTo>
                        <a:lnTo>
                          <a:pt x="690" y="414"/>
                        </a:lnTo>
                        <a:lnTo>
                          <a:pt x="684" y="414"/>
                        </a:lnTo>
                        <a:lnTo>
                          <a:pt x="672" y="408"/>
                        </a:lnTo>
                        <a:lnTo>
                          <a:pt x="672" y="402"/>
                        </a:lnTo>
                        <a:lnTo>
                          <a:pt x="666" y="396"/>
                        </a:lnTo>
                        <a:lnTo>
                          <a:pt x="666" y="390"/>
                        </a:lnTo>
                        <a:lnTo>
                          <a:pt x="654" y="384"/>
                        </a:lnTo>
                        <a:lnTo>
                          <a:pt x="642" y="372"/>
                        </a:lnTo>
                        <a:lnTo>
                          <a:pt x="642" y="360"/>
                        </a:lnTo>
                        <a:lnTo>
                          <a:pt x="660" y="360"/>
                        </a:lnTo>
                        <a:lnTo>
                          <a:pt x="666" y="366"/>
                        </a:lnTo>
                        <a:lnTo>
                          <a:pt x="684" y="372"/>
                        </a:lnTo>
                        <a:lnTo>
                          <a:pt x="690" y="372"/>
                        </a:lnTo>
                        <a:lnTo>
                          <a:pt x="696" y="366"/>
                        </a:lnTo>
                        <a:lnTo>
                          <a:pt x="714" y="366"/>
                        </a:lnTo>
                        <a:lnTo>
                          <a:pt x="714" y="336"/>
                        </a:lnTo>
                        <a:lnTo>
                          <a:pt x="708" y="330"/>
                        </a:lnTo>
                        <a:lnTo>
                          <a:pt x="708" y="318"/>
                        </a:lnTo>
                        <a:lnTo>
                          <a:pt x="714" y="306"/>
                        </a:lnTo>
                        <a:lnTo>
                          <a:pt x="738" y="282"/>
                        </a:lnTo>
                        <a:lnTo>
                          <a:pt x="738" y="276"/>
                        </a:lnTo>
                        <a:lnTo>
                          <a:pt x="732" y="264"/>
                        </a:lnTo>
                        <a:lnTo>
                          <a:pt x="726" y="258"/>
                        </a:lnTo>
                        <a:lnTo>
                          <a:pt x="726" y="228"/>
                        </a:lnTo>
                        <a:lnTo>
                          <a:pt x="696" y="198"/>
                        </a:lnTo>
                        <a:lnTo>
                          <a:pt x="696" y="192"/>
                        </a:lnTo>
                        <a:lnTo>
                          <a:pt x="702" y="186"/>
                        </a:lnTo>
                        <a:lnTo>
                          <a:pt x="708" y="174"/>
                        </a:lnTo>
                        <a:lnTo>
                          <a:pt x="714" y="168"/>
                        </a:lnTo>
                        <a:lnTo>
                          <a:pt x="738" y="156"/>
                        </a:lnTo>
                        <a:lnTo>
                          <a:pt x="744" y="150"/>
                        </a:lnTo>
                        <a:lnTo>
                          <a:pt x="768" y="138"/>
                        </a:lnTo>
                        <a:lnTo>
                          <a:pt x="774" y="138"/>
                        </a:lnTo>
                        <a:lnTo>
                          <a:pt x="780" y="132"/>
                        </a:lnTo>
                        <a:lnTo>
                          <a:pt x="822" y="132"/>
                        </a:lnTo>
                        <a:lnTo>
                          <a:pt x="828" y="126"/>
                        </a:lnTo>
                        <a:lnTo>
                          <a:pt x="852" y="126"/>
                        </a:lnTo>
                        <a:lnTo>
                          <a:pt x="864" y="132"/>
                        </a:lnTo>
                        <a:lnTo>
                          <a:pt x="876" y="132"/>
                        </a:lnTo>
                        <a:lnTo>
                          <a:pt x="882" y="126"/>
                        </a:lnTo>
                        <a:lnTo>
                          <a:pt x="894" y="126"/>
                        </a:lnTo>
                        <a:lnTo>
                          <a:pt x="900" y="120"/>
                        </a:lnTo>
                        <a:lnTo>
                          <a:pt x="894" y="114"/>
                        </a:lnTo>
                        <a:lnTo>
                          <a:pt x="894" y="10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grpSp>
            <p:sp>
              <p:nvSpPr>
                <p:cNvPr id="271" name="Brazil"/>
                <p:cNvSpPr>
                  <a:spLocks noEditPoints="1"/>
                </p:cNvSpPr>
                <p:nvPr/>
              </p:nvSpPr>
              <p:spPr bwMode="gray">
                <a:xfrm>
                  <a:off x="2038074" y="3868661"/>
                  <a:ext cx="1107609" cy="1277938"/>
                </a:xfrm>
                <a:custGeom>
                  <a:avLst/>
                  <a:gdLst>
                    <a:gd name="T0" fmla="*/ 2147483647 w 2784"/>
                    <a:gd name="T1" fmla="*/ 2147483647 h 3150"/>
                    <a:gd name="T2" fmla="*/ 2147483647 w 2784"/>
                    <a:gd name="T3" fmla="*/ 2147483647 h 3150"/>
                    <a:gd name="T4" fmla="*/ 2147483647 w 2784"/>
                    <a:gd name="T5" fmla="*/ 2147483647 h 3150"/>
                    <a:gd name="T6" fmla="*/ 2147483647 w 2784"/>
                    <a:gd name="T7" fmla="*/ 2147483647 h 3150"/>
                    <a:gd name="T8" fmla="*/ 2147483647 w 2784"/>
                    <a:gd name="T9" fmla="*/ 2147483647 h 3150"/>
                    <a:gd name="T10" fmla="*/ 2147483647 w 2784"/>
                    <a:gd name="T11" fmla="*/ 2147483647 h 3150"/>
                    <a:gd name="T12" fmla="*/ 2147483647 w 2784"/>
                    <a:gd name="T13" fmla="*/ 2147483647 h 3150"/>
                    <a:gd name="T14" fmla="*/ 2147483647 w 2784"/>
                    <a:gd name="T15" fmla="*/ 2147483647 h 3150"/>
                    <a:gd name="T16" fmla="*/ 2147483647 w 2784"/>
                    <a:gd name="T17" fmla="*/ 2147483647 h 3150"/>
                    <a:gd name="T18" fmla="*/ 2147483647 w 2784"/>
                    <a:gd name="T19" fmla="*/ 2147483647 h 3150"/>
                    <a:gd name="T20" fmla="*/ 2147483647 w 2784"/>
                    <a:gd name="T21" fmla="*/ 2147483647 h 3150"/>
                    <a:gd name="T22" fmla="*/ 2147483647 w 2784"/>
                    <a:gd name="T23" fmla="*/ 2147483647 h 3150"/>
                    <a:gd name="T24" fmla="*/ 2147483647 w 2784"/>
                    <a:gd name="T25" fmla="*/ 2147483647 h 3150"/>
                    <a:gd name="T26" fmla="*/ 2147483647 w 2784"/>
                    <a:gd name="T27" fmla="*/ 2147483647 h 3150"/>
                    <a:gd name="T28" fmla="*/ 2147483647 w 2784"/>
                    <a:gd name="T29" fmla="*/ 2147483647 h 3150"/>
                    <a:gd name="T30" fmla="*/ 2147483647 w 2784"/>
                    <a:gd name="T31" fmla="*/ 2147483647 h 3150"/>
                    <a:gd name="T32" fmla="*/ 2147483647 w 2784"/>
                    <a:gd name="T33" fmla="*/ 2147483647 h 3150"/>
                    <a:gd name="T34" fmla="*/ 2147483647 w 2784"/>
                    <a:gd name="T35" fmla="*/ 2147483647 h 3150"/>
                    <a:gd name="T36" fmla="*/ 2147483647 w 2784"/>
                    <a:gd name="T37" fmla="*/ 2147483647 h 3150"/>
                    <a:gd name="T38" fmla="*/ 2147483647 w 2784"/>
                    <a:gd name="T39" fmla="*/ 2147483647 h 3150"/>
                    <a:gd name="T40" fmla="*/ 2147483647 w 2784"/>
                    <a:gd name="T41" fmla="*/ 2147483647 h 3150"/>
                    <a:gd name="T42" fmla="*/ 2147483647 w 2784"/>
                    <a:gd name="T43" fmla="*/ 2147483647 h 3150"/>
                    <a:gd name="T44" fmla="*/ 2147483647 w 2784"/>
                    <a:gd name="T45" fmla="*/ 2147483647 h 3150"/>
                    <a:gd name="T46" fmla="*/ 2147483647 w 2784"/>
                    <a:gd name="T47" fmla="*/ 2147483647 h 3150"/>
                    <a:gd name="T48" fmla="*/ 2147483647 w 2784"/>
                    <a:gd name="T49" fmla="*/ 2147483647 h 3150"/>
                    <a:gd name="T50" fmla="*/ 2147483647 w 2784"/>
                    <a:gd name="T51" fmla="*/ 2147483647 h 3150"/>
                    <a:gd name="T52" fmla="*/ 2147483647 w 2784"/>
                    <a:gd name="T53" fmla="*/ 2147483647 h 3150"/>
                    <a:gd name="T54" fmla="*/ 2147483647 w 2784"/>
                    <a:gd name="T55" fmla="*/ 2147483647 h 3150"/>
                    <a:gd name="T56" fmla="*/ 2147483647 w 2784"/>
                    <a:gd name="T57" fmla="*/ 2147483647 h 3150"/>
                    <a:gd name="T58" fmla="*/ 2147483647 w 2784"/>
                    <a:gd name="T59" fmla="*/ 2147483647 h 3150"/>
                    <a:gd name="T60" fmla="*/ 2147483647 w 2784"/>
                    <a:gd name="T61" fmla="*/ 2147483647 h 3150"/>
                    <a:gd name="T62" fmla="*/ 2147483647 w 2784"/>
                    <a:gd name="T63" fmla="*/ 2147483647 h 3150"/>
                    <a:gd name="T64" fmla="*/ 2147483647 w 2784"/>
                    <a:gd name="T65" fmla="*/ 2147483647 h 3150"/>
                    <a:gd name="T66" fmla="*/ 2147483647 w 2784"/>
                    <a:gd name="T67" fmla="*/ 2147483647 h 3150"/>
                    <a:gd name="T68" fmla="*/ 2147483647 w 2784"/>
                    <a:gd name="T69" fmla="*/ 2147483647 h 3150"/>
                    <a:gd name="T70" fmla="*/ 2147483647 w 2784"/>
                    <a:gd name="T71" fmla="*/ 2147483647 h 3150"/>
                    <a:gd name="T72" fmla="*/ 2147483647 w 2784"/>
                    <a:gd name="T73" fmla="*/ 2147483647 h 3150"/>
                    <a:gd name="T74" fmla="*/ 2147483647 w 2784"/>
                    <a:gd name="T75" fmla="*/ 2147483647 h 3150"/>
                    <a:gd name="T76" fmla="*/ 2147483647 w 2784"/>
                    <a:gd name="T77" fmla="*/ 2147483647 h 3150"/>
                    <a:gd name="T78" fmla="*/ 2147483647 w 2784"/>
                    <a:gd name="T79" fmla="*/ 2147483647 h 3150"/>
                    <a:gd name="T80" fmla="*/ 2147483647 w 2784"/>
                    <a:gd name="T81" fmla="*/ 2147483647 h 3150"/>
                    <a:gd name="T82" fmla="*/ 2147483647 w 2784"/>
                    <a:gd name="T83" fmla="*/ 2147483647 h 3150"/>
                    <a:gd name="T84" fmla="*/ 2147483647 w 2784"/>
                    <a:gd name="T85" fmla="*/ 2147483647 h 3150"/>
                    <a:gd name="T86" fmla="*/ 2147483647 w 2784"/>
                    <a:gd name="T87" fmla="*/ 2147483647 h 3150"/>
                    <a:gd name="T88" fmla="*/ 2147483647 w 2784"/>
                    <a:gd name="T89" fmla="*/ 2147483647 h 3150"/>
                    <a:gd name="T90" fmla="*/ 2147483647 w 2784"/>
                    <a:gd name="T91" fmla="*/ 2147483647 h 3150"/>
                    <a:gd name="T92" fmla="*/ 2147483647 w 2784"/>
                    <a:gd name="T93" fmla="*/ 2147483647 h 3150"/>
                    <a:gd name="T94" fmla="*/ 2147483647 w 2784"/>
                    <a:gd name="T95" fmla="*/ 2147483647 h 3150"/>
                    <a:gd name="T96" fmla="*/ 2147483647 w 2784"/>
                    <a:gd name="T97" fmla="*/ 2147483647 h 3150"/>
                    <a:gd name="T98" fmla="*/ 2147483647 w 2784"/>
                    <a:gd name="T99" fmla="*/ 2147483647 h 3150"/>
                    <a:gd name="T100" fmla="*/ 2147483647 w 2784"/>
                    <a:gd name="T101" fmla="*/ 2147483647 h 3150"/>
                    <a:gd name="T102" fmla="*/ 2147483647 w 2784"/>
                    <a:gd name="T103" fmla="*/ 2147483647 h 3150"/>
                    <a:gd name="T104" fmla="*/ 2147483647 w 2784"/>
                    <a:gd name="T105" fmla="*/ 2147483647 h 3150"/>
                    <a:gd name="T106" fmla="*/ 2147483647 w 2784"/>
                    <a:gd name="T107" fmla="*/ 2147483647 h 3150"/>
                    <a:gd name="T108" fmla="*/ 2147483647 w 2784"/>
                    <a:gd name="T109" fmla="*/ 2147483647 h 3150"/>
                    <a:gd name="T110" fmla="*/ 2147483647 w 2784"/>
                    <a:gd name="T111" fmla="*/ 2147483647 h 3150"/>
                    <a:gd name="T112" fmla="*/ 2147483647 w 2784"/>
                    <a:gd name="T113" fmla="*/ 2147483647 h 3150"/>
                    <a:gd name="T114" fmla="*/ 2147483647 w 2784"/>
                    <a:gd name="T115" fmla="*/ 2147483647 h 3150"/>
                    <a:gd name="T116" fmla="*/ 2147483647 w 2784"/>
                    <a:gd name="T117" fmla="*/ 2147483647 h 3150"/>
                    <a:gd name="T118" fmla="*/ 2147483647 w 2784"/>
                    <a:gd name="T119" fmla="*/ 2147483647 h 31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784"/>
                    <a:gd name="T181" fmla="*/ 0 h 3150"/>
                    <a:gd name="T182" fmla="*/ 2784 w 2784"/>
                    <a:gd name="T183" fmla="*/ 3150 h 3150"/>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784" h="3150">
                      <a:moveTo>
                        <a:pt x="1716" y="450"/>
                      </a:moveTo>
                      <a:lnTo>
                        <a:pt x="1710" y="450"/>
                      </a:lnTo>
                      <a:lnTo>
                        <a:pt x="1698" y="444"/>
                      </a:lnTo>
                      <a:lnTo>
                        <a:pt x="1680" y="444"/>
                      </a:lnTo>
                      <a:lnTo>
                        <a:pt x="1662" y="438"/>
                      </a:lnTo>
                      <a:lnTo>
                        <a:pt x="1650" y="438"/>
                      </a:lnTo>
                      <a:lnTo>
                        <a:pt x="1644" y="444"/>
                      </a:lnTo>
                      <a:lnTo>
                        <a:pt x="1644" y="450"/>
                      </a:lnTo>
                      <a:lnTo>
                        <a:pt x="1650" y="462"/>
                      </a:lnTo>
                      <a:lnTo>
                        <a:pt x="1650" y="468"/>
                      </a:lnTo>
                      <a:lnTo>
                        <a:pt x="1656" y="480"/>
                      </a:lnTo>
                      <a:lnTo>
                        <a:pt x="1638" y="480"/>
                      </a:lnTo>
                      <a:lnTo>
                        <a:pt x="1638" y="504"/>
                      </a:lnTo>
                      <a:lnTo>
                        <a:pt x="1656" y="516"/>
                      </a:lnTo>
                      <a:lnTo>
                        <a:pt x="1644" y="528"/>
                      </a:lnTo>
                      <a:lnTo>
                        <a:pt x="1644" y="540"/>
                      </a:lnTo>
                      <a:lnTo>
                        <a:pt x="1656" y="564"/>
                      </a:lnTo>
                      <a:lnTo>
                        <a:pt x="1668" y="570"/>
                      </a:lnTo>
                      <a:lnTo>
                        <a:pt x="1674" y="576"/>
                      </a:lnTo>
                      <a:lnTo>
                        <a:pt x="1686" y="576"/>
                      </a:lnTo>
                      <a:lnTo>
                        <a:pt x="1698" y="570"/>
                      </a:lnTo>
                      <a:lnTo>
                        <a:pt x="1710" y="570"/>
                      </a:lnTo>
                      <a:lnTo>
                        <a:pt x="1716" y="564"/>
                      </a:lnTo>
                      <a:lnTo>
                        <a:pt x="1716" y="558"/>
                      </a:lnTo>
                      <a:lnTo>
                        <a:pt x="1728" y="558"/>
                      </a:lnTo>
                      <a:lnTo>
                        <a:pt x="1740" y="552"/>
                      </a:lnTo>
                      <a:lnTo>
                        <a:pt x="1758" y="552"/>
                      </a:lnTo>
                      <a:lnTo>
                        <a:pt x="1770" y="546"/>
                      </a:lnTo>
                      <a:lnTo>
                        <a:pt x="1776" y="534"/>
                      </a:lnTo>
                      <a:lnTo>
                        <a:pt x="1788" y="492"/>
                      </a:lnTo>
                      <a:lnTo>
                        <a:pt x="1794" y="480"/>
                      </a:lnTo>
                      <a:lnTo>
                        <a:pt x="1794" y="474"/>
                      </a:lnTo>
                      <a:lnTo>
                        <a:pt x="1800" y="462"/>
                      </a:lnTo>
                      <a:lnTo>
                        <a:pt x="1800" y="444"/>
                      </a:lnTo>
                      <a:lnTo>
                        <a:pt x="1794" y="438"/>
                      </a:lnTo>
                      <a:lnTo>
                        <a:pt x="1752" y="438"/>
                      </a:lnTo>
                      <a:lnTo>
                        <a:pt x="1740" y="444"/>
                      </a:lnTo>
                      <a:lnTo>
                        <a:pt x="1734" y="444"/>
                      </a:lnTo>
                      <a:lnTo>
                        <a:pt x="1722" y="450"/>
                      </a:lnTo>
                      <a:lnTo>
                        <a:pt x="1716" y="450"/>
                      </a:lnTo>
                      <a:close/>
                      <a:moveTo>
                        <a:pt x="1716" y="438"/>
                      </a:moveTo>
                      <a:lnTo>
                        <a:pt x="1740" y="432"/>
                      </a:lnTo>
                      <a:lnTo>
                        <a:pt x="1722" y="414"/>
                      </a:lnTo>
                      <a:lnTo>
                        <a:pt x="1698" y="438"/>
                      </a:lnTo>
                      <a:lnTo>
                        <a:pt x="1716" y="438"/>
                      </a:lnTo>
                      <a:close/>
                      <a:moveTo>
                        <a:pt x="1686" y="408"/>
                      </a:moveTo>
                      <a:lnTo>
                        <a:pt x="1662" y="408"/>
                      </a:lnTo>
                      <a:lnTo>
                        <a:pt x="1662" y="426"/>
                      </a:lnTo>
                      <a:lnTo>
                        <a:pt x="1698" y="426"/>
                      </a:lnTo>
                      <a:lnTo>
                        <a:pt x="1716" y="402"/>
                      </a:lnTo>
                      <a:lnTo>
                        <a:pt x="1698" y="384"/>
                      </a:lnTo>
                      <a:lnTo>
                        <a:pt x="1686" y="408"/>
                      </a:lnTo>
                      <a:close/>
                      <a:moveTo>
                        <a:pt x="1572" y="492"/>
                      </a:moveTo>
                      <a:lnTo>
                        <a:pt x="1572" y="510"/>
                      </a:lnTo>
                      <a:lnTo>
                        <a:pt x="1554" y="546"/>
                      </a:lnTo>
                      <a:lnTo>
                        <a:pt x="1584" y="528"/>
                      </a:lnTo>
                      <a:lnTo>
                        <a:pt x="1590" y="516"/>
                      </a:lnTo>
                      <a:lnTo>
                        <a:pt x="1596" y="510"/>
                      </a:lnTo>
                      <a:lnTo>
                        <a:pt x="1608" y="486"/>
                      </a:lnTo>
                      <a:lnTo>
                        <a:pt x="1608" y="480"/>
                      </a:lnTo>
                      <a:lnTo>
                        <a:pt x="1602" y="474"/>
                      </a:lnTo>
                      <a:lnTo>
                        <a:pt x="1596" y="474"/>
                      </a:lnTo>
                      <a:lnTo>
                        <a:pt x="1584" y="480"/>
                      </a:lnTo>
                      <a:lnTo>
                        <a:pt x="1572" y="492"/>
                      </a:lnTo>
                      <a:close/>
                      <a:moveTo>
                        <a:pt x="1632" y="426"/>
                      </a:moveTo>
                      <a:lnTo>
                        <a:pt x="1608" y="450"/>
                      </a:lnTo>
                      <a:lnTo>
                        <a:pt x="1626" y="456"/>
                      </a:lnTo>
                      <a:lnTo>
                        <a:pt x="1644" y="432"/>
                      </a:lnTo>
                      <a:lnTo>
                        <a:pt x="1632" y="426"/>
                      </a:lnTo>
                      <a:close/>
                      <a:moveTo>
                        <a:pt x="2778" y="1002"/>
                      </a:moveTo>
                      <a:lnTo>
                        <a:pt x="2778" y="984"/>
                      </a:lnTo>
                      <a:lnTo>
                        <a:pt x="2772" y="972"/>
                      </a:lnTo>
                      <a:lnTo>
                        <a:pt x="2760" y="954"/>
                      </a:lnTo>
                      <a:lnTo>
                        <a:pt x="2754" y="936"/>
                      </a:lnTo>
                      <a:lnTo>
                        <a:pt x="2754" y="870"/>
                      </a:lnTo>
                      <a:lnTo>
                        <a:pt x="2724" y="840"/>
                      </a:lnTo>
                      <a:lnTo>
                        <a:pt x="2694" y="834"/>
                      </a:lnTo>
                      <a:lnTo>
                        <a:pt x="2646" y="840"/>
                      </a:lnTo>
                      <a:lnTo>
                        <a:pt x="2628" y="822"/>
                      </a:lnTo>
                      <a:lnTo>
                        <a:pt x="2610" y="822"/>
                      </a:lnTo>
                      <a:lnTo>
                        <a:pt x="2592" y="798"/>
                      </a:lnTo>
                      <a:lnTo>
                        <a:pt x="2568" y="798"/>
                      </a:lnTo>
                      <a:lnTo>
                        <a:pt x="2538" y="768"/>
                      </a:lnTo>
                      <a:lnTo>
                        <a:pt x="2526" y="750"/>
                      </a:lnTo>
                      <a:lnTo>
                        <a:pt x="2490" y="714"/>
                      </a:lnTo>
                      <a:lnTo>
                        <a:pt x="2418" y="666"/>
                      </a:lnTo>
                      <a:lnTo>
                        <a:pt x="2394" y="660"/>
                      </a:lnTo>
                      <a:lnTo>
                        <a:pt x="2316" y="660"/>
                      </a:lnTo>
                      <a:lnTo>
                        <a:pt x="2316" y="672"/>
                      </a:lnTo>
                      <a:lnTo>
                        <a:pt x="2310" y="672"/>
                      </a:lnTo>
                      <a:lnTo>
                        <a:pt x="2298" y="660"/>
                      </a:lnTo>
                      <a:lnTo>
                        <a:pt x="2286" y="654"/>
                      </a:lnTo>
                      <a:lnTo>
                        <a:pt x="2274" y="654"/>
                      </a:lnTo>
                      <a:lnTo>
                        <a:pt x="2262" y="648"/>
                      </a:lnTo>
                      <a:lnTo>
                        <a:pt x="2232" y="648"/>
                      </a:lnTo>
                      <a:lnTo>
                        <a:pt x="2226" y="642"/>
                      </a:lnTo>
                      <a:lnTo>
                        <a:pt x="2214" y="636"/>
                      </a:lnTo>
                      <a:lnTo>
                        <a:pt x="2196" y="630"/>
                      </a:lnTo>
                      <a:lnTo>
                        <a:pt x="2184" y="624"/>
                      </a:lnTo>
                      <a:lnTo>
                        <a:pt x="2166" y="618"/>
                      </a:lnTo>
                      <a:lnTo>
                        <a:pt x="2154" y="618"/>
                      </a:lnTo>
                      <a:lnTo>
                        <a:pt x="2142" y="624"/>
                      </a:lnTo>
                      <a:lnTo>
                        <a:pt x="2112" y="654"/>
                      </a:lnTo>
                      <a:lnTo>
                        <a:pt x="2106" y="666"/>
                      </a:lnTo>
                      <a:lnTo>
                        <a:pt x="2088" y="642"/>
                      </a:lnTo>
                      <a:lnTo>
                        <a:pt x="2088" y="678"/>
                      </a:lnTo>
                      <a:lnTo>
                        <a:pt x="2058" y="702"/>
                      </a:lnTo>
                      <a:lnTo>
                        <a:pt x="2076" y="636"/>
                      </a:lnTo>
                      <a:lnTo>
                        <a:pt x="2082" y="636"/>
                      </a:lnTo>
                      <a:lnTo>
                        <a:pt x="2094" y="624"/>
                      </a:lnTo>
                      <a:lnTo>
                        <a:pt x="2094" y="606"/>
                      </a:lnTo>
                      <a:lnTo>
                        <a:pt x="2088" y="600"/>
                      </a:lnTo>
                      <a:lnTo>
                        <a:pt x="2082" y="600"/>
                      </a:lnTo>
                      <a:lnTo>
                        <a:pt x="2064" y="618"/>
                      </a:lnTo>
                      <a:lnTo>
                        <a:pt x="2076" y="582"/>
                      </a:lnTo>
                      <a:lnTo>
                        <a:pt x="2070" y="582"/>
                      </a:lnTo>
                      <a:lnTo>
                        <a:pt x="2064" y="576"/>
                      </a:lnTo>
                      <a:lnTo>
                        <a:pt x="2064" y="570"/>
                      </a:lnTo>
                      <a:lnTo>
                        <a:pt x="2040" y="546"/>
                      </a:lnTo>
                      <a:lnTo>
                        <a:pt x="2034" y="546"/>
                      </a:lnTo>
                      <a:lnTo>
                        <a:pt x="2022" y="564"/>
                      </a:lnTo>
                      <a:lnTo>
                        <a:pt x="2016" y="552"/>
                      </a:lnTo>
                      <a:lnTo>
                        <a:pt x="2004" y="546"/>
                      </a:lnTo>
                      <a:lnTo>
                        <a:pt x="1998" y="534"/>
                      </a:lnTo>
                      <a:lnTo>
                        <a:pt x="1986" y="528"/>
                      </a:lnTo>
                      <a:lnTo>
                        <a:pt x="1980" y="522"/>
                      </a:lnTo>
                      <a:lnTo>
                        <a:pt x="1968" y="516"/>
                      </a:lnTo>
                      <a:lnTo>
                        <a:pt x="1944" y="516"/>
                      </a:lnTo>
                      <a:lnTo>
                        <a:pt x="1932" y="510"/>
                      </a:lnTo>
                      <a:lnTo>
                        <a:pt x="1926" y="510"/>
                      </a:lnTo>
                      <a:lnTo>
                        <a:pt x="1914" y="498"/>
                      </a:lnTo>
                      <a:lnTo>
                        <a:pt x="1902" y="492"/>
                      </a:lnTo>
                      <a:lnTo>
                        <a:pt x="1896" y="480"/>
                      </a:lnTo>
                      <a:lnTo>
                        <a:pt x="1884" y="474"/>
                      </a:lnTo>
                      <a:lnTo>
                        <a:pt x="1878" y="486"/>
                      </a:lnTo>
                      <a:lnTo>
                        <a:pt x="1824" y="486"/>
                      </a:lnTo>
                      <a:lnTo>
                        <a:pt x="1812" y="498"/>
                      </a:lnTo>
                      <a:lnTo>
                        <a:pt x="1806" y="510"/>
                      </a:lnTo>
                      <a:lnTo>
                        <a:pt x="1806" y="522"/>
                      </a:lnTo>
                      <a:lnTo>
                        <a:pt x="1800" y="528"/>
                      </a:lnTo>
                      <a:lnTo>
                        <a:pt x="1800" y="534"/>
                      </a:lnTo>
                      <a:lnTo>
                        <a:pt x="1812" y="552"/>
                      </a:lnTo>
                      <a:lnTo>
                        <a:pt x="1776" y="552"/>
                      </a:lnTo>
                      <a:lnTo>
                        <a:pt x="1770" y="564"/>
                      </a:lnTo>
                      <a:lnTo>
                        <a:pt x="1758" y="576"/>
                      </a:lnTo>
                      <a:lnTo>
                        <a:pt x="1752" y="588"/>
                      </a:lnTo>
                      <a:lnTo>
                        <a:pt x="1752" y="594"/>
                      </a:lnTo>
                      <a:lnTo>
                        <a:pt x="1746" y="600"/>
                      </a:lnTo>
                      <a:lnTo>
                        <a:pt x="1746" y="612"/>
                      </a:lnTo>
                      <a:lnTo>
                        <a:pt x="1740" y="624"/>
                      </a:lnTo>
                      <a:lnTo>
                        <a:pt x="1728" y="636"/>
                      </a:lnTo>
                      <a:lnTo>
                        <a:pt x="1722" y="636"/>
                      </a:lnTo>
                      <a:lnTo>
                        <a:pt x="1728" y="630"/>
                      </a:lnTo>
                      <a:lnTo>
                        <a:pt x="1728" y="618"/>
                      </a:lnTo>
                      <a:lnTo>
                        <a:pt x="1734" y="606"/>
                      </a:lnTo>
                      <a:lnTo>
                        <a:pt x="1734" y="600"/>
                      </a:lnTo>
                      <a:lnTo>
                        <a:pt x="1740" y="588"/>
                      </a:lnTo>
                      <a:lnTo>
                        <a:pt x="1740" y="582"/>
                      </a:lnTo>
                      <a:lnTo>
                        <a:pt x="1734" y="576"/>
                      </a:lnTo>
                      <a:lnTo>
                        <a:pt x="1728" y="576"/>
                      </a:lnTo>
                      <a:lnTo>
                        <a:pt x="1722" y="582"/>
                      </a:lnTo>
                      <a:lnTo>
                        <a:pt x="1716" y="582"/>
                      </a:lnTo>
                      <a:lnTo>
                        <a:pt x="1704" y="594"/>
                      </a:lnTo>
                      <a:lnTo>
                        <a:pt x="1692" y="588"/>
                      </a:lnTo>
                      <a:lnTo>
                        <a:pt x="1656" y="588"/>
                      </a:lnTo>
                      <a:lnTo>
                        <a:pt x="1644" y="582"/>
                      </a:lnTo>
                      <a:lnTo>
                        <a:pt x="1632" y="570"/>
                      </a:lnTo>
                      <a:lnTo>
                        <a:pt x="1632" y="522"/>
                      </a:lnTo>
                      <a:lnTo>
                        <a:pt x="1626" y="516"/>
                      </a:lnTo>
                      <a:lnTo>
                        <a:pt x="1626" y="504"/>
                      </a:lnTo>
                      <a:lnTo>
                        <a:pt x="1620" y="504"/>
                      </a:lnTo>
                      <a:lnTo>
                        <a:pt x="1614" y="510"/>
                      </a:lnTo>
                      <a:lnTo>
                        <a:pt x="1602" y="516"/>
                      </a:lnTo>
                      <a:lnTo>
                        <a:pt x="1596" y="522"/>
                      </a:lnTo>
                      <a:lnTo>
                        <a:pt x="1590" y="534"/>
                      </a:lnTo>
                      <a:lnTo>
                        <a:pt x="1584" y="540"/>
                      </a:lnTo>
                      <a:lnTo>
                        <a:pt x="1560" y="552"/>
                      </a:lnTo>
                      <a:lnTo>
                        <a:pt x="1554" y="558"/>
                      </a:lnTo>
                      <a:lnTo>
                        <a:pt x="1512" y="558"/>
                      </a:lnTo>
                      <a:lnTo>
                        <a:pt x="1500" y="552"/>
                      </a:lnTo>
                      <a:lnTo>
                        <a:pt x="1542" y="540"/>
                      </a:lnTo>
                      <a:lnTo>
                        <a:pt x="1548" y="528"/>
                      </a:lnTo>
                      <a:lnTo>
                        <a:pt x="1566" y="510"/>
                      </a:lnTo>
                      <a:lnTo>
                        <a:pt x="1566" y="492"/>
                      </a:lnTo>
                      <a:lnTo>
                        <a:pt x="1572" y="486"/>
                      </a:lnTo>
                      <a:lnTo>
                        <a:pt x="1590" y="450"/>
                      </a:lnTo>
                      <a:lnTo>
                        <a:pt x="1626" y="414"/>
                      </a:lnTo>
                      <a:lnTo>
                        <a:pt x="1638" y="408"/>
                      </a:lnTo>
                      <a:lnTo>
                        <a:pt x="1656" y="390"/>
                      </a:lnTo>
                      <a:lnTo>
                        <a:pt x="1656" y="378"/>
                      </a:lnTo>
                      <a:lnTo>
                        <a:pt x="1662" y="366"/>
                      </a:lnTo>
                      <a:lnTo>
                        <a:pt x="1674" y="354"/>
                      </a:lnTo>
                      <a:lnTo>
                        <a:pt x="1686" y="348"/>
                      </a:lnTo>
                      <a:lnTo>
                        <a:pt x="1692" y="342"/>
                      </a:lnTo>
                      <a:lnTo>
                        <a:pt x="1704" y="336"/>
                      </a:lnTo>
                      <a:lnTo>
                        <a:pt x="1680" y="330"/>
                      </a:lnTo>
                      <a:lnTo>
                        <a:pt x="1698" y="312"/>
                      </a:lnTo>
                      <a:lnTo>
                        <a:pt x="1698" y="294"/>
                      </a:lnTo>
                      <a:lnTo>
                        <a:pt x="1692" y="288"/>
                      </a:lnTo>
                      <a:lnTo>
                        <a:pt x="1680" y="282"/>
                      </a:lnTo>
                      <a:lnTo>
                        <a:pt x="1662" y="282"/>
                      </a:lnTo>
                      <a:lnTo>
                        <a:pt x="1650" y="276"/>
                      </a:lnTo>
                      <a:lnTo>
                        <a:pt x="1644" y="270"/>
                      </a:lnTo>
                      <a:lnTo>
                        <a:pt x="1638" y="252"/>
                      </a:lnTo>
                      <a:lnTo>
                        <a:pt x="1632" y="216"/>
                      </a:lnTo>
                      <a:lnTo>
                        <a:pt x="1626" y="168"/>
                      </a:lnTo>
                      <a:lnTo>
                        <a:pt x="1620" y="138"/>
                      </a:lnTo>
                      <a:lnTo>
                        <a:pt x="1614" y="114"/>
                      </a:lnTo>
                      <a:lnTo>
                        <a:pt x="1608" y="96"/>
                      </a:lnTo>
                      <a:lnTo>
                        <a:pt x="1602" y="84"/>
                      </a:lnTo>
                      <a:lnTo>
                        <a:pt x="1590" y="78"/>
                      </a:lnTo>
                      <a:lnTo>
                        <a:pt x="1584" y="78"/>
                      </a:lnTo>
                      <a:lnTo>
                        <a:pt x="1584" y="90"/>
                      </a:lnTo>
                      <a:lnTo>
                        <a:pt x="1590" y="96"/>
                      </a:lnTo>
                      <a:lnTo>
                        <a:pt x="1590" y="108"/>
                      </a:lnTo>
                      <a:lnTo>
                        <a:pt x="1572" y="108"/>
                      </a:lnTo>
                      <a:lnTo>
                        <a:pt x="1572" y="102"/>
                      </a:lnTo>
                      <a:lnTo>
                        <a:pt x="1566" y="108"/>
                      </a:lnTo>
                      <a:lnTo>
                        <a:pt x="1560" y="120"/>
                      </a:lnTo>
                      <a:lnTo>
                        <a:pt x="1560" y="126"/>
                      </a:lnTo>
                      <a:lnTo>
                        <a:pt x="1554" y="132"/>
                      </a:lnTo>
                      <a:lnTo>
                        <a:pt x="1548" y="144"/>
                      </a:lnTo>
                      <a:lnTo>
                        <a:pt x="1536" y="156"/>
                      </a:lnTo>
                      <a:lnTo>
                        <a:pt x="1518" y="192"/>
                      </a:lnTo>
                      <a:lnTo>
                        <a:pt x="1518" y="210"/>
                      </a:lnTo>
                      <a:lnTo>
                        <a:pt x="1494" y="246"/>
                      </a:lnTo>
                      <a:lnTo>
                        <a:pt x="1488" y="246"/>
                      </a:lnTo>
                      <a:lnTo>
                        <a:pt x="1482" y="252"/>
                      </a:lnTo>
                      <a:lnTo>
                        <a:pt x="1464" y="252"/>
                      </a:lnTo>
                      <a:lnTo>
                        <a:pt x="1452" y="240"/>
                      </a:lnTo>
                      <a:lnTo>
                        <a:pt x="1446" y="246"/>
                      </a:lnTo>
                      <a:lnTo>
                        <a:pt x="1434" y="246"/>
                      </a:lnTo>
                      <a:lnTo>
                        <a:pt x="1428" y="240"/>
                      </a:lnTo>
                      <a:lnTo>
                        <a:pt x="1416" y="240"/>
                      </a:lnTo>
                      <a:lnTo>
                        <a:pt x="1410" y="246"/>
                      </a:lnTo>
                      <a:lnTo>
                        <a:pt x="1410" y="252"/>
                      </a:lnTo>
                      <a:lnTo>
                        <a:pt x="1404" y="258"/>
                      </a:lnTo>
                      <a:lnTo>
                        <a:pt x="1380" y="258"/>
                      </a:lnTo>
                      <a:lnTo>
                        <a:pt x="1368" y="246"/>
                      </a:lnTo>
                      <a:lnTo>
                        <a:pt x="1368" y="240"/>
                      </a:lnTo>
                      <a:lnTo>
                        <a:pt x="1350" y="234"/>
                      </a:lnTo>
                      <a:lnTo>
                        <a:pt x="1344" y="228"/>
                      </a:lnTo>
                      <a:lnTo>
                        <a:pt x="1338" y="216"/>
                      </a:lnTo>
                      <a:lnTo>
                        <a:pt x="1332" y="216"/>
                      </a:lnTo>
                      <a:lnTo>
                        <a:pt x="1320" y="222"/>
                      </a:lnTo>
                      <a:lnTo>
                        <a:pt x="1314" y="228"/>
                      </a:lnTo>
                      <a:lnTo>
                        <a:pt x="1302" y="234"/>
                      </a:lnTo>
                      <a:lnTo>
                        <a:pt x="1278" y="234"/>
                      </a:lnTo>
                      <a:lnTo>
                        <a:pt x="1278" y="222"/>
                      </a:lnTo>
                      <a:lnTo>
                        <a:pt x="1272" y="222"/>
                      </a:lnTo>
                      <a:lnTo>
                        <a:pt x="1260" y="228"/>
                      </a:lnTo>
                      <a:lnTo>
                        <a:pt x="1260" y="252"/>
                      </a:lnTo>
                      <a:lnTo>
                        <a:pt x="1272" y="264"/>
                      </a:lnTo>
                      <a:lnTo>
                        <a:pt x="1272" y="270"/>
                      </a:lnTo>
                      <a:lnTo>
                        <a:pt x="1278" y="276"/>
                      </a:lnTo>
                      <a:lnTo>
                        <a:pt x="1272" y="282"/>
                      </a:lnTo>
                      <a:lnTo>
                        <a:pt x="1254" y="282"/>
                      </a:lnTo>
                      <a:lnTo>
                        <a:pt x="1230" y="270"/>
                      </a:lnTo>
                      <a:lnTo>
                        <a:pt x="1224" y="270"/>
                      </a:lnTo>
                      <a:lnTo>
                        <a:pt x="1212" y="264"/>
                      </a:lnTo>
                      <a:lnTo>
                        <a:pt x="1212" y="270"/>
                      </a:lnTo>
                      <a:lnTo>
                        <a:pt x="1206" y="276"/>
                      </a:lnTo>
                      <a:lnTo>
                        <a:pt x="1200" y="276"/>
                      </a:lnTo>
                      <a:lnTo>
                        <a:pt x="1188" y="264"/>
                      </a:lnTo>
                      <a:lnTo>
                        <a:pt x="1176" y="264"/>
                      </a:lnTo>
                      <a:lnTo>
                        <a:pt x="1158" y="282"/>
                      </a:lnTo>
                      <a:lnTo>
                        <a:pt x="1158" y="288"/>
                      </a:lnTo>
                      <a:lnTo>
                        <a:pt x="1128" y="288"/>
                      </a:lnTo>
                      <a:lnTo>
                        <a:pt x="1122" y="300"/>
                      </a:lnTo>
                      <a:lnTo>
                        <a:pt x="1104" y="300"/>
                      </a:lnTo>
                      <a:lnTo>
                        <a:pt x="1092" y="312"/>
                      </a:lnTo>
                      <a:lnTo>
                        <a:pt x="1092" y="324"/>
                      </a:lnTo>
                      <a:lnTo>
                        <a:pt x="1086" y="330"/>
                      </a:lnTo>
                      <a:lnTo>
                        <a:pt x="1050" y="330"/>
                      </a:lnTo>
                      <a:lnTo>
                        <a:pt x="1044" y="318"/>
                      </a:lnTo>
                      <a:lnTo>
                        <a:pt x="1032" y="318"/>
                      </a:lnTo>
                      <a:lnTo>
                        <a:pt x="1002" y="282"/>
                      </a:lnTo>
                      <a:lnTo>
                        <a:pt x="1002" y="252"/>
                      </a:lnTo>
                      <a:lnTo>
                        <a:pt x="978" y="228"/>
                      </a:lnTo>
                      <a:lnTo>
                        <a:pt x="972" y="216"/>
                      </a:lnTo>
                      <a:lnTo>
                        <a:pt x="972" y="210"/>
                      </a:lnTo>
                      <a:lnTo>
                        <a:pt x="978" y="198"/>
                      </a:lnTo>
                      <a:lnTo>
                        <a:pt x="978" y="192"/>
                      </a:lnTo>
                      <a:lnTo>
                        <a:pt x="984" y="180"/>
                      </a:lnTo>
                      <a:lnTo>
                        <a:pt x="996" y="138"/>
                      </a:lnTo>
                      <a:lnTo>
                        <a:pt x="1008" y="126"/>
                      </a:lnTo>
                      <a:lnTo>
                        <a:pt x="1014" y="114"/>
                      </a:lnTo>
                      <a:lnTo>
                        <a:pt x="1014" y="102"/>
                      </a:lnTo>
                      <a:lnTo>
                        <a:pt x="1008" y="102"/>
                      </a:lnTo>
                      <a:lnTo>
                        <a:pt x="1002" y="96"/>
                      </a:lnTo>
                      <a:lnTo>
                        <a:pt x="1002" y="66"/>
                      </a:lnTo>
                      <a:lnTo>
                        <a:pt x="996" y="66"/>
                      </a:lnTo>
                      <a:lnTo>
                        <a:pt x="984" y="72"/>
                      </a:lnTo>
                      <a:lnTo>
                        <a:pt x="978" y="72"/>
                      </a:lnTo>
                      <a:lnTo>
                        <a:pt x="972" y="66"/>
                      </a:lnTo>
                      <a:lnTo>
                        <a:pt x="972" y="60"/>
                      </a:lnTo>
                      <a:lnTo>
                        <a:pt x="978" y="54"/>
                      </a:lnTo>
                      <a:lnTo>
                        <a:pt x="984" y="42"/>
                      </a:lnTo>
                      <a:lnTo>
                        <a:pt x="984" y="24"/>
                      </a:lnTo>
                      <a:lnTo>
                        <a:pt x="978" y="12"/>
                      </a:lnTo>
                      <a:lnTo>
                        <a:pt x="966" y="0"/>
                      </a:lnTo>
                      <a:lnTo>
                        <a:pt x="960" y="12"/>
                      </a:lnTo>
                      <a:lnTo>
                        <a:pt x="936" y="6"/>
                      </a:lnTo>
                      <a:lnTo>
                        <a:pt x="936" y="42"/>
                      </a:lnTo>
                      <a:lnTo>
                        <a:pt x="930" y="48"/>
                      </a:lnTo>
                      <a:lnTo>
                        <a:pt x="918" y="48"/>
                      </a:lnTo>
                      <a:lnTo>
                        <a:pt x="918" y="60"/>
                      </a:lnTo>
                      <a:lnTo>
                        <a:pt x="894" y="60"/>
                      </a:lnTo>
                      <a:lnTo>
                        <a:pt x="882" y="66"/>
                      </a:lnTo>
                      <a:lnTo>
                        <a:pt x="858" y="90"/>
                      </a:lnTo>
                      <a:lnTo>
                        <a:pt x="846" y="96"/>
                      </a:lnTo>
                      <a:lnTo>
                        <a:pt x="828" y="96"/>
                      </a:lnTo>
                      <a:lnTo>
                        <a:pt x="822" y="90"/>
                      </a:lnTo>
                      <a:lnTo>
                        <a:pt x="804" y="90"/>
                      </a:lnTo>
                      <a:lnTo>
                        <a:pt x="798" y="96"/>
                      </a:lnTo>
                      <a:lnTo>
                        <a:pt x="798" y="108"/>
                      </a:lnTo>
                      <a:lnTo>
                        <a:pt x="792" y="120"/>
                      </a:lnTo>
                      <a:lnTo>
                        <a:pt x="792" y="138"/>
                      </a:lnTo>
                      <a:lnTo>
                        <a:pt x="786" y="144"/>
                      </a:lnTo>
                      <a:lnTo>
                        <a:pt x="774" y="138"/>
                      </a:lnTo>
                      <a:lnTo>
                        <a:pt x="762" y="126"/>
                      </a:lnTo>
                      <a:lnTo>
                        <a:pt x="756" y="114"/>
                      </a:lnTo>
                      <a:lnTo>
                        <a:pt x="750" y="108"/>
                      </a:lnTo>
                      <a:lnTo>
                        <a:pt x="738" y="108"/>
                      </a:lnTo>
                      <a:lnTo>
                        <a:pt x="732" y="114"/>
                      </a:lnTo>
                      <a:lnTo>
                        <a:pt x="720" y="108"/>
                      </a:lnTo>
                      <a:lnTo>
                        <a:pt x="708" y="114"/>
                      </a:lnTo>
                      <a:lnTo>
                        <a:pt x="696" y="114"/>
                      </a:lnTo>
                      <a:lnTo>
                        <a:pt x="696" y="96"/>
                      </a:lnTo>
                      <a:lnTo>
                        <a:pt x="690" y="90"/>
                      </a:lnTo>
                      <a:lnTo>
                        <a:pt x="648" y="90"/>
                      </a:lnTo>
                      <a:lnTo>
                        <a:pt x="648" y="84"/>
                      </a:lnTo>
                      <a:lnTo>
                        <a:pt x="642" y="78"/>
                      </a:lnTo>
                      <a:lnTo>
                        <a:pt x="642" y="108"/>
                      </a:lnTo>
                      <a:lnTo>
                        <a:pt x="660" y="126"/>
                      </a:lnTo>
                      <a:lnTo>
                        <a:pt x="672" y="132"/>
                      </a:lnTo>
                      <a:lnTo>
                        <a:pt x="678" y="138"/>
                      </a:lnTo>
                      <a:lnTo>
                        <a:pt x="678" y="168"/>
                      </a:lnTo>
                      <a:lnTo>
                        <a:pt x="672" y="174"/>
                      </a:lnTo>
                      <a:lnTo>
                        <a:pt x="684" y="186"/>
                      </a:lnTo>
                      <a:lnTo>
                        <a:pt x="690" y="198"/>
                      </a:lnTo>
                      <a:lnTo>
                        <a:pt x="690" y="228"/>
                      </a:lnTo>
                      <a:lnTo>
                        <a:pt x="738" y="234"/>
                      </a:lnTo>
                      <a:lnTo>
                        <a:pt x="744" y="240"/>
                      </a:lnTo>
                      <a:lnTo>
                        <a:pt x="744" y="246"/>
                      </a:lnTo>
                      <a:lnTo>
                        <a:pt x="738" y="258"/>
                      </a:lnTo>
                      <a:lnTo>
                        <a:pt x="732" y="264"/>
                      </a:lnTo>
                      <a:lnTo>
                        <a:pt x="690" y="264"/>
                      </a:lnTo>
                      <a:lnTo>
                        <a:pt x="690" y="294"/>
                      </a:lnTo>
                      <a:lnTo>
                        <a:pt x="684" y="306"/>
                      </a:lnTo>
                      <a:lnTo>
                        <a:pt x="648" y="324"/>
                      </a:lnTo>
                      <a:lnTo>
                        <a:pt x="642" y="330"/>
                      </a:lnTo>
                      <a:lnTo>
                        <a:pt x="624" y="330"/>
                      </a:lnTo>
                      <a:lnTo>
                        <a:pt x="612" y="342"/>
                      </a:lnTo>
                      <a:lnTo>
                        <a:pt x="600" y="366"/>
                      </a:lnTo>
                      <a:lnTo>
                        <a:pt x="588" y="378"/>
                      </a:lnTo>
                      <a:lnTo>
                        <a:pt x="582" y="378"/>
                      </a:lnTo>
                      <a:lnTo>
                        <a:pt x="582" y="354"/>
                      </a:lnTo>
                      <a:lnTo>
                        <a:pt x="576" y="348"/>
                      </a:lnTo>
                      <a:lnTo>
                        <a:pt x="570" y="354"/>
                      </a:lnTo>
                      <a:lnTo>
                        <a:pt x="558" y="360"/>
                      </a:lnTo>
                      <a:lnTo>
                        <a:pt x="552" y="366"/>
                      </a:lnTo>
                      <a:lnTo>
                        <a:pt x="540" y="372"/>
                      </a:lnTo>
                      <a:lnTo>
                        <a:pt x="534" y="372"/>
                      </a:lnTo>
                      <a:lnTo>
                        <a:pt x="522" y="366"/>
                      </a:lnTo>
                      <a:lnTo>
                        <a:pt x="516" y="366"/>
                      </a:lnTo>
                      <a:lnTo>
                        <a:pt x="504" y="354"/>
                      </a:lnTo>
                      <a:lnTo>
                        <a:pt x="504" y="348"/>
                      </a:lnTo>
                      <a:lnTo>
                        <a:pt x="498" y="336"/>
                      </a:lnTo>
                      <a:lnTo>
                        <a:pt x="492" y="330"/>
                      </a:lnTo>
                      <a:lnTo>
                        <a:pt x="468" y="330"/>
                      </a:lnTo>
                      <a:lnTo>
                        <a:pt x="468" y="300"/>
                      </a:lnTo>
                      <a:lnTo>
                        <a:pt x="462" y="288"/>
                      </a:lnTo>
                      <a:lnTo>
                        <a:pt x="462" y="276"/>
                      </a:lnTo>
                      <a:lnTo>
                        <a:pt x="456" y="270"/>
                      </a:lnTo>
                      <a:lnTo>
                        <a:pt x="456" y="258"/>
                      </a:lnTo>
                      <a:lnTo>
                        <a:pt x="450" y="258"/>
                      </a:lnTo>
                      <a:lnTo>
                        <a:pt x="420" y="288"/>
                      </a:lnTo>
                      <a:lnTo>
                        <a:pt x="396" y="264"/>
                      </a:lnTo>
                      <a:lnTo>
                        <a:pt x="390" y="264"/>
                      </a:lnTo>
                      <a:lnTo>
                        <a:pt x="384" y="270"/>
                      </a:lnTo>
                      <a:lnTo>
                        <a:pt x="384" y="288"/>
                      </a:lnTo>
                      <a:lnTo>
                        <a:pt x="318" y="294"/>
                      </a:lnTo>
                      <a:lnTo>
                        <a:pt x="306" y="282"/>
                      </a:lnTo>
                      <a:lnTo>
                        <a:pt x="288" y="282"/>
                      </a:lnTo>
                      <a:lnTo>
                        <a:pt x="282" y="288"/>
                      </a:lnTo>
                      <a:lnTo>
                        <a:pt x="276" y="300"/>
                      </a:lnTo>
                      <a:lnTo>
                        <a:pt x="276" y="312"/>
                      </a:lnTo>
                      <a:lnTo>
                        <a:pt x="282" y="324"/>
                      </a:lnTo>
                      <a:lnTo>
                        <a:pt x="282" y="336"/>
                      </a:lnTo>
                      <a:lnTo>
                        <a:pt x="306" y="348"/>
                      </a:lnTo>
                      <a:lnTo>
                        <a:pt x="318" y="342"/>
                      </a:lnTo>
                      <a:lnTo>
                        <a:pt x="330" y="354"/>
                      </a:lnTo>
                      <a:lnTo>
                        <a:pt x="330" y="360"/>
                      </a:lnTo>
                      <a:lnTo>
                        <a:pt x="336" y="366"/>
                      </a:lnTo>
                      <a:lnTo>
                        <a:pt x="336" y="372"/>
                      </a:lnTo>
                      <a:lnTo>
                        <a:pt x="330" y="378"/>
                      </a:lnTo>
                      <a:lnTo>
                        <a:pt x="300" y="378"/>
                      </a:lnTo>
                      <a:lnTo>
                        <a:pt x="294" y="372"/>
                      </a:lnTo>
                      <a:lnTo>
                        <a:pt x="264" y="378"/>
                      </a:lnTo>
                      <a:lnTo>
                        <a:pt x="258" y="444"/>
                      </a:lnTo>
                      <a:lnTo>
                        <a:pt x="264" y="444"/>
                      </a:lnTo>
                      <a:lnTo>
                        <a:pt x="276" y="456"/>
                      </a:lnTo>
                      <a:lnTo>
                        <a:pt x="288" y="462"/>
                      </a:lnTo>
                      <a:lnTo>
                        <a:pt x="294" y="468"/>
                      </a:lnTo>
                      <a:lnTo>
                        <a:pt x="294" y="492"/>
                      </a:lnTo>
                      <a:lnTo>
                        <a:pt x="300" y="498"/>
                      </a:lnTo>
                      <a:lnTo>
                        <a:pt x="300" y="504"/>
                      </a:lnTo>
                      <a:lnTo>
                        <a:pt x="312" y="516"/>
                      </a:lnTo>
                      <a:lnTo>
                        <a:pt x="318" y="528"/>
                      </a:lnTo>
                      <a:lnTo>
                        <a:pt x="318" y="540"/>
                      </a:lnTo>
                      <a:lnTo>
                        <a:pt x="312" y="552"/>
                      </a:lnTo>
                      <a:lnTo>
                        <a:pt x="300" y="564"/>
                      </a:lnTo>
                      <a:lnTo>
                        <a:pt x="306" y="612"/>
                      </a:lnTo>
                      <a:lnTo>
                        <a:pt x="288" y="660"/>
                      </a:lnTo>
                      <a:lnTo>
                        <a:pt x="282" y="732"/>
                      </a:lnTo>
                      <a:lnTo>
                        <a:pt x="282" y="762"/>
                      </a:lnTo>
                      <a:lnTo>
                        <a:pt x="276" y="774"/>
                      </a:lnTo>
                      <a:lnTo>
                        <a:pt x="270" y="780"/>
                      </a:lnTo>
                      <a:lnTo>
                        <a:pt x="252" y="780"/>
                      </a:lnTo>
                      <a:lnTo>
                        <a:pt x="252" y="774"/>
                      </a:lnTo>
                      <a:lnTo>
                        <a:pt x="240" y="762"/>
                      </a:lnTo>
                      <a:lnTo>
                        <a:pt x="222" y="762"/>
                      </a:lnTo>
                      <a:lnTo>
                        <a:pt x="216" y="768"/>
                      </a:lnTo>
                      <a:lnTo>
                        <a:pt x="210" y="780"/>
                      </a:lnTo>
                      <a:lnTo>
                        <a:pt x="204" y="786"/>
                      </a:lnTo>
                      <a:lnTo>
                        <a:pt x="174" y="780"/>
                      </a:lnTo>
                      <a:lnTo>
                        <a:pt x="168" y="792"/>
                      </a:lnTo>
                      <a:lnTo>
                        <a:pt x="138" y="792"/>
                      </a:lnTo>
                      <a:lnTo>
                        <a:pt x="126" y="798"/>
                      </a:lnTo>
                      <a:lnTo>
                        <a:pt x="120" y="804"/>
                      </a:lnTo>
                      <a:lnTo>
                        <a:pt x="108" y="810"/>
                      </a:lnTo>
                      <a:lnTo>
                        <a:pt x="96" y="822"/>
                      </a:lnTo>
                      <a:lnTo>
                        <a:pt x="96" y="828"/>
                      </a:lnTo>
                      <a:lnTo>
                        <a:pt x="90" y="834"/>
                      </a:lnTo>
                      <a:lnTo>
                        <a:pt x="90" y="840"/>
                      </a:lnTo>
                      <a:lnTo>
                        <a:pt x="66" y="840"/>
                      </a:lnTo>
                      <a:lnTo>
                        <a:pt x="66" y="894"/>
                      </a:lnTo>
                      <a:lnTo>
                        <a:pt x="48" y="912"/>
                      </a:lnTo>
                      <a:lnTo>
                        <a:pt x="48" y="924"/>
                      </a:lnTo>
                      <a:lnTo>
                        <a:pt x="54" y="930"/>
                      </a:lnTo>
                      <a:lnTo>
                        <a:pt x="54" y="948"/>
                      </a:lnTo>
                      <a:lnTo>
                        <a:pt x="60" y="954"/>
                      </a:lnTo>
                      <a:lnTo>
                        <a:pt x="54" y="954"/>
                      </a:lnTo>
                      <a:lnTo>
                        <a:pt x="48" y="948"/>
                      </a:lnTo>
                      <a:lnTo>
                        <a:pt x="18" y="978"/>
                      </a:lnTo>
                      <a:lnTo>
                        <a:pt x="12" y="990"/>
                      </a:lnTo>
                      <a:lnTo>
                        <a:pt x="12" y="1014"/>
                      </a:lnTo>
                      <a:lnTo>
                        <a:pt x="18" y="1020"/>
                      </a:lnTo>
                      <a:lnTo>
                        <a:pt x="6" y="1026"/>
                      </a:lnTo>
                      <a:lnTo>
                        <a:pt x="0" y="1032"/>
                      </a:lnTo>
                      <a:lnTo>
                        <a:pt x="0" y="1044"/>
                      </a:lnTo>
                      <a:lnTo>
                        <a:pt x="6" y="1050"/>
                      </a:lnTo>
                      <a:lnTo>
                        <a:pt x="18" y="1056"/>
                      </a:lnTo>
                      <a:lnTo>
                        <a:pt x="24" y="1080"/>
                      </a:lnTo>
                      <a:lnTo>
                        <a:pt x="24" y="1086"/>
                      </a:lnTo>
                      <a:lnTo>
                        <a:pt x="30" y="1092"/>
                      </a:lnTo>
                      <a:lnTo>
                        <a:pt x="42" y="1116"/>
                      </a:lnTo>
                      <a:lnTo>
                        <a:pt x="54" y="1128"/>
                      </a:lnTo>
                      <a:lnTo>
                        <a:pt x="66" y="1134"/>
                      </a:lnTo>
                      <a:lnTo>
                        <a:pt x="90" y="1158"/>
                      </a:lnTo>
                      <a:lnTo>
                        <a:pt x="84" y="1164"/>
                      </a:lnTo>
                      <a:lnTo>
                        <a:pt x="78" y="1176"/>
                      </a:lnTo>
                      <a:lnTo>
                        <a:pt x="66" y="1182"/>
                      </a:lnTo>
                      <a:lnTo>
                        <a:pt x="60" y="1188"/>
                      </a:lnTo>
                      <a:lnTo>
                        <a:pt x="102" y="1188"/>
                      </a:lnTo>
                      <a:lnTo>
                        <a:pt x="114" y="1194"/>
                      </a:lnTo>
                      <a:lnTo>
                        <a:pt x="120" y="1194"/>
                      </a:lnTo>
                      <a:lnTo>
                        <a:pt x="126" y="1200"/>
                      </a:lnTo>
                      <a:lnTo>
                        <a:pt x="126" y="1212"/>
                      </a:lnTo>
                      <a:lnTo>
                        <a:pt x="132" y="1224"/>
                      </a:lnTo>
                      <a:lnTo>
                        <a:pt x="138" y="1230"/>
                      </a:lnTo>
                      <a:lnTo>
                        <a:pt x="138" y="1236"/>
                      </a:lnTo>
                      <a:lnTo>
                        <a:pt x="198" y="1230"/>
                      </a:lnTo>
                      <a:lnTo>
                        <a:pt x="252" y="1182"/>
                      </a:lnTo>
                      <a:lnTo>
                        <a:pt x="252" y="1194"/>
                      </a:lnTo>
                      <a:lnTo>
                        <a:pt x="258" y="1206"/>
                      </a:lnTo>
                      <a:lnTo>
                        <a:pt x="258" y="1224"/>
                      </a:lnTo>
                      <a:lnTo>
                        <a:pt x="252" y="1230"/>
                      </a:lnTo>
                      <a:lnTo>
                        <a:pt x="252" y="1242"/>
                      </a:lnTo>
                      <a:lnTo>
                        <a:pt x="246" y="1254"/>
                      </a:lnTo>
                      <a:lnTo>
                        <a:pt x="246" y="1266"/>
                      </a:lnTo>
                      <a:lnTo>
                        <a:pt x="252" y="1284"/>
                      </a:lnTo>
                      <a:lnTo>
                        <a:pt x="252" y="1314"/>
                      </a:lnTo>
                      <a:lnTo>
                        <a:pt x="264" y="1308"/>
                      </a:lnTo>
                      <a:lnTo>
                        <a:pt x="264" y="1314"/>
                      </a:lnTo>
                      <a:lnTo>
                        <a:pt x="270" y="1320"/>
                      </a:lnTo>
                      <a:lnTo>
                        <a:pt x="282" y="1320"/>
                      </a:lnTo>
                      <a:lnTo>
                        <a:pt x="282" y="1314"/>
                      </a:lnTo>
                      <a:lnTo>
                        <a:pt x="288" y="1314"/>
                      </a:lnTo>
                      <a:lnTo>
                        <a:pt x="294" y="1308"/>
                      </a:lnTo>
                      <a:lnTo>
                        <a:pt x="324" y="1308"/>
                      </a:lnTo>
                      <a:lnTo>
                        <a:pt x="336" y="1314"/>
                      </a:lnTo>
                      <a:lnTo>
                        <a:pt x="366" y="1314"/>
                      </a:lnTo>
                      <a:lnTo>
                        <a:pt x="372" y="1320"/>
                      </a:lnTo>
                      <a:lnTo>
                        <a:pt x="372" y="1326"/>
                      </a:lnTo>
                      <a:lnTo>
                        <a:pt x="390" y="1326"/>
                      </a:lnTo>
                      <a:lnTo>
                        <a:pt x="414" y="1314"/>
                      </a:lnTo>
                      <a:lnTo>
                        <a:pt x="420" y="1308"/>
                      </a:lnTo>
                      <a:lnTo>
                        <a:pt x="432" y="1290"/>
                      </a:lnTo>
                      <a:lnTo>
                        <a:pt x="468" y="1290"/>
                      </a:lnTo>
                      <a:lnTo>
                        <a:pt x="474" y="1260"/>
                      </a:lnTo>
                      <a:lnTo>
                        <a:pt x="510" y="1260"/>
                      </a:lnTo>
                      <a:lnTo>
                        <a:pt x="510" y="1254"/>
                      </a:lnTo>
                      <a:lnTo>
                        <a:pt x="516" y="1248"/>
                      </a:lnTo>
                      <a:lnTo>
                        <a:pt x="522" y="1236"/>
                      </a:lnTo>
                      <a:lnTo>
                        <a:pt x="528" y="1230"/>
                      </a:lnTo>
                      <a:lnTo>
                        <a:pt x="540" y="1224"/>
                      </a:lnTo>
                      <a:lnTo>
                        <a:pt x="576" y="1224"/>
                      </a:lnTo>
                      <a:lnTo>
                        <a:pt x="588" y="1212"/>
                      </a:lnTo>
                      <a:lnTo>
                        <a:pt x="600" y="1224"/>
                      </a:lnTo>
                      <a:lnTo>
                        <a:pt x="606" y="1224"/>
                      </a:lnTo>
                      <a:lnTo>
                        <a:pt x="606" y="1218"/>
                      </a:lnTo>
                      <a:lnTo>
                        <a:pt x="618" y="1212"/>
                      </a:lnTo>
                      <a:lnTo>
                        <a:pt x="630" y="1212"/>
                      </a:lnTo>
                      <a:lnTo>
                        <a:pt x="630" y="1242"/>
                      </a:lnTo>
                      <a:lnTo>
                        <a:pt x="624" y="1248"/>
                      </a:lnTo>
                      <a:lnTo>
                        <a:pt x="624" y="1254"/>
                      </a:lnTo>
                      <a:lnTo>
                        <a:pt x="618" y="1260"/>
                      </a:lnTo>
                      <a:lnTo>
                        <a:pt x="618" y="1290"/>
                      </a:lnTo>
                      <a:lnTo>
                        <a:pt x="624" y="1296"/>
                      </a:lnTo>
                      <a:lnTo>
                        <a:pt x="630" y="1308"/>
                      </a:lnTo>
                      <a:lnTo>
                        <a:pt x="630" y="1326"/>
                      </a:lnTo>
                      <a:lnTo>
                        <a:pt x="624" y="1332"/>
                      </a:lnTo>
                      <a:lnTo>
                        <a:pt x="624" y="1344"/>
                      </a:lnTo>
                      <a:lnTo>
                        <a:pt x="636" y="1356"/>
                      </a:lnTo>
                      <a:lnTo>
                        <a:pt x="648" y="1362"/>
                      </a:lnTo>
                      <a:lnTo>
                        <a:pt x="654" y="1368"/>
                      </a:lnTo>
                      <a:lnTo>
                        <a:pt x="660" y="1398"/>
                      </a:lnTo>
                      <a:lnTo>
                        <a:pt x="684" y="1398"/>
                      </a:lnTo>
                      <a:lnTo>
                        <a:pt x="690" y="1404"/>
                      </a:lnTo>
                      <a:lnTo>
                        <a:pt x="690" y="1410"/>
                      </a:lnTo>
                      <a:lnTo>
                        <a:pt x="696" y="1422"/>
                      </a:lnTo>
                      <a:lnTo>
                        <a:pt x="696" y="1428"/>
                      </a:lnTo>
                      <a:lnTo>
                        <a:pt x="702" y="1434"/>
                      </a:lnTo>
                      <a:lnTo>
                        <a:pt x="714" y="1440"/>
                      </a:lnTo>
                      <a:lnTo>
                        <a:pt x="744" y="1440"/>
                      </a:lnTo>
                      <a:lnTo>
                        <a:pt x="750" y="1434"/>
                      </a:lnTo>
                      <a:lnTo>
                        <a:pt x="756" y="1446"/>
                      </a:lnTo>
                      <a:lnTo>
                        <a:pt x="768" y="1452"/>
                      </a:lnTo>
                      <a:lnTo>
                        <a:pt x="780" y="1452"/>
                      </a:lnTo>
                      <a:lnTo>
                        <a:pt x="786" y="1446"/>
                      </a:lnTo>
                      <a:lnTo>
                        <a:pt x="798" y="1446"/>
                      </a:lnTo>
                      <a:lnTo>
                        <a:pt x="798" y="1452"/>
                      </a:lnTo>
                      <a:lnTo>
                        <a:pt x="804" y="1464"/>
                      </a:lnTo>
                      <a:lnTo>
                        <a:pt x="816" y="1470"/>
                      </a:lnTo>
                      <a:lnTo>
                        <a:pt x="828" y="1482"/>
                      </a:lnTo>
                      <a:lnTo>
                        <a:pt x="840" y="1488"/>
                      </a:lnTo>
                      <a:lnTo>
                        <a:pt x="864" y="1488"/>
                      </a:lnTo>
                      <a:lnTo>
                        <a:pt x="864" y="1494"/>
                      </a:lnTo>
                      <a:lnTo>
                        <a:pt x="876" y="1506"/>
                      </a:lnTo>
                      <a:lnTo>
                        <a:pt x="888" y="1512"/>
                      </a:lnTo>
                      <a:lnTo>
                        <a:pt x="894" y="1518"/>
                      </a:lnTo>
                      <a:lnTo>
                        <a:pt x="954" y="1518"/>
                      </a:lnTo>
                      <a:lnTo>
                        <a:pt x="978" y="1530"/>
                      </a:lnTo>
                      <a:lnTo>
                        <a:pt x="984" y="1542"/>
                      </a:lnTo>
                      <a:lnTo>
                        <a:pt x="990" y="1548"/>
                      </a:lnTo>
                      <a:lnTo>
                        <a:pt x="990" y="1578"/>
                      </a:lnTo>
                      <a:lnTo>
                        <a:pt x="996" y="1590"/>
                      </a:lnTo>
                      <a:lnTo>
                        <a:pt x="1002" y="1596"/>
                      </a:lnTo>
                      <a:lnTo>
                        <a:pt x="1008" y="1608"/>
                      </a:lnTo>
                      <a:lnTo>
                        <a:pt x="1008" y="1638"/>
                      </a:lnTo>
                      <a:lnTo>
                        <a:pt x="990" y="1638"/>
                      </a:lnTo>
                      <a:lnTo>
                        <a:pt x="990" y="1644"/>
                      </a:lnTo>
                      <a:lnTo>
                        <a:pt x="996" y="1650"/>
                      </a:lnTo>
                      <a:lnTo>
                        <a:pt x="1002" y="1662"/>
                      </a:lnTo>
                      <a:lnTo>
                        <a:pt x="1014" y="1668"/>
                      </a:lnTo>
                      <a:lnTo>
                        <a:pt x="1020" y="1674"/>
                      </a:lnTo>
                      <a:lnTo>
                        <a:pt x="1014" y="1686"/>
                      </a:lnTo>
                      <a:lnTo>
                        <a:pt x="1014" y="1728"/>
                      </a:lnTo>
                      <a:lnTo>
                        <a:pt x="1020" y="1734"/>
                      </a:lnTo>
                      <a:lnTo>
                        <a:pt x="1050" y="1740"/>
                      </a:lnTo>
                      <a:lnTo>
                        <a:pt x="1098" y="1746"/>
                      </a:lnTo>
                      <a:lnTo>
                        <a:pt x="1158" y="1746"/>
                      </a:lnTo>
                      <a:lnTo>
                        <a:pt x="1158" y="1752"/>
                      </a:lnTo>
                      <a:lnTo>
                        <a:pt x="1152" y="1758"/>
                      </a:lnTo>
                      <a:lnTo>
                        <a:pt x="1152" y="1770"/>
                      </a:lnTo>
                      <a:lnTo>
                        <a:pt x="1146" y="1788"/>
                      </a:lnTo>
                      <a:lnTo>
                        <a:pt x="1146" y="1800"/>
                      </a:lnTo>
                      <a:lnTo>
                        <a:pt x="1152" y="1812"/>
                      </a:lnTo>
                      <a:lnTo>
                        <a:pt x="1164" y="1818"/>
                      </a:lnTo>
                      <a:lnTo>
                        <a:pt x="1170" y="1824"/>
                      </a:lnTo>
                      <a:lnTo>
                        <a:pt x="1194" y="1836"/>
                      </a:lnTo>
                      <a:lnTo>
                        <a:pt x="1206" y="1848"/>
                      </a:lnTo>
                      <a:lnTo>
                        <a:pt x="1212" y="1860"/>
                      </a:lnTo>
                      <a:lnTo>
                        <a:pt x="1224" y="1896"/>
                      </a:lnTo>
                      <a:lnTo>
                        <a:pt x="1224" y="1908"/>
                      </a:lnTo>
                      <a:lnTo>
                        <a:pt x="1218" y="1920"/>
                      </a:lnTo>
                      <a:lnTo>
                        <a:pt x="1218" y="1944"/>
                      </a:lnTo>
                      <a:lnTo>
                        <a:pt x="1212" y="1950"/>
                      </a:lnTo>
                      <a:lnTo>
                        <a:pt x="1212" y="1956"/>
                      </a:lnTo>
                      <a:lnTo>
                        <a:pt x="1218" y="1968"/>
                      </a:lnTo>
                      <a:lnTo>
                        <a:pt x="1212" y="1980"/>
                      </a:lnTo>
                      <a:lnTo>
                        <a:pt x="1206" y="1986"/>
                      </a:lnTo>
                      <a:lnTo>
                        <a:pt x="1200" y="1998"/>
                      </a:lnTo>
                      <a:lnTo>
                        <a:pt x="1200" y="2022"/>
                      </a:lnTo>
                      <a:lnTo>
                        <a:pt x="1206" y="2028"/>
                      </a:lnTo>
                      <a:lnTo>
                        <a:pt x="1218" y="2034"/>
                      </a:lnTo>
                      <a:lnTo>
                        <a:pt x="1212" y="2040"/>
                      </a:lnTo>
                      <a:lnTo>
                        <a:pt x="1200" y="2046"/>
                      </a:lnTo>
                      <a:lnTo>
                        <a:pt x="1194" y="2052"/>
                      </a:lnTo>
                      <a:lnTo>
                        <a:pt x="1194" y="2064"/>
                      </a:lnTo>
                      <a:lnTo>
                        <a:pt x="1200" y="2070"/>
                      </a:lnTo>
                      <a:lnTo>
                        <a:pt x="1212" y="2076"/>
                      </a:lnTo>
                      <a:lnTo>
                        <a:pt x="1212" y="2112"/>
                      </a:lnTo>
                      <a:lnTo>
                        <a:pt x="1224" y="2112"/>
                      </a:lnTo>
                      <a:lnTo>
                        <a:pt x="1224" y="2130"/>
                      </a:lnTo>
                      <a:lnTo>
                        <a:pt x="1218" y="2142"/>
                      </a:lnTo>
                      <a:lnTo>
                        <a:pt x="1218" y="2184"/>
                      </a:lnTo>
                      <a:lnTo>
                        <a:pt x="1224" y="2196"/>
                      </a:lnTo>
                      <a:lnTo>
                        <a:pt x="1230" y="2202"/>
                      </a:lnTo>
                      <a:lnTo>
                        <a:pt x="1266" y="2214"/>
                      </a:lnTo>
                      <a:lnTo>
                        <a:pt x="1308" y="2220"/>
                      </a:lnTo>
                      <a:lnTo>
                        <a:pt x="1380" y="2220"/>
                      </a:lnTo>
                      <a:lnTo>
                        <a:pt x="1392" y="2226"/>
                      </a:lnTo>
                      <a:lnTo>
                        <a:pt x="1398" y="2232"/>
                      </a:lnTo>
                      <a:lnTo>
                        <a:pt x="1398" y="2256"/>
                      </a:lnTo>
                      <a:lnTo>
                        <a:pt x="1404" y="2274"/>
                      </a:lnTo>
                      <a:lnTo>
                        <a:pt x="1404" y="2298"/>
                      </a:lnTo>
                      <a:lnTo>
                        <a:pt x="1410" y="2316"/>
                      </a:lnTo>
                      <a:lnTo>
                        <a:pt x="1410" y="2334"/>
                      </a:lnTo>
                      <a:lnTo>
                        <a:pt x="1422" y="2358"/>
                      </a:lnTo>
                      <a:lnTo>
                        <a:pt x="1434" y="2364"/>
                      </a:lnTo>
                      <a:lnTo>
                        <a:pt x="1446" y="2364"/>
                      </a:lnTo>
                      <a:lnTo>
                        <a:pt x="1464" y="2346"/>
                      </a:lnTo>
                      <a:lnTo>
                        <a:pt x="1476" y="2346"/>
                      </a:lnTo>
                      <a:lnTo>
                        <a:pt x="1488" y="2352"/>
                      </a:lnTo>
                      <a:lnTo>
                        <a:pt x="1500" y="2364"/>
                      </a:lnTo>
                      <a:lnTo>
                        <a:pt x="1506" y="2376"/>
                      </a:lnTo>
                      <a:lnTo>
                        <a:pt x="1506" y="2394"/>
                      </a:lnTo>
                      <a:lnTo>
                        <a:pt x="1500" y="2412"/>
                      </a:lnTo>
                      <a:lnTo>
                        <a:pt x="1500" y="2442"/>
                      </a:lnTo>
                      <a:lnTo>
                        <a:pt x="1494" y="2448"/>
                      </a:lnTo>
                      <a:lnTo>
                        <a:pt x="1494" y="2454"/>
                      </a:lnTo>
                      <a:lnTo>
                        <a:pt x="1488" y="2466"/>
                      </a:lnTo>
                      <a:lnTo>
                        <a:pt x="1488" y="2478"/>
                      </a:lnTo>
                      <a:lnTo>
                        <a:pt x="1494" y="2496"/>
                      </a:lnTo>
                      <a:lnTo>
                        <a:pt x="1506" y="2490"/>
                      </a:lnTo>
                      <a:lnTo>
                        <a:pt x="1512" y="2484"/>
                      </a:lnTo>
                      <a:lnTo>
                        <a:pt x="1530" y="2484"/>
                      </a:lnTo>
                      <a:lnTo>
                        <a:pt x="1536" y="2490"/>
                      </a:lnTo>
                      <a:lnTo>
                        <a:pt x="1548" y="2514"/>
                      </a:lnTo>
                      <a:lnTo>
                        <a:pt x="1548" y="2526"/>
                      </a:lnTo>
                      <a:lnTo>
                        <a:pt x="1554" y="2526"/>
                      </a:lnTo>
                      <a:lnTo>
                        <a:pt x="1560" y="2532"/>
                      </a:lnTo>
                      <a:lnTo>
                        <a:pt x="1560" y="2562"/>
                      </a:lnTo>
                      <a:lnTo>
                        <a:pt x="1566" y="2580"/>
                      </a:lnTo>
                      <a:lnTo>
                        <a:pt x="1566" y="2616"/>
                      </a:lnTo>
                      <a:lnTo>
                        <a:pt x="1512" y="2634"/>
                      </a:lnTo>
                      <a:lnTo>
                        <a:pt x="1506" y="2640"/>
                      </a:lnTo>
                      <a:lnTo>
                        <a:pt x="1500" y="2652"/>
                      </a:lnTo>
                      <a:lnTo>
                        <a:pt x="1500" y="2670"/>
                      </a:lnTo>
                      <a:lnTo>
                        <a:pt x="1464" y="2670"/>
                      </a:lnTo>
                      <a:lnTo>
                        <a:pt x="1464" y="2688"/>
                      </a:lnTo>
                      <a:lnTo>
                        <a:pt x="1458" y="2694"/>
                      </a:lnTo>
                      <a:lnTo>
                        <a:pt x="1452" y="2718"/>
                      </a:lnTo>
                      <a:lnTo>
                        <a:pt x="1428" y="2724"/>
                      </a:lnTo>
                      <a:lnTo>
                        <a:pt x="1428" y="2736"/>
                      </a:lnTo>
                      <a:lnTo>
                        <a:pt x="1422" y="2748"/>
                      </a:lnTo>
                      <a:lnTo>
                        <a:pt x="1422" y="2760"/>
                      </a:lnTo>
                      <a:lnTo>
                        <a:pt x="1404" y="2778"/>
                      </a:lnTo>
                      <a:lnTo>
                        <a:pt x="1392" y="2778"/>
                      </a:lnTo>
                      <a:lnTo>
                        <a:pt x="1392" y="2802"/>
                      </a:lnTo>
                      <a:lnTo>
                        <a:pt x="1386" y="2808"/>
                      </a:lnTo>
                      <a:lnTo>
                        <a:pt x="1380" y="2820"/>
                      </a:lnTo>
                      <a:lnTo>
                        <a:pt x="1374" y="2826"/>
                      </a:lnTo>
                      <a:lnTo>
                        <a:pt x="1356" y="2826"/>
                      </a:lnTo>
                      <a:lnTo>
                        <a:pt x="1350" y="2832"/>
                      </a:lnTo>
                      <a:lnTo>
                        <a:pt x="1350" y="2844"/>
                      </a:lnTo>
                      <a:lnTo>
                        <a:pt x="1344" y="2856"/>
                      </a:lnTo>
                      <a:lnTo>
                        <a:pt x="1344" y="2868"/>
                      </a:lnTo>
                      <a:lnTo>
                        <a:pt x="1368" y="2868"/>
                      </a:lnTo>
                      <a:lnTo>
                        <a:pt x="1374" y="2862"/>
                      </a:lnTo>
                      <a:lnTo>
                        <a:pt x="1386" y="2856"/>
                      </a:lnTo>
                      <a:lnTo>
                        <a:pt x="1398" y="2856"/>
                      </a:lnTo>
                      <a:lnTo>
                        <a:pt x="1404" y="2862"/>
                      </a:lnTo>
                      <a:lnTo>
                        <a:pt x="1428" y="2874"/>
                      </a:lnTo>
                      <a:lnTo>
                        <a:pt x="1434" y="2886"/>
                      </a:lnTo>
                      <a:lnTo>
                        <a:pt x="1446" y="2892"/>
                      </a:lnTo>
                      <a:lnTo>
                        <a:pt x="1452" y="2898"/>
                      </a:lnTo>
                      <a:lnTo>
                        <a:pt x="1458" y="2910"/>
                      </a:lnTo>
                      <a:lnTo>
                        <a:pt x="1470" y="2922"/>
                      </a:lnTo>
                      <a:lnTo>
                        <a:pt x="1470" y="2934"/>
                      </a:lnTo>
                      <a:lnTo>
                        <a:pt x="1482" y="2934"/>
                      </a:lnTo>
                      <a:lnTo>
                        <a:pt x="1482" y="2928"/>
                      </a:lnTo>
                      <a:lnTo>
                        <a:pt x="1494" y="2916"/>
                      </a:lnTo>
                      <a:lnTo>
                        <a:pt x="1500" y="2916"/>
                      </a:lnTo>
                      <a:lnTo>
                        <a:pt x="1512" y="2922"/>
                      </a:lnTo>
                      <a:lnTo>
                        <a:pt x="1518" y="2934"/>
                      </a:lnTo>
                      <a:lnTo>
                        <a:pt x="1536" y="2952"/>
                      </a:lnTo>
                      <a:lnTo>
                        <a:pt x="1554" y="2952"/>
                      </a:lnTo>
                      <a:lnTo>
                        <a:pt x="1572" y="2970"/>
                      </a:lnTo>
                      <a:lnTo>
                        <a:pt x="1578" y="2970"/>
                      </a:lnTo>
                      <a:lnTo>
                        <a:pt x="1578" y="2982"/>
                      </a:lnTo>
                      <a:lnTo>
                        <a:pt x="1584" y="2988"/>
                      </a:lnTo>
                      <a:lnTo>
                        <a:pt x="1596" y="2994"/>
                      </a:lnTo>
                      <a:lnTo>
                        <a:pt x="1614" y="3000"/>
                      </a:lnTo>
                      <a:lnTo>
                        <a:pt x="1626" y="3000"/>
                      </a:lnTo>
                      <a:lnTo>
                        <a:pt x="1632" y="3012"/>
                      </a:lnTo>
                      <a:lnTo>
                        <a:pt x="1638" y="3018"/>
                      </a:lnTo>
                      <a:lnTo>
                        <a:pt x="1644" y="3030"/>
                      </a:lnTo>
                      <a:lnTo>
                        <a:pt x="1662" y="3048"/>
                      </a:lnTo>
                      <a:lnTo>
                        <a:pt x="1668" y="3048"/>
                      </a:lnTo>
                      <a:lnTo>
                        <a:pt x="1680" y="3054"/>
                      </a:lnTo>
                      <a:lnTo>
                        <a:pt x="1686" y="3054"/>
                      </a:lnTo>
                      <a:lnTo>
                        <a:pt x="1686" y="3066"/>
                      </a:lnTo>
                      <a:lnTo>
                        <a:pt x="1674" y="3090"/>
                      </a:lnTo>
                      <a:lnTo>
                        <a:pt x="1668" y="3096"/>
                      </a:lnTo>
                      <a:lnTo>
                        <a:pt x="1668" y="3120"/>
                      </a:lnTo>
                      <a:lnTo>
                        <a:pt x="1674" y="3120"/>
                      </a:lnTo>
                      <a:lnTo>
                        <a:pt x="1674" y="3150"/>
                      </a:lnTo>
                      <a:lnTo>
                        <a:pt x="1692" y="3150"/>
                      </a:lnTo>
                      <a:lnTo>
                        <a:pt x="1692" y="3144"/>
                      </a:lnTo>
                      <a:lnTo>
                        <a:pt x="1698" y="3132"/>
                      </a:lnTo>
                      <a:lnTo>
                        <a:pt x="1710" y="3126"/>
                      </a:lnTo>
                      <a:lnTo>
                        <a:pt x="1716" y="3114"/>
                      </a:lnTo>
                      <a:lnTo>
                        <a:pt x="1728" y="3102"/>
                      </a:lnTo>
                      <a:lnTo>
                        <a:pt x="1734" y="3090"/>
                      </a:lnTo>
                      <a:lnTo>
                        <a:pt x="1734" y="3060"/>
                      </a:lnTo>
                      <a:lnTo>
                        <a:pt x="1728" y="3054"/>
                      </a:lnTo>
                      <a:lnTo>
                        <a:pt x="1728" y="3048"/>
                      </a:lnTo>
                      <a:lnTo>
                        <a:pt x="1746" y="3018"/>
                      </a:lnTo>
                      <a:lnTo>
                        <a:pt x="1734" y="3012"/>
                      </a:lnTo>
                      <a:lnTo>
                        <a:pt x="1728" y="3000"/>
                      </a:lnTo>
                      <a:lnTo>
                        <a:pt x="1728" y="2988"/>
                      </a:lnTo>
                      <a:lnTo>
                        <a:pt x="1740" y="2976"/>
                      </a:lnTo>
                      <a:lnTo>
                        <a:pt x="1746" y="2976"/>
                      </a:lnTo>
                      <a:lnTo>
                        <a:pt x="1746" y="2952"/>
                      </a:lnTo>
                      <a:lnTo>
                        <a:pt x="1764" y="2952"/>
                      </a:lnTo>
                      <a:lnTo>
                        <a:pt x="1776" y="2940"/>
                      </a:lnTo>
                      <a:lnTo>
                        <a:pt x="1776" y="2904"/>
                      </a:lnTo>
                      <a:lnTo>
                        <a:pt x="1782" y="2898"/>
                      </a:lnTo>
                      <a:lnTo>
                        <a:pt x="1788" y="2886"/>
                      </a:lnTo>
                      <a:lnTo>
                        <a:pt x="1800" y="2874"/>
                      </a:lnTo>
                      <a:lnTo>
                        <a:pt x="1812" y="2868"/>
                      </a:lnTo>
                      <a:lnTo>
                        <a:pt x="1818" y="2862"/>
                      </a:lnTo>
                      <a:lnTo>
                        <a:pt x="1824" y="2862"/>
                      </a:lnTo>
                      <a:lnTo>
                        <a:pt x="1824" y="2898"/>
                      </a:lnTo>
                      <a:lnTo>
                        <a:pt x="1818" y="2904"/>
                      </a:lnTo>
                      <a:lnTo>
                        <a:pt x="1818" y="2910"/>
                      </a:lnTo>
                      <a:lnTo>
                        <a:pt x="1812" y="2916"/>
                      </a:lnTo>
                      <a:lnTo>
                        <a:pt x="1812" y="2934"/>
                      </a:lnTo>
                      <a:lnTo>
                        <a:pt x="1800" y="2940"/>
                      </a:lnTo>
                      <a:lnTo>
                        <a:pt x="1800" y="2952"/>
                      </a:lnTo>
                      <a:lnTo>
                        <a:pt x="1776" y="2982"/>
                      </a:lnTo>
                      <a:lnTo>
                        <a:pt x="1746" y="3006"/>
                      </a:lnTo>
                      <a:lnTo>
                        <a:pt x="1752" y="3012"/>
                      </a:lnTo>
                      <a:lnTo>
                        <a:pt x="1770" y="3012"/>
                      </a:lnTo>
                      <a:lnTo>
                        <a:pt x="1770" y="2994"/>
                      </a:lnTo>
                      <a:lnTo>
                        <a:pt x="1776" y="2988"/>
                      </a:lnTo>
                      <a:lnTo>
                        <a:pt x="1788" y="2988"/>
                      </a:lnTo>
                      <a:lnTo>
                        <a:pt x="1794" y="2982"/>
                      </a:lnTo>
                      <a:lnTo>
                        <a:pt x="1800" y="2982"/>
                      </a:lnTo>
                      <a:lnTo>
                        <a:pt x="1812" y="2964"/>
                      </a:lnTo>
                      <a:lnTo>
                        <a:pt x="1824" y="2940"/>
                      </a:lnTo>
                      <a:lnTo>
                        <a:pt x="1848" y="2880"/>
                      </a:lnTo>
                      <a:lnTo>
                        <a:pt x="1860" y="2832"/>
                      </a:lnTo>
                      <a:lnTo>
                        <a:pt x="1872" y="2808"/>
                      </a:lnTo>
                      <a:lnTo>
                        <a:pt x="1878" y="2790"/>
                      </a:lnTo>
                      <a:lnTo>
                        <a:pt x="1884" y="2778"/>
                      </a:lnTo>
                      <a:lnTo>
                        <a:pt x="1896" y="2772"/>
                      </a:lnTo>
                      <a:lnTo>
                        <a:pt x="1902" y="2760"/>
                      </a:lnTo>
                      <a:lnTo>
                        <a:pt x="1926" y="2736"/>
                      </a:lnTo>
                      <a:lnTo>
                        <a:pt x="1926" y="2724"/>
                      </a:lnTo>
                      <a:lnTo>
                        <a:pt x="1920" y="2718"/>
                      </a:lnTo>
                      <a:lnTo>
                        <a:pt x="1938" y="2706"/>
                      </a:lnTo>
                      <a:lnTo>
                        <a:pt x="1932" y="2670"/>
                      </a:lnTo>
                      <a:lnTo>
                        <a:pt x="1938" y="2646"/>
                      </a:lnTo>
                      <a:lnTo>
                        <a:pt x="1926" y="2640"/>
                      </a:lnTo>
                      <a:lnTo>
                        <a:pt x="1932" y="2634"/>
                      </a:lnTo>
                      <a:lnTo>
                        <a:pt x="1938" y="2622"/>
                      </a:lnTo>
                      <a:lnTo>
                        <a:pt x="1938" y="2610"/>
                      </a:lnTo>
                      <a:lnTo>
                        <a:pt x="1932" y="2604"/>
                      </a:lnTo>
                      <a:lnTo>
                        <a:pt x="1920" y="2598"/>
                      </a:lnTo>
                      <a:lnTo>
                        <a:pt x="1914" y="2592"/>
                      </a:lnTo>
                      <a:lnTo>
                        <a:pt x="1914" y="2556"/>
                      </a:lnTo>
                      <a:lnTo>
                        <a:pt x="1896" y="2544"/>
                      </a:lnTo>
                      <a:lnTo>
                        <a:pt x="1920" y="2544"/>
                      </a:lnTo>
                      <a:lnTo>
                        <a:pt x="1914" y="2520"/>
                      </a:lnTo>
                      <a:lnTo>
                        <a:pt x="1902" y="2508"/>
                      </a:lnTo>
                      <a:lnTo>
                        <a:pt x="1908" y="2508"/>
                      </a:lnTo>
                      <a:lnTo>
                        <a:pt x="1920" y="2502"/>
                      </a:lnTo>
                      <a:lnTo>
                        <a:pt x="1920" y="2490"/>
                      </a:lnTo>
                      <a:lnTo>
                        <a:pt x="1914" y="2490"/>
                      </a:lnTo>
                      <a:lnTo>
                        <a:pt x="1902" y="2484"/>
                      </a:lnTo>
                      <a:lnTo>
                        <a:pt x="1896" y="2478"/>
                      </a:lnTo>
                      <a:lnTo>
                        <a:pt x="1920" y="2460"/>
                      </a:lnTo>
                      <a:lnTo>
                        <a:pt x="1932" y="2472"/>
                      </a:lnTo>
                      <a:lnTo>
                        <a:pt x="1944" y="2478"/>
                      </a:lnTo>
                      <a:lnTo>
                        <a:pt x="1950" y="2478"/>
                      </a:lnTo>
                      <a:lnTo>
                        <a:pt x="1950" y="2448"/>
                      </a:lnTo>
                      <a:lnTo>
                        <a:pt x="1962" y="2424"/>
                      </a:lnTo>
                      <a:lnTo>
                        <a:pt x="1974" y="2418"/>
                      </a:lnTo>
                      <a:lnTo>
                        <a:pt x="1980" y="2418"/>
                      </a:lnTo>
                      <a:lnTo>
                        <a:pt x="2004" y="2406"/>
                      </a:lnTo>
                      <a:lnTo>
                        <a:pt x="2010" y="2394"/>
                      </a:lnTo>
                      <a:lnTo>
                        <a:pt x="2010" y="2382"/>
                      </a:lnTo>
                      <a:lnTo>
                        <a:pt x="2016" y="2376"/>
                      </a:lnTo>
                      <a:lnTo>
                        <a:pt x="2028" y="2376"/>
                      </a:lnTo>
                      <a:lnTo>
                        <a:pt x="2034" y="2370"/>
                      </a:lnTo>
                      <a:lnTo>
                        <a:pt x="2046" y="2370"/>
                      </a:lnTo>
                      <a:lnTo>
                        <a:pt x="2046" y="2358"/>
                      </a:lnTo>
                      <a:lnTo>
                        <a:pt x="2070" y="2358"/>
                      </a:lnTo>
                      <a:lnTo>
                        <a:pt x="2070" y="2340"/>
                      </a:lnTo>
                      <a:lnTo>
                        <a:pt x="2118" y="2340"/>
                      </a:lnTo>
                      <a:lnTo>
                        <a:pt x="2124" y="2358"/>
                      </a:lnTo>
                      <a:lnTo>
                        <a:pt x="2136" y="2352"/>
                      </a:lnTo>
                      <a:lnTo>
                        <a:pt x="2118" y="2334"/>
                      </a:lnTo>
                      <a:lnTo>
                        <a:pt x="2136" y="2316"/>
                      </a:lnTo>
                      <a:lnTo>
                        <a:pt x="2142" y="2316"/>
                      </a:lnTo>
                      <a:lnTo>
                        <a:pt x="2154" y="2310"/>
                      </a:lnTo>
                      <a:lnTo>
                        <a:pt x="2178" y="2310"/>
                      </a:lnTo>
                      <a:lnTo>
                        <a:pt x="2160" y="2292"/>
                      </a:lnTo>
                      <a:lnTo>
                        <a:pt x="2172" y="2286"/>
                      </a:lnTo>
                      <a:lnTo>
                        <a:pt x="2178" y="2280"/>
                      </a:lnTo>
                      <a:lnTo>
                        <a:pt x="2190" y="2280"/>
                      </a:lnTo>
                      <a:lnTo>
                        <a:pt x="2190" y="2304"/>
                      </a:lnTo>
                      <a:lnTo>
                        <a:pt x="2196" y="2304"/>
                      </a:lnTo>
                      <a:lnTo>
                        <a:pt x="2196" y="2298"/>
                      </a:lnTo>
                      <a:lnTo>
                        <a:pt x="2202" y="2286"/>
                      </a:lnTo>
                      <a:lnTo>
                        <a:pt x="2208" y="2280"/>
                      </a:lnTo>
                      <a:lnTo>
                        <a:pt x="2244" y="2286"/>
                      </a:lnTo>
                      <a:lnTo>
                        <a:pt x="2244" y="2280"/>
                      </a:lnTo>
                      <a:lnTo>
                        <a:pt x="2250" y="2274"/>
                      </a:lnTo>
                      <a:lnTo>
                        <a:pt x="2250" y="2268"/>
                      </a:lnTo>
                      <a:lnTo>
                        <a:pt x="2256" y="2262"/>
                      </a:lnTo>
                      <a:lnTo>
                        <a:pt x="2268" y="2256"/>
                      </a:lnTo>
                      <a:lnTo>
                        <a:pt x="2274" y="2256"/>
                      </a:lnTo>
                      <a:lnTo>
                        <a:pt x="2280" y="2262"/>
                      </a:lnTo>
                      <a:lnTo>
                        <a:pt x="2280" y="2286"/>
                      </a:lnTo>
                      <a:lnTo>
                        <a:pt x="2346" y="2280"/>
                      </a:lnTo>
                      <a:lnTo>
                        <a:pt x="2352" y="2262"/>
                      </a:lnTo>
                      <a:lnTo>
                        <a:pt x="2346" y="2250"/>
                      </a:lnTo>
                      <a:lnTo>
                        <a:pt x="2352" y="2244"/>
                      </a:lnTo>
                      <a:lnTo>
                        <a:pt x="2358" y="2232"/>
                      </a:lnTo>
                      <a:lnTo>
                        <a:pt x="2370" y="2220"/>
                      </a:lnTo>
                      <a:lnTo>
                        <a:pt x="2406" y="2202"/>
                      </a:lnTo>
                      <a:lnTo>
                        <a:pt x="2418" y="2202"/>
                      </a:lnTo>
                      <a:lnTo>
                        <a:pt x="2412" y="2190"/>
                      </a:lnTo>
                      <a:lnTo>
                        <a:pt x="2412" y="2112"/>
                      </a:lnTo>
                      <a:lnTo>
                        <a:pt x="2442" y="2082"/>
                      </a:lnTo>
                      <a:lnTo>
                        <a:pt x="2442" y="2058"/>
                      </a:lnTo>
                      <a:lnTo>
                        <a:pt x="2460" y="2052"/>
                      </a:lnTo>
                      <a:lnTo>
                        <a:pt x="2460" y="2022"/>
                      </a:lnTo>
                      <a:lnTo>
                        <a:pt x="2466" y="2022"/>
                      </a:lnTo>
                      <a:lnTo>
                        <a:pt x="2472" y="2016"/>
                      </a:lnTo>
                      <a:lnTo>
                        <a:pt x="2478" y="2016"/>
                      </a:lnTo>
                      <a:lnTo>
                        <a:pt x="2478" y="2010"/>
                      </a:lnTo>
                      <a:lnTo>
                        <a:pt x="2484" y="2004"/>
                      </a:lnTo>
                      <a:lnTo>
                        <a:pt x="2484" y="1956"/>
                      </a:lnTo>
                      <a:lnTo>
                        <a:pt x="2478" y="1944"/>
                      </a:lnTo>
                      <a:lnTo>
                        <a:pt x="2478" y="1926"/>
                      </a:lnTo>
                      <a:lnTo>
                        <a:pt x="2472" y="1908"/>
                      </a:lnTo>
                      <a:lnTo>
                        <a:pt x="2484" y="1884"/>
                      </a:lnTo>
                      <a:lnTo>
                        <a:pt x="2514" y="1854"/>
                      </a:lnTo>
                      <a:lnTo>
                        <a:pt x="2514" y="1848"/>
                      </a:lnTo>
                      <a:lnTo>
                        <a:pt x="2508" y="1836"/>
                      </a:lnTo>
                      <a:lnTo>
                        <a:pt x="2508" y="1830"/>
                      </a:lnTo>
                      <a:lnTo>
                        <a:pt x="2502" y="1818"/>
                      </a:lnTo>
                      <a:lnTo>
                        <a:pt x="2508" y="1764"/>
                      </a:lnTo>
                      <a:lnTo>
                        <a:pt x="2508" y="1758"/>
                      </a:lnTo>
                      <a:lnTo>
                        <a:pt x="2514" y="1752"/>
                      </a:lnTo>
                      <a:lnTo>
                        <a:pt x="2514" y="1722"/>
                      </a:lnTo>
                      <a:lnTo>
                        <a:pt x="2520" y="1710"/>
                      </a:lnTo>
                      <a:lnTo>
                        <a:pt x="2520" y="1680"/>
                      </a:lnTo>
                      <a:lnTo>
                        <a:pt x="2508" y="1644"/>
                      </a:lnTo>
                      <a:lnTo>
                        <a:pt x="2502" y="1608"/>
                      </a:lnTo>
                      <a:lnTo>
                        <a:pt x="2502" y="1596"/>
                      </a:lnTo>
                      <a:lnTo>
                        <a:pt x="2508" y="1560"/>
                      </a:lnTo>
                      <a:lnTo>
                        <a:pt x="2508" y="1548"/>
                      </a:lnTo>
                      <a:lnTo>
                        <a:pt x="2502" y="1536"/>
                      </a:lnTo>
                      <a:lnTo>
                        <a:pt x="2502" y="1500"/>
                      </a:lnTo>
                      <a:lnTo>
                        <a:pt x="2508" y="1488"/>
                      </a:lnTo>
                      <a:lnTo>
                        <a:pt x="2520" y="1476"/>
                      </a:lnTo>
                      <a:lnTo>
                        <a:pt x="2508" y="1458"/>
                      </a:lnTo>
                      <a:lnTo>
                        <a:pt x="2520" y="1446"/>
                      </a:lnTo>
                      <a:lnTo>
                        <a:pt x="2532" y="1446"/>
                      </a:lnTo>
                      <a:lnTo>
                        <a:pt x="2532" y="1452"/>
                      </a:lnTo>
                      <a:lnTo>
                        <a:pt x="2538" y="1464"/>
                      </a:lnTo>
                      <a:lnTo>
                        <a:pt x="2544" y="1470"/>
                      </a:lnTo>
                      <a:lnTo>
                        <a:pt x="2556" y="1464"/>
                      </a:lnTo>
                      <a:lnTo>
                        <a:pt x="2562" y="1452"/>
                      </a:lnTo>
                      <a:lnTo>
                        <a:pt x="2574" y="1446"/>
                      </a:lnTo>
                      <a:lnTo>
                        <a:pt x="2580" y="1434"/>
                      </a:lnTo>
                      <a:lnTo>
                        <a:pt x="2586" y="1428"/>
                      </a:lnTo>
                      <a:lnTo>
                        <a:pt x="2592" y="1416"/>
                      </a:lnTo>
                      <a:lnTo>
                        <a:pt x="2592" y="1404"/>
                      </a:lnTo>
                      <a:lnTo>
                        <a:pt x="2598" y="1386"/>
                      </a:lnTo>
                      <a:lnTo>
                        <a:pt x="2598" y="1374"/>
                      </a:lnTo>
                      <a:lnTo>
                        <a:pt x="2604" y="1356"/>
                      </a:lnTo>
                      <a:lnTo>
                        <a:pt x="2604" y="1344"/>
                      </a:lnTo>
                      <a:lnTo>
                        <a:pt x="2610" y="1338"/>
                      </a:lnTo>
                      <a:lnTo>
                        <a:pt x="2616" y="1338"/>
                      </a:lnTo>
                      <a:lnTo>
                        <a:pt x="2628" y="1326"/>
                      </a:lnTo>
                      <a:lnTo>
                        <a:pt x="2634" y="1314"/>
                      </a:lnTo>
                      <a:lnTo>
                        <a:pt x="2640" y="1308"/>
                      </a:lnTo>
                      <a:lnTo>
                        <a:pt x="2640" y="1296"/>
                      </a:lnTo>
                      <a:lnTo>
                        <a:pt x="2652" y="1290"/>
                      </a:lnTo>
                      <a:lnTo>
                        <a:pt x="2658" y="1284"/>
                      </a:lnTo>
                      <a:lnTo>
                        <a:pt x="2670" y="1284"/>
                      </a:lnTo>
                      <a:lnTo>
                        <a:pt x="2682" y="1272"/>
                      </a:lnTo>
                      <a:lnTo>
                        <a:pt x="2682" y="1254"/>
                      </a:lnTo>
                      <a:lnTo>
                        <a:pt x="2688" y="1254"/>
                      </a:lnTo>
                      <a:lnTo>
                        <a:pt x="2724" y="1218"/>
                      </a:lnTo>
                      <a:lnTo>
                        <a:pt x="2736" y="1188"/>
                      </a:lnTo>
                      <a:lnTo>
                        <a:pt x="2754" y="1158"/>
                      </a:lnTo>
                      <a:lnTo>
                        <a:pt x="2760" y="1134"/>
                      </a:lnTo>
                      <a:lnTo>
                        <a:pt x="2766" y="1122"/>
                      </a:lnTo>
                      <a:lnTo>
                        <a:pt x="2772" y="1116"/>
                      </a:lnTo>
                      <a:lnTo>
                        <a:pt x="2778" y="1104"/>
                      </a:lnTo>
                      <a:lnTo>
                        <a:pt x="2784" y="1098"/>
                      </a:lnTo>
                      <a:lnTo>
                        <a:pt x="2784" y="1080"/>
                      </a:lnTo>
                      <a:lnTo>
                        <a:pt x="2778" y="1068"/>
                      </a:lnTo>
                      <a:lnTo>
                        <a:pt x="2778" y="1002"/>
                      </a:lnTo>
                      <a:close/>
                    </a:path>
                  </a:pathLst>
                </a:custGeom>
                <a:solidFill>
                  <a:schemeClr val="accent1"/>
                </a:solidFill>
                <a:ln w="3175">
                  <a:solidFill>
                    <a:schemeClr val="bg1"/>
                  </a:solidFill>
                  <a:round/>
                  <a:headEnd/>
                  <a:tailEnd/>
                </a:ln>
                <a:effec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grpSp>
              <p:nvGrpSpPr>
                <p:cNvPr id="6" name="Gruppieren 192"/>
                <p:cNvGrpSpPr/>
                <p:nvPr/>
              </p:nvGrpSpPr>
              <p:grpSpPr>
                <a:xfrm>
                  <a:off x="4146813" y="2416917"/>
                  <a:ext cx="343794" cy="460375"/>
                  <a:chOff x="4189831" y="2419337"/>
                  <a:chExt cx="343794" cy="460375"/>
                </a:xfrm>
                <a:grpFill/>
                <a:effectLst>
                  <a:outerShdw blurRad="50800" dist="38100" dir="2700000" algn="tl" rotWithShape="0">
                    <a:prstClr val="black">
                      <a:alpha val="40000"/>
                    </a:prstClr>
                  </a:outerShdw>
                </a:effectLst>
              </p:grpSpPr>
              <p:sp>
                <p:nvSpPr>
                  <p:cNvPr id="277" name="Malta"/>
                  <p:cNvSpPr>
                    <a:spLocks/>
                  </p:cNvSpPr>
                  <p:nvPr/>
                </p:nvSpPr>
                <p:spPr bwMode="gray">
                  <a:xfrm>
                    <a:off x="4521180" y="2868599"/>
                    <a:ext cx="12445" cy="11113"/>
                  </a:xfrm>
                  <a:custGeom>
                    <a:avLst/>
                    <a:gdLst>
                      <a:gd name="T0" fmla="*/ 2147483647 w 30"/>
                      <a:gd name="T1" fmla="*/ 2147483647 h 30"/>
                      <a:gd name="T2" fmla="*/ 2147483647 w 30"/>
                      <a:gd name="T3" fmla="*/ 2147483647 h 30"/>
                      <a:gd name="T4" fmla="*/ 2147483647 w 30"/>
                      <a:gd name="T5" fmla="*/ 2147483647 h 30"/>
                      <a:gd name="T6" fmla="*/ 2147483647 w 30"/>
                      <a:gd name="T7" fmla="*/ 0 h 30"/>
                      <a:gd name="T8" fmla="*/ 2147483647 w 30"/>
                      <a:gd name="T9" fmla="*/ 0 h 30"/>
                      <a:gd name="T10" fmla="*/ 0 w 30"/>
                      <a:gd name="T11" fmla="*/ 2147483647 h 30"/>
                      <a:gd name="T12" fmla="*/ 0 w 30"/>
                      <a:gd name="T13" fmla="*/ 2147483647 h 30"/>
                      <a:gd name="T14" fmla="*/ 2147483647 w 30"/>
                      <a:gd name="T15" fmla="*/ 2147483647 h 30"/>
                      <a:gd name="T16" fmla="*/ 2147483647 w 30"/>
                      <a:gd name="T17" fmla="*/ 2147483647 h 30"/>
                      <a:gd name="T18" fmla="*/ 2147483647 w 30"/>
                      <a:gd name="T19" fmla="*/ 2147483647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0"/>
                      <a:gd name="T31" fmla="*/ 0 h 30"/>
                      <a:gd name="T32" fmla="*/ 30 w 30"/>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0" h="30">
                        <a:moveTo>
                          <a:pt x="24" y="30"/>
                        </a:moveTo>
                        <a:lnTo>
                          <a:pt x="30" y="24"/>
                        </a:lnTo>
                        <a:lnTo>
                          <a:pt x="30" y="12"/>
                        </a:lnTo>
                        <a:lnTo>
                          <a:pt x="18" y="0"/>
                        </a:lnTo>
                        <a:lnTo>
                          <a:pt x="6" y="0"/>
                        </a:lnTo>
                        <a:lnTo>
                          <a:pt x="0" y="6"/>
                        </a:lnTo>
                        <a:lnTo>
                          <a:pt x="0" y="18"/>
                        </a:lnTo>
                        <a:lnTo>
                          <a:pt x="6" y="24"/>
                        </a:lnTo>
                        <a:lnTo>
                          <a:pt x="18" y="30"/>
                        </a:lnTo>
                        <a:lnTo>
                          <a:pt x="24" y="3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78" name="Luxembourg"/>
                  <p:cNvSpPr>
                    <a:spLocks/>
                  </p:cNvSpPr>
                  <p:nvPr/>
                </p:nvSpPr>
                <p:spPr bwMode="gray">
                  <a:xfrm>
                    <a:off x="4304948" y="2419337"/>
                    <a:ext cx="20223" cy="17463"/>
                  </a:xfrm>
                  <a:custGeom>
                    <a:avLst/>
                    <a:gdLst>
                      <a:gd name="T0" fmla="*/ 2147483647 w 54"/>
                      <a:gd name="T1" fmla="*/ 2147483647 h 42"/>
                      <a:gd name="T2" fmla="*/ 2147483647 w 54"/>
                      <a:gd name="T3" fmla="*/ 2147483647 h 42"/>
                      <a:gd name="T4" fmla="*/ 2147483647 w 54"/>
                      <a:gd name="T5" fmla="*/ 2147483647 h 42"/>
                      <a:gd name="T6" fmla="*/ 2147483647 w 54"/>
                      <a:gd name="T7" fmla="*/ 2147483647 h 42"/>
                      <a:gd name="T8" fmla="*/ 2147483647 w 54"/>
                      <a:gd name="T9" fmla="*/ 2147483647 h 42"/>
                      <a:gd name="T10" fmla="*/ 2147483647 w 54"/>
                      <a:gd name="T11" fmla="*/ 2147483647 h 42"/>
                      <a:gd name="T12" fmla="*/ 2147483647 w 54"/>
                      <a:gd name="T13" fmla="*/ 2147483647 h 42"/>
                      <a:gd name="T14" fmla="*/ 2147483647 w 54"/>
                      <a:gd name="T15" fmla="*/ 2147483647 h 42"/>
                      <a:gd name="T16" fmla="*/ 2147483647 w 54"/>
                      <a:gd name="T17" fmla="*/ 0 h 42"/>
                      <a:gd name="T18" fmla="*/ 2147483647 w 54"/>
                      <a:gd name="T19" fmla="*/ 0 h 42"/>
                      <a:gd name="T20" fmla="*/ 2147483647 w 54"/>
                      <a:gd name="T21" fmla="*/ 2147483647 h 42"/>
                      <a:gd name="T22" fmla="*/ 2147483647 w 54"/>
                      <a:gd name="T23" fmla="*/ 2147483647 h 42"/>
                      <a:gd name="T24" fmla="*/ 0 w 54"/>
                      <a:gd name="T25" fmla="*/ 2147483647 h 42"/>
                      <a:gd name="T26" fmla="*/ 0 w 54"/>
                      <a:gd name="T27" fmla="*/ 2147483647 h 42"/>
                      <a:gd name="T28" fmla="*/ 2147483647 w 54"/>
                      <a:gd name="T29" fmla="*/ 2147483647 h 42"/>
                      <a:gd name="T30" fmla="*/ 2147483647 w 54"/>
                      <a:gd name="T31" fmla="*/ 2147483647 h 4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4"/>
                      <a:gd name="T49" fmla="*/ 0 h 42"/>
                      <a:gd name="T50" fmla="*/ 54 w 54"/>
                      <a:gd name="T51" fmla="*/ 42 h 4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4" h="42">
                        <a:moveTo>
                          <a:pt x="18" y="42"/>
                        </a:moveTo>
                        <a:lnTo>
                          <a:pt x="30" y="36"/>
                        </a:lnTo>
                        <a:lnTo>
                          <a:pt x="48" y="42"/>
                        </a:lnTo>
                        <a:lnTo>
                          <a:pt x="54" y="36"/>
                        </a:lnTo>
                        <a:lnTo>
                          <a:pt x="54" y="24"/>
                        </a:lnTo>
                        <a:lnTo>
                          <a:pt x="42" y="18"/>
                        </a:lnTo>
                        <a:lnTo>
                          <a:pt x="36" y="18"/>
                        </a:lnTo>
                        <a:lnTo>
                          <a:pt x="30" y="12"/>
                        </a:lnTo>
                        <a:lnTo>
                          <a:pt x="30" y="0"/>
                        </a:lnTo>
                        <a:lnTo>
                          <a:pt x="24" y="0"/>
                        </a:lnTo>
                        <a:lnTo>
                          <a:pt x="18" y="6"/>
                        </a:lnTo>
                        <a:lnTo>
                          <a:pt x="6" y="12"/>
                        </a:lnTo>
                        <a:lnTo>
                          <a:pt x="0" y="12"/>
                        </a:lnTo>
                        <a:lnTo>
                          <a:pt x="0" y="18"/>
                        </a:lnTo>
                        <a:lnTo>
                          <a:pt x="12" y="30"/>
                        </a:lnTo>
                        <a:lnTo>
                          <a:pt x="18" y="42"/>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79" name="Liechtenstein"/>
                  <p:cNvSpPr>
                    <a:spLocks/>
                  </p:cNvSpPr>
                  <p:nvPr/>
                </p:nvSpPr>
                <p:spPr bwMode="gray">
                  <a:xfrm>
                    <a:off x="4395174" y="2508237"/>
                    <a:ext cx="6223" cy="9525"/>
                  </a:xfrm>
                  <a:custGeom>
                    <a:avLst/>
                    <a:gdLst>
                      <a:gd name="T0" fmla="*/ 2147483647 w 18"/>
                      <a:gd name="T1" fmla="*/ 0 h 24"/>
                      <a:gd name="T2" fmla="*/ 2147483647 w 18"/>
                      <a:gd name="T3" fmla="*/ 2147483647 h 24"/>
                      <a:gd name="T4" fmla="*/ 0 w 18"/>
                      <a:gd name="T5" fmla="*/ 2147483647 h 24"/>
                      <a:gd name="T6" fmla="*/ 0 w 18"/>
                      <a:gd name="T7" fmla="*/ 2147483647 h 24"/>
                      <a:gd name="T8" fmla="*/ 2147483647 w 18"/>
                      <a:gd name="T9" fmla="*/ 2147483647 h 24"/>
                      <a:gd name="T10" fmla="*/ 2147483647 w 18"/>
                      <a:gd name="T11" fmla="*/ 0 h 24"/>
                      <a:gd name="T12" fmla="*/ 2147483647 w 18"/>
                      <a:gd name="T13" fmla="*/ 0 h 24"/>
                      <a:gd name="T14" fmla="*/ 0 60000 65536"/>
                      <a:gd name="T15" fmla="*/ 0 60000 65536"/>
                      <a:gd name="T16" fmla="*/ 0 60000 65536"/>
                      <a:gd name="T17" fmla="*/ 0 60000 65536"/>
                      <a:gd name="T18" fmla="*/ 0 60000 65536"/>
                      <a:gd name="T19" fmla="*/ 0 60000 65536"/>
                      <a:gd name="T20" fmla="*/ 0 60000 65536"/>
                      <a:gd name="T21" fmla="*/ 0 w 18"/>
                      <a:gd name="T22" fmla="*/ 0 h 24"/>
                      <a:gd name="T23" fmla="*/ 18 w 18"/>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8" h="24">
                        <a:moveTo>
                          <a:pt x="12" y="0"/>
                        </a:moveTo>
                        <a:lnTo>
                          <a:pt x="6" y="6"/>
                        </a:lnTo>
                        <a:lnTo>
                          <a:pt x="0" y="18"/>
                        </a:lnTo>
                        <a:lnTo>
                          <a:pt x="0" y="24"/>
                        </a:lnTo>
                        <a:lnTo>
                          <a:pt x="18" y="24"/>
                        </a:lnTo>
                        <a:lnTo>
                          <a:pt x="18" y="0"/>
                        </a:lnTo>
                        <a:lnTo>
                          <a:pt x="12" y="0"/>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80" name="Andorra"/>
                  <p:cNvSpPr>
                    <a:spLocks/>
                  </p:cNvSpPr>
                  <p:nvPr/>
                </p:nvSpPr>
                <p:spPr bwMode="gray">
                  <a:xfrm>
                    <a:off x="4189831" y="2659049"/>
                    <a:ext cx="12445" cy="6350"/>
                  </a:xfrm>
                  <a:custGeom>
                    <a:avLst/>
                    <a:gdLst>
                      <a:gd name="T0" fmla="*/ 2147483647 w 30"/>
                      <a:gd name="T1" fmla="*/ 2147483647 h 18"/>
                      <a:gd name="T2" fmla="*/ 2147483647 w 30"/>
                      <a:gd name="T3" fmla="*/ 2147483647 h 18"/>
                      <a:gd name="T4" fmla="*/ 2147483647 w 30"/>
                      <a:gd name="T5" fmla="*/ 2147483647 h 18"/>
                      <a:gd name="T6" fmla="*/ 2147483647 w 30"/>
                      <a:gd name="T7" fmla="*/ 0 h 18"/>
                      <a:gd name="T8" fmla="*/ 0 w 30"/>
                      <a:gd name="T9" fmla="*/ 0 h 18"/>
                      <a:gd name="T10" fmla="*/ 2147483647 w 30"/>
                      <a:gd name="T11" fmla="*/ 2147483647 h 18"/>
                      <a:gd name="T12" fmla="*/ 0 60000 65536"/>
                      <a:gd name="T13" fmla="*/ 0 60000 65536"/>
                      <a:gd name="T14" fmla="*/ 0 60000 65536"/>
                      <a:gd name="T15" fmla="*/ 0 60000 65536"/>
                      <a:gd name="T16" fmla="*/ 0 60000 65536"/>
                      <a:gd name="T17" fmla="*/ 0 60000 65536"/>
                      <a:gd name="T18" fmla="*/ 0 w 30"/>
                      <a:gd name="T19" fmla="*/ 0 h 18"/>
                      <a:gd name="T20" fmla="*/ 30 w 30"/>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0" h="18">
                        <a:moveTo>
                          <a:pt x="6" y="18"/>
                        </a:moveTo>
                        <a:lnTo>
                          <a:pt x="18" y="12"/>
                        </a:lnTo>
                        <a:lnTo>
                          <a:pt x="30" y="12"/>
                        </a:lnTo>
                        <a:lnTo>
                          <a:pt x="30" y="0"/>
                        </a:lnTo>
                        <a:lnTo>
                          <a:pt x="0" y="0"/>
                        </a:lnTo>
                        <a:lnTo>
                          <a:pt x="6" y="1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grpSp>
            <p:grpSp>
              <p:nvGrpSpPr>
                <p:cNvPr id="7" name="Gruppieren 233"/>
                <p:cNvGrpSpPr/>
                <p:nvPr/>
              </p:nvGrpSpPr>
              <p:grpSpPr>
                <a:xfrm>
                  <a:off x="5003425" y="2142372"/>
                  <a:ext cx="2991479" cy="1376362"/>
                  <a:chOff x="5003426" y="2136762"/>
                  <a:chExt cx="2991479" cy="1376362"/>
                </a:xfrm>
                <a:grpFill/>
                <a:effectLst>
                  <a:outerShdw blurRad="50800" dist="38100" dir="2700000" algn="tl" rotWithShape="0">
                    <a:prstClr val="black">
                      <a:alpha val="40000"/>
                    </a:prstClr>
                  </a:outerShdw>
                </a:effectLst>
              </p:grpSpPr>
              <p:sp>
                <p:nvSpPr>
                  <p:cNvPr id="274" name="Russia (Urup,Simushir)"/>
                  <p:cNvSpPr>
                    <a:spLocks noEditPoints="1"/>
                  </p:cNvSpPr>
                  <p:nvPr/>
                </p:nvSpPr>
                <p:spPr bwMode="gray">
                  <a:xfrm>
                    <a:off x="7875121" y="2136762"/>
                    <a:ext cx="119784" cy="485775"/>
                  </a:xfrm>
                  <a:custGeom>
                    <a:avLst/>
                    <a:gdLst>
                      <a:gd name="T0" fmla="*/ 0 w 300"/>
                      <a:gd name="T1" fmla="*/ 2147483647 h 1194"/>
                      <a:gd name="T2" fmla="*/ 2147483647 w 300"/>
                      <a:gd name="T3" fmla="*/ 2147483647 h 1194"/>
                      <a:gd name="T4" fmla="*/ 2147483647 w 300"/>
                      <a:gd name="T5" fmla="*/ 2147483647 h 1194"/>
                      <a:gd name="T6" fmla="*/ 2147483647 w 300"/>
                      <a:gd name="T7" fmla="*/ 2147483647 h 1194"/>
                      <a:gd name="T8" fmla="*/ 0 w 300"/>
                      <a:gd name="T9" fmla="*/ 2147483647 h 1194"/>
                      <a:gd name="T10" fmla="*/ 2147483647 w 300"/>
                      <a:gd name="T11" fmla="*/ 2147483647 h 1194"/>
                      <a:gd name="T12" fmla="*/ 2147483647 w 300"/>
                      <a:gd name="T13" fmla="*/ 2147483647 h 1194"/>
                      <a:gd name="T14" fmla="*/ 2147483647 w 300"/>
                      <a:gd name="T15" fmla="*/ 2147483647 h 1194"/>
                      <a:gd name="T16" fmla="*/ 2147483647 w 300"/>
                      <a:gd name="T17" fmla="*/ 2147483647 h 1194"/>
                      <a:gd name="T18" fmla="*/ 2147483647 w 300"/>
                      <a:gd name="T19" fmla="*/ 2147483647 h 1194"/>
                      <a:gd name="T20" fmla="*/ 2147483647 w 300"/>
                      <a:gd name="T21" fmla="*/ 2147483647 h 1194"/>
                      <a:gd name="T22" fmla="*/ 2147483647 w 300"/>
                      <a:gd name="T23" fmla="*/ 2147483647 h 1194"/>
                      <a:gd name="T24" fmla="*/ 2147483647 w 300"/>
                      <a:gd name="T25" fmla="*/ 2147483647 h 1194"/>
                      <a:gd name="T26" fmla="*/ 2147483647 w 300"/>
                      <a:gd name="T27" fmla="*/ 2147483647 h 1194"/>
                      <a:gd name="T28" fmla="*/ 2147483647 w 300"/>
                      <a:gd name="T29" fmla="*/ 2147483647 h 1194"/>
                      <a:gd name="T30" fmla="*/ 2147483647 w 300"/>
                      <a:gd name="T31" fmla="*/ 2147483647 h 1194"/>
                      <a:gd name="T32" fmla="*/ 2147483647 w 300"/>
                      <a:gd name="T33" fmla="*/ 2147483647 h 1194"/>
                      <a:gd name="T34" fmla="*/ 2147483647 w 300"/>
                      <a:gd name="T35" fmla="*/ 2147483647 h 1194"/>
                      <a:gd name="T36" fmla="*/ 2147483647 w 300"/>
                      <a:gd name="T37" fmla="*/ 2147483647 h 1194"/>
                      <a:gd name="T38" fmla="*/ 2147483647 w 300"/>
                      <a:gd name="T39" fmla="*/ 2147483647 h 1194"/>
                      <a:gd name="T40" fmla="*/ 2147483647 w 300"/>
                      <a:gd name="T41" fmla="*/ 2147483647 h 1194"/>
                      <a:gd name="T42" fmla="*/ 2147483647 w 300"/>
                      <a:gd name="T43" fmla="*/ 2147483647 h 1194"/>
                      <a:gd name="T44" fmla="*/ 2147483647 w 300"/>
                      <a:gd name="T45" fmla="*/ 2147483647 h 1194"/>
                      <a:gd name="T46" fmla="*/ 2147483647 w 300"/>
                      <a:gd name="T47" fmla="*/ 2147483647 h 1194"/>
                      <a:gd name="T48" fmla="*/ 2147483647 w 300"/>
                      <a:gd name="T49" fmla="*/ 2147483647 h 1194"/>
                      <a:gd name="T50" fmla="*/ 2147483647 w 300"/>
                      <a:gd name="T51" fmla="*/ 2147483647 h 1194"/>
                      <a:gd name="T52" fmla="*/ 2147483647 w 300"/>
                      <a:gd name="T53" fmla="*/ 2147483647 h 1194"/>
                      <a:gd name="T54" fmla="*/ 2147483647 w 300"/>
                      <a:gd name="T55" fmla="*/ 2147483647 h 1194"/>
                      <a:gd name="T56" fmla="*/ 2147483647 w 300"/>
                      <a:gd name="T57" fmla="*/ 2147483647 h 1194"/>
                      <a:gd name="T58" fmla="*/ 2147483647 w 300"/>
                      <a:gd name="T59" fmla="*/ 2147483647 h 1194"/>
                      <a:gd name="T60" fmla="*/ 2147483647 w 300"/>
                      <a:gd name="T61" fmla="*/ 2147483647 h 1194"/>
                      <a:gd name="T62" fmla="*/ 2147483647 w 300"/>
                      <a:gd name="T63" fmla="*/ 2147483647 h 1194"/>
                      <a:gd name="T64" fmla="*/ 2147483647 w 300"/>
                      <a:gd name="T65" fmla="*/ 2147483647 h 1194"/>
                      <a:gd name="T66" fmla="*/ 2147483647 w 300"/>
                      <a:gd name="T67" fmla="*/ 2147483647 h 1194"/>
                      <a:gd name="T68" fmla="*/ 2147483647 w 300"/>
                      <a:gd name="T69" fmla="*/ 2147483647 h 1194"/>
                      <a:gd name="T70" fmla="*/ 2147483647 w 300"/>
                      <a:gd name="T71" fmla="*/ 2147483647 h 1194"/>
                      <a:gd name="T72" fmla="*/ 2147483647 w 300"/>
                      <a:gd name="T73" fmla="*/ 2147483647 h 1194"/>
                      <a:gd name="T74" fmla="*/ 2147483647 w 300"/>
                      <a:gd name="T75" fmla="*/ 2147483647 h 1194"/>
                      <a:gd name="T76" fmla="*/ 2147483647 w 300"/>
                      <a:gd name="T77" fmla="*/ 2147483647 h 1194"/>
                      <a:gd name="T78" fmla="*/ 2147483647 w 300"/>
                      <a:gd name="T79" fmla="*/ 2147483647 h 1194"/>
                      <a:gd name="T80" fmla="*/ 2147483647 w 300"/>
                      <a:gd name="T81" fmla="*/ 2147483647 h 1194"/>
                      <a:gd name="T82" fmla="*/ 2147483647 w 300"/>
                      <a:gd name="T83" fmla="*/ 2147483647 h 1194"/>
                      <a:gd name="T84" fmla="*/ 2147483647 w 300"/>
                      <a:gd name="T85" fmla="*/ 2147483647 h 1194"/>
                      <a:gd name="T86" fmla="*/ 2147483647 w 300"/>
                      <a:gd name="T87" fmla="*/ 2147483647 h 1194"/>
                      <a:gd name="T88" fmla="*/ 2147483647 w 300"/>
                      <a:gd name="T89" fmla="*/ 2147483647 h 1194"/>
                      <a:gd name="T90" fmla="*/ 2147483647 w 300"/>
                      <a:gd name="T91" fmla="*/ 2147483647 h 1194"/>
                      <a:gd name="T92" fmla="*/ 2147483647 w 300"/>
                      <a:gd name="T93" fmla="*/ 2147483647 h 1194"/>
                      <a:gd name="T94" fmla="*/ 2147483647 w 300"/>
                      <a:gd name="T95" fmla="*/ 2147483647 h 1194"/>
                      <a:gd name="T96" fmla="*/ 2147483647 w 300"/>
                      <a:gd name="T97" fmla="*/ 2147483647 h 1194"/>
                      <a:gd name="T98" fmla="*/ 2147483647 w 300"/>
                      <a:gd name="T99" fmla="*/ 0 h 1194"/>
                      <a:gd name="T100" fmla="*/ 2147483647 w 300"/>
                      <a:gd name="T101" fmla="*/ 2147483647 h 11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300"/>
                      <a:gd name="T154" fmla="*/ 0 h 1194"/>
                      <a:gd name="T155" fmla="*/ 300 w 300"/>
                      <a:gd name="T156" fmla="*/ 1194 h 1194"/>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300" h="1194">
                        <a:moveTo>
                          <a:pt x="0" y="1194"/>
                        </a:moveTo>
                        <a:lnTo>
                          <a:pt x="12" y="1188"/>
                        </a:lnTo>
                        <a:lnTo>
                          <a:pt x="36" y="1146"/>
                        </a:lnTo>
                        <a:lnTo>
                          <a:pt x="18" y="1134"/>
                        </a:lnTo>
                        <a:lnTo>
                          <a:pt x="0" y="1194"/>
                        </a:lnTo>
                        <a:close/>
                        <a:moveTo>
                          <a:pt x="114" y="1068"/>
                        </a:moveTo>
                        <a:lnTo>
                          <a:pt x="72" y="1062"/>
                        </a:lnTo>
                        <a:lnTo>
                          <a:pt x="54" y="1134"/>
                        </a:lnTo>
                        <a:lnTo>
                          <a:pt x="66" y="1134"/>
                        </a:lnTo>
                        <a:lnTo>
                          <a:pt x="84" y="1104"/>
                        </a:lnTo>
                        <a:lnTo>
                          <a:pt x="132" y="1074"/>
                        </a:lnTo>
                        <a:lnTo>
                          <a:pt x="120" y="1050"/>
                        </a:lnTo>
                        <a:lnTo>
                          <a:pt x="114" y="1068"/>
                        </a:lnTo>
                        <a:close/>
                        <a:moveTo>
                          <a:pt x="192" y="1008"/>
                        </a:moveTo>
                        <a:lnTo>
                          <a:pt x="186" y="1008"/>
                        </a:lnTo>
                        <a:lnTo>
                          <a:pt x="180" y="1020"/>
                        </a:lnTo>
                        <a:lnTo>
                          <a:pt x="174" y="1026"/>
                        </a:lnTo>
                        <a:lnTo>
                          <a:pt x="168" y="1038"/>
                        </a:lnTo>
                        <a:lnTo>
                          <a:pt x="168" y="1044"/>
                        </a:lnTo>
                        <a:lnTo>
                          <a:pt x="174" y="1050"/>
                        </a:lnTo>
                        <a:lnTo>
                          <a:pt x="180" y="1050"/>
                        </a:lnTo>
                        <a:lnTo>
                          <a:pt x="198" y="1032"/>
                        </a:lnTo>
                        <a:lnTo>
                          <a:pt x="198" y="1014"/>
                        </a:lnTo>
                        <a:lnTo>
                          <a:pt x="192" y="1008"/>
                        </a:lnTo>
                        <a:close/>
                        <a:moveTo>
                          <a:pt x="282" y="636"/>
                        </a:moveTo>
                        <a:lnTo>
                          <a:pt x="264" y="654"/>
                        </a:lnTo>
                        <a:lnTo>
                          <a:pt x="276" y="678"/>
                        </a:lnTo>
                        <a:lnTo>
                          <a:pt x="258" y="678"/>
                        </a:lnTo>
                        <a:lnTo>
                          <a:pt x="258" y="702"/>
                        </a:lnTo>
                        <a:lnTo>
                          <a:pt x="282" y="702"/>
                        </a:lnTo>
                        <a:lnTo>
                          <a:pt x="294" y="684"/>
                        </a:lnTo>
                        <a:lnTo>
                          <a:pt x="282" y="654"/>
                        </a:lnTo>
                        <a:lnTo>
                          <a:pt x="300" y="654"/>
                        </a:lnTo>
                        <a:lnTo>
                          <a:pt x="282" y="636"/>
                        </a:lnTo>
                        <a:close/>
                        <a:moveTo>
                          <a:pt x="276" y="768"/>
                        </a:moveTo>
                        <a:lnTo>
                          <a:pt x="294" y="750"/>
                        </a:lnTo>
                        <a:lnTo>
                          <a:pt x="270" y="732"/>
                        </a:lnTo>
                        <a:lnTo>
                          <a:pt x="276" y="768"/>
                        </a:lnTo>
                        <a:close/>
                        <a:moveTo>
                          <a:pt x="258" y="954"/>
                        </a:moveTo>
                        <a:lnTo>
                          <a:pt x="258" y="924"/>
                        </a:lnTo>
                        <a:lnTo>
                          <a:pt x="240" y="948"/>
                        </a:lnTo>
                        <a:lnTo>
                          <a:pt x="258" y="954"/>
                        </a:lnTo>
                        <a:close/>
                        <a:moveTo>
                          <a:pt x="252" y="858"/>
                        </a:moveTo>
                        <a:lnTo>
                          <a:pt x="270" y="858"/>
                        </a:lnTo>
                        <a:lnTo>
                          <a:pt x="252" y="840"/>
                        </a:lnTo>
                        <a:lnTo>
                          <a:pt x="252" y="858"/>
                        </a:lnTo>
                        <a:close/>
                        <a:moveTo>
                          <a:pt x="126" y="24"/>
                        </a:moveTo>
                        <a:lnTo>
                          <a:pt x="144" y="60"/>
                        </a:lnTo>
                        <a:lnTo>
                          <a:pt x="174" y="24"/>
                        </a:lnTo>
                        <a:lnTo>
                          <a:pt x="162" y="0"/>
                        </a:lnTo>
                        <a:lnTo>
                          <a:pt x="126" y="24"/>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75" name="Parcel Islands"/>
                  <p:cNvSpPr>
                    <a:spLocks noEditPoints="1"/>
                  </p:cNvSpPr>
                  <p:nvPr/>
                </p:nvSpPr>
                <p:spPr bwMode="gray">
                  <a:xfrm>
                    <a:off x="7245091" y="3487724"/>
                    <a:ext cx="37335" cy="25400"/>
                  </a:xfrm>
                  <a:custGeom>
                    <a:avLst/>
                    <a:gdLst>
                      <a:gd name="T0" fmla="*/ 2147483647 w 96"/>
                      <a:gd name="T1" fmla="*/ 2147483647 h 66"/>
                      <a:gd name="T2" fmla="*/ 2147483647 w 96"/>
                      <a:gd name="T3" fmla="*/ 2147483647 h 66"/>
                      <a:gd name="T4" fmla="*/ 0 w 96"/>
                      <a:gd name="T5" fmla="*/ 2147483647 h 66"/>
                      <a:gd name="T6" fmla="*/ 0 w 96"/>
                      <a:gd name="T7" fmla="*/ 2147483647 h 66"/>
                      <a:gd name="T8" fmla="*/ 2147483647 w 96"/>
                      <a:gd name="T9" fmla="*/ 2147483647 h 66"/>
                      <a:gd name="T10" fmla="*/ 2147483647 w 96"/>
                      <a:gd name="T11" fmla="*/ 2147483647 h 66"/>
                      <a:gd name="T12" fmla="*/ 2147483647 w 96"/>
                      <a:gd name="T13" fmla="*/ 2147483647 h 66"/>
                      <a:gd name="T14" fmla="*/ 2147483647 w 96"/>
                      <a:gd name="T15" fmla="*/ 2147483647 h 66"/>
                      <a:gd name="T16" fmla="*/ 2147483647 w 96"/>
                      <a:gd name="T17" fmla="*/ 2147483647 h 66"/>
                      <a:gd name="T18" fmla="*/ 2147483647 w 96"/>
                      <a:gd name="T19" fmla="*/ 0 h 66"/>
                      <a:gd name="T20" fmla="*/ 2147483647 w 96"/>
                      <a:gd name="T21" fmla="*/ 2147483647 h 66"/>
                      <a:gd name="T22" fmla="*/ 2147483647 w 96"/>
                      <a:gd name="T23" fmla="*/ 2147483647 h 66"/>
                      <a:gd name="T24" fmla="*/ 2147483647 w 96"/>
                      <a:gd name="T25" fmla="*/ 2147483647 h 66"/>
                      <a:gd name="T26" fmla="*/ 2147483647 w 96"/>
                      <a:gd name="T27" fmla="*/ 2147483647 h 66"/>
                      <a:gd name="T28" fmla="*/ 2147483647 w 96"/>
                      <a:gd name="T29" fmla="*/ 0 h 66"/>
                      <a:gd name="T30" fmla="*/ 2147483647 w 96"/>
                      <a:gd name="T31" fmla="*/ 0 h 66"/>
                      <a:gd name="T32" fmla="*/ 2147483647 w 96"/>
                      <a:gd name="T33" fmla="*/ 2147483647 h 66"/>
                      <a:gd name="T34" fmla="*/ 2147483647 w 96"/>
                      <a:gd name="T35" fmla="*/ 2147483647 h 66"/>
                      <a:gd name="T36" fmla="*/ 2147483647 w 96"/>
                      <a:gd name="T37" fmla="*/ 2147483647 h 66"/>
                      <a:gd name="T38" fmla="*/ 2147483647 w 96"/>
                      <a:gd name="T39" fmla="*/ 2147483647 h 66"/>
                      <a:gd name="T40" fmla="*/ 2147483647 w 96"/>
                      <a:gd name="T41" fmla="*/ 2147483647 h 66"/>
                      <a:gd name="T42" fmla="*/ 2147483647 w 96"/>
                      <a:gd name="T43" fmla="*/ 2147483647 h 66"/>
                      <a:gd name="T44" fmla="*/ 2147483647 w 96"/>
                      <a:gd name="T45" fmla="*/ 2147483647 h 6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6"/>
                      <a:gd name="T70" fmla="*/ 0 h 66"/>
                      <a:gd name="T71" fmla="*/ 96 w 96"/>
                      <a:gd name="T72" fmla="*/ 66 h 6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6" h="66">
                        <a:moveTo>
                          <a:pt x="12" y="42"/>
                        </a:moveTo>
                        <a:lnTo>
                          <a:pt x="6" y="42"/>
                        </a:lnTo>
                        <a:lnTo>
                          <a:pt x="0" y="48"/>
                        </a:lnTo>
                        <a:lnTo>
                          <a:pt x="0" y="60"/>
                        </a:lnTo>
                        <a:lnTo>
                          <a:pt x="6" y="66"/>
                        </a:lnTo>
                        <a:lnTo>
                          <a:pt x="12" y="66"/>
                        </a:lnTo>
                        <a:lnTo>
                          <a:pt x="24" y="54"/>
                        </a:lnTo>
                        <a:lnTo>
                          <a:pt x="24" y="42"/>
                        </a:lnTo>
                        <a:lnTo>
                          <a:pt x="12" y="42"/>
                        </a:lnTo>
                        <a:close/>
                        <a:moveTo>
                          <a:pt x="42" y="0"/>
                        </a:moveTo>
                        <a:lnTo>
                          <a:pt x="42" y="18"/>
                        </a:lnTo>
                        <a:lnTo>
                          <a:pt x="54" y="30"/>
                        </a:lnTo>
                        <a:lnTo>
                          <a:pt x="60" y="30"/>
                        </a:lnTo>
                        <a:lnTo>
                          <a:pt x="72" y="24"/>
                        </a:lnTo>
                        <a:lnTo>
                          <a:pt x="48" y="0"/>
                        </a:lnTo>
                        <a:lnTo>
                          <a:pt x="42" y="0"/>
                        </a:lnTo>
                        <a:close/>
                        <a:moveTo>
                          <a:pt x="96" y="36"/>
                        </a:moveTo>
                        <a:lnTo>
                          <a:pt x="78" y="36"/>
                        </a:lnTo>
                        <a:lnTo>
                          <a:pt x="72" y="42"/>
                        </a:lnTo>
                        <a:lnTo>
                          <a:pt x="72" y="54"/>
                        </a:lnTo>
                        <a:lnTo>
                          <a:pt x="84" y="60"/>
                        </a:lnTo>
                        <a:lnTo>
                          <a:pt x="96" y="48"/>
                        </a:lnTo>
                        <a:lnTo>
                          <a:pt x="96" y="36"/>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sp>
                <p:nvSpPr>
                  <p:cNvPr id="276" name="Cyprus"/>
                  <p:cNvSpPr>
                    <a:spLocks/>
                  </p:cNvSpPr>
                  <p:nvPr/>
                </p:nvSpPr>
                <p:spPr bwMode="gray">
                  <a:xfrm>
                    <a:off x="5003426" y="2887649"/>
                    <a:ext cx="59114" cy="34925"/>
                  </a:xfrm>
                  <a:custGeom>
                    <a:avLst/>
                    <a:gdLst>
                      <a:gd name="T0" fmla="*/ 0 w 150"/>
                      <a:gd name="T1" fmla="*/ 2147483647 h 84"/>
                      <a:gd name="T2" fmla="*/ 2147483647 w 150"/>
                      <a:gd name="T3" fmla="*/ 2147483647 h 84"/>
                      <a:gd name="T4" fmla="*/ 2147483647 w 150"/>
                      <a:gd name="T5" fmla="*/ 2147483647 h 84"/>
                      <a:gd name="T6" fmla="*/ 2147483647 w 150"/>
                      <a:gd name="T7" fmla="*/ 2147483647 h 84"/>
                      <a:gd name="T8" fmla="*/ 2147483647 w 150"/>
                      <a:gd name="T9" fmla="*/ 2147483647 h 84"/>
                      <a:gd name="T10" fmla="*/ 2147483647 w 150"/>
                      <a:gd name="T11" fmla="*/ 2147483647 h 84"/>
                      <a:gd name="T12" fmla="*/ 2147483647 w 150"/>
                      <a:gd name="T13" fmla="*/ 2147483647 h 84"/>
                      <a:gd name="T14" fmla="*/ 2147483647 w 150"/>
                      <a:gd name="T15" fmla="*/ 2147483647 h 84"/>
                      <a:gd name="T16" fmla="*/ 2147483647 w 150"/>
                      <a:gd name="T17" fmla="*/ 2147483647 h 84"/>
                      <a:gd name="T18" fmla="*/ 2147483647 w 150"/>
                      <a:gd name="T19" fmla="*/ 2147483647 h 84"/>
                      <a:gd name="T20" fmla="*/ 2147483647 w 150"/>
                      <a:gd name="T21" fmla="*/ 2147483647 h 84"/>
                      <a:gd name="T22" fmla="*/ 2147483647 w 150"/>
                      <a:gd name="T23" fmla="*/ 2147483647 h 84"/>
                      <a:gd name="T24" fmla="*/ 2147483647 w 150"/>
                      <a:gd name="T25" fmla="*/ 2147483647 h 84"/>
                      <a:gd name="T26" fmla="*/ 2147483647 w 150"/>
                      <a:gd name="T27" fmla="*/ 0 h 84"/>
                      <a:gd name="T28" fmla="*/ 2147483647 w 150"/>
                      <a:gd name="T29" fmla="*/ 2147483647 h 84"/>
                      <a:gd name="T30" fmla="*/ 2147483647 w 150"/>
                      <a:gd name="T31" fmla="*/ 2147483647 h 84"/>
                      <a:gd name="T32" fmla="*/ 2147483647 w 150"/>
                      <a:gd name="T33" fmla="*/ 2147483647 h 84"/>
                      <a:gd name="T34" fmla="*/ 2147483647 w 150"/>
                      <a:gd name="T35" fmla="*/ 2147483647 h 84"/>
                      <a:gd name="T36" fmla="*/ 2147483647 w 150"/>
                      <a:gd name="T37" fmla="*/ 2147483647 h 84"/>
                      <a:gd name="T38" fmla="*/ 0 w 150"/>
                      <a:gd name="T39" fmla="*/ 2147483647 h 84"/>
                      <a:gd name="T40" fmla="*/ 0 w 150"/>
                      <a:gd name="T41" fmla="*/ 2147483647 h 8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0"/>
                      <a:gd name="T64" fmla="*/ 0 h 84"/>
                      <a:gd name="T65" fmla="*/ 150 w 150"/>
                      <a:gd name="T66" fmla="*/ 84 h 8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0" h="84">
                        <a:moveTo>
                          <a:pt x="0" y="48"/>
                        </a:moveTo>
                        <a:lnTo>
                          <a:pt x="6" y="60"/>
                        </a:lnTo>
                        <a:lnTo>
                          <a:pt x="30" y="72"/>
                        </a:lnTo>
                        <a:lnTo>
                          <a:pt x="36" y="84"/>
                        </a:lnTo>
                        <a:lnTo>
                          <a:pt x="54" y="84"/>
                        </a:lnTo>
                        <a:lnTo>
                          <a:pt x="60" y="78"/>
                        </a:lnTo>
                        <a:lnTo>
                          <a:pt x="72" y="72"/>
                        </a:lnTo>
                        <a:lnTo>
                          <a:pt x="78" y="66"/>
                        </a:lnTo>
                        <a:lnTo>
                          <a:pt x="90" y="60"/>
                        </a:lnTo>
                        <a:lnTo>
                          <a:pt x="96" y="54"/>
                        </a:lnTo>
                        <a:lnTo>
                          <a:pt x="102" y="60"/>
                        </a:lnTo>
                        <a:lnTo>
                          <a:pt x="120" y="60"/>
                        </a:lnTo>
                        <a:lnTo>
                          <a:pt x="120" y="36"/>
                        </a:lnTo>
                        <a:lnTo>
                          <a:pt x="150" y="0"/>
                        </a:lnTo>
                        <a:lnTo>
                          <a:pt x="108" y="24"/>
                        </a:lnTo>
                        <a:lnTo>
                          <a:pt x="54" y="24"/>
                        </a:lnTo>
                        <a:lnTo>
                          <a:pt x="48" y="30"/>
                        </a:lnTo>
                        <a:lnTo>
                          <a:pt x="48" y="36"/>
                        </a:lnTo>
                        <a:lnTo>
                          <a:pt x="12" y="36"/>
                        </a:lnTo>
                        <a:lnTo>
                          <a:pt x="0" y="42"/>
                        </a:lnTo>
                        <a:lnTo>
                          <a:pt x="0" y="48"/>
                        </a:lnTo>
                        <a:close/>
                      </a:path>
                    </a:pathLst>
                  </a:custGeom>
                  <a:grp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smtClean="0">
                      <a:solidFill>
                        <a:srgbClr val="000000"/>
                      </a:solidFill>
                      <a:cs typeface="Arial" pitchFamily="34" charset="0"/>
                    </a:endParaRPr>
                  </a:p>
                </p:txBody>
              </p:sp>
            </p:grpSp>
          </p:grpSp>
          <p:sp>
            <p:nvSpPr>
              <p:cNvPr id="268" name="Freeform 199"/>
              <p:cNvSpPr>
                <a:spLocks noEditPoints="1"/>
              </p:cNvSpPr>
              <p:nvPr/>
            </p:nvSpPr>
            <p:spPr bwMode="gray">
              <a:xfrm>
                <a:off x="4644008" y="3156037"/>
                <a:ext cx="54205" cy="45719"/>
              </a:xfrm>
              <a:custGeom>
                <a:avLst/>
                <a:gdLst/>
                <a:ahLst/>
                <a:cxnLst>
                  <a:cxn ang="0">
                    <a:pos x="6" y="75"/>
                  </a:cxn>
                  <a:cxn ang="0">
                    <a:pos x="0" y="72"/>
                  </a:cxn>
                  <a:cxn ang="0">
                    <a:pos x="227" y="122"/>
                  </a:cxn>
                  <a:cxn ang="0">
                    <a:pos x="218" y="127"/>
                  </a:cxn>
                  <a:cxn ang="0">
                    <a:pos x="214" y="120"/>
                  </a:cxn>
                  <a:cxn ang="0">
                    <a:pos x="206" y="113"/>
                  </a:cxn>
                  <a:cxn ang="0">
                    <a:pos x="197" y="111"/>
                  </a:cxn>
                  <a:cxn ang="0">
                    <a:pos x="190" y="110"/>
                  </a:cxn>
                  <a:cxn ang="0">
                    <a:pos x="185" y="110"/>
                  </a:cxn>
                  <a:cxn ang="0">
                    <a:pos x="185" y="101"/>
                  </a:cxn>
                  <a:cxn ang="0">
                    <a:pos x="189" y="95"/>
                  </a:cxn>
                  <a:cxn ang="0">
                    <a:pos x="187" y="84"/>
                  </a:cxn>
                  <a:cxn ang="0">
                    <a:pos x="177" y="78"/>
                  </a:cxn>
                  <a:cxn ang="0">
                    <a:pos x="169" y="76"/>
                  </a:cxn>
                  <a:cxn ang="0">
                    <a:pos x="170" y="61"/>
                  </a:cxn>
                  <a:cxn ang="0">
                    <a:pos x="165" y="56"/>
                  </a:cxn>
                  <a:cxn ang="0">
                    <a:pos x="161" y="61"/>
                  </a:cxn>
                  <a:cxn ang="0">
                    <a:pos x="157" y="53"/>
                  </a:cxn>
                  <a:cxn ang="0">
                    <a:pos x="158" y="35"/>
                  </a:cxn>
                  <a:cxn ang="0">
                    <a:pos x="154" y="32"/>
                  </a:cxn>
                  <a:cxn ang="0">
                    <a:pos x="147" y="32"/>
                  </a:cxn>
                  <a:cxn ang="0">
                    <a:pos x="137" y="32"/>
                  </a:cxn>
                  <a:cxn ang="0">
                    <a:pos x="126" y="27"/>
                  </a:cxn>
                  <a:cxn ang="0">
                    <a:pos x="131" y="20"/>
                  </a:cxn>
                  <a:cxn ang="0">
                    <a:pos x="130" y="12"/>
                  </a:cxn>
                  <a:cxn ang="0">
                    <a:pos x="122" y="0"/>
                  </a:cxn>
                  <a:cxn ang="0">
                    <a:pos x="115" y="6"/>
                  </a:cxn>
                  <a:cxn ang="0">
                    <a:pos x="104" y="13"/>
                  </a:cxn>
                  <a:cxn ang="0">
                    <a:pos x="96" y="15"/>
                  </a:cxn>
                  <a:cxn ang="0">
                    <a:pos x="89" y="13"/>
                  </a:cxn>
                  <a:cxn ang="0">
                    <a:pos x="91" y="22"/>
                  </a:cxn>
                  <a:cxn ang="0">
                    <a:pos x="101" y="27"/>
                  </a:cxn>
                  <a:cxn ang="0">
                    <a:pos x="97" y="33"/>
                  </a:cxn>
                  <a:cxn ang="0">
                    <a:pos x="100" y="40"/>
                  </a:cxn>
                  <a:cxn ang="0">
                    <a:pos x="99" y="46"/>
                  </a:cxn>
                  <a:cxn ang="0">
                    <a:pos x="92" y="49"/>
                  </a:cxn>
                  <a:cxn ang="0">
                    <a:pos x="88" y="45"/>
                  </a:cxn>
                  <a:cxn ang="0">
                    <a:pos x="70" y="59"/>
                  </a:cxn>
                  <a:cxn ang="0">
                    <a:pos x="73" y="71"/>
                  </a:cxn>
                  <a:cxn ang="0">
                    <a:pos x="45" y="74"/>
                  </a:cxn>
                  <a:cxn ang="0">
                    <a:pos x="14" y="72"/>
                  </a:cxn>
                  <a:cxn ang="0">
                    <a:pos x="6" y="75"/>
                  </a:cxn>
                  <a:cxn ang="0">
                    <a:pos x="6" y="141"/>
                  </a:cxn>
                  <a:cxn ang="0">
                    <a:pos x="14" y="155"/>
                  </a:cxn>
                  <a:cxn ang="0">
                    <a:pos x="27" y="173"/>
                  </a:cxn>
                  <a:cxn ang="0">
                    <a:pos x="50" y="175"/>
                  </a:cxn>
                  <a:cxn ang="0">
                    <a:pos x="60" y="211"/>
                  </a:cxn>
                  <a:cxn ang="0">
                    <a:pos x="60" y="237"/>
                  </a:cxn>
                  <a:cxn ang="0">
                    <a:pos x="92" y="226"/>
                  </a:cxn>
                  <a:cxn ang="0">
                    <a:pos x="138" y="205"/>
                  </a:cxn>
                  <a:cxn ang="0">
                    <a:pos x="146" y="184"/>
                  </a:cxn>
                  <a:cxn ang="0">
                    <a:pos x="189" y="173"/>
                  </a:cxn>
                  <a:cxn ang="0">
                    <a:pos x="209" y="163"/>
                  </a:cxn>
                  <a:cxn ang="0">
                    <a:pos x="217" y="156"/>
                  </a:cxn>
                  <a:cxn ang="0">
                    <a:pos x="225" y="144"/>
                  </a:cxn>
                  <a:cxn ang="0">
                    <a:pos x="228" y="137"/>
                  </a:cxn>
                  <a:cxn ang="0">
                    <a:pos x="232" y="129"/>
                  </a:cxn>
                </a:cxnLst>
                <a:rect l="0" t="0" r="r" b="b"/>
                <a:pathLst>
                  <a:path w="232" h="237">
                    <a:moveTo>
                      <a:pt x="0" y="72"/>
                    </a:moveTo>
                    <a:cubicBezTo>
                      <a:pt x="1" y="72"/>
                      <a:pt x="2" y="73"/>
                      <a:pt x="6" y="75"/>
                    </a:cubicBezTo>
                    <a:cubicBezTo>
                      <a:pt x="6" y="66"/>
                      <a:pt x="6" y="66"/>
                      <a:pt x="6" y="66"/>
                    </a:cubicBezTo>
                    <a:lnTo>
                      <a:pt x="0" y="72"/>
                    </a:lnTo>
                    <a:close/>
                    <a:moveTo>
                      <a:pt x="231" y="124"/>
                    </a:moveTo>
                    <a:cubicBezTo>
                      <a:pt x="227" y="122"/>
                      <a:pt x="227" y="122"/>
                      <a:pt x="227" y="122"/>
                    </a:cubicBezTo>
                    <a:cubicBezTo>
                      <a:pt x="223" y="124"/>
                      <a:pt x="223" y="124"/>
                      <a:pt x="223" y="124"/>
                    </a:cubicBezTo>
                    <a:cubicBezTo>
                      <a:pt x="218" y="127"/>
                      <a:pt x="218" y="127"/>
                      <a:pt x="218" y="127"/>
                    </a:cubicBezTo>
                    <a:cubicBezTo>
                      <a:pt x="216" y="124"/>
                      <a:pt x="216" y="124"/>
                      <a:pt x="216" y="124"/>
                    </a:cubicBezTo>
                    <a:cubicBezTo>
                      <a:pt x="214" y="120"/>
                      <a:pt x="214" y="120"/>
                      <a:pt x="214" y="120"/>
                    </a:cubicBezTo>
                    <a:cubicBezTo>
                      <a:pt x="210" y="117"/>
                      <a:pt x="210" y="117"/>
                      <a:pt x="210" y="117"/>
                    </a:cubicBezTo>
                    <a:cubicBezTo>
                      <a:pt x="206" y="113"/>
                      <a:pt x="206" y="113"/>
                      <a:pt x="206" y="113"/>
                    </a:cubicBezTo>
                    <a:cubicBezTo>
                      <a:pt x="202" y="113"/>
                      <a:pt x="202" y="113"/>
                      <a:pt x="202" y="113"/>
                    </a:cubicBezTo>
                    <a:cubicBezTo>
                      <a:pt x="197" y="111"/>
                      <a:pt x="197" y="111"/>
                      <a:pt x="197" y="111"/>
                    </a:cubicBezTo>
                    <a:cubicBezTo>
                      <a:pt x="195" y="113"/>
                      <a:pt x="195" y="113"/>
                      <a:pt x="195" y="113"/>
                    </a:cubicBezTo>
                    <a:cubicBezTo>
                      <a:pt x="190" y="110"/>
                      <a:pt x="190" y="110"/>
                      <a:pt x="190" y="110"/>
                    </a:cubicBezTo>
                    <a:cubicBezTo>
                      <a:pt x="186" y="111"/>
                      <a:pt x="186" y="111"/>
                      <a:pt x="186" y="111"/>
                    </a:cubicBezTo>
                    <a:cubicBezTo>
                      <a:pt x="185" y="110"/>
                      <a:pt x="185" y="110"/>
                      <a:pt x="185" y="110"/>
                    </a:cubicBezTo>
                    <a:cubicBezTo>
                      <a:pt x="187" y="106"/>
                      <a:pt x="187" y="106"/>
                      <a:pt x="187" y="106"/>
                    </a:cubicBezTo>
                    <a:cubicBezTo>
                      <a:pt x="185" y="101"/>
                      <a:pt x="185" y="101"/>
                      <a:pt x="185" y="101"/>
                    </a:cubicBezTo>
                    <a:cubicBezTo>
                      <a:pt x="189" y="100"/>
                      <a:pt x="189" y="100"/>
                      <a:pt x="189" y="100"/>
                    </a:cubicBezTo>
                    <a:cubicBezTo>
                      <a:pt x="189" y="95"/>
                      <a:pt x="189" y="95"/>
                      <a:pt x="189" y="95"/>
                    </a:cubicBezTo>
                    <a:cubicBezTo>
                      <a:pt x="191" y="85"/>
                      <a:pt x="191" y="85"/>
                      <a:pt x="191" y="85"/>
                    </a:cubicBezTo>
                    <a:cubicBezTo>
                      <a:pt x="187" y="84"/>
                      <a:pt x="187" y="84"/>
                      <a:pt x="187" y="84"/>
                    </a:cubicBezTo>
                    <a:cubicBezTo>
                      <a:pt x="182" y="80"/>
                      <a:pt x="182" y="80"/>
                      <a:pt x="182" y="80"/>
                    </a:cubicBezTo>
                    <a:cubicBezTo>
                      <a:pt x="177" y="78"/>
                      <a:pt x="177" y="78"/>
                      <a:pt x="177" y="78"/>
                    </a:cubicBezTo>
                    <a:cubicBezTo>
                      <a:pt x="172" y="78"/>
                      <a:pt x="172" y="78"/>
                      <a:pt x="172" y="78"/>
                    </a:cubicBezTo>
                    <a:cubicBezTo>
                      <a:pt x="169" y="76"/>
                      <a:pt x="169" y="76"/>
                      <a:pt x="169" y="76"/>
                    </a:cubicBezTo>
                    <a:cubicBezTo>
                      <a:pt x="169" y="71"/>
                      <a:pt x="169" y="71"/>
                      <a:pt x="169" y="71"/>
                    </a:cubicBezTo>
                    <a:cubicBezTo>
                      <a:pt x="170" y="61"/>
                      <a:pt x="170" y="61"/>
                      <a:pt x="170" y="61"/>
                    </a:cubicBezTo>
                    <a:cubicBezTo>
                      <a:pt x="167" y="57"/>
                      <a:pt x="167" y="57"/>
                      <a:pt x="167" y="57"/>
                    </a:cubicBezTo>
                    <a:cubicBezTo>
                      <a:pt x="165" y="56"/>
                      <a:pt x="165" y="56"/>
                      <a:pt x="165" y="56"/>
                    </a:cubicBezTo>
                    <a:cubicBezTo>
                      <a:pt x="163" y="59"/>
                      <a:pt x="163" y="59"/>
                      <a:pt x="163" y="59"/>
                    </a:cubicBezTo>
                    <a:cubicBezTo>
                      <a:pt x="161" y="61"/>
                      <a:pt x="161" y="61"/>
                      <a:pt x="161" y="61"/>
                    </a:cubicBezTo>
                    <a:cubicBezTo>
                      <a:pt x="158" y="60"/>
                      <a:pt x="158" y="60"/>
                      <a:pt x="158" y="60"/>
                    </a:cubicBezTo>
                    <a:cubicBezTo>
                      <a:pt x="157" y="53"/>
                      <a:pt x="157" y="53"/>
                      <a:pt x="157" y="53"/>
                    </a:cubicBezTo>
                    <a:cubicBezTo>
                      <a:pt x="159" y="36"/>
                      <a:pt x="159" y="36"/>
                      <a:pt x="159" y="36"/>
                    </a:cubicBezTo>
                    <a:cubicBezTo>
                      <a:pt x="158" y="35"/>
                      <a:pt x="158" y="35"/>
                      <a:pt x="158" y="35"/>
                    </a:cubicBezTo>
                    <a:cubicBezTo>
                      <a:pt x="151" y="36"/>
                      <a:pt x="151" y="36"/>
                      <a:pt x="151" y="36"/>
                    </a:cubicBezTo>
                    <a:cubicBezTo>
                      <a:pt x="154" y="32"/>
                      <a:pt x="154" y="32"/>
                      <a:pt x="154" y="32"/>
                    </a:cubicBezTo>
                    <a:cubicBezTo>
                      <a:pt x="152" y="29"/>
                      <a:pt x="152" y="29"/>
                      <a:pt x="152" y="29"/>
                    </a:cubicBezTo>
                    <a:cubicBezTo>
                      <a:pt x="147" y="32"/>
                      <a:pt x="147" y="32"/>
                      <a:pt x="147" y="32"/>
                    </a:cubicBezTo>
                    <a:cubicBezTo>
                      <a:pt x="142" y="30"/>
                      <a:pt x="142" y="30"/>
                      <a:pt x="142" y="30"/>
                    </a:cubicBezTo>
                    <a:cubicBezTo>
                      <a:pt x="137" y="32"/>
                      <a:pt x="137" y="32"/>
                      <a:pt x="137" y="32"/>
                    </a:cubicBezTo>
                    <a:cubicBezTo>
                      <a:pt x="132" y="28"/>
                      <a:pt x="132" y="28"/>
                      <a:pt x="132" y="28"/>
                    </a:cubicBezTo>
                    <a:cubicBezTo>
                      <a:pt x="126" y="27"/>
                      <a:pt x="126" y="27"/>
                      <a:pt x="126" y="27"/>
                    </a:cubicBezTo>
                    <a:cubicBezTo>
                      <a:pt x="125" y="24"/>
                      <a:pt x="125" y="24"/>
                      <a:pt x="125" y="24"/>
                    </a:cubicBezTo>
                    <a:cubicBezTo>
                      <a:pt x="131" y="20"/>
                      <a:pt x="131" y="20"/>
                      <a:pt x="131" y="20"/>
                    </a:cubicBezTo>
                    <a:cubicBezTo>
                      <a:pt x="131" y="17"/>
                      <a:pt x="131" y="17"/>
                      <a:pt x="131" y="17"/>
                    </a:cubicBezTo>
                    <a:cubicBezTo>
                      <a:pt x="130" y="12"/>
                      <a:pt x="130" y="12"/>
                      <a:pt x="130" y="12"/>
                    </a:cubicBezTo>
                    <a:cubicBezTo>
                      <a:pt x="126" y="5"/>
                      <a:pt x="126" y="5"/>
                      <a:pt x="126" y="5"/>
                    </a:cubicBezTo>
                    <a:cubicBezTo>
                      <a:pt x="122" y="0"/>
                      <a:pt x="122" y="0"/>
                      <a:pt x="122" y="0"/>
                    </a:cubicBezTo>
                    <a:cubicBezTo>
                      <a:pt x="116" y="2"/>
                      <a:pt x="116" y="2"/>
                      <a:pt x="116" y="2"/>
                    </a:cubicBezTo>
                    <a:cubicBezTo>
                      <a:pt x="115" y="6"/>
                      <a:pt x="115" y="6"/>
                      <a:pt x="115" y="6"/>
                    </a:cubicBezTo>
                    <a:cubicBezTo>
                      <a:pt x="112" y="8"/>
                      <a:pt x="112" y="8"/>
                      <a:pt x="112" y="8"/>
                    </a:cubicBezTo>
                    <a:cubicBezTo>
                      <a:pt x="104" y="13"/>
                      <a:pt x="104" y="13"/>
                      <a:pt x="104" y="13"/>
                    </a:cubicBezTo>
                    <a:cubicBezTo>
                      <a:pt x="100" y="16"/>
                      <a:pt x="100" y="16"/>
                      <a:pt x="100" y="16"/>
                    </a:cubicBezTo>
                    <a:cubicBezTo>
                      <a:pt x="96" y="15"/>
                      <a:pt x="96" y="15"/>
                      <a:pt x="96" y="15"/>
                    </a:cubicBezTo>
                    <a:cubicBezTo>
                      <a:pt x="92" y="17"/>
                      <a:pt x="92" y="17"/>
                      <a:pt x="92" y="17"/>
                    </a:cubicBezTo>
                    <a:cubicBezTo>
                      <a:pt x="89" y="13"/>
                      <a:pt x="89" y="13"/>
                      <a:pt x="89" y="13"/>
                    </a:cubicBezTo>
                    <a:cubicBezTo>
                      <a:pt x="88" y="16"/>
                      <a:pt x="88" y="16"/>
                      <a:pt x="88" y="16"/>
                    </a:cubicBezTo>
                    <a:cubicBezTo>
                      <a:pt x="91" y="22"/>
                      <a:pt x="91" y="22"/>
                      <a:pt x="91" y="22"/>
                    </a:cubicBezTo>
                    <a:cubicBezTo>
                      <a:pt x="99" y="24"/>
                      <a:pt x="99" y="24"/>
                      <a:pt x="99" y="24"/>
                    </a:cubicBezTo>
                    <a:cubicBezTo>
                      <a:pt x="101" y="27"/>
                      <a:pt x="101" y="27"/>
                      <a:pt x="101" y="27"/>
                    </a:cubicBezTo>
                    <a:cubicBezTo>
                      <a:pt x="97" y="30"/>
                      <a:pt x="97" y="30"/>
                      <a:pt x="97" y="30"/>
                    </a:cubicBezTo>
                    <a:cubicBezTo>
                      <a:pt x="97" y="33"/>
                      <a:pt x="97" y="33"/>
                      <a:pt x="97" y="33"/>
                    </a:cubicBezTo>
                    <a:cubicBezTo>
                      <a:pt x="101" y="35"/>
                      <a:pt x="101" y="35"/>
                      <a:pt x="101" y="35"/>
                    </a:cubicBezTo>
                    <a:cubicBezTo>
                      <a:pt x="100" y="40"/>
                      <a:pt x="100" y="40"/>
                      <a:pt x="100" y="40"/>
                    </a:cubicBezTo>
                    <a:cubicBezTo>
                      <a:pt x="97" y="42"/>
                      <a:pt x="97" y="42"/>
                      <a:pt x="97" y="42"/>
                    </a:cubicBezTo>
                    <a:cubicBezTo>
                      <a:pt x="99" y="46"/>
                      <a:pt x="99" y="46"/>
                      <a:pt x="99" y="46"/>
                    </a:cubicBezTo>
                    <a:cubicBezTo>
                      <a:pt x="96" y="47"/>
                      <a:pt x="96" y="47"/>
                      <a:pt x="96" y="47"/>
                    </a:cubicBezTo>
                    <a:cubicBezTo>
                      <a:pt x="92" y="49"/>
                      <a:pt x="92" y="49"/>
                      <a:pt x="92" y="49"/>
                    </a:cubicBezTo>
                    <a:cubicBezTo>
                      <a:pt x="91" y="44"/>
                      <a:pt x="91" y="44"/>
                      <a:pt x="91" y="44"/>
                    </a:cubicBezTo>
                    <a:cubicBezTo>
                      <a:pt x="88" y="45"/>
                      <a:pt x="88" y="45"/>
                      <a:pt x="88" y="45"/>
                    </a:cubicBezTo>
                    <a:cubicBezTo>
                      <a:pt x="78" y="53"/>
                      <a:pt x="78" y="53"/>
                      <a:pt x="78" y="53"/>
                    </a:cubicBezTo>
                    <a:cubicBezTo>
                      <a:pt x="70" y="59"/>
                      <a:pt x="70" y="59"/>
                      <a:pt x="70" y="59"/>
                    </a:cubicBezTo>
                    <a:cubicBezTo>
                      <a:pt x="72" y="65"/>
                      <a:pt x="72" y="65"/>
                      <a:pt x="72" y="65"/>
                    </a:cubicBezTo>
                    <a:cubicBezTo>
                      <a:pt x="73" y="71"/>
                      <a:pt x="73" y="71"/>
                      <a:pt x="73" y="71"/>
                    </a:cubicBezTo>
                    <a:cubicBezTo>
                      <a:pt x="63" y="74"/>
                      <a:pt x="63" y="74"/>
                      <a:pt x="63" y="74"/>
                    </a:cubicBezTo>
                    <a:cubicBezTo>
                      <a:pt x="45" y="74"/>
                      <a:pt x="45" y="74"/>
                      <a:pt x="45" y="74"/>
                    </a:cubicBezTo>
                    <a:cubicBezTo>
                      <a:pt x="32" y="75"/>
                      <a:pt x="32" y="75"/>
                      <a:pt x="32" y="75"/>
                    </a:cubicBezTo>
                    <a:cubicBezTo>
                      <a:pt x="14" y="72"/>
                      <a:pt x="14" y="72"/>
                      <a:pt x="14" y="72"/>
                    </a:cubicBezTo>
                    <a:cubicBezTo>
                      <a:pt x="9" y="77"/>
                      <a:pt x="9" y="77"/>
                      <a:pt x="9" y="77"/>
                    </a:cubicBezTo>
                    <a:cubicBezTo>
                      <a:pt x="8" y="76"/>
                      <a:pt x="7" y="76"/>
                      <a:pt x="6" y="75"/>
                    </a:cubicBezTo>
                    <a:cubicBezTo>
                      <a:pt x="6" y="116"/>
                      <a:pt x="6" y="116"/>
                      <a:pt x="6" y="116"/>
                    </a:cubicBezTo>
                    <a:cubicBezTo>
                      <a:pt x="6" y="141"/>
                      <a:pt x="6" y="141"/>
                      <a:pt x="6" y="141"/>
                    </a:cubicBezTo>
                    <a:cubicBezTo>
                      <a:pt x="14" y="153"/>
                      <a:pt x="14" y="153"/>
                      <a:pt x="14" y="153"/>
                    </a:cubicBezTo>
                    <a:cubicBezTo>
                      <a:pt x="14" y="154"/>
                      <a:pt x="14" y="155"/>
                      <a:pt x="14" y="155"/>
                    </a:cubicBezTo>
                    <a:cubicBezTo>
                      <a:pt x="14" y="155"/>
                      <a:pt x="15" y="155"/>
                      <a:pt x="16" y="156"/>
                    </a:cubicBezTo>
                    <a:cubicBezTo>
                      <a:pt x="27" y="173"/>
                      <a:pt x="27" y="173"/>
                      <a:pt x="27" y="173"/>
                    </a:cubicBezTo>
                    <a:cubicBezTo>
                      <a:pt x="48" y="173"/>
                      <a:pt x="48" y="173"/>
                      <a:pt x="48" y="173"/>
                    </a:cubicBezTo>
                    <a:cubicBezTo>
                      <a:pt x="48" y="173"/>
                      <a:pt x="49" y="174"/>
                      <a:pt x="50" y="175"/>
                    </a:cubicBezTo>
                    <a:cubicBezTo>
                      <a:pt x="59" y="201"/>
                      <a:pt x="59" y="201"/>
                      <a:pt x="59" y="201"/>
                    </a:cubicBezTo>
                    <a:cubicBezTo>
                      <a:pt x="59" y="205"/>
                      <a:pt x="60" y="208"/>
                      <a:pt x="60" y="211"/>
                    </a:cubicBezTo>
                    <a:cubicBezTo>
                      <a:pt x="60" y="229"/>
                      <a:pt x="60" y="229"/>
                      <a:pt x="60" y="229"/>
                    </a:cubicBezTo>
                    <a:cubicBezTo>
                      <a:pt x="60" y="237"/>
                      <a:pt x="60" y="237"/>
                      <a:pt x="60" y="237"/>
                    </a:cubicBezTo>
                    <a:cubicBezTo>
                      <a:pt x="76" y="232"/>
                      <a:pt x="76" y="232"/>
                      <a:pt x="76" y="232"/>
                    </a:cubicBezTo>
                    <a:cubicBezTo>
                      <a:pt x="92" y="226"/>
                      <a:pt x="92" y="226"/>
                      <a:pt x="92" y="226"/>
                    </a:cubicBezTo>
                    <a:cubicBezTo>
                      <a:pt x="103" y="205"/>
                      <a:pt x="103" y="205"/>
                      <a:pt x="103" y="205"/>
                    </a:cubicBezTo>
                    <a:cubicBezTo>
                      <a:pt x="138" y="205"/>
                      <a:pt x="138" y="205"/>
                      <a:pt x="138" y="205"/>
                    </a:cubicBezTo>
                    <a:cubicBezTo>
                      <a:pt x="146" y="205"/>
                      <a:pt x="146" y="205"/>
                      <a:pt x="146" y="205"/>
                    </a:cubicBezTo>
                    <a:cubicBezTo>
                      <a:pt x="146" y="184"/>
                      <a:pt x="146" y="184"/>
                      <a:pt x="146" y="184"/>
                    </a:cubicBezTo>
                    <a:cubicBezTo>
                      <a:pt x="178" y="184"/>
                      <a:pt x="178" y="184"/>
                      <a:pt x="178" y="184"/>
                    </a:cubicBezTo>
                    <a:cubicBezTo>
                      <a:pt x="189" y="173"/>
                      <a:pt x="189" y="173"/>
                      <a:pt x="189" y="173"/>
                    </a:cubicBezTo>
                    <a:cubicBezTo>
                      <a:pt x="210" y="170"/>
                      <a:pt x="210" y="170"/>
                      <a:pt x="210" y="170"/>
                    </a:cubicBezTo>
                    <a:cubicBezTo>
                      <a:pt x="209" y="163"/>
                      <a:pt x="209" y="163"/>
                      <a:pt x="209" y="163"/>
                    </a:cubicBezTo>
                    <a:cubicBezTo>
                      <a:pt x="213" y="159"/>
                      <a:pt x="213" y="159"/>
                      <a:pt x="213" y="159"/>
                    </a:cubicBezTo>
                    <a:cubicBezTo>
                      <a:pt x="217" y="156"/>
                      <a:pt x="217" y="156"/>
                      <a:pt x="217" y="156"/>
                    </a:cubicBezTo>
                    <a:cubicBezTo>
                      <a:pt x="219" y="147"/>
                      <a:pt x="219" y="147"/>
                      <a:pt x="219" y="147"/>
                    </a:cubicBezTo>
                    <a:cubicBezTo>
                      <a:pt x="225" y="144"/>
                      <a:pt x="225" y="144"/>
                      <a:pt x="225" y="144"/>
                    </a:cubicBezTo>
                    <a:cubicBezTo>
                      <a:pt x="225" y="141"/>
                      <a:pt x="225" y="141"/>
                      <a:pt x="225" y="141"/>
                    </a:cubicBezTo>
                    <a:cubicBezTo>
                      <a:pt x="228" y="137"/>
                      <a:pt x="228" y="137"/>
                      <a:pt x="228" y="137"/>
                    </a:cubicBezTo>
                    <a:cubicBezTo>
                      <a:pt x="229" y="133"/>
                      <a:pt x="229" y="133"/>
                      <a:pt x="229" y="133"/>
                    </a:cubicBezTo>
                    <a:cubicBezTo>
                      <a:pt x="232" y="129"/>
                      <a:pt x="232" y="129"/>
                      <a:pt x="232" y="129"/>
                    </a:cubicBezTo>
                    <a:cubicBezTo>
                      <a:pt x="231" y="124"/>
                      <a:pt x="231" y="124"/>
                      <a:pt x="231" y="124"/>
                    </a:cubicBezTo>
                    <a:close/>
                  </a:path>
                </a:pathLst>
              </a:custGeom>
              <a:grpFill/>
              <a:ln w="3175" cap="flat" cmpd="sng">
                <a:solidFill>
                  <a:schemeClr val="bg1"/>
                </a:solidFill>
                <a:prstDash val="solid"/>
                <a:round/>
                <a:headEnd type="none" w="med" len="med"/>
                <a:tailEnd type="none" w="med" len="med"/>
              </a:ln>
              <a:effectLst/>
            </p:spPr>
            <p:txBody>
              <a:bodyPr/>
              <a:lstStyle/>
              <a:p>
                <a:endParaRPr lang="de-DE">
                  <a:solidFill>
                    <a:srgbClr val="000000"/>
                  </a:solidFill>
                </a:endParaRPr>
              </a:p>
            </p:txBody>
          </p:sp>
          <p:sp>
            <p:nvSpPr>
              <p:cNvPr id="269" name="Freeform 198"/>
              <p:cNvSpPr>
                <a:spLocks/>
              </p:cNvSpPr>
              <p:nvPr/>
            </p:nvSpPr>
            <p:spPr bwMode="gray">
              <a:xfrm>
                <a:off x="4607748" y="3083855"/>
                <a:ext cx="103075" cy="104794"/>
              </a:xfrm>
              <a:custGeom>
                <a:avLst/>
                <a:gdLst/>
                <a:ahLst/>
                <a:cxnLst>
                  <a:cxn ang="0">
                    <a:pos x="464" y="374"/>
                  </a:cxn>
                  <a:cxn ang="0">
                    <a:pos x="453" y="310"/>
                  </a:cxn>
                  <a:cxn ang="0">
                    <a:pos x="453" y="235"/>
                  </a:cxn>
                  <a:cxn ang="0">
                    <a:pos x="378" y="224"/>
                  </a:cxn>
                  <a:cxn ang="0">
                    <a:pos x="302" y="171"/>
                  </a:cxn>
                  <a:cxn ang="0">
                    <a:pos x="291" y="118"/>
                  </a:cxn>
                  <a:cxn ang="0">
                    <a:pos x="259" y="128"/>
                  </a:cxn>
                  <a:cxn ang="0">
                    <a:pos x="216" y="53"/>
                  </a:cxn>
                  <a:cxn ang="0">
                    <a:pos x="87" y="0"/>
                  </a:cxn>
                  <a:cxn ang="0">
                    <a:pos x="0" y="43"/>
                  </a:cxn>
                  <a:cxn ang="0">
                    <a:pos x="32" y="96"/>
                  </a:cxn>
                  <a:cxn ang="0">
                    <a:pos x="65" y="139"/>
                  </a:cxn>
                  <a:cxn ang="0">
                    <a:pos x="54" y="150"/>
                  </a:cxn>
                  <a:cxn ang="0">
                    <a:pos x="32" y="181"/>
                  </a:cxn>
                  <a:cxn ang="0">
                    <a:pos x="32" y="192"/>
                  </a:cxn>
                  <a:cxn ang="0">
                    <a:pos x="76" y="203"/>
                  </a:cxn>
                  <a:cxn ang="0">
                    <a:pos x="87" y="267"/>
                  </a:cxn>
                  <a:cxn ang="0">
                    <a:pos x="65" y="310"/>
                  </a:cxn>
                  <a:cxn ang="0">
                    <a:pos x="98" y="363"/>
                  </a:cxn>
                  <a:cxn ang="0">
                    <a:pos x="119" y="395"/>
                  </a:cxn>
                  <a:cxn ang="0">
                    <a:pos x="157" y="442"/>
                  </a:cxn>
                  <a:cxn ang="0">
                    <a:pos x="173" y="438"/>
                  </a:cxn>
                  <a:cxn ang="0">
                    <a:pos x="180" y="444"/>
                  </a:cxn>
                  <a:cxn ang="0">
                    <a:pos x="230" y="446"/>
                  </a:cxn>
                  <a:cxn ang="0">
                    <a:pos x="237" y="431"/>
                  </a:cxn>
                  <a:cxn ang="0">
                    <a:pos x="258" y="416"/>
                  </a:cxn>
                  <a:cxn ang="0">
                    <a:pos x="266" y="418"/>
                  </a:cxn>
                  <a:cxn ang="0">
                    <a:pos x="268" y="407"/>
                  </a:cxn>
                  <a:cxn ang="0">
                    <a:pos x="267" y="399"/>
                  </a:cxn>
                  <a:cxn ang="0">
                    <a:pos x="254" y="388"/>
                  </a:cxn>
                  <a:cxn ang="0">
                    <a:pos x="262" y="387"/>
                  </a:cxn>
                  <a:cxn ang="0">
                    <a:pos x="279" y="380"/>
                  </a:cxn>
                  <a:cxn ang="0">
                    <a:pos x="288" y="372"/>
                  </a:cxn>
                  <a:cxn ang="0">
                    <a:pos x="298" y="389"/>
                  </a:cxn>
                  <a:cxn ang="0">
                    <a:pos x="292" y="399"/>
                  </a:cxn>
                  <a:cxn ang="0">
                    <a:pos x="309" y="402"/>
                  </a:cxn>
                  <a:cxn ang="0">
                    <a:pos x="321" y="404"/>
                  </a:cxn>
                  <a:cxn ang="0">
                    <a:pos x="326" y="408"/>
                  </a:cxn>
                  <a:cxn ang="0">
                    <a:pos x="328" y="433"/>
                  </a:cxn>
                  <a:cxn ang="0">
                    <a:pos x="334" y="429"/>
                  </a:cxn>
                  <a:cxn ang="0">
                    <a:pos x="335" y="448"/>
                  </a:cxn>
                  <a:cxn ang="0">
                    <a:pos x="348" y="452"/>
                  </a:cxn>
                  <a:cxn ang="0">
                    <a:pos x="356" y="467"/>
                  </a:cxn>
                  <a:cxn ang="0">
                    <a:pos x="354" y="478"/>
                  </a:cxn>
                  <a:cxn ang="0">
                    <a:pos x="356" y="482"/>
                  </a:cxn>
                  <a:cxn ang="0">
                    <a:pos x="369" y="485"/>
                  </a:cxn>
                  <a:cxn ang="0">
                    <a:pos x="381" y="492"/>
                  </a:cxn>
                  <a:cxn ang="0">
                    <a:pos x="390" y="496"/>
                  </a:cxn>
                  <a:cxn ang="0">
                    <a:pos x="399" y="501"/>
                  </a:cxn>
                  <a:cxn ang="0">
                    <a:pos x="392" y="513"/>
                  </a:cxn>
                  <a:cxn ang="0">
                    <a:pos x="384" y="528"/>
                  </a:cxn>
                  <a:cxn ang="0">
                    <a:pos x="376" y="542"/>
                  </a:cxn>
                  <a:cxn ang="0">
                    <a:pos x="453" y="492"/>
                  </a:cxn>
                  <a:cxn ang="0">
                    <a:pos x="486" y="470"/>
                  </a:cxn>
                  <a:cxn ang="0">
                    <a:pos x="486" y="406"/>
                  </a:cxn>
                </a:cxnLst>
                <a:rect l="0" t="0" r="r" b="b"/>
                <a:pathLst>
                  <a:path w="496" h="542">
                    <a:moveTo>
                      <a:pt x="486" y="406"/>
                    </a:moveTo>
                    <a:cubicBezTo>
                      <a:pt x="453" y="395"/>
                      <a:pt x="453" y="395"/>
                      <a:pt x="453" y="395"/>
                    </a:cubicBezTo>
                    <a:cubicBezTo>
                      <a:pt x="464" y="374"/>
                      <a:pt x="464" y="374"/>
                      <a:pt x="464" y="374"/>
                    </a:cubicBezTo>
                    <a:cubicBezTo>
                      <a:pt x="432" y="363"/>
                      <a:pt x="432" y="363"/>
                      <a:pt x="432" y="363"/>
                    </a:cubicBezTo>
                    <a:cubicBezTo>
                      <a:pt x="432" y="331"/>
                      <a:pt x="432" y="331"/>
                      <a:pt x="432" y="331"/>
                    </a:cubicBezTo>
                    <a:cubicBezTo>
                      <a:pt x="453" y="310"/>
                      <a:pt x="453" y="310"/>
                      <a:pt x="453" y="310"/>
                    </a:cubicBezTo>
                    <a:cubicBezTo>
                      <a:pt x="453" y="267"/>
                      <a:pt x="453" y="267"/>
                      <a:pt x="453" y="267"/>
                    </a:cubicBezTo>
                    <a:cubicBezTo>
                      <a:pt x="442" y="256"/>
                      <a:pt x="442" y="256"/>
                      <a:pt x="442" y="256"/>
                    </a:cubicBezTo>
                    <a:cubicBezTo>
                      <a:pt x="453" y="235"/>
                      <a:pt x="453" y="235"/>
                      <a:pt x="453" y="235"/>
                    </a:cubicBezTo>
                    <a:cubicBezTo>
                      <a:pt x="464" y="224"/>
                      <a:pt x="464" y="224"/>
                      <a:pt x="464" y="224"/>
                    </a:cubicBezTo>
                    <a:cubicBezTo>
                      <a:pt x="421" y="213"/>
                      <a:pt x="421" y="213"/>
                      <a:pt x="421" y="213"/>
                    </a:cubicBezTo>
                    <a:cubicBezTo>
                      <a:pt x="378" y="224"/>
                      <a:pt x="378" y="224"/>
                      <a:pt x="378" y="224"/>
                    </a:cubicBezTo>
                    <a:cubicBezTo>
                      <a:pt x="367" y="213"/>
                      <a:pt x="367" y="213"/>
                      <a:pt x="367" y="213"/>
                    </a:cubicBezTo>
                    <a:cubicBezTo>
                      <a:pt x="324" y="203"/>
                      <a:pt x="324" y="203"/>
                      <a:pt x="324" y="203"/>
                    </a:cubicBezTo>
                    <a:cubicBezTo>
                      <a:pt x="302" y="171"/>
                      <a:pt x="302" y="171"/>
                      <a:pt x="302" y="171"/>
                    </a:cubicBezTo>
                    <a:cubicBezTo>
                      <a:pt x="313" y="160"/>
                      <a:pt x="313" y="160"/>
                      <a:pt x="313" y="160"/>
                    </a:cubicBezTo>
                    <a:cubicBezTo>
                      <a:pt x="313" y="128"/>
                      <a:pt x="313" y="128"/>
                      <a:pt x="313" y="128"/>
                    </a:cubicBezTo>
                    <a:cubicBezTo>
                      <a:pt x="291" y="118"/>
                      <a:pt x="291" y="118"/>
                      <a:pt x="291" y="118"/>
                    </a:cubicBezTo>
                    <a:cubicBezTo>
                      <a:pt x="280" y="118"/>
                      <a:pt x="280" y="118"/>
                      <a:pt x="280" y="118"/>
                    </a:cubicBezTo>
                    <a:cubicBezTo>
                      <a:pt x="270" y="128"/>
                      <a:pt x="270" y="128"/>
                      <a:pt x="270" y="128"/>
                    </a:cubicBezTo>
                    <a:cubicBezTo>
                      <a:pt x="259" y="128"/>
                      <a:pt x="259" y="128"/>
                      <a:pt x="259" y="128"/>
                    </a:cubicBezTo>
                    <a:cubicBezTo>
                      <a:pt x="249" y="118"/>
                      <a:pt x="249" y="118"/>
                      <a:pt x="249" y="118"/>
                    </a:cubicBezTo>
                    <a:cubicBezTo>
                      <a:pt x="227" y="53"/>
                      <a:pt x="227" y="53"/>
                      <a:pt x="227" y="53"/>
                    </a:cubicBezTo>
                    <a:cubicBezTo>
                      <a:pt x="216" y="53"/>
                      <a:pt x="216" y="53"/>
                      <a:pt x="216" y="53"/>
                    </a:cubicBezTo>
                    <a:cubicBezTo>
                      <a:pt x="173" y="21"/>
                      <a:pt x="173" y="21"/>
                      <a:pt x="173" y="21"/>
                    </a:cubicBezTo>
                    <a:cubicBezTo>
                      <a:pt x="129" y="0"/>
                      <a:pt x="129" y="0"/>
                      <a:pt x="129" y="0"/>
                    </a:cubicBezTo>
                    <a:cubicBezTo>
                      <a:pt x="87" y="0"/>
                      <a:pt x="87" y="0"/>
                      <a:pt x="87" y="0"/>
                    </a:cubicBezTo>
                    <a:cubicBezTo>
                      <a:pt x="54" y="32"/>
                      <a:pt x="54" y="32"/>
                      <a:pt x="54" y="32"/>
                    </a:cubicBezTo>
                    <a:cubicBezTo>
                      <a:pt x="11" y="32"/>
                      <a:pt x="11" y="32"/>
                      <a:pt x="11" y="32"/>
                    </a:cubicBezTo>
                    <a:cubicBezTo>
                      <a:pt x="0" y="43"/>
                      <a:pt x="0" y="43"/>
                      <a:pt x="0" y="43"/>
                    </a:cubicBezTo>
                    <a:cubicBezTo>
                      <a:pt x="11" y="43"/>
                      <a:pt x="11" y="43"/>
                      <a:pt x="11" y="43"/>
                    </a:cubicBezTo>
                    <a:cubicBezTo>
                      <a:pt x="22" y="96"/>
                      <a:pt x="22" y="96"/>
                      <a:pt x="22" y="96"/>
                    </a:cubicBezTo>
                    <a:cubicBezTo>
                      <a:pt x="32" y="96"/>
                      <a:pt x="32" y="96"/>
                      <a:pt x="32" y="96"/>
                    </a:cubicBezTo>
                    <a:cubicBezTo>
                      <a:pt x="22" y="128"/>
                      <a:pt x="22" y="128"/>
                      <a:pt x="22" y="128"/>
                    </a:cubicBezTo>
                    <a:cubicBezTo>
                      <a:pt x="43" y="128"/>
                      <a:pt x="43" y="128"/>
                      <a:pt x="43" y="128"/>
                    </a:cubicBezTo>
                    <a:cubicBezTo>
                      <a:pt x="65" y="139"/>
                      <a:pt x="65" y="139"/>
                      <a:pt x="65" y="139"/>
                    </a:cubicBezTo>
                    <a:cubicBezTo>
                      <a:pt x="76" y="139"/>
                      <a:pt x="76" y="139"/>
                      <a:pt x="76" y="139"/>
                    </a:cubicBezTo>
                    <a:cubicBezTo>
                      <a:pt x="65" y="150"/>
                      <a:pt x="65" y="150"/>
                      <a:pt x="65" y="150"/>
                    </a:cubicBezTo>
                    <a:cubicBezTo>
                      <a:pt x="54" y="150"/>
                      <a:pt x="54" y="150"/>
                      <a:pt x="54" y="150"/>
                    </a:cubicBezTo>
                    <a:cubicBezTo>
                      <a:pt x="43" y="160"/>
                      <a:pt x="43" y="160"/>
                      <a:pt x="43" y="160"/>
                    </a:cubicBezTo>
                    <a:cubicBezTo>
                      <a:pt x="32" y="160"/>
                      <a:pt x="32" y="160"/>
                      <a:pt x="32" y="160"/>
                    </a:cubicBezTo>
                    <a:cubicBezTo>
                      <a:pt x="32" y="181"/>
                      <a:pt x="32" y="181"/>
                      <a:pt x="32" y="181"/>
                    </a:cubicBezTo>
                    <a:cubicBezTo>
                      <a:pt x="22" y="181"/>
                      <a:pt x="22" y="181"/>
                      <a:pt x="22" y="181"/>
                    </a:cubicBezTo>
                    <a:cubicBezTo>
                      <a:pt x="22" y="192"/>
                      <a:pt x="22" y="192"/>
                      <a:pt x="22" y="192"/>
                    </a:cubicBezTo>
                    <a:cubicBezTo>
                      <a:pt x="32" y="192"/>
                      <a:pt x="32" y="192"/>
                      <a:pt x="32" y="192"/>
                    </a:cubicBezTo>
                    <a:cubicBezTo>
                      <a:pt x="54" y="181"/>
                      <a:pt x="54" y="181"/>
                      <a:pt x="54" y="181"/>
                    </a:cubicBezTo>
                    <a:cubicBezTo>
                      <a:pt x="76" y="181"/>
                      <a:pt x="76" y="181"/>
                      <a:pt x="76" y="181"/>
                    </a:cubicBezTo>
                    <a:cubicBezTo>
                      <a:pt x="76" y="203"/>
                      <a:pt x="76" y="203"/>
                      <a:pt x="76" y="203"/>
                    </a:cubicBezTo>
                    <a:cubicBezTo>
                      <a:pt x="43" y="235"/>
                      <a:pt x="43" y="235"/>
                      <a:pt x="43" y="235"/>
                    </a:cubicBezTo>
                    <a:cubicBezTo>
                      <a:pt x="43" y="267"/>
                      <a:pt x="43" y="267"/>
                      <a:pt x="43" y="267"/>
                    </a:cubicBezTo>
                    <a:cubicBezTo>
                      <a:pt x="87" y="267"/>
                      <a:pt x="87" y="267"/>
                      <a:pt x="87" y="267"/>
                    </a:cubicBezTo>
                    <a:cubicBezTo>
                      <a:pt x="98" y="278"/>
                      <a:pt x="98" y="278"/>
                      <a:pt x="98" y="278"/>
                    </a:cubicBezTo>
                    <a:cubicBezTo>
                      <a:pt x="108" y="299"/>
                      <a:pt x="108" y="299"/>
                      <a:pt x="108" y="299"/>
                    </a:cubicBezTo>
                    <a:cubicBezTo>
                      <a:pt x="65" y="310"/>
                      <a:pt x="65" y="310"/>
                      <a:pt x="65" y="310"/>
                    </a:cubicBezTo>
                    <a:cubicBezTo>
                      <a:pt x="87" y="331"/>
                      <a:pt x="87" y="331"/>
                      <a:pt x="87" y="331"/>
                    </a:cubicBezTo>
                    <a:cubicBezTo>
                      <a:pt x="98" y="353"/>
                      <a:pt x="98" y="353"/>
                      <a:pt x="98" y="353"/>
                    </a:cubicBezTo>
                    <a:cubicBezTo>
                      <a:pt x="98" y="363"/>
                      <a:pt x="98" y="363"/>
                      <a:pt x="98" y="363"/>
                    </a:cubicBezTo>
                    <a:cubicBezTo>
                      <a:pt x="87" y="363"/>
                      <a:pt x="87" y="363"/>
                      <a:pt x="87" y="363"/>
                    </a:cubicBezTo>
                    <a:cubicBezTo>
                      <a:pt x="87" y="374"/>
                      <a:pt x="87" y="374"/>
                      <a:pt x="87" y="374"/>
                    </a:cubicBezTo>
                    <a:cubicBezTo>
                      <a:pt x="119" y="395"/>
                      <a:pt x="119" y="395"/>
                      <a:pt x="119" y="395"/>
                    </a:cubicBezTo>
                    <a:cubicBezTo>
                      <a:pt x="140" y="417"/>
                      <a:pt x="140" y="417"/>
                      <a:pt x="140" y="417"/>
                    </a:cubicBezTo>
                    <a:cubicBezTo>
                      <a:pt x="157" y="442"/>
                      <a:pt x="157" y="442"/>
                      <a:pt x="157" y="442"/>
                    </a:cubicBezTo>
                    <a:cubicBezTo>
                      <a:pt x="157" y="442"/>
                      <a:pt x="157" y="442"/>
                      <a:pt x="157" y="442"/>
                    </a:cubicBezTo>
                    <a:cubicBezTo>
                      <a:pt x="159" y="442"/>
                      <a:pt x="161" y="443"/>
                      <a:pt x="166" y="444"/>
                    </a:cubicBezTo>
                    <a:cubicBezTo>
                      <a:pt x="166" y="444"/>
                      <a:pt x="166" y="444"/>
                      <a:pt x="167" y="444"/>
                    </a:cubicBezTo>
                    <a:cubicBezTo>
                      <a:pt x="173" y="438"/>
                      <a:pt x="173" y="438"/>
                      <a:pt x="173" y="438"/>
                    </a:cubicBezTo>
                    <a:cubicBezTo>
                      <a:pt x="173" y="447"/>
                      <a:pt x="173" y="447"/>
                      <a:pt x="173" y="447"/>
                    </a:cubicBezTo>
                    <a:cubicBezTo>
                      <a:pt x="174" y="448"/>
                      <a:pt x="175" y="448"/>
                      <a:pt x="176" y="449"/>
                    </a:cubicBezTo>
                    <a:cubicBezTo>
                      <a:pt x="176" y="449"/>
                      <a:pt x="176" y="449"/>
                      <a:pt x="180" y="444"/>
                    </a:cubicBezTo>
                    <a:cubicBezTo>
                      <a:pt x="180" y="444"/>
                      <a:pt x="180" y="444"/>
                      <a:pt x="199" y="447"/>
                    </a:cubicBezTo>
                    <a:cubicBezTo>
                      <a:pt x="199" y="447"/>
                      <a:pt x="199" y="447"/>
                      <a:pt x="212" y="446"/>
                    </a:cubicBezTo>
                    <a:cubicBezTo>
                      <a:pt x="212" y="446"/>
                      <a:pt x="212" y="446"/>
                      <a:pt x="230" y="446"/>
                    </a:cubicBezTo>
                    <a:cubicBezTo>
                      <a:pt x="230" y="446"/>
                      <a:pt x="230" y="446"/>
                      <a:pt x="240" y="443"/>
                    </a:cubicBezTo>
                    <a:cubicBezTo>
                      <a:pt x="240" y="443"/>
                      <a:pt x="240" y="443"/>
                      <a:pt x="239" y="437"/>
                    </a:cubicBezTo>
                    <a:cubicBezTo>
                      <a:pt x="239" y="437"/>
                      <a:pt x="239" y="437"/>
                      <a:pt x="237" y="431"/>
                    </a:cubicBezTo>
                    <a:cubicBezTo>
                      <a:pt x="237" y="431"/>
                      <a:pt x="237" y="431"/>
                      <a:pt x="245" y="425"/>
                    </a:cubicBezTo>
                    <a:cubicBezTo>
                      <a:pt x="245" y="425"/>
                      <a:pt x="245" y="425"/>
                      <a:pt x="255" y="417"/>
                    </a:cubicBezTo>
                    <a:cubicBezTo>
                      <a:pt x="255" y="417"/>
                      <a:pt x="255" y="417"/>
                      <a:pt x="258" y="416"/>
                    </a:cubicBezTo>
                    <a:cubicBezTo>
                      <a:pt x="258" y="416"/>
                      <a:pt x="258" y="416"/>
                      <a:pt x="258" y="421"/>
                    </a:cubicBezTo>
                    <a:cubicBezTo>
                      <a:pt x="258" y="421"/>
                      <a:pt x="258" y="421"/>
                      <a:pt x="262" y="419"/>
                    </a:cubicBezTo>
                    <a:cubicBezTo>
                      <a:pt x="262" y="419"/>
                      <a:pt x="262" y="419"/>
                      <a:pt x="266" y="418"/>
                    </a:cubicBezTo>
                    <a:cubicBezTo>
                      <a:pt x="266" y="418"/>
                      <a:pt x="266" y="418"/>
                      <a:pt x="263" y="414"/>
                    </a:cubicBezTo>
                    <a:cubicBezTo>
                      <a:pt x="263" y="414"/>
                      <a:pt x="263" y="414"/>
                      <a:pt x="267" y="412"/>
                    </a:cubicBezTo>
                    <a:cubicBezTo>
                      <a:pt x="267" y="412"/>
                      <a:pt x="267" y="412"/>
                      <a:pt x="268" y="407"/>
                    </a:cubicBezTo>
                    <a:cubicBezTo>
                      <a:pt x="268" y="407"/>
                      <a:pt x="268" y="407"/>
                      <a:pt x="264" y="405"/>
                    </a:cubicBezTo>
                    <a:cubicBezTo>
                      <a:pt x="264" y="405"/>
                      <a:pt x="264" y="405"/>
                      <a:pt x="264" y="402"/>
                    </a:cubicBezTo>
                    <a:cubicBezTo>
                      <a:pt x="264" y="402"/>
                      <a:pt x="264" y="402"/>
                      <a:pt x="267" y="399"/>
                    </a:cubicBezTo>
                    <a:cubicBezTo>
                      <a:pt x="267" y="399"/>
                      <a:pt x="267" y="399"/>
                      <a:pt x="266" y="396"/>
                    </a:cubicBezTo>
                    <a:cubicBezTo>
                      <a:pt x="266" y="396"/>
                      <a:pt x="266" y="396"/>
                      <a:pt x="258" y="394"/>
                    </a:cubicBezTo>
                    <a:cubicBezTo>
                      <a:pt x="258" y="394"/>
                      <a:pt x="258" y="394"/>
                      <a:pt x="254" y="388"/>
                    </a:cubicBezTo>
                    <a:cubicBezTo>
                      <a:pt x="254" y="388"/>
                      <a:pt x="254" y="388"/>
                      <a:pt x="256" y="385"/>
                    </a:cubicBezTo>
                    <a:cubicBezTo>
                      <a:pt x="256" y="385"/>
                      <a:pt x="256" y="385"/>
                      <a:pt x="259" y="389"/>
                    </a:cubicBezTo>
                    <a:cubicBezTo>
                      <a:pt x="259" y="389"/>
                      <a:pt x="259" y="389"/>
                      <a:pt x="262" y="387"/>
                    </a:cubicBezTo>
                    <a:cubicBezTo>
                      <a:pt x="262" y="387"/>
                      <a:pt x="262" y="387"/>
                      <a:pt x="267" y="388"/>
                    </a:cubicBezTo>
                    <a:cubicBezTo>
                      <a:pt x="267" y="388"/>
                      <a:pt x="267" y="388"/>
                      <a:pt x="271" y="385"/>
                    </a:cubicBezTo>
                    <a:cubicBezTo>
                      <a:pt x="271" y="385"/>
                      <a:pt x="271" y="385"/>
                      <a:pt x="279" y="380"/>
                    </a:cubicBezTo>
                    <a:cubicBezTo>
                      <a:pt x="279" y="380"/>
                      <a:pt x="279" y="380"/>
                      <a:pt x="282" y="378"/>
                    </a:cubicBezTo>
                    <a:cubicBezTo>
                      <a:pt x="282" y="378"/>
                      <a:pt x="282" y="378"/>
                      <a:pt x="283" y="374"/>
                    </a:cubicBezTo>
                    <a:cubicBezTo>
                      <a:pt x="283" y="374"/>
                      <a:pt x="283" y="374"/>
                      <a:pt x="288" y="372"/>
                    </a:cubicBezTo>
                    <a:cubicBezTo>
                      <a:pt x="288" y="372"/>
                      <a:pt x="288" y="372"/>
                      <a:pt x="293" y="377"/>
                    </a:cubicBezTo>
                    <a:cubicBezTo>
                      <a:pt x="293" y="377"/>
                      <a:pt x="293" y="377"/>
                      <a:pt x="297" y="384"/>
                    </a:cubicBezTo>
                    <a:cubicBezTo>
                      <a:pt x="297" y="384"/>
                      <a:pt x="297" y="384"/>
                      <a:pt x="298" y="389"/>
                    </a:cubicBezTo>
                    <a:cubicBezTo>
                      <a:pt x="298" y="389"/>
                      <a:pt x="298" y="389"/>
                      <a:pt x="298" y="392"/>
                    </a:cubicBezTo>
                    <a:cubicBezTo>
                      <a:pt x="298" y="392"/>
                      <a:pt x="298" y="392"/>
                      <a:pt x="291" y="396"/>
                    </a:cubicBezTo>
                    <a:cubicBezTo>
                      <a:pt x="291" y="396"/>
                      <a:pt x="291" y="396"/>
                      <a:pt x="292" y="399"/>
                    </a:cubicBezTo>
                    <a:cubicBezTo>
                      <a:pt x="292" y="399"/>
                      <a:pt x="292" y="399"/>
                      <a:pt x="299" y="400"/>
                    </a:cubicBezTo>
                    <a:cubicBezTo>
                      <a:pt x="299" y="400"/>
                      <a:pt x="299" y="400"/>
                      <a:pt x="303" y="404"/>
                    </a:cubicBezTo>
                    <a:cubicBezTo>
                      <a:pt x="303" y="404"/>
                      <a:pt x="303" y="404"/>
                      <a:pt x="309" y="402"/>
                    </a:cubicBezTo>
                    <a:cubicBezTo>
                      <a:pt x="309" y="402"/>
                      <a:pt x="309" y="402"/>
                      <a:pt x="314" y="404"/>
                    </a:cubicBezTo>
                    <a:cubicBezTo>
                      <a:pt x="314" y="404"/>
                      <a:pt x="314" y="404"/>
                      <a:pt x="319" y="401"/>
                    </a:cubicBezTo>
                    <a:cubicBezTo>
                      <a:pt x="319" y="401"/>
                      <a:pt x="319" y="401"/>
                      <a:pt x="321" y="404"/>
                    </a:cubicBezTo>
                    <a:cubicBezTo>
                      <a:pt x="321" y="404"/>
                      <a:pt x="321" y="404"/>
                      <a:pt x="318" y="408"/>
                    </a:cubicBezTo>
                    <a:cubicBezTo>
                      <a:pt x="318" y="408"/>
                      <a:pt x="318" y="408"/>
                      <a:pt x="324" y="407"/>
                    </a:cubicBezTo>
                    <a:cubicBezTo>
                      <a:pt x="324" y="407"/>
                      <a:pt x="324" y="407"/>
                      <a:pt x="326" y="408"/>
                    </a:cubicBezTo>
                    <a:cubicBezTo>
                      <a:pt x="326" y="408"/>
                      <a:pt x="326" y="408"/>
                      <a:pt x="324" y="425"/>
                    </a:cubicBezTo>
                    <a:cubicBezTo>
                      <a:pt x="324" y="425"/>
                      <a:pt x="324" y="425"/>
                      <a:pt x="324" y="432"/>
                    </a:cubicBezTo>
                    <a:cubicBezTo>
                      <a:pt x="324" y="432"/>
                      <a:pt x="324" y="432"/>
                      <a:pt x="328" y="433"/>
                    </a:cubicBezTo>
                    <a:cubicBezTo>
                      <a:pt x="328" y="433"/>
                      <a:pt x="328" y="433"/>
                      <a:pt x="330" y="431"/>
                    </a:cubicBezTo>
                    <a:cubicBezTo>
                      <a:pt x="330" y="431"/>
                      <a:pt x="330" y="431"/>
                      <a:pt x="331" y="428"/>
                    </a:cubicBezTo>
                    <a:cubicBezTo>
                      <a:pt x="331" y="428"/>
                      <a:pt x="331" y="428"/>
                      <a:pt x="334" y="429"/>
                    </a:cubicBezTo>
                    <a:cubicBezTo>
                      <a:pt x="334" y="429"/>
                      <a:pt x="334" y="429"/>
                      <a:pt x="336" y="433"/>
                    </a:cubicBezTo>
                    <a:cubicBezTo>
                      <a:pt x="336" y="433"/>
                      <a:pt x="336" y="433"/>
                      <a:pt x="336" y="443"/>
                    </a:cubicBezTo>
                    <a:cubicBezTo>
                      <a:pt x="336" y="443"/>
                      <a:pt x="336" y="443"/>
                      <a:pt x="335" y="448"/>
                    </a:cubicBezTo>
                    <a:cubicBezTo>
                      <a:pt x="335" y="448"/>
                      <a:pt x="335" y="448"/>
                      <a:pt x="339" y="450"/>
                    </a:cubicBezTo>
                    <a:cubicBezTo>
                      <a:pt x="339" y="450"/>
                      <a:pt x="339" y="450"/>
                      <a:pt x="344" y="450"/>
                    </a:cubicBezTo>
                    <a:cubicBezTo>
                      <a:pt x="344" y="450"/>
                      <a:pt x="344" y="450"/>
                      <a:pt x="348" y="452"/>
                    </a:cubicBezTo>
                    <a:cubicBezTo>
                      <a:pt x="348" y="452"/>
                      <a:pt x="348" y="452"/>
                      <a:pt x="353" y="456"/>
                    </a:cubicBezTo>
                    <a:cubicBezTo>
                      <a:pt x="353" y="456"/>
                      <a:pt x="353" y="456"/>
                      <a:pt x="357" y="457"/>
                    </a:cubicBezTo>
                    <a:cubicBezTo>
                      <a:pt x="357" y="457"/>
                      <a:pt x="357" y="457"/>
                      <a:pt x="356" y="467"/>
                    </a:cubicBezTo>
                    <a:cubicBezTo>
                      <a:pt x="356" y="467"/>
                      <a:pt x="356" y="467"/>
                      <a:pt x="356" y="472"/>
                    </a:cubicBezTo>
                    <a:cubicBezTo>
                      <a:pt x="356" y="472"/>
                      <a:pt x="356" y="472"/>
                      <a:pt x="352" y="473"/>
                    </a:cubicBezTo>
                    <a:cubicBezTo>
                      <a:pt x="352" y="473"/>
                      <a:pt x="352" y="473"/>
                      <a:pt x="354" y="478"/>
                    </a:cubicBezTo>
                    <a:cubicBezTo>
                      <a:pt x="354" y="478"/>
                      <a:pt x="354" y="478"/>
                      <a:pt x="351" y="482"/>
                    </a:cubicBezTo>
                    <a:cubicBezTo>
                      <a:pt x="351" y="482"/>
                      <a:pt x="351" y="482"/>
                      <a:pt x="353" y="483"/>
                    </a:cubicBezTo>
                    <a:cubicBezTo>
                      <a:pt x="353" y="483"/>
                      <a:pt x="353" y="483"/>
                      <a:pt x="356" y="482"/>
                    </a:cubicBezTo>
                    <a:cubicBezTo>
                      <a:pt x="356" y="482"/>
                      <a:pt x="356" y="482"/>
                      <a:pt x="361" y="485"/>
                    </a:cubicBezTo>
                    <a:cubicBezTo>
                      <a:pt x="361" y="485"/>
                      <a:pt x="361" y="485"/>
                      <a:pt x="364" y="483"/>
                    </a:cubicBezTo>
                    <a:cubicBezTo>
                      <a:pt x="364" y="483"/>
                      <a:pt x="364" y="483"/>
                      <a:pt x="369" y="485"/>
                    </a:cubicBezTo>
                    <a:cubicBezTo>
                      <a:pt x="369" y="485"/>
                      <a:pt x="369" y="485"/>
                      <a:pt x="372" y="485"/>
                    </a:cubicBezTo>
                    <a:cubicBezTo>
                      <a:pt x="372" y="485"/>
                      <a:pt x="372" y="485"/>
                      <a:pt x="377" y="489"/>
                    </a:cubicBezTo>
                    <a:cubicBezTo>
                      <a:pt x="377" y="489"/>
                      <a:pt x="377" y="489"/>
                      <a:pt x="381" y="492"/>
                    </a:cubicBezTo>
                    <a:cubicBezTo>
                      <a:pt x="381" y="492"/>
                      <a:pt x="381" y="492"/>
                      <a:pt x="383" y="496"/>
                    </a:cubicBezTo>
                    <a:cubicBezTo>
                      <a:pt x="383" y="496"/>
                      <a:pt x="383" y="496"/>
                      <a:pt x="385" y="499"/>
                    </a:cubicBezTo>
                    <a:cubicBezTo>
                      <a:pt x="385" y="499"/>
                      <a:pt x="385" y="499"/>
                      <a:pt x="390" y="496"/>
                    </a:cubicBezTo>
                    <a:cubicBezTo>
                      <a:pt x="390" y="496"/>
                      <a:pt x="390" y="496"/>
                      <a:pt x="394" y="494"/>
                    </a:cubicBezTo>
                    <a:cubicBezTo>
                      <a:pt x="394" y="494"/>
                      <a:pt x="394" y="494"/>
                      <a:pt x="398" y="496"/>
                    </a:cubicBezTo>
                    <a:cubicBezTo>
                      <a:pt x="398" y="496"/>
                      <a:pt x="398" y="496"/>
                      <a:pt x="399" y="501"/>
                    </a:cubicBezTo>
                    <a:cubicBezTo>
                      <a:pt x="399" y="501"/>
                      <a:pt x="399" y="501"/>
                      <a:pt x="395" y="505"/>
                    </a:cubicBezTo>
                    <a:cubicBezTo>
                      <a:pt x="395" y="505"/>
                      <a:pt x="395" y="505"/>
                      <a:pt x="395" y="509"/>
                    </a:cubicBezTo>
                    <a:cubicBezTo>
                      <a:pt x="395" y="509"/>
                      <a:pt x="395" y="509"/>
                      <a:pt x="392" y="513"/>
                    </a:cubicBezTo>
                    <a:cubicBezTo>
                      <a:pt x="392" y="513"/>
                      <a:pt x="392" y="513"/>
                      <a:pt x="392" y="516"/>
                    </a:cubicBezTo>
                    <a:cubicBezTo>
                      <a:pt x="392" y="516"/>
                      <a:pt x="392" y="516"/>
                      <a:pt x="386" y="519"/>
                    </a:cubicBezTo>
                    <a:cubicBezTo>
                      <a:pt x="386" y="519"/>
                      <a:pt x="386" y="519"/>
                      <a:pt x="384" y="528"/>
                    </a:cubicBezTo>
                    <a:cubicBezTo>
                      <a:pt x="384" y="528"/>
                      <a:pt x="384" y="528"/>
                      <a:pt x="379" y="531"/>
                    </a:cubicBezTo>
                    <a:cubicBezTo>
                      <a:pt x="379" y="531"/>
                      <a:pt x="379" y="531"/>
                      <a:pt x="376" y="535"/>
                    </a:cubicBezTo>
                    <a:cubicBezTo>
                      <a:pt x="376" y="535"/>
                      <a:pt x="376" y="535"/>
                      <a:pt x="376" y="542"/>
                    </a:cubicBezTo>
                    <a:cubicBezTo>
                      <a:pt x="432" y="535"/>
                      <a:pt x="432" y="535"/>
                      <a:pt x="432" y="535"/>
                    </a:cubicBezTo>
                    <a:cubicBezTo>
                      <a:pt x="453" y="535"/>
                      <a:pt x="453" y="535"/>
                      <a:pt x="453" y="535"/>
                    </a:cubicBezTo>
                    <a:cubicBezTo>
                      <a:pt x="453" y="492"/>
                      <a:pt x="453" y="492"/>
                      <a:pt x="453" y="492"/>
                    </a:cubicBezTo>
                    <a:cubicBezTo>
                      <a:pt x="442" y="481"/>
                      <a:pt x="442" y="481"/>
                      <a:pt x="442" y="481"/>
                    </a:cubicBezTo>
                    <a:cubicBezTo>
                      <a:pt x="442" y="470"/>
                      <a:pt x="442" y="470"/>
                      <a:pt x="442" y="470"/>
                    </a:cubicBezTo>
                    <a:cubicBezTo>
                      <a:pt x="486" y="470"/>
                      <a:pt x="486" y="470"/>
                      <a:pt x="486" y="470"/>
                    </a:cubicBezTo>
                    <a:cubicBezTo>
                      <a:pt x="496" y="460"/>
                      <a:pt x="496" y="460"/>
                      <a:pt x="496" y="460"/>
                    </a:cubicBezTo>
                    <a:cubicBezTo>
                      <a:pt x="496" y="417"/>
                      <a:pt x="496" y="417"/>
                      <a:pt x="496" y="417"/>
                    </a:cubicBezTo>
                    <a:lnTo>
                      <a:pt x="486" y="406"/>
                    </a:lnTo>
                    <a:close/>
                  </a:path>
                </a:pathLst>
              </a:custGeom>
              <a:solidFill>
                <a:schemeClr val="accent1"/>
              </a:solidFill>
              <a:ln w="3175">
                <a:solidFill>
                  <a:schemeClr val="bg1"/>
                </a:solidFill>
                <a:round/>
                <a:headEnd/>
                <a:tailEnd/>
              </a:ln>
            </p:spPr>
            <p:txBody>
              <a:bodyPr/>
              <a:lstStyle/>
              <a:p>
                <a:pPr>
                  <a:spcBef>
                    <a:spcPct val="0"/>
                  </a:spcBef>
                </a:pPr>
                <a:endParaRPr lang="de-DE">
                  <a:solidFill>
                    <a:srgbClr val="000000"/>
                  </a:solidFill>
                  <a:latin typeface="Calibri" pitchFamily="34" charset="0"/>
                </a:endParaRPr>
              </a:p>
            </p:txBody>
          </p:sp>
        </p:grpSp>
        <p:sp>
          <p:nvSpPr>
            <p:cNvPr id="517" name="Freeform 322"/>
            <p:cNvSpPr>
              <a:spLocks/>
            </p:cNvSpPr>
            <p:nvPr/>
          </p:nvSpPr>
          <p:spPr bwMode="auto">
            <a:xfrm>
              <a:off x="358774" y="829183"/>
              <a:ext cx="4068887" cy="1719845"/>
            </a:xfrm>
            <a:custGeom>
              <a:avLst/>
              <a:gdLst>
                <a:gd name="T0" fmla="*/ 0 w 1672"/>
                <a:gd name="T1" fmla="*/ 0 h 120"/>
                <a:gd name="T2" fmla="*/ 2147483647 w 1672"/>
                <a:gd name="T3" fmla="*/ 0 h 120"/>
                <a:gd name="T4" fmla="*/ 2147483647 w 1672"/>
                <a:gd name="T5" fmla="*/ 2147483647 h 120"/>
                <a:gd name="T6" fmla="*/ 0 60000 65536"/>
                <a:gd name="T7" fmla="*/ 0 60000 65536"/>
                <a:gd name="T8" fmla="*/ 0 60000 65536"/>
                <a:gd name="T9" fmla="*/ 0 w 1672"/>
                <a:gd name="T10" fmla="*/ 0 h 120"/>
                <a:gd name="T11" fmla="*/ 1672 w 1672"/>
                <a:gd name="T12" fmla="*/ 120 h 120"/>
              </a:gdLst>
              <a:ahLst/>
              <a:cxnLst>
                <a:cxn ang="T6">
                  <a:pos x="T0" y="T1"/>
                </a:cxn>
                <a:cxn ang="T7">
                  <a:pos x="T2" y="T3"/>
                </a:cxn>
                <a:cxn ang="T8">
                  <a:pos x="T4" y="T5"/>
                </a:cxn>
              </a:cxnLst>
              <a:rect l="T9" t="T10" r="T11" b="T12"/>
              <a:pathLst>
                <a:path w="1672" h="120">
                  <a:moveTo>
                    <a:pt x="0" y="0"/>
                  </a:moveTo>
                  <a:lnTo>
                    <a:pt x="1672" y="0"/>
                  </a:lnTo>
                  <a:lnTo>
                    <a:pt x="1672" y="120"/>
                  </a:lnTo>
                </a:path>
              </a:pathLst>
            </a:custGeom>
            <a:noFill/>
            <a:ln w="6350" cap="flat" cmpd="sng">
              <a:solidFill>
                <a:schemeClr val="tx1"/>
              </a:solidFill>
              <a:prstDash val="solid"/>
              <a:round/>
              <a:headEnd/>
              <a:tailEnd/>
            </a:ln>
          </p:spPr>
          <p:txBody>
            <a:bodyPr wrap="none" lIns="78885" tIns="40074" rIns="63108" bIns="40074" anchor="ctr"/>
            <a:lstStyle/>
            <a:p>
              <a:endParaRPr lang="de-DE">
                <a:solidFill>
                  <a:srgbClr val="000000"/>
                </a:solidFill>
              </a:endParaRPr>
            </a:p>
          </p:txBody>
        </p:sp>
        <p:sp>
          <p:nvSpPr>
            <p:cNvPr id="519" name="Rechteck 518"/>
            <p:cNvSpPr/>
            <p:nvPr/>
          </p:nvSpPr>
          <p:spPr>
            <a:xfrm>
              <a:off x="353115" y="829406"/>
              <a:ext cx="1007666" cy="276999"/>
            </a:xfrm>
            <a:prstGeom prst="rect">
              <a:avLst/>
            </a:prstGeom>
          </p:spPr>
          <p:txBody>
            <a:bodyPr wrap="square" lIns="0">
              <a:spAutoFit/>
            </a:bodyPr>
            <a:lstStyle/>
            <a:p>
              <a:r>
                <a:rPr lang="de-DE" sz="1200" b="1" dirty="0" smtClean="0">
                  <a:solidFill>
                    <a:srgbClr val="000000"/>
                  </a:solidFill>
                </a:rPr>
                <a:t>Europa </a:t>
              </a:r>
            </a:p>
          </p:txBody>
        </p:sp>
        <p:sp>
          <p:nvSpPr>
            <p:cNvPr id="521" name="Text Box 313"/>
            <p:cNvSpPr txBox="1">
              <a:spLocks noChangeArrowheads="1"/>
            </p:cNvSpPr>
            <p:nvPr/>
          </p:nvSpPr>
          <p:spPr bwMode="auto">
            <a:xfrm>
              <a:off x="271135" y="4130687"/>
              <a:ext cx="1260897" cy="1004260"/>
            </a:xfrm>
            <a:prstGeom prst="rect">
              <a:avLst/>
            </a:prstGeom>
            <a:noFill/>
            <a:ln w="9525" algn="ctr">
              <a:noFill/>
              <a:miter lim="800000"/>
              <a:headEnd/>
              <a:tailEnd/>
            </a:ln>
          </p:spPr>
          <p:txBody>
            <a:bodyPr wrap="square" lIns="78885" tIns="40074" rIns="63108" bIns="40074">
              <a:spAutoFit/>
            </a:bodyPr>
            <a:lstStyle/>
            <a:p>
              <a:pPr marL="253243" indent="-253243" defTabSz="893307">
                <a:buClr>
                  <a:srgbClr val="E19900"/>
                </a:buClr>
                <a:tabLst>
                  <a:tab pos="2003679" algn="l"/>
                  <a:tab pos="4423400" algn="r"/>
                  <a:tab pos="5258266" algn="r"/>
                  <a:tab pos="6093133" algn="r"/>
                  <a:tab pos="6927999" algn="r"/>
                  <a:tab pos="7768431" algn="r"/>
                </a:tabLst>
              </a:pPr>
              <a:r>
                <a:rPr lang="de-DE" sz="1200" b="1" dirty="0" smtClean="0">
                  <a:solidFill>
                    <a:srgbClr val="000000"/>
                  </a:solidFill>
                </a:rPr>
                <a:t>Südamerika</a:t>
              </a:r>
            </a:p>
            <a:p>
              <a:pPr marL="253243" indent="-253243"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Argentinien</a:t>
              </a:r>
            </a:p>
            <a:p>
              <a:pPr marL="253243" indent="-253243"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Brasilien</a:t>
              </a:r>
            </a:p>
            <a:p>
              <a:pPr marL="253243" indent="-253243"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Chile</a:t>
              </a:r>
            </a:p>
            <a:p>
              <a:pPr marL="253243" indent="-253243"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Ecuador</a:t>
              </a:r>
            </a:p>
          </p:txBody>
        </p:sp>
        <p:sp>
          <p:nvSpPr>
            <p:cNvPr id="524" name="Rechteck 523"/>
            <p:cNvSpPr/>
            <p:nvPr/>
          </p:nvSpPr>
          <p:spPr>
            <a:xfrm>
              <a:off x="7816681" y="2643638"/>
              <a:ext cx="1043608" cy="2492990"/>
            </a:xfrm>
            <a:prstGeom prst="rect">
              <a:avLst/>
            </a:prstGeom>
          </p:spPr>
          <p:txBody>
            <a:bodyPr wrap="square">
              <a:spAutoFit/>
            </a:bodyPr>
            <a:lstStyle/>
            <a:p>
              <a:pPr algn="r"/>
              <a:r>
                <a:rPr lang="de-DE" sz="1200" b="1" dirty="0" smtClean="0">
                  <a:solidFill>
                    <a:srgbClr val="000000"/>
                  </a:solidFill>
                </a:rPr>
                <a:t>Asien</a:t>
              </a:r>
            </a:p>
            <a:p>
              <a:pPr algn="r"/>
              <a:r>
                <a:rPr lang="de-DE" sz="1200" dirty="0" smtClean="0">
                  <a:solidFill>
                    <a:srgbClr val="000000"/>
                  </a:solidFill>
                </a:rPr>
                <a:t>China</a:t>
              </a:r>
            </a:p>
            <a:p>
              <a:pPr algn="r"/>
              <a:r>
                <a:rPr lang="de-DE" sz="1200" dirty="0" smtClean="0">
                  <a:solidFill>
                    <a:srgbClr val="000000"/>
                  </a:solidFill>
                </a:rPr>
                <a:t>Indien</a:t>
              </a:r>
            </a:p>
            <a:p>
              <a:pPr algn="r"/>
              <a:r>
                <a:rPr lang="de-DE" sz="1200" dirty="0" smtClean="0">
                  <a:solidFill>
                    <a:srgbClr val="000000"/>
                  </a:solidFill>
                </a:rPr>
                <a:t>Indonesien</a:t>
              </a:r>
            </a:p>
            <a:p>
              <a:pPr algn="r"/>
              <a:r>
                <a:rPr lang="de-DE" sz="1200" dirty="0" smtClean="0">
                  <a:solidFill>
                    <a:srgbClr val="000000"/>
                  </a:solidFill>
                </a:rPr>
                <a:t>Japan</a:t>
              </a:r>
            </a:p>
            <a:p>
              <a:pPr algn="r"/>
              <a:r>
                <a:rPr lang="de-DE" sz="1200" dirty="0" smtClean="0">
                  <a:solidFill>
                    <a:srgbClr val="000000"/>
                  </a:solidFill>
                </a:rPr>
                <a:t>Malaysia</a:t>
              </a:r>
            </a:p>
            <a:p>
              <a:pPr algn="r"/>
              <a:r>
                <a:rPr lang="de-DE" sz="1200" dirty="0" smtClean="0">
                  <a:solidFill>
                    <a:srgbClr val="000000"/>
                  </a:solidFill>
                </a:rPr>
                <a:t>Philippinen</a:t>
              </a:r>
            </a:p>
            <a:p>
              <a:pPr algn="r"/>
              <a:r>
                <a:rPr lang="de-DE" sz="1200" dirty="0" smtClean="0">
                  <a:solidFill>
                    <a:srgbClr val="000000"/>
                  </a:solidFill>
                </a:rPr>
                <a:t>Singapur</a:t>
              </a:r>
            </a:p>
            <a:p>
              <a:pPr algn="r"/>
              <a:r>
                <a:rPr lang="de-DE" sz="1200" dirty="0" smtClean="0">
                  <a:solidFill>
                    <a:srgbClr val="000000"/>
                  </a:solidFill>
                </a:rPr>
                <a:t>Sri Lanka</a:t>
              </a:r>
            </a:p>
            <a:p>
              <a:pPr algn="r"/>
              <a:r>
                <a:rPr lang="de-DE" sz="1200" dirty="0" smtClean="0">
                  <a:solidFill>
                    <a:srgbClr val="000000"/>
                  </a:solidFill>
                </a:rPr>
                <a:t>Südkorea</a:t>
              </a:r>
            </a:p>
            <a:p>
              <a:pPr algn="r"/>
              <a:r>
                <a:rPr lang="de-DE" sz="1200" dirty="0" smtClean="0">
                  <a:solidFill>
                    <a:srgbClr val="000000"/>
                  </a:solidFill>
                </a:rPr>
                <a:t>Taiwan</a:t>
              </a:r>
            </a:p>
            <a:p>
              <a:pPr algn="r"/>
              <a:r>
                <a:rPr lang="de-DE" sz="1200" dirty="0" smtClean="0">
                  <a:solidFill>
                    <a:srgbClr val="000000"/>
                  </a:solidFill>
                </a:rPr>
                <a:t>Thailand</a:t>
              </a:r>
            </a:p>
            <a:p>
              <a:pPr algn="r"/>
              <a:endParaRPr lang="de-DE" sz="1200" dirty="0" smtClean="0">
                <a:solidFill>
                  <a:srgbClr val="000000"/>
                </a:solidFill>
              </a:endParaRPr>
            </a:p>
          </p:txBody>
        </p:sp>
        <p:sp>
          <p:nvSpPr>
            <p:cNvPr id="526" name="Rechteck 525"/>
            <p:cNvSpPr/>
            <p:nvPr/>
          </p:nvSpPr>
          <p:spPr>
            <a:xfrm>
              <a:off x="5197793" y="4823667"/>
              <a:ext cx="1133872" cy="461665"/>
            </a:xfrm>
            <a:prstGeom prst="rect">
              <a:avLst/>
            </a:prstGeom>
          </p:spPr>
          <p:txBody>
            <a:bodyPr wrap="square">
              <a:spAutoFit/>
            </a:bodyPr>
            <a:lstStyle/>
            <a:p>
              <a:pPr algn="r"/>
              <a:r>
                <a:rPr lang="de-DE" sz="1200" smtClean="0">
                  <a:solidFill>
                    <a:srgbClr val="000000"/>
                  </a:solidFill>
                </a:rPr>
                <a:t>Südafrika</a:t>
              </a:r>
            </a:p>
            <a:p>
              <a:pPr algn="r"/>
              <a:r>
                <a:rPr lang="de-DE" sz="1200" smtClean="0">
                  <a:solidFill>
                    <a:srgbClr val="000000"/>
                  </a:solidFill>
                </a:rPr>
                <a:t>Tunesien</a:t>
              </a:r>
            </a:p>
          </p:txBody>
        </p:sp>
        <p:sp>
          <p:nvSpPr>
            <p:cNvPr id="527" name="Rechteck 526"/>
            <p:cNvSpPr/>
            <p:nvPr/>
          </p:nvSpPr>
          <p:spPr>
            <a:xfrm>
              <a:off x="4860032" y="4823667"/>
              <a:ext cx="639341" cy="276999"/>
            </a:xfrm>
            <a:prstGeom prst="rect">
              <a:avLst/>
            </a:prstGeom>
          </p:spPr>
          <p:txBody>
            <a:bodyPr wrap="square">
              <a:spAutoFit/>
            </a:bodyPr>
            <a:lstStyle/>
            <a:p>
              <a:pPr algn="r"/>
              <a:r>
                <a:rPr lang="de-DE" sz="1200" b="1" smtClean="0">
                  <a:solidFill>
                    <a:srgbClr val="000000"/>
                  </a:solidFill>
                </a:rPr>
                <a:t>Afrika</a:t>
              </a:r>
            </a:p>
          </p:txBody>
        </p:sp>
        <p:sp>
          <p:nvSpPr>
            <p:cNvPr id="528" name="Rechteck 527"/>
            <p:cNvSpPr/>
            <p:nvPr/>
          </p:nvSpPr>
          <p:spPr>
            <a:xfrm>
              <a:off x="7577098" y="5013176"/>
              <a:ext cx="1296144" cy="276999"/>
            </a:xfrm>
            <a:prstGeom prst="rect">
              <a:avLst/>
            </a:prstGeom>
          </p:spPr>
          <p:txBody>
            <a:bodyPr wrap="square">
              <a:spAutoFit/>
            </a:bodyPr>
            <a:lstStyle/>
            <a:p>
              <a:pPr algn="r"/>
              <a:r>
                <a:rPr lang="de-DE" sz="1200" b="1" dirty="0" smtClean="0">
                  <a:solidFill>
                    <a:srgbClr val="000000"/>
                  </a:solidFill>
                </a:rPr>
                <a:t>Australien</a:t>
              </a:r>
            </a:p>
          </p:txBody>
        </p:sp>
        <p:cxnSp>
          <p:nvCxnSpPr>
            <p:cNvPr id="529" name="Gerade Verbindung 528"/>
            <p:cNvCxnSpPr/>
            <p:nvPr/>
          </p:nvCxnSpPr>
          <p:spPr>
            <a:xfrm>
              <a:off x="7499367" y="5013176"/>
              <a:ext cx="1282771"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0" name="Gerade Verbindung 529"/>
            <p:cNvCxnSpPr/>
            <p:nvPr/>
          </p:nvCxnSpPr>
          <p:spPr>
            <a:xfrm>
              <a:off x="4716016" y="4853284"/>
              <a:ext cx="151216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3" name="Gerade Verbindung 532"/>
            <p:cNvCxnSpPr/>
            <p:nvPr/>
          </p:nvCxnSpPr>
          <p:spPr>
            <a:xfrm>
              <a:off x="353004" y="4133204"/>
              <a:ext cx="252028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3" name="Gerade Verbindung 692"/>
            <p:cNvCxnSpPr/>
            <p:nvPr/>
          </p:nvCxnSpPr>
          <p:spPr>
            <a:xfrm>
              <a:off x="6804248" y="2636912"/>
              <a:ext cx="198097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696" name="Text Box 313"/>
            <p:cNvSpPr txBox="1">
              <a:spLocks noChangeArrowheads="1"/>
            </p:cNvSpPr>
            <p:nvPr/>
          </p:nvSpPr>
          <p:spPr bwMode="auto">
            <a:xfrm>
              <a:off x="1187624" y="855284"/>
              <a:ext cx="1152128" cy="1373592"/>
            </a:xfrm>
            <a:prstGeom prst="rect">
              <a:avLst/>
            </a:prstGeom>
            <a:noFill/>
            <a:ln w="9525" algn="ctr">
              <a:noFill/>
              <a:miter lim="800000"/>
              <a:headEnd/>
              <a:tailEnd/>
            </a:ln>
          </p:spPr>
          <p:txBody>
            <a:bodyPr wrap="square" lIns="78885" tIns="40074" rIns="63108" bIns="40074">
              <a:spAutoFit/>
            </a:bodyPr>
            <a:lstStyle/>
            <a:p>
              <a:pPr marL="253243" indent="-253243"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Belgien</a:t>
              </a:r>
            </a:p>
            <a:p>
              <a:pPr marL="253243" indent="-253243"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Dänemark</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Deutschland*</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Finnland</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Frankreich</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Griechenland</a:t>
              </a:r>
            </a:p>
            <a:p>
              <a:pPr defTabSz="893307">
                <a:buClr>
                  <a:srgbClr val="E19900"/>
                </a:buClr>
                <a:tabLst>
                  <a:tab pos="2003679" algn="l"/>
                  <a:tab pos="4423400" algn="r"/>
                  <a:tab pos="5258266" algn="r"/>
                  <a:tab pos="6093133" algn="r"/>
                  <a:tab pos="6927999" algn="r"/>
                  <a:tab pos="7768431" algn="r"/>
                </a:tabLst>
              </a:pPr>
              <a:endParaRPr lang="de-DE" sz="1200" dirty="0" smtClean="0">
                <a:solidFill>
                  <a:srgbClr val="000000"/>
                </a:solidFill>
              </a:endParaRPr>
            </a:p>
          </p:txBody>
        </p:sp>
        <p:sp>
          <p:nvSpPr>
            <p:cNvPr id="697" name="Text Box 313"/>
            <p:cNvSpPr txBox="1">
              <a:spLocks noChangeArrowheads="1"/>
            </p:cNvSpPr>
            <p:nvPr/>
          </p:nvSpPr>
          <p:spPr bwMode="auto">
            <a:xfrm>
              <a:off x="2244052" y="855284"/>
              <a:ext cx="1193072" cy="1004260"/>
            </a:xfrm>
            <a:prstGeom prst="rect">
              <a:avLst/>
            </a:prstGeom>
            <a:noFill/>
            <a:ln w="9525" algn="ctr">
              <a:noFill/>
              <a:miter lim="800000"/>
              <a:headEnd/>
              <a:tailEnd/>
            </a:ln>
          </p:spPr>
          <p:txBody>
            <a:bodyPr wrap="square" lIns="78885" tIns="40074" rIns="63108" bIns="40074">
              <a:spAutoFit/>
            </a:bodyPr>
            <a:lstStyle/>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Großbritannien</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Irland</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Italien</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Niederlande</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Norwegen</a:t>
              </a:r>
            </a:p>
          </p:txBody>
        </p:sp>
        <p:sp>
          <p:nvSpPr>
            <p:cNvPr id="698" name="Text Box 313"/>
            <p:cNvSpPr txBox="1">
              <a:spLocks noChangeArrowheads="1"/>
            </p:cNvSpPr>
            <p:nvPr/>
          </p:nvSpPr>
          <p:spPr bwMode="auto">
            <a:xfrm>
              <a:off x="4572000" y="855284"/>
              <a:ext cx="1368152" cy="1188926"/>
            </a:xfrm>
            <a:prstGeom prst="rect">
              <a:avLst/>
            </a:prstGeom>
            <a:noFill/>
            <a:ln w="9525" algn="ctr">
              <a:noFill/>
              <a:miter lim="800000"/>
              <a:headEnd/>
              <a:tailEnd/>
            </a:ln>
          </p:spPr>
          <p:txBody>
            <a:bodyPr wrap="square" lIns="78885" tIns="40074" rIns="63108" bIns="40074">
              <a:spAutoFit/>
            </a:bodyPr>
            <a:lstStyle/>
            <a:p>
              <a:pPr defTabSz="893307">
                <a:buClr>
                  <a:srgbClr val="E19900"/>
                </a:buClr>
                <a:tabLst>
                  <a:tab pos="2003679" algn="l"/>
                  <a:tab pos="4423400" algn="r"/>
                  <a:tab pos="5258266" algn="r"/>
                  <a:tab pos="6093133" algn="r"/>
                  <a:tab pos="6927999" algn="r"/>
                  <a:tab pos="7768431" algn="r"/>
                </a:tabLst>
              </a:pPr>
              <a:r>
                <a:rPr lang="de-DE" sz="1200" dirty="0" smtClean="0"/>
                <a:t>Kasachstan</a:t>
              </a:r>
            </a:p>
            <a:p>
              <a:pPr defTabSz="893307">
                <a:buClr>
                  <a:srgbClr val="E19900"/>
                </a:buClr>
                <a:tabLst>
                  <a:tab pos="2003679" algn="l"/>
                  <a:tab pos="4423400" algn="r"/>
                  <a:tab pos="5258266" algn="r"/>
                  <a:tab pos="6093133" algn="r"/>
                  <a:tab pos="6927999" algn="r"/>
                  <a:tab pos="7768431" algn="r"/>
                </a:tabLst>
              </a:pPr>
              <a:r>
                <a:rPr lang="de-DE" sz="1200" dirty="0" smtClean="0"/>
                <a:t>Polen</a:t>
              </a:r>
            </a:p>
            <a:p>
              <a:pPr defTabSz="893307">
                <a:buClr>
                  <a:srgbClr val="E19900"/>
                </a:buClr>
                <a:tabLst>
                  <a:tab pos="2003679" algn="l"/>
                  <a:tab pos="4423400" algn="r"/>
                  <a:tab pos="5258266" algn="r"/>
                  <a:tab pos="6093133" algn="r"/>
                  <a:tab pos="6927999" algn="r"/>
                  <a:tab pos="7768431" algn="r"/>
                </a:tabLst>
              </a:pPr>
              <a:r>
                <a:rPr lang="de-DE" sz="1200" dirty="0" smtClean="0"/>
                <a:t>Rumänien</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Russland</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Serbien</a:t>
              </a:r>
            </a:p>
            <a:p>
              <a:pPr defTabSz="893307">
                <a:buClr>
                  <a:srgbClr val="E19900"/>
                </a:buClr>
                <a:tabLst>
                  <a:tab pos="2003679" algn="l"/>
                  <a:tab pos="4423400" algn="r"/>
                  <a:tab pos="5258266" algn="r"/>
                  <a:tab pos="6093133" algn="r"/>
                  <a:tab pos="6927999" algn="r"/>
                  <a:tab pos="7768431" algn="r"/>
                </a:tabLst>
              </a:pPr>
              <a:endParaRPr lang="de-DE" sz="1200" dirty="0" smtClean="0">
                <a:solidFill>
                  <a:srgbClr val="000000"/>
                </a:solidFill>
              </a:endParaRPr>
            </a:p>
          </p:txBody>
        </p:sp>
        <p:sp>
          <p:nvSpPr>
            <p:cNvPr id="699" name="Text Box 313"/>
            <p:cNvSpPr txBox="1">
              <a:spLocks noChangeArrowheads="1"/>
            </p:cNvSpPr>
            <p:nvPr/>
          </p:nvSpPr>
          <p:spPr bwMode="auto">
            <a:xfrm>
              <a:off x="5508104" y="855284"/>
              <a:ext cx="1944216" cy="1004260"/>
            </a:xfrm>
            <a:prstGeom prst="rect">
              <a:avLst/>
            </a:prstGeom>
            <a:noFill/>
            <a:ln w="9525" algn="ctr">
              <a:noFill/>
              <a:miter lim="800000"/>
              <a:headEnd/>
              <a:tailEnd/>
            </a:ln>
          </p:spPr>
          <p:txBody>
            <a:bodyPr wrap="square" lIns="78885" tIns="40074" rIns="63108" bIns="40074">
              <a:spAutoFit/>
            </a:bodyPr>
            <a:lstStyle/>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Slowakei</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Tschechische Republik</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Türkei</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Ungarn</a:t>
              </a:r>
            </a:p>
            <a:p>
              <a:pPr defTabSz="893307">
                <a:buClr>
                  <a:srgbClr val="E19900"/>
                </a:buClr>
                <a:tabLst>
                  <a:tab pos="2003679" algn="l"/>
                  <a:tab pos="4423400" algn="r"/>
                  <a:tab pos="5258266" algn="r"/>
                  <a:tab pos="6093133" algn="r"/>
                  <a:tab pos="6927999" algn="r"/>
                  <a:tab pos="7768431" algn="r"/>
                </a:tabLst>
              </a:pPr>
              <a:endParaRPr lang="de-DE" sz="1200" dirty="0" smtClean="0">
                <a:solidFill>
                  <a:srgbClr val="000000"/>
                </a:solidFill>
              </a:endParaRPr>
            </a:p>
          </p:txBody>
        </p:sp>
        <p:sp>
          <p:nvSpPr>
            <p:cNvPr id="701" name="Text Box 313"/>
            <p:cNvSpPr txBox="1">
              <a:spLocks noChangeArrowheads="1"/>
            </p:cNvSpPr>
            <p:nvPr/>
          </p:nvSpPr>
          <p:spPr bwMode="auto">
            <a:xfrm>
              <a:off x="268277" y="2690527"/>
              <a:ext cx="1260897" cy="819594"/>
            </a:xfrm>
            <a:prstGeom prst="rect">
              <a:avLst/>
            </a:prstGeom>
            <a:noFill/>
            <a:ln w="9525" algn="ctr">
              <a:noFill/>
              <a:miter lim="800000"/>
              <a:headEnd/>
              <a:tailEnd/>
            </a:ln>
          </p:spPr>
          <p:txBody>
            <a:bodyPr wrap="square" lIns="78885" tIns="40074" rIns="63108" bIns="40074">
              <a:spAutoFit/>
            </a:bodyPr>
            <a:lstStyle/>
            <a:p>
              <a:pPr marL="253243" indent="-253243" defTabSz="893307">
                <a:buClr>
                  <a:srgbClr val="E19900"/>
                </a:buClr>
                <a:tabLst>
                  <a:tab pos="2003679" algn="l"/>
                  <a:tab pos="4423400" algn="r"/>
                  <a:tab pos="5258266" algn="r"/>
                  <a:tab pos="6093133" algn="r"/>
                  <a:tab pos="6927999" algn="r"/>
                  <a:tab pos="7768431" algn="r"/>
                </a:tabLst>
              </a:pPr>
              <a:r>
                <a:rPr lang="de-DE" sz="1200" b="1" smtClean="0">
                  <a:solidFill>
                    <a:srgbClr val="000000"/>
                  </a:solidFill>
                </a:rPr>
                <a:t>Nordamerika</a:t>
              </a:r>
            </a:p>
            <a:p>
              <a:pPr marL="253243" indent="-253243" defTabSz="893307">
                <a:buClr>
                  <a:srgbClr val="E19900"/>
                </a:buClr>
                <a:tabLst>
                  <a:tab pos="2003679" algn="l"/>
                  <a:tab pos="4423400" algn="r"/>
                  <a:tab pos="5258266" algn="r"/>
                  <a:tab pos="6093133" algn="r"/>
                  <a:tab pos="6927999" algn="r"/>
                  <a:tab pos="7768431" algn="r"/>
                </a:tabLst>
              </a:pPr>
              <a:r>
                <a:rPr lang="de-DE" sz="1200" smtClean="0">
                  <a:solidFill>
                    <a:srgbClr val="000000"/>
                  </a:solidFill>
                </a:rPr>
                <a:t>Kanada</a:t>
              </a:r>
            </a:p>
            <a:p>
              <a:pPr marL="253243" indent="-253243" defTabSz="893307">
                <a:buClr>
                  <a:srgbClr val="E19900"/>
                </a:buClr>
                <a:tabLst>
                  <a:tab pos="2003679" algn="l"/>
                  <a:tab pos="4423400" algn="r"/>
                  <a:tab pos="5258266" algn="r"/>
                  <a:tab pos="6093133" algn="r"/>
                  <a:tab pos="6927999" algn="r"/>
                  <a:tab pos="7768431" algn="r"/>
                </a:tabLst>
              </a:pPr>
              <a:r>
                <a:rPr lang="de-DE" sz="1200" smtClean="0">
                  <a:solidFill>
                    <a:srgbClr val="000000"/>
                  </a:solidFill>
                </a:rPr>
                <a:t>Mexiko</a:t>
              </a:r>
            </a:p>
            <a:p>
              <a:pPr marL="253243" indent="-253243" defTabSz="893307">
                <a:buClr>
                  <a:srgbClr val="E19900"/>
                </a:buClr>
                <a:tabLst>
                  <a:tab pos="2003679" algn="l"/>
                  <a:tab pos="4423400" algn="r"/>
                  <a:tab pos="5258266" algn="r"/>
                  <a:tab pos="6093133" algn="r"/>
                  <a:tab pos="6927999" algn="r"/>
                  <a:tab pos="7768431" algn="r"/>
                </a:tabLst>
              </a:pPr>
              <a:r>
                <a:rPr lang="de-DE" sz="1200" smtClean="0">
                  <a:solidFill>
                    <a:srgbClr val="000000"/>
                  </a:solidFill>
                </a:rPr>
                <a:t>USA</a:t>
              </a:r>
            </a:p>
          </p:txBody>
        </p:sp>
        <p:cxnSp>
          <p:nvCxnSpPr>
            <p:cNvPr id="702" name="Gerade Verbindung 701"/>
            <p:cNvCxnSpPr/>
            <p:nvPr/>
          </p:nvCxnSpPr>
          <p:spPr>
            <a:xfrm>
              <a:off x="353004" y="2693044"/>
              <a:ext cx="151216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705" name="Text Box 313"/>
            <p:cNvSpPr txBox="1">
              <a:spLocks noChangeArrowheads="1"/>
            </p:cNvSpPr>
            <p:nvPr/>
          </p:nvSpPr>
          <p:spPr bwMode="auto">
            <a:xfrm>
              <a:off x="3491880" y="855284"/>
              <a:ext cx="936104" cy="1004260"/>
            </a:xfrm>
            <a:prstGeom prst="rect">
              <a:avLst/>
            </a:prstGeom>
            <a:noFill/>
            <a:ln w="9525" algn="ctr">
              <a:noFill/>
              <a:miter lim="800000"/>
              <a:headEnd/>
              <a:tailEnd/>
            </a:ln>
          </p:spPr>
          <p:txBody>
            <a:bodyPr wrap="square" lIns="78885" tIns="40074" rIns="63108" bIns="40074">
              <a:spAutoFit/>
            </a:bodyPr>
            <a:lstStyle/>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Österreich</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Portugal</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Schweden</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Schweiz</a:t>
              </a:r>
            </a:p>
            <a:p>
              <a:pPr defTabSz="893307">
                <a:buClr>
                  <a:srgbClr val="E19900"/>
                </a:buClr>
                <a:tabLst>
                  <a:tab pos="2003679" algn="l"/>
                  <a:tab pos="4423400" algn="r"/>
                  <a:tab pos="5258266" algn="r"/>
                  <a:tab pos="6093133" algn="r"/>
                  <a:tab pos="6927999" algn="r"/>
                  <a:tab pos="7768431" algn="r"/>
                </a:tabLst>
              </a:pPr>
              <a:r>
                <a:rPr lang="de-DE" sz="1200" dirty="0" smtClean="0">
                  <a:solidFill>
                    <a:srgbClr val="000000"/>
                  </a:solidFill>
                </a:rPr>
                <a:t>Spanien</a:t>
              </a:r>
            </a:p>
          </p:txBody>
        </p:sp>
        <p:sp>
          <p:nvSpPr>
            <p:cNvPr id="706" name="Freeform 322"/>
            <p:cNvSpPr>
              <a:spLocks/>
            </p:cNvSpPr>
            <p:nvPr/>
          </p:nvSpPr>
          <p:spPr bwMode="auto">
            <a:xfrm flipH="1">
              <a:off x="4571998" y="829183"/>
              <a:ext cx="3355943" cy="1823852"/>
            </a:xfrm>
            <a:custGeom>
              <a:avLst/>
              <a:gdLst>
                <a:gd name="T0" fmla="*/ 0 w 1672"/>
                <a:gd name="T1" fmla="*/ 0 h 120"/>
                <a:gd name="T2" fmla="*/ 2147483647 w 1672"/>
                <a:gd name="T3" fmla="*/ 0 h 120"/>
                <a:gd name="T4" fmla="*/ 2147483647 w 1672"/>
                <a:gd name="T5" fmla="*/ 2147483647 h 120"/>
                <a:gd name="T6" fmla="*/ 0 60000 65536"/>
                <a:gd name="T7" fmla="*/ 0 60000 65536"/>
                <a:gd name="T8" fmla="*/ 0 60000 65536"/>
                <a:gd name="T9" fmla="*/ 0 w 1672"/>
                <a:gd name="T10" fmla="*/ 0 h 120"/>
                <a:gd name="T11" fmla="*/ 1672 w 1672"/>
                <a:gd name="T12" fmla="*/ 120 h 120"/>
              </a:gdLst>
              <a:ahLst/>
              <a:cxnLst>
                <a:cxn ang="T6">
                  <a:pos x="T0" y="T1"/>
                </a:cxn>
                <a:cxn ang="T7">
                  <a:pos x="T2" y="T3"/>
                </a:cxn>
                <a:cxn ang="T8">
                  <a:pos x="T4" y="T5"/>
                </a:cxn>
              </a:cxnLst>
              <a:rect l="T9" t="T10" r="T11" b="T12"/>
              <a:pathLst>
                <a:path w="1672" h="120">
                  <a:moveTo>
                    <a:pt x="0" y="0"/>
                  </a:moveTo>
                  <a:lnTo>
                    <a:pt x="1672" y="0"/>
                  </a:lnTo>
                  <a:lnTo>
                    <a:pt x="1672" y="120"/>
                  </a:lnTo>
                </a:path>
              </a:pathLst>
            </a:custGeom>
            <a:noFill/>
            <a:ln w="6350" cap="flat" cmpd="sng">
              <a:solidFill>
                <a:schemeClr val="tx1"/>
              </a:solidFill>
              <a:prstDash val="solid"/>
              <a:round/>
              <a:headEnd/>
              <a:tailEnd/>
            </a:ln>
          </p:spPr>
          <p:txBody>
            <a:bodyPr wrap="none" lIns="78885" tIns="40074" rIns="63108" bIns="40074" anchor="ctr"/>
            <a:lstStyle/>
            <a:p>
              <a:endParaRPr lang="de-DE">
                <a:solidFill>
                  <a:srgbClr val="000000"/>
                </a:solidFill>
              </a:endParaRPr>
            </a:p>
          </p:txBody>
        </p:sp>
        <p:sp>
          <p:nvSpPr>
            <p:cNvPr id="712" name="Ellipse 711"/>
            <p:cNvSpPr/>
            <p:nvPr/>
          </p:nvSpPr>
          <p:spPr>
            <a:xfrm>
              <a:off x="6673880" y="4101133"/>
              <a:ext cx="36000" cy="45719"/>
            </a:xfrm>
            <a:prstGeom prst="ellipse">
              <a:avLst/>
            </a:prstGeom>
            <a:solidFill>
              <a:schemeClr val="accent1"/>
            </a:solidFill>
            <a:ln w="3175">
              <a:solidFill>
                <a:schemeClr val="bg1"/>
              </a:solidFill>
              <a:round/>
              <a:headEnd/>
              <a:tailEnd/>
            </a:ln>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de-DE">
                <a:solidFill>
                  <a:srgbClr val="000000"/>
                </a:solidFill>
                <a:cs typeface="Arial" pitchFamily="34" charset="0"/>
              </a:endParaRPr>
            </a:p>
          </p:txBody>
        </p:sp>
        <p:sp>
          <p:nvSpPr>
            <p:cNvPr id="217" name="Text Box 313"/>
            <p:cNvSpPr txBox="1">
              <a:spLocks noChangeArrowheads="1"/>
            </p:cNvSpPr>
            <p:nvPr/>
          </p:nvSpPr>
          <p:spPr bwMode="auto">
            <a:xfrm>
              <a:off x="6285066" y="855284"/>
              <a:ext cx="1944216" cy="265597"/>
            </a:xfrm>
            <a:prstGeom prst="rect">
              <a:avLst/>
            </a:prstGeom>
            <a:noFill/>
            <a:ln w="9525" algn="ctr">
              <a:noFill/>
              <a:miter lim="800000"/>
              <a:headEnd/>
              <a:tailEnd/>
            </a:ln>
          </p:spPr>
          <p:txBody>
            <a:bodyPr wrap="square" lIns="78885" tIns="40074" rIns="63108" bIns="40074">
              <a:spAutoFit/>
            </a:bodyPr>
            <a:lstStyle/>
            <a:p>
              <a:pPr defTabSz="893307">
                <a:buClr>
                  <a:srgbClr val="E19900"/>
                </a:buClr>
                <a:tabLst>
                  <a:tab pos="2003679" algn="l"/>
                  <a:tab pos="4423400" algn="r"/>
                  <a:tab pos="5258266" algn="r"/>
                  <a:tab pos="6093133" algn="r"/>
                  <a:tab pos="6927999" algn="r"/>
                  <a:tab pos="7768431" algn="r"/>
                </a:tabLst>
              </a:pPr>
              <a:endParaRPr lang="de-DE" sz="1200" dirty="0" smtClean="0">
                <a:solidFill>
                  <a:srgbClr val="000000"/>
                </a:solidFill>
              </a:endParaRPr>
            </a:p>
          </p:txBody>
        </p:sp>
      </p:grpSp>
      <p:sp>
        <p:nvSpPr>
          <p:cNvPr id="215" name="Rechteck 214"/>
          <p:cNvSpPr/>
          <p:nvPr/>
        </p:nvSpPr>
        <p:spPr>
          <a:xfrm>
            <a:off x="227457" y="5710261"/>
            <a:ext cx="4572000" cy="230832"/>
          </a:xfrm>
          <a:prstGeom prst="rect">
            <a:avLst/>
          </a:prstGeom>
        </p:spPr>
        <p:txBody>
          <a:bodyPr>
            <a:spAutoFit/>
          </a:bodyPr>
          <a:lstStyle/>
          <a:p>
            <a:r>
              <a:rPr lang="de-DE" sz="900" dirty="0" smtClean="0">
                <a:solidFill>
                  <a:srgbClr val="000000"/>
                </a:solidFill>
              </a:rPr>
              <a:t>*Hauptverwaltung in Hannover</a:t>
            </a:r>
            <a:endParaRPr lang="de-DE" dirty="0"/>
          </a:p>
        </p:txBody>
      </p:sp>
    </p:spTree>
  </p:cSld>
  <p:clrMapOvr>
    <a:masterClrMapping/>
  </p:clrMapOvr>
  <p:transition>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9" name="Rectangle 2"/>
          <p:cNvSpPr>
            <a:spLocks noChangeArrowheads="1"/>
          </p:cNvSpPr>
          <p:nvPr/>
        </p:nvSpPr>
        <p:spPr bwMode="auto">
          <a:xfrm>
            <a:off x="309506" y="226057"/>
            <a:ext cx="8524988" cy="627774"/>
          </a:xfrm>
          <a:prstGeom prst="rect">
            <a:avLst/>
          </a:prstGeom>
          <a:noFill/>
          <a:ln w="9525">
            <a:noFill/>
            <a:miter lim="800000"/>
            <a:headEnd/>
            <a:tailEnd/>
          </a:ln>
        </p:spPr>
        <p:txBody>
          <a:bodyPr lIns="0" tIns="0" rIns="0" bIns="0" anchor="b"/>
          <a:lstStyle/>
          <a:p>
            <a:pPr defTabSz="873827">
              <a:lnSpc>
                <a:spcPts val="2367"/>
              </a:lnSpc>
            </a:pPr>
            <a:r>
              <a:rPr lang="en-US" sz="2000" b="1" dirty="0" err="1" smtClean="0"/>
              <a:t>Kommunikation</a:t>
            </a:r>
            <a:r>
              <a:rPr lang="en-US" sz="2000" b="1" dirty="0" smtClean="0"/>
              <a:t> </a:t>
            </a:r>
            <a:r>
              <a:rPr lang="en-US" sz="2000" b="1" dirty="0" err="1" smtClean="0"/>
              <a:t>innerhalb</a:t>
            </a:r>
            <a:r>
              <a:rPr lang="en-US" sz="2000" b="1" dirty="0" smtClean="0"/>
              <a:t> </a:t>
            </a:r>
            <a:r>
              <a:rPr lang="en-US" sz="2000" b="1" dirty="0" err="1" smtClean="0"/>
              <a:t>der</a:t>
            </a:r>
            <a:r>
              <a:rPr lang="en-US" sz="2000" b="1" dirty="0" smtClean="0"/>
              <a:t> </a:t>
            </a:r>
            <a:r>
              <a:rPr lang="en-US" sz="2000" b="1" dirty="0" err="1" smtClean="0"/>
              <a:t>einzelnen</a:t>
            </a:r>
            <a:r>
              <a:rPr lang="en-US" sz="2000" b="1" dirty="0" smtClean="0"/>
              <a:t> </a:t>
            </a:r>
            <a:r>
              <a:rPr lang="en-US" sz="2000" b="1" dirty="0" err="1" smtClean="0"/>
              <a:t>Einheiten</a:t>
            </a:r>
            <a:r>
              <a:rPr lang="en-US" sz="2000" b="1" dirty="0" smtClean="0"/>
              <a:t> </a:t>
            </a:r>
            <a:r>
              <a:rPr lang="en-US" sz="2000" b="1" dirty="0" err="1" smtClean="0"/>
              <a:t>reicht</a:t>
            </a:r>
            <a:r>
              <a:rPr lang="en-US" sz="2000" b="1" dirty="0" smtClean="0"/>
              <a:t> </a:t>
            </a:r>
            <a:r>
              <a:rPr lang="en-US" sz="2000" b="1" dirty="0" err="1" smtClean="0"/>
              <a:t>nicht</a:t>
            </a:r>
            <a:r>
              <a:rPr lang="en-US" sz="2000" b="1" dirty="0" smtClean="0"/>
              <a:t> </a:t>
            </a:r>
            <a:r>
              <a:rPr lang="en-US" sz="2000" b="1" dirty="0" err="1" smtClean="0"/>
              <a:t>mehr</a:t>
            </a:r>
            <a:endParaRPr lang="en-US" sz="2000" b="1" dirty="0"/>
          </a:p>
        </p:txBody>
      </p:sp>
      <p:sp>
        <p:nvSpPr>
          <p:cNvPr id="7170" name="Rectangle 100"/>
          <p:cNvSpPr>
            <a:spLocks noChangeArrowheads="1"/>
          </p:cNvSpPr>
          <p:nvPr/>
        </p:nvSpPr>
        <p:spPr bwMode="auto">
          <a:xfrm>
            <a:off x="363805" y="6133332"/>
            <a:ext cx="161924" cy="357930"/>
          </a:xfrm>
          <a:prstGeom prst="rect">
            <a:avLst/>
          </a:prstGeom>
          <a:noFill/>
          <a:ln w="9525">
            <a:noFill/>
            <a:miter lim="800000"/>
            <a:headEnd/>
            <a:tailEnd/>
          </a:ln>
        </p:spPr>
        <p:txBody>
          <a:bodyPr wrap="none" lIns="80147" tIns="40074" rIns="80147" bIns="40074" anchor="ctr">
            <a:spAutoFit/>
          </a:bodyPr>
          <a:lstStyle/>
          <a:p>
            <a:endParaRPr lang="de-DE"/>
          </a:p>
        </p:txBody>
      </p:sp>
      <p:pic>
        <p:nvPicPr>
          <p:cNvPr id="7171" name="Bild 2" descr="Straßennetz_ohneLinien.ai"/>
          <p:cNvPicPr>
            <a:picLocks noChangeAspect="1"/>
          </p:cNvPicPr>
          <p:nvPr/>
        </p:nvPicPr>
        <p:blipFill>
          <a:blip r:embed="rId3"/>
          <a:srcRect/>
          <a:stretch>
            <a:fillRect/>
          </a:stretch>
        </p:blipFill>
        <p:spPr bwMode="auto">
          <a:xfrm>
            <a:off x="308149" y="1146119"/>
            <a:ext cx="8524988" cy="457296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ChangeArrowheads="1"/>
          </p:cNvSpPr>
          <p:nvPr/>
        </p:nvSpPr>
        <p:spPr bwMode="auto">
          <a:xfrm>
            <a:off x="309506" y="226057"/>
            <a:ext cx="8524988" cy="627774"/>
          </a:xfrm>
          <a:prstGeom prst="rect">
            <a:avLst/>
          </a:prstGeom>
          <a:noFill/>
          <a:ln w="9525">
            <a:noFill/>
            <a:miter lim="800000"/>
            <a:headEnd/>
            <a:tailEnd/>
          </a:ln>
        </p:spPr>
        <p:txBody>
          <a:bodyPr lIns="0" tIns="0" rIns="0" bIns="0" anchor="b"/>
          <a:lstStyle/>
          <a:p>
            <a:pPr defTabSz="873827">
              <a:lnSpc>
                <a:spcPts val="2367"/>
              </a:lnSpc>
            </a:pPr>
            <a:r>
              <a:rPr lang="en-US" sz="2100" b="1" dirty="0" err="1" smtClean="0"/>
              <a:t>Informationen</a:t>
            </a:r>
            <a:r>
              <a:rPr lang="en-US" sz="2100" b="1" dirty="0" smtClean="0"/>
              <a:t> </a:t>
            </a:r>
            <a:r>
              <a:rPr lang="en-US" sz="2100" b="1" err="1" smtClean="0"/>
              <a:t>müssen</a:t>
            </a:r>
            <a:r>
              <a:rPr lang="en-US" sz="2100" b="1" smtClean="0"/>
              <a:t> fließen </a:t>
            </a:r>
            <a:endParaRPr lang="en-US" sz="2100" b="1" dirty="0"/>
          </a:p>
        </p:txBody>
      </p:sp>
      <p:sp>
        <p:nvSpPr>
          <p:cNvPr id="5123" name="Rectangle 100"/>
          <p:cNvSpPr>
            <a:spLocks noChangeArrowheads="1"/>
          </p:cNvSpPr>
          <p:nvPr/>
        </p:nvSpPr>
        <p:spPr bwMode="auto">
          <a:xfrm>
            <a:off x="363805" y="6133332"/>
            <a:ext cx="161924" cy="357930"/>
          </a:xfrm>
          <a:prstGeom prst="rect">
            <a:avLst/>
          </a:prstGeom>
          <a:noFill/>
          <a:ln w="9525">
            <a:noFill/>
            <a:miter lim="800000"/>
            <a:headEnd/>
            <a:tailEnd/>
          </a:ln>
        </p:spPr>
        <p:txBody>
          <a:bodyPr wrap="none" lIns="80147" tIns="40074" rIns="80147" bIns="40074" anchor="ctr">
            <a:spAutoFit/>
          </a:bodyPr>
          <a:lstStyle/>
          <a:p>
            <a:endParaRPr lang="de-DE"/>
          </a:p>
        </p:txBody>
      </p:sp>
      <p:pic>
        <p:nvPicPr>
          <p:cNvPr id="5124" name="Picture 112" descr="Straßennetz_grau_groß_orangeLinien"/>
          <p:cNvPicPr>
            <a:picLocks noChangeAspect="1" noChangeArrowheads="1"/>
          </p:cNvPicPr>
          <p:nvPr/>
        </p:nvPicPr>
        <p:blipFill>
          <a:blip r:embed="rId3"/>
          <a:srcRect/>
          <a:stretch>
            <a:fillRect/>
          </a:stretch>
        </p:blipFill>
        <p:spPr bwMode="auto">
          <a:xfrm>
            <a:off x="308149" y="1147560"/>
            <a:ext cx="8526345" cy="4561441"/>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ChangeArrowheads="1"/>
          </p:cNvSpPr>
          <p:nvPr/>
        </p:nvSpPr>
        <p:spPr bwMode="auto">
          <a:xfrm>
            <a:off x="309506" y="226057"/>
            <a:ext cx="8524988" cy="627774"/>
          </a:xfrm>
          <a:prstGeom prst="rect">
            <a:avLst/>
          </a:prstGeom>
          <a:noFill/>
          <a:ln w="9525">
            <a:noFill/>
            <a:miter lim="800000"/>
            <a:headEnd/>
            <a:tailEnd/>
          </a:ln>
        </p:spPr>
        <p:txBody>
          <a:bodyPr lIns="0" tIns="0" rIns="0" bIns="0" anchor="b"/>
          <a:lstStyle/>
          <a:p>
            <a:pPr defTabSz="873827">
              <a:lnSpc>
                <a:spcPts val="2367"/>
              </a:lnSpc>
            </a:pPr>
            <a:r>
              <a:rPr lang="en-US" sz="2100" b="1" dirty="0"/>
              <a:t>ConNext </a:t>
            </a:r>
            <a:r>
              <a:rPr lang="en-US" sz="2100" b="1" dirty="0" err="1" smtClean="0"/>
              <a:t>unterstützt</a:t>
            </a:r>
            <a:r>
              <a:rPr lang="en-US" sz="2100" b="1" dirty="0" smtClean="0"/>
              <a:t> </a:t>
            </a:r>
            <a:r>
              <a:rPr lang="en-US" sz="2100" b="1" dirty="0" err="1" smtClean="0"/>
              <a:t>Netzwerke</a:t>
            </a:r>
            <a:r>
              <a:rPr lang="en-US" sz="2100" b="1" dirty="0" smtClean="0"/>
              <a:t> </a:t>
            </a:r>
            <a:endParaRPr lang="en-US" sz="2100" b="1" dirty="0"/>
          </a:p>
        </p:txBody>
      </p:sp>
      <p:sp>
        <p:nvSpPr>
          <p:cNvPr id="5123" name="Rectangle 100"/>
          <p:cNvSpPr>
            <a:spLocks noChangeArrowheads="1"/>
          </p:cNvSpPr>
          <p:nvPr/>
        </p:nvSpPr>
        <p:spPr bwMode="auto">
          <a:xfrm>
            <a:off x="363805" y="6133332"/>
            <a:ext cx="161924" cy="357930"/>
          </a:xfrm>
          <a:prstGeom prst="rect">
            <a:avLst/>
          </a:prstGeom>
          <a:noFill/>
          <a:ln w="9525">
            <a:noFill/>
            <a:miter lim="800000"/>
            <a:headEnd/>
            <a:tailEnd/>
          </a:ln>
        </p:spPr>
        <p:txBody>
          <a:bodyPr wrap="none" lIns="80147" tIns="40074" rIns="80147" bIns="40074" anchor="ctr">
            <a:spAutoFit/>
          </a:bodyPr>
          <a:lstStyle/>
          <a:p>
            <a:endParaRPr lang="de-DE"/>
          </a:p>
        </p:txBody>
      </p:sp>
      <p:pic>
        <p:nvPicPr>
          <p:cNvPr id="5124" name="Picture 112" descr="Straßennetz_grau_groß_orangeLinien"/>
          <p:cNvPicPr>
            <a:picLocks noChangeAspect="1" noChangeArrowheads="1"/>
          </p:cNvPicPr>
          <p:nvPr/>
        </p:nvPicPr>
        <p:blipFill>
          <a:blip r:embed="rId4"/>
          <a:srcRect/>
          <a:stretch>
            <a:fillRect/>
          </a:stretch>
        </p:blipFill>
        <p:spPr bwMode="auto">
          <a:xfrm>
            <a:off x="308149" y="1147560"/>
            <a:ext cx="8526345" cy="4561441"/>
          </a:xfrm>
          <a:prstGeom prst="rect">
            <a:avLst/>
          </a:prstGeom>
          <a:noFill/>
          <a:ln w="9525">
            <a:noFill/>
            <a:miter lim="800000"/>
            <a:headEnd/>
            <a:tailEnd/>
          </a:ln>
        </p:spPr>
      </p:pic>
      <p:grpSp>
        <p:nvGrpSpPr>
          <p:cNvPr id="2" name="Gruppieren 14"/>
          <p:cNvGrpSpPr/>
          <p:nvPr>
            <p:custDataLst>
              <p:tags r:id="rId1"/>
            </p:custDataLst>
          </p:nvPr>
        </p:nvGrpSpPr>
        <p:grpSpPr>
          <a:xfrm>
            <a:off x="1403648" y="1484784"/>
            <a:ext cx="6624735" cy="3456384"/>
            <a:chOff x="1771887" y="1556792"/>
            <a:chExt cx="5670075" cy="1451756"/>
          </a:xfrm>
        </p:grpSpPr>
        <p:sp>
          <p:nvSpPr>
            <p:cNvPr id="10" name="Rectangle 19"/>
            <p:cNvSpPr/>
            <p:nvPr/>
          </p:nvSpPr>
          <p:spPr>
            <a:xfrm>
              <a:off x="1846429" y="1638920"/>
              <a:ext cx="5472311" cy="1369628"/>
            </a:xfrm>
            <a:prstGeom prst="rect">
              <a:avLst/>
            </a:prstGeom>
            <a:gradFill flip="none" rotWithShape="1">
              <a:gsLst>
                <a:gs pos="100000">
                  <a:srgbClr val="EAEAEA"/>
                </a:gs>
                <a:gs pos="0">
                  <a:srgbClr val="B2B2B2"/>
                </a:gs>
              </a:gsLst>
              <a:path path="circle">
                <a:fillToRect l="100000" t="100000"/>
              </a:path>
              <a:tileRect r="-100000" b="-100000"/>
            </a:gradFill>
            <a:ln w="9525">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lIns="468000" rIns="504000" rtlCol="0" anchor="t">
              <a:normAutofit/>
            </a:bodyPr>
            <a:lstStyle/>
            <a:p>
              <a:endParaRPr lang="de-DE" sz="1600" dirty="0" smtClean="0">
                <a:solidFill>
                  <a:schemeClr val="accent6"/>
                </a:solidFill>
              </a:endParaRPr>
            </a:p>
            <a:p>
              <a:pPr marL="180975"/>
              <a:r>
                <a:rPr lang="de-DE" sz="2400" dirty="0" smtClean="0">
                  <a:solidFill>
                    <a:schemeClr val="accent6"/>
                  </a:solidFill>
                </a:rPr>
                <a:t>Through </a:t>
              </a:r>
              <a:r>
                <a:rPr lang="de-DE" sz="2400" dirty="0" err="1" smtClean="0">
                  <a:solidFill>
                    <a:schemeClr val="accent6"/>
                  </a:solidFill>
                </a:rPr>
                <a:t>networking</a:t>
              </a:r>
              <a:r>
                <a:rPr lang="de-DE" sz="2400" dirty="0" smtClean="0">
                  <a:solidFill>
                    <a:schemeClr val="accent6"/>
                  </a:solidFill>
                </a:rPr>
                <a:t> </a:t>
              </a:r>
              <a:r>
                <a:rPr lang="de-DE" sz="2400" dirty="0" err="1" smtClean="0">
                  <a:solidFill>
                    <a:schemeClr val="accent6"/>
                  </a:solidFill>
                </a:rPr>
                <a:t>behavior</a:t>
              </a:r>
              <a:r>
                <a:rPr lang="de-DE" sz="2400" dirty="0" smtClean="0">
                  <a:solidFill>
                    <a:schemeClr val="accent6"/>
                  </a:solidFill>
                </a:rPr>
                <a:t> </a:t>
              </a:r>
              <a:r>
                <a:rPr lang="de-DE" sz="2400" dirty="0" err="1" smtClean="0">
                  <a:solidFill>
                    <a:schemeClr val="accent6"/>
                  </a:solidFill>
                </a:rPr>
                <a:t>among</a:t>
              </a:r>
              <a:r>
                <a:rPr lang="de-DE" sz="2400" dirty="0" smtClean="0">
                  <a:solidFill>
                    <a:schemeClr val="accent6"/>
                  </a:solidFill>
                </a:rPr>
                <a:t> </a:t>
              </a:r>
              <a:r>
                <a:rPr lang="de-DE" sz="2400" dirty="0" err="1" smtClean="0">
                  <a:solidFill>
                    <a:schemeClr val="accent6"/>
                  </a:solidFill>
                </a:rPr>
                <a:t>the</a:t>
              </a:r>
              <a:r>
                <a:rPr lang="de-DE" sz="2400" dirty="0" smtClean="0">
                  <a:solidFill>
                    <a:schemeClr val="accent6"/>
                  </a:solidFill>
                </a:rPr>
                <a:t> </a:t>
              </a:r>
              <a:r>
                <a:rPr lang="de-DE" sz="2400" dirty="0" err="1" smtClean="0">
                  <a:solidFill>
                    <a:schemeClr val="accent6"/>
                  </a:solidFill>
                </a:rPr>
                <a:t>employees</a:t>
              </a:r>
              <a:r>
                <a:rPr lang="de-DE" sz="2400" dirty="0" smtClean="0">
                  <a:solidFill>
                    <a:schemeClr val="accent6"/>
                  </a:solidFill>
                </a:rPr>
                <a:t> </a:t>
              </a:r>
              <a:r>
                <a:rPr lang="de-DE" sz="2400" dirty="0" err="1" smtClean="0">
                  <a:solidFill>
                    <a:schemeClr val="accent6"/>
                  </a:solidFill>
                </a:rPr>
                <a:t>at</a:t>
              </a:r>
              <a:r>
                <a:rPr lang="de-DE" sz="2400" dirty="0" smtClean="0">
                  <a:solidFill>
                    <a:schemeClr val="accent6"/>
                  </a:solidFill>
                </a:rPr>
                <a:t> Continental </a:t>
              </a:r>
              <a:r>
                <a:rPr lang="de-DE" sz="2400" dirty="0" err="1" smtClean="0">
                  <a:solidFill>
                    <a:schemeClr val="accent6"/>
                  </a:solidFill>
                </a:rPr>
                <a:t>and</a:t>
              </a:r>
              <a:r>
                <a:rPr lang="de-DE" sz="2400" dirty="0" smtClean="0">
                  <a:solidFill>
                    <a:schemeClr val="accent6"/>
                  </a:solidFill>
                </a:rPr>
                <a:t> </a:t>
              </a:r>
              <a:r>
                <a:rPr lang="de-DE" sz="2400" dirty="0" err="1" smtClean="0">
                  <a:solidFill>
                    <a:schemeClr val="accent6"/>
                  </a:solidFill>
                </a:rPr>
                <a:t>our</a:t>
              </a:r>
              <a:r>
                <a:rPr lang="de-DE" sz="2400" dirty="0" smtClean="0">
                  <a:solidFill>
                    <a:schemeClr val="accent6"/>
                  </a:solidFill>
                </a:rPr>
                <a:t> </a:t>
              </a:r>
              <a:r>
                <a:rPr lang="de-DE" sz="2400" dirty="0" err="1" smtClean="0">
                  <a:solidFill>
                    <a:schemeClr val="accent6"/>
                  </a:solidFill>
                </a:rPr>
                <a:t>business</a:t>
              </a:r>
              <a:r>
                <a:rPr lang="de-DE" sz="2400" dirty="0" smtClean="0">
                  <a:solidFill>
                    <a:schemeClr val="accent6"/>
                  </a:solidFill>
                </a:rPr>
                <a:t> </a:t>
              </a:r>
              <a:r>
                <a:rPr lang="de-DE" sz="2400" dirty="0" err="1" smtClean="0">
                  <a:solidFill>
                    <a:schemeClr val="accent6"/>
                  </a:solidFill>
                </a:rPr>
                <a:t>partners</a:t>
              </a:r>
              <a:r>
                <a:rPr lang="de-DE" sz="2400" dirty="0" smtClean="0">
                  <a:solidFill>
                    <a:schemeClr val="accent6"/>
                  </a:solidFill>
                </a:rPr>
                <a:t>, </a:t>
              </a:r>
              <a:r>
                <a:rPr lang="de-DE" sz="2400" dirty="0" err="1" smtClean="0">
                  <a:solidFill>
                    <a:schemeClr val="accent6"/>
                  </a:solidFill>
                </a:rPr>
                <a:t>we</a:t>
              </a:r>
              <a:r>
                <a:rPr lang="de-DE" sz="2400" dirty="0" smtClean="0">
                  <a:solidFill>
                    <a:schemeClr val="accent6"/>
                  </a:solidFill>
                </a:rPr>
                <a:t> all </a:t>
              </a:r>
              <a:r>
                <a:rPr lang="de-DE" sz="2400" dirty="0" err="1" smtClean="0">
                  <a:solidFill>
                    <a:schemeClr val="accent6"/>
                  </a:solidFill>
                </a:rPr>
                <a:t>connect</a:t>
              </a:r>
              <a:r>
                <a:rPr lang="de-DE" sz="2400" dirty="0" smtClean="0">
                  <a:solidFill>
                    <a:schemeClr val="accent6"/>
                  </a:solidFill>
                </a:rPr>
                <a:t> </a:t>
              </a:r>
              <a:r>
                <a:rPr lang="de-DE" sz="2400" dirty="0" err="1" smtClean="0">
                  <a:solidFill>
                    <a:schemeClr val="accent6"/>
                  </a:solidFill>
                </a:rPr>
                <a:t>our</a:t>
              </a:r>
              <a:r>
                <a:rPr lang="de-DE" sz="2400" dirty="0" smtClean="0">
                  <a:solidFill>
                    <a:schemeClr val="accent6"/>
                  </a:solidFill>
                </a:rPr>
                <a:t> individual </a:t>
              </a:r>
              <a:r>
                <a:rPr lang="de-DE" sz="2400" dirty="0" err="1" smtClean="0">
                  <a:solidFill>
                    <a:schemeClr val="accent6"/>
                  </a:solidFill>
                </a:rPr>
                <a:t>brains</a:t>
              </a:r>
              <a:r>
                <a:rPr lang="de-DE" sz="2400" dirty="0" smtClean="0">
                  <a:solidFill>
                    <a:schemeClr val="accent6"/>
                  </a:solidFill>
                </a:rPr>
                <a:t> – </a:t>
              </a:r>
              <a:r>
                <a:rPr lang="de-DE" sz="2400" dirty="0" err="1" smtClean="0">
                  <a:solidFill>
                    <a:schemeClr val="accent6"/>
                  </a:solidFill>
                </a:rPr>
                <a:t>and</a:t>
              </a:r>
              <a:r>
                <a:rPr lang="de-DE" sz="2400" dirty="0" smtClean="0">
                  <a:solidFill>
                    <a:schemeClr val="accent6"/>
                  </a:solidFill>
                </a:rPr>
                <a:t> in </a:t>
              </a:r>
              <a:r>
                <a:rPr lang="de-DE" sz="2400" dirty="0" err="1" smtClean="0">
                  <a:solidFill>
                    <a:schemeClr val="accent6"/>
                  </a:solidFill>
                </a:rPr>
                <a:t>doing</a:t>
              </a:r>
              <a:r>
                <a:rPr lang="de-DE" sz="2400" dirty="0" smtClean="0">
                  <a:solidFill>
                    <a:schemeClr val="accent6"/>
                  </a:solidFill>
                </a:rPr>
                <a:t> so, </a:t>
              </a:r>
              <a:r>
                <a:rPr lang="de-DE" sz="2400" dirty="0" err="1" smtClean="0">
                  <a:solidFill>
                    <a:schemeClr val="accent6"/>
                  </a:solidFill>
                </a:rPr>
                <a:t>we</a:t>
              </a:r>
              <a:r>
                <a:rPr lang="de-DE" sz="2400" dirty="0" smtClean="0">
                  <a:solidFill>
                    <a:schemeClr val="accent6"/>
                  </a:solidFill>
                </a:rPr>
                <a:t> </a:t>
              </a:r>
              <a:r>
                <a:rPr lang="de-DE" sz="2400" dirty="0" err="1" smtClean="0">
                  <a:solidFill>
                    <a:schemeClr val="accent6"/>
                  </a:solidFill>
                </a:rPr>
                <a:t>together</a:t>
              </a:r>
              <a:r>
                <a:rPr lang="de-DE" sz="2400" dirty="0" smtClean="0">
                  <a:solidFill>
                    <a:schemeClr val="accent6"/>
                  </a:solidFill>
                </a:rPr>
                <a:t> form </a:t>
              </a:r>
              <a:r>
                <a:rPr lang="de-DE" sz="2400" dirty="0" err="1" smtClean="0">
                  <a:solidFill>
                    <a:schemeClr val="accent6"/>
                  </a:solidFill>
                </a:rPr>
                <a:t>the</a:t>
              </a:r>
              <a:r>
                <a:rPr lang="de-DE" sz="2400" dirty="0" smtClean="0">
                  <a:solidFill>
                    <a:schemeClr val="accent6"/>
                  </a:solidFill>
                </a:rPr>
                <a:t> </a:t>
              </a:r>
              <a:r>
                <a:rPr lang="de-DE" sz="2400" dirty="0" err="1" smtClean="0">
                  <a:solidFill>
                    <a:schemeClr val="accent6"/>
                  </a:solidFill>
                </a:rPr>
                <a:t>social</a:t>
              </a:r>
              <a:r>
                <a:rPr lang="de-DE" sz="2400" dirty="0" smtClean="0">
                  <a:solidFill>
                    <a:schemeClr val="accent6"/>
                  </a:solidFill>
                </a:rPr>
                <a:t> </a:t>
              </a:r>
              <a:r>
                <a:rPr lang="de-DE" sz="2400" dirty="0" err="1" smtClean="0">
                  <a:solidFill>
                    <a:schemeClr val="accent6"/>
                  </a:solidFill>
                </a:rPr>
                <a:t>brain</a:t>
              </a:r>
              <a:r>
                <a:rPr lang="de-DE" sz="2400" dirty="0" smtClean="0">
                  <a:solidFill>
                    <a:schemeClr val="accent6"/>
                  </a:solidFill>
                </a:rPr>
                <a:t> </a:t>
              </a:r>
              <a:r>
                <a:rPr lang="de-DE" sz="2400" dirty="0" err="1" smtClean="0">
                  <a:solidFill>
                    <a:schemeClr val="accent6"/>
                  </a:solidFill>
                </a:rPr>
                <a:t>of</a:t>
              </a:r>
              <a:r>
                <a:rPr lang="de-DE" sz="2400" dirty="0" smtClean="0">
                  <a:solidFill>
                    <a:schemeClr val="accent6"/>
                  </a:solidFill>
                </a:rPr>
                <a:t> Continental.</a:t>
              </a:r>
            </a:p>
          </p:txBody>
        </p:sp>
        <p:pic>
          <p:nvPicPr>
            <p:cNvPr id="11" name="Picture 3"/>
            <p:cNvPicPr>
              <a:picLocks noChangeAspect="1" noChangeArrowheads="1"/>
            </p:cNvPicPr>
            <p:nvPr/>
          </p:nvPicPr>
          <p:blipFill>
            <a:blip r:embed="rId5"/>
            <a:srcRect l="8627" t="5625" r="4030" b="4278"/>
            <a:stretch>
              <a:fillRect/>
            </a:stretch>
          </p:blipFill>
          <p:spPr bwMode="auto">
            <a:xfrm>
              <a:off x="6958840" y="2522785"/>
              <a:ext cx="483122" cy="485763"/>
            </a:xfrm>
            <a:prstGeom prst="rect">
              <a:avLst/>
            </a:prstGeom>
            <a:noFill/>
            <a:ln w="9525">
              <a:noFill/>
              <a:miter lim="800000"/>
              <a:headEnd/>
              <a:tailEnd/>
            </a:ln>
            <a:effectLst/>
          </p:spPr>
        </p:pic>
        <p:pic>
          <p:nvPicPr>
            <p:cNvPr id="12" name="Picture 4"/>
            <p:cNvPicPr>
              <a:picLocks noChangeAspect="1" noChangeArrowheads="1"/>
            </p:cNvPicPr>
            <p:nvPr/>
          </p:nvPicPr>
          <p:blipFill>
            <a:blip r:embed="rId6"/>
            <a:srcRect l="5800" t="4451" r="8067" b="7215"/>
            <a:stretch>
              <a:fillRect/>
            </a:stretch>
          </p:blipFill>
          <p:spPr bwMode="auto">
            <a:xfrm>
              <a:off x="1771887" y="1556792"/>
              <a:ext cx="483122" cy="483122"/>
            </a:xfrm>
            <a:prstGeom prst="rect">
              <a:avLst/>
            </a:prstGeom>
            <a:noFill/>
            <a:ln w="9525">
              <a:noFill/>
              <a:miter lim="800000"/>
              <a:headEnd/>
              <a:tailEnd/>
            </a:ln>
            <a:effectLst/>
          </p:spPr>
        </p:pic>
        <p:sp>
          <p:nvSpPr>
            <p:cNvPr id="13" name="Textfeld 16"/>
            <p:cNvSpPr txBox="1"/>
            <p:nvPr/>
          </p:nvSpPr>
          <p:spPr>
            <a:xfrm>
              <a:off x="2326568" y="2703021"/>
              <a:ext cx="4513048" cy="214792"/>
            </a:xfrm>
            <a:prstGeom prst="rect">
              <a:avLst/>
            </a:prstGeom>
            <a:noFill/>
          </p:spPr>
          <p:txBody>
            <a:bodyPr wrap="square" lIns="108000" rtlCol="0">
              <a:spAutoFit/>
            </a:bodyPr>
            <a:lstStyle/>
            <a:p>
              <a:r>
                <a:rPr lang="de-DE" sz="1200" dirty="0" err="1" smtClean="0">
                  <a:solidFill>
                    <a:schemeClr val="accent6"/>
                  </a:solidFill>
                </a:rPr>
                <a:t>Author</a:t>
              </a:r>
              <a:r>
                <a:rPr lang="de-DE" sz="1200" dirty="0" smtClean="0">
                  <a:solidFill>
                    <a:schemeClr val="accent6"/>
                  </a:solidFill>
                </a:rPr>
                <a:t>: Dr. Elmar Degenhart</a:t>
              </a:r>
              <a:endParaRPr lang="de-DE" sz="1200" dirty="0">
                <a:solidFill>
                  <a:schemeClr val="accent6"/>
                </a:solidFill>
              </a:endParaRPr>
            </a:p>
          </p:txBody>
        </p:sp>
      </p:gr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7" name="Rectangle 15"/>
          <p:cNvSpPr>
            <a:spLocks noGrp="1" noChangeArrowheads="1"/>
          </p:cNvSpPr>
          <p:nvPr>
            <p:ph type="title"/>
          </p:nvPr>
        </p:nvSpPr>
        <p:spPr>
          <a:xfrm>
            <a:off x="323850" y="116632"/>
            <a:ext cx="8640638" cy="628650"/>
          </a:xfrm>
        </p:spPr>
        <p:txBody>
          <a:bodyPr vert="horz" wrap="square" lIns="0" tIns="0" rIns="91440" bIns="0" rtlCol="0" anchor="b" anchorCtr="0">
            <a:noAutofit/>
          </a:bodyPr>
          <a:lstStyle/>
          <a:p>
            <a:pPr algn="l" defTabSz="914400">
              <a:spcBef>
                <a:spcPct val="0"/>
              </a:spcBef>
              <a:buNone/>
            </a:pPr>
            <a:r>
              <a:rPr lang="en-US" sz="2100" b="1" i="0" dirty="0">
                <a:solidFill>
                  <a:srgbClr val="000000"/>
                </a:solidFill>
                <a:latin typeface="Arial"/>
                <a:ea typeface="+mj-ea"/>
                <a:cs typeface="Arial"/>
              </a:rPr>
              <a:t>Die </a:t>
            </a:r>
            <a:r>
              <a:rPr lang="en-US" sz="2100" b="1" i="0" dirty="0" err="1">
                <a:solidFill>
                  <a:srgbClr val="000000"/>
                </a:solidFill>
                <a:latin typeface="Arial"/>
                <a:ea typeface="+mj-ea"/>
                <a:cs typeface="Arial"/>
              </a:rPr>
              <a:t>Rolle</a:t>
            </a:r>
            <a:r>
              <a:rPr lang="en-US" sz="2100" b="1" i="0" dirty="0">
                <a:solidFill>
                  <a:srgbClr val="000000"/>
                </a:solidFill>
                <a:latin typeface="Arial"/>
                <a:ea typeface="+mj-ea"/>
                <a:cs typeface="Arial"/>
              </a:rPr>
              <a:t> von </a:t>
            </a:r>
            <a:r>
              <a:rPr lang="en-US" sz="2100" b="1" i="0" dirty="0" err="1">
                <a:solidFill>
                  <a:srgbClr val="000000"/>
                </a:solidFill>
                <a:latin typeface="Arial"/>
                <a:ea typeface="+mj-ea"/>
                <a:cs typeface="Arial"/>
              </a:rPr>
              <a:t>ConNext</a:t>
            </a:r>
            <a:r>
              <a:rPr lang="en-US" sz="2100" b="1" i="0" dirty="0">
                <a:solidFill>
                  <a:srgbClr val="000000"/>
                </a:solidFill>
                <a:latin typeface="Arial"/>
                <a:ea typeface="+mj-ea"/>
                <a:cs typeface="Arial"/>
              </a:rPr>
              <a:t> in </a:t>
            </a:r>
            <a:r>
              <a:rPr lang="en-US" sz="2100" b="1" i="0" dirty="0" smtClean="0">
                <a:solidFill>
                  <a:srgbClr val="000000"/>
                </a:solidFill>
                <a:latin typeface="Arial"/>
                <a:ea typeface="+mj-ea"/>
                <a:cs typeface="Arial"/>
              </a:rPr>
              <a:t>Continentals </a:t>
            </a:r>
            <a:r>
              <a:rPr lang="en-US" sz="2100" b="1" i="0" dirty="0" err="1" smtClean="0">
                <a:solidFill>
                  <a:srgbClr val="000000"/>
                </a:solidFill>
                <a:latin typeface="Arial"/>
                <a:ea typeface="+mj-ea"/>
                <a:cs typeface="Arial"/>
              </a:rPr>
              <a:t>Kulturentwicklungsinitiative</a:t>
            </a:r>
            <a:endParaRPr lang="en-US" sz="2100" b="1" i="0" dirty="0">
              <a:solidFill>
                <a:srgbClr val="000000"/>
              </a:solidFill>
              <a:latin typeface="Arial"/>
              <a:ea typeface="+mj-ea"/>
              <a:cs typeface="Arial"/>
            </a:endParaRPr>
          </a:p>
        </p:txBody>
      </p:sp>
      <p:sp>
        <p:nvSpPr>
          <p:cNvPr id="2069" name="Line 33"/>
          <p:cNvSpPr>
            <a:spLocks noChangeShapeType="1"/>
          </p:cNvSpPr>
          <p:nvPr/>
        </p:nvSpPr>
        <p:spPr bwMode="auto">
          <a:xfrm rot="721166">
            <a:off x="2921944" y="1219526"/>
            <a:ext cx="2082246" cy="4562964"/>
          </a:xfrm>
          <a:prstGeom prst="line">
            <a:avLst/>
          </a:prstGeom>
          <a:noFill/>
          <a:ln w="28575">
            <a:solidFill>
              <a:schemeClr val="bg1"/>
            </a:solidFill>
            <a:round/>
            <a:headEnd/>
            <a:tailEnd/>
          </a:ln>
        </p:spPr>
        <p:txBody>
          <a:bodyPr wrap="square" lIns="80147" tIns="40074" rIns="80147" bIns="40074">
            <a:noAutofit/>
          </a:bodyPr>
          <a:lstStyle/>
          <a:p>
            <a:endParaRPr lang="de-DE"/>
          </a:p>
        </p:txBody>
      </p:sp>
      <p:grpSp>
        <p:nvGrpSpPr>
          <p:cNvPr id="50" name="Gruppieren 49"/>
          <p:cNvGrpSpPr/>
          <p:nvPr/>
        </p:nvGrpSpPr>
        <p:grpSpPr>
          <a:xfrm>
            <a:off x="1403648" y="908720"/>
            <a:ext cx="5756766" cy="5420625"/>
            <a:chOff x="615434" y="1056539"/>
            <a:chExt cx="5756766" cy="5420625"/>
          </a:xfrm>
        </p:grpSpPr>
        <p:sp>
          <p:nvSpPr>
            <p:cNvPr id="35" name="Freihandform 34"/>
            <p:cNvSpPr/>
            <p:nvPr/>
          </p:nvSpPr>
          <p:spPr bwMode="auto">
            <a:xfrm>
              <a:off x="615434" y="4556614"/>
              <a:ext cx="3877895" cy="1370994"/>
            </a:xfrm>
            <a:custGeom>
              <a:avLst/>
              <a:gdLst>
                <a:gd name="connsiteX0" fmla="*/ 0 w 4555067"/>
                <a:gd name="connsiteY0" fmla="*/ 499533 h 1507067"/>
                <a:gd name="connsiteX1" fmla="*/ 355600 w 4555067"/>
                <a:gd name="connsiteY1" fmla="*/ 0 h 1507067"/>
                <a:gd name="connsiteX2" fmla="*/ 4411134 w 4555067"/>
                <a:gd name="connsiteY2" fmla="*/ 863600 h 1507067"/>
                <a:gd name="connsiteX3" fmla="*/ 4555067 w 4555067"/>
                <a:gd name="connsiteY3" fmla="*/ 1507067 h 1507067"/>
                <a:gd name="connsiteX4" fmla="*/ 0 w 4555067"/>
                <a:gd name="connsiteY4" fmla="*/ 499533 h 1507067"/>
                <a:gd name="connsiteX0" fmla="*/ 0 w 4555067"/>
                <a:gd name="connsiteY0" fmla="*/ 506341 h 1513875"/>
                <a:gd name="connsiteX1" fmla="*/ 366513 w 4555067"/>
                <a:gd name="connsiteY1" fmla="*/ 0 h 1513875"/>
                <a:gd name="connsiteX2" fmla="*/ 4411134 w 4555067"/>
                <a:gd name="connsiteY2" fmla="*/ 870408 h 1513875"/>
                <a:gd name="connsiteX3" fmla="*/ 4555067 w 4555067"/>
                <a:gd name="connsiteY3" fmla="*/ 1513875 h 1513875"/>
                <a:gd name="connsiteX4" fmla="*/ 0 w 4555067"/>
                <a:gd name="connsiteY4" fmla="*/ 506341 h 1513875"/>
                <a:gd name="connsiteX0" fmla="*/ 0 w 4569464"/>
                <a:gd name="connsiteY0" fmla="*/ 496816 h 1513875"/>
                <a:gd name="connsiteX1" fmla="*/ 380910 w 4569464"/>
                <a:gd name="connsiteY1" fmla="*/ 0 h 1513875"/>
                <a:gd name="connsiteX2" fmla="*/ 4425531 w 4569464"/>
                <a:gd name="connsiteY2" fmla="*/ 870408 h 1513875"/>
                <a:gd name="connsiteX3" fmla="*/ 4569464 w 4569464"/>
                <a:gd name="connsiteY3" fmla="*/ 1513875 h 1513875"/>
                <a:gd name="connsiteX4" fmla="*/ 0 w 4569464"/>
                <a:gd name="connsiteY4" fmla="*/ 496816 h 1513875"/>
                <a:gd name="connsiteX0" fmla="*/ 0 w 4569464"/>
                <a:gd name="connsiteY0" fmla="*/ 496816 h 1513875"/>
                <a:gd name="connsiteX1" fmla="*/ 380910 w 4569464"/>
                <a:gd name="connsiteY1" fmla="*/ 0 h 1513875"/>
                <a:gd name="connsiteX2" fmla="*/ 4428105 w 4569464"/>
                <a:gd name="connsiteY2" fmla="*/ 877181 h 1513875"/>
                <a:gd name="connsiteX3" fmla="*/ 4569464 w 4569464"/>
                <a:gd name="connsiteY3" fmla="*/ 1513875 h 1513875"/>
                <a:gd name="connsiteX4" fmla="*/ 0 w 4569464"/>
                <a:gd name="connsiteY4" fmla="*/ 496816 h 15138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9464" h="1513875">
                  <a:moveTo>
                    <a:pt x="0" y="496816"/>
                  </a:moveTo>
                  <a:lnTo>
                    <a:pt x="380910" y="0"/>
                  </a:lnTo>
                  <a:lnTo>
                    <a:pt x="4428105" y="877181"/>
                  </a:lnTo>
                  <a:lnTo>
                    <a:pt x="4569464" y="1513875"/>
                  </a:lnTo>
                  <a:lnTo>
                    <a:pt x="0" y="496816"/>
                  </a:lnTo>
                  <a:close/>
                </a:path>
              </a:pathLst>
            </a:custGeom>
            <a:solidFill>
              <a:schemeClr val="bg1">
                <a:lumMod val="75000"/>
              </a:schemeClr>
            </a:solidFill>
            <a:ln w="9525" cap="flat" cmpd="sng" algn="ctr">
              <a:noFill/>
              <a:prstDash val="solid"/>
              <a:round/>
              <a:headEnd type="none" w="med" len="med"/>
              <a:tailEnd type="none" w="med" len="med"/>
            </a:ln>
            <a:effectLst/>
          </p:spPr>
          <p:txBody>
            <a:bodyPr vert="horz" wrap="square" lIns="80147" tIns="40074" rIns="80147" bIns="40074" numCol="1" rtlCol="0" anchor="ctr" anchorCtr="0" compatLnSpc="1">
              <a:prstTxWarp prst="textNoShape">
                <a:avLst/>
              </a:prstTxWarp>
              <a:noAutofit/>
            </a:bodyPr>
            <a:lstStyle/>
            <a:p>
              <a:pPr algn="ctr" defTabSz="873827"/>
              <a:endParaRPr lang="de-DE" sz="1400" dirty="0" smtClean="0">
                <a:latin typeface="Arial" charset="0"/>
              </a:endParaRPr>
            </a:p>
          </p:txBody>
        </p:sp>
        <p:sp>
          <p:nvSpPr>
            <p:cNvPr id="2067" name="Text Box 31"/>
            <p:cNvSpPr txBox="1">
              <a:spLocks noChangeArrowheads="1"/>
            </p:cNvSpPr>
            <p:nvPr/>
          </p:nvSpPr>
          <p:spPr bwMode="auto">
            <a:xfrm rot="774335">
              <a:off x="1414301" y="5034270"/>
              <a:ext cx="2313720" cy="345881"/>
            </a:xfrm>
            <a:prstGeom prst="rect">
              <a:avLst/>
            </a:prstGeom>
            <a:noFill/>
            <a:ln w="9525">
              <a:noFill/>
              <a:miter lim="800000"/>
              <a:headEnd/>
              <a:tailEnd/>
            </a:ln>
          </p:spPr>
          <p:txBody>
            <a:bodyPr wrap="square" lIns="80147" tIns="40074" rIns="80147" bIns="40074">
              <a:noAutofit/>
            </a:bodyPr>
            <a:lstStyle/>
            <a:p>
              <a:pPr marL="229606" indent="-229606" algn="ctr" defTabSz="914400">
                <a:lnSpc>
                  <a:spcPts val="1665"/>
                </a:lnSpc>
                <a:buNone/>
              </a:pPr>
              <a:r>
                <a:rPr lang="en-US" sz="1600" b="1" i="0" dirty="0" err="1" smtClean="0">
                  <a:solidFill>
                    <a:schemeClr val="tx1">
                      <a:lumMod val="75000"/>
                      <a:lumOff val="25000"/>
                    </a:schemeClr>
                  </a:solidFill>
                  <a:latin typeface="Arial"/>
                  <a:ea typeface="+mn-ea"/>
                  <a:cs typeface="+mn-cs"/>
                </a:rPr>
                <a:t>Inhalte</a:t>
              </a:r>
              <a:r>
                <a:rPr lang="en-US" sz="1600" b="1" i="0" dirty="0" smtClean="0">
                  <a:solidFill>
                    <a:schemeClr val="tx1">
                      <a:lumMod val="75000"/>
                      <a:lumOff val="25000"/>
                    </a:schemeClr>
                  </a:solidFill>
                  <a:latin typeface="Arial"/>
                  <a:ea typeface="+mn-ea"/>
                  <a:cs typeface="+mn-cs"/>
                </a:rPr>
                <a:t> </a:t>
              </a:r>
              <a:r>
                <a:rPr lang="en-US" sz="1600" b="1" i="0" dirty="0" err="1" smtClean="0">
                  <a:solidFill>
                    <a:schemeClr val="tx1">
                      <a:lumMod val="75000"/>
                      <a:lumOff val="25000"/>
                    </a:schemeClr>
                  </a:solidFill>
                  <a:latin typeface="Arial"/>
                  <a:ea typeface="+mn-ea"/>
                  <a:cs typeface="+mn-cs"/>
                </a:rPr>
                <a:t>bereitstellen</a:t>
              </a:r>
              <a:endParaRPr lang="en-US" sz="1600" b="1" i="0" dirty="0">
                <a:solidFill>
                  <a:schemeClr val="tx1">
                    <a:lumMod val="50000"/>
                    <a:lumOff val="50000"/>
                  </a:schemeClr>
                </a:solidFill>
                <a:latin typeface="Arial"/>
                <a:ea typeface="+mn-ea"/>
                <a:cs typeface="+mn-cs"/>
              </a:endParaRPr>
            </a:p>
          </p:txBody>
        </p:sp>
        <p:grpSp>
          <p:nvGrpSpPr>
            <p:cNvPr id="49" name="Gruppieren 48"/>
            <p:cNvGrpSpPr/>
            <p:nvPr/>
          </p:nvGrpSpPr>
          <p:grpSpPr>
            <a:xfrm>
              <a:off x="824920" y="1056539"/>
              <a:ext cx="5547280" cy="5420625"/>
              <a:chOff x="824920" y="1056539"/>
              <a:chExt cx="5547280" cy="5420625"/>
            </a:xfrm>
          </p:grpSpPr>
          <p:grpSp>
            <p:nvGrpSpPr>
              <p:cNvPr id="47" name="Gruppieren 46"/>
              <p:cNvGrpSpPr/>
              <p:nvPr/>
            </p:nvGrpSpPr>
            <p:grpSpPr>
              <a:xfrm>
                <a:off x="824920" y="1056539"/>
                <a:ext cx="5547280" cy="5420625"/>
                <a:chOff x="824920" y="1056539"/>
                <a:chExt cx="5547280" cy="5420625"/>
              </a:xfrm>
            </p:grpSpPr>
            <p:grpSp>
              <p:nvGrpSpPr>
                <p:cNvPr id="46" name="Gruppieren 45"/>
                <p:cNvGrpSpPr/>
                <p:nvPr/>
              </p:nvGrpSpPr>
              <p:grpSpPr>
                <a:xfrm>
                  <a:off x="824920" y="1056539"/>
                  <a:ext cx="5547280" cy="4875326"/>
                  <a:chOff x="824920" y="1056539"/>
                  <a:chExt cx="5547280" cy="4875326"/>
                </a:xfrm>
              </p:grpSpPr>
              <p:sp>
                <p:nvSpPr>
                  <p:cNvPr id="36" name="Freihandform 35"/>
                  <p:cNvSpPr/>
                  <p:nvPr/>
                </p:nvSpPr>
                <p:spPr bwMode="auto">
                  <a:xfrm>
                    <a:off x="4427984" y="3789040"/>
                    <a:ext cx="1944216" cy="2142825"/>
                  </a:xfrm>
                  <a:custGeom>
                    <a:avLst/>
                    <a:gdLst>
                      <a:gd name="connsiteX0" fmla="*/ 143933 w 2201333"/>
                      <a:gd name="connsiteY0" fmla="*/ 2294467 h 2353733"/>
                      <a:gd name="connsiteX1" fmla="*/ 0 w 2201333"/>
                      <a:gd name="connsiteY1" fmla="*/ 1710267 h 2353733"/>
                      <a:gd name="connsiteX2" fmla="*/ 1718733 w 2201333"/>
                      <a:gd name="connsiteY2" fmla="*/ 0 h 2353733"/>
                      <a:gd name="connsiteX3" fmla="*/ 2201333 w 2201333"/>
                      <a:gd name="connsiteY3" fmla="*/ 389467 h 2353733"/>
                      <a:gd name="connsiteX4" fmla="*/ 160866 w 2201333"/>
                      <a:gd name="connsiteY4" fmla="*/ 2353733 h 2353733"/>
                      <a:gd name="connsiteX5" fmla="*/ 143933 w 2201333"/>
                      <a:gd name="connsiteY5" fmla="*/ 2294467 h 2353733"/>
                      <a:gd name="connsiteX0" fmla="*/ 143933 w 2130568"/>
                      <a:gd name="connsiteY0" fmla="*/ 2294467 h 2353733"/>
                      <a:gd name="connsiteX1" fmla="*/ 0 w 2130568"/>
                      <a:gd name="connsiteY1" fmla="*/ 1710267 h 2353733"/>
                      <a:gd name="connsiteX2" fmla="*/ 1718733 w 2130568"/>
                      <a:gd name="connsiteY2" fmla="*/ 0 h 2353733"/>
                      <a:gd name="connsiteX3" fmla="*/ 2130568 w 2130568"/>
                      <a:gd name="connsiteY3" fmla="*/ 470126 h 2353733"/>
                      <a:gd name="connsiteX4" fmla="*/ 160866 w 2130568"/>
                      <a:gd name="connsiteY4" fmla="*/ 2353733 h 2353733"/>
                      <a:gd name="connsiteX5" fmla="*/ 143933 w 2130568"/>
                      <a:gd name="connsiteY5" fmla="*/ 2294467 h 2353733"/>
                      <a:gd name="connsiteX0" fmla="*/ 143933 w 2130568"/>
                      <a:gd name="connsiteY0" fmla="*/ 2303135 h 2362401"/>
                      <a:gd name="connsiteX1" fmla="*/ 0 w 2130568"/>
                      <a:gd name="connsiteY1" fmla="*/ 1718935 h 2362401"/>
                      <a:gd name="connsiteX2" fmla="*/ 1731220 w 2130568"/>
                      <a:gd name="connsiteY2" fmla="*/ 0 h 2362401"/>
                      <a:gd name="connsiteX3" fmla="*/ 2130568 w 2130568"/>
                      <a:gd name="connsiteY3" fmla="*/ 478794 h 2362401"/>
                      <a:gd name="connsiteX4" fmla="*/ 160866 w 2130568"/>
                      <a:gd name="connsiteY4" fmla="*/ 2362401 h 2362401"/>
                      <a:gd name="connsiteX5" fmla="*/ 143933 w 2130568"/>
                      <a:gd name="connsiteY5" fmla="*/ 2303135 h 2362401"/>
                      <a:gd name="connsiteX0" fmla="*/ 143933 w 2143055"/>
                      <a:gd name="connsiteY0" fmla="*/ 2303135 h 2362401"/>
                      <a:gd name="connsiteX1" fmla="*/ 0 w 2143055"/>
                      <a:gd name="connsiteY1" fmla="*/ 1718935 h 2362401"/>
                      <a:gd name="connsiteX2" fmla="*/ 1731220 w 2143055"/>
                      <a:gd name="connsiteY2" fmla="*/ 0 h 2362401"/>
                      <a:gd name="connsiteX3" fmla="*/ 2143055 w 2143055"/>
                      <a:gd name="connsiteY3" fmla="*/ 474460 h 2362401"/>
                      <a:gd name="connsiteX4" fmla="*/ 160866 w 2143055"/>
                      <a:gd name="connsiteY4" fmla="*/ 2362401 h 2362401"/>
                      <a:gd name="connsiteX5" fmla="*/ 143933 w 2143055"/>
                      <a:gd name="connsiteY5" fmla="*/ 2303135 h 2362401"/>
                      <a:gd name="connsiteX0" fmla="*/ 127284 w 2126406"/>
                      <a:gd name="connsiteY0" fmla="*/ 2303135 h 2362401"/>
                      <a:gd name="connsiteX1" fmla="*/ 0 w 2126406"/>
                      <a:gd name="connsiteY1" fmla="*/ 1723268 h 2362401"/>
                      <a:gd name="connsiteX2" fmla="*/ 1714571 w 2126406"/>
                      <a:gd name="connsiteY2" fmla="*/ 0 h 2362401"/>
                      <a:gd name="connsiteX3" fmla="*/ 2126406 w 2126406"/>
                      <a:gd name="connsiteY3" fmla="*/ 474460 h 2362401"/>
                      <a:gd name="connsiteX4" fmla="*/ 144217 w 2126406"/>
                      <a:gd name="connsiteY4" fmla="*/ 2362401 h 2362401"/>
                      <a:gd name="connsiteX5" fmla="*/ 127284 w 2126406"/>
                      <a:gd name="connsiteY5" fmla="*/ 2303135 h 2362401"/>
                      <a:gd name="connsiteX0" fmla="*/ 127284 w 2126406"/>
                      <a:gd name="connsiteY0" fmla="*/ 2303135 h 2362401"/>
                      <a:gd name="connsiteX1" fmla="*/ 0 w 2126406"/>
                      <a:gd name="connsiteY1" fmla="*/ 1723268 h 2362401"/>
                      <a:gd name="connsiteX2" fmla="*/ 1706247 w 2126406"/>
                      <a:gd name="connsiteY2" fmla="*/ 0 h 2362401"/>
                      <a:gd name="connsiteX3" fmla="*/ 2126406 w 2126406"/>
                      <a:gd name="connsiteY3" fmla="*/ 474460 h 2362401"/>
                      <a:gd name="connsiteX4" fmla="*/ 144217 w 2126406"/>
                      <a:gd name="connsiteY4" fmla="*/ 2362401 h 2362401"/>
                      <a:gd name="connsiteX5" fmla="*/ 127284 w 2126406"/>
                      <a:gd name="connsiteY5" fmla="*/ 2303135 h 2362401"/>
                      <a:gd name="connsiteX0" fmla="*/ 127284 w 2084782"/>
                      <a:gd name="connsiteY0" fmla="*/ 2303135 h 2362401"/>
                      <a:gd name="connsiteX1" fmla="*/ 0 w 2084782"/>
                      <a:gd name="connsiteY1" fmla="*/ 1723268 h 2362401"/>
                      <a:gd name="connsiteX2" fmla="*/ 1706247 w 2084782"/>
                      <a:gd name="connsiteY2" fmla="*/ 0 h 2362401"/>
                      <a:gd name="connsiteX3" fmla="*/ 2084782 w 2084782"/>
                      <a:gd name="connsiteY3" fmla="*/ 413789 h 2362401"/>
                      <a:gd name="connsiteX4" fmla="*/ 144217 w 2084782"/>
                      <a:gd name="connsiteY4" fmla="*/ 2362401 h 2362401"/>
                      <a:gd name="connsiteX5" fmla="*/ 127284 w 2084782"/>
                      <a:gd name="connsiteY5" fmla="*/ 2303135 h 236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84782" h="2362401">
                        <a:moveTo>
                          <a:pt x="127284" y="2303135"/>
                        </a:moveTo>
                        <a:lnTo>
                          <a:pt x="0" y="1723268"/>
                        </a:lnTo>
                        <a:lnTo>
                          <a:pt x="1706247" y="0"/>
                        </a:lnTo>
                        <a:lnTo>
                          <a:pt x="2084782" y="413789"/>
                        </a:lnTo>
                        <a:lnTo>
                          <a:pt x="144217" y="2362401"/>
                        </a:lnTo>
                        <a:lnTo>
                          <a:pt x="127284" y="2303135"/>
                        </a:lnTo>
                        <a:close/>
                      </a:path>
                    </a:pathLst>
                  </a:custGeom>
                  <a:solidFill>
                    <a:schemeClr val="bg1">
                      <a:lumMod val="75000"/>
                    </a:schemeClr>
                  </a:solidFill>
                  <a:ln w="9525" cap="flat" cmpd="sng" algn="ctr">
                    <a:noFill/>
                    <a:prstDash val="solid"/>
                    <a:round/>
                    <a:headEnd type="none" w="med" len="med"/>
                    <a:tailEnd type="none" w="med" len="med"/>
                  </a:ln>
                  <a:effectLst/>
                </p:spPr>
                <p:txBody>
                  <a:bodyPr vert="horz" wrap="square" lIns="80147" tIns="40074" rIns="80147" bIns="40074" numCol="1" rtlCol="0" anchor="ctr" anchorCtr="0" compatLnSpc="1">
                    <a:prstTxWarp prst="textNoShape">
                      <a:avLst/>
                    </a:prstTxWarp>
                    <a:noAutofit/>
                  </a:bodyPr>
                  <a:lstStyle/>
                  <a:p>
                    <a:pPr algn="ctr" defTabSz="873827"/>
                    <a:endParaRPr lang="de-DE" sz="1400" dirty="0" smtClean="0">
                      <a:latin typeface="Arial" charset="0"/>
                    </a:endParaRPr>
                  </a:p>
                </p:txBody>
              </p:sp>
              <p:grpSp>
                <p:nvGrpSpPr>
                  <p:cNvPr id="42" name="Gruppieren 41"/>
                  <p:cNvGrpSpPr/>
                  <p:nvPr/>
                </p:nvGrpSpPr>
                <p:grpSpPr>
                  <a:xfrm>
                    <a:off x="824920" y="1056539"/>
                    <a:ext cx="4623444" cy="4738730"/>
                    <a:chOff x="824920" y="1056539"/>
                    <a:chExt cx="4623444" cy="4738730"/>
                  </a:xfrm>
                </p:grpSpPr>
                <p:sp>
                  <p:nvSpPr>
                    <p:cNvPr id="2051" name="AutoShape 3"/>
                    <p:cNvSpPr>
                      <a:spLocks noChangeArrowheads="1"/>
                    </p:cNvSpPr>
                    <p:nvPr/>
                  </p:nvSpPr>
                  <p:spPr bwMode="auto">
                    <a:xfrm rot="721166">
                      <a:off x="1295137" y="1056539"/>
                      <a:ext cx="3488276" cy="3910813"/>
                    </a:xfrm>
                    <a:prstGeom prst="triangle">
                      <a:avLst>
                        <a:gd name="adj" fmla="val 50000"/>
                      </a:avLst>
                    </a:prstGeom>
                    <a:gradFill flip="none" rotWithShape="1">
                      <a:gsLst>
                        <a:gs pos="0">
                          <a:schemeClr val="accent3"/>
                        </a:gs>
                        <a:gs pos="100000">
                          <a:schemeClr val="bg1">
                            <a:lumMod val="95000"/>
                          </a:schemeClr>
                        </a:gs>
                        <a:gs pos="100000">
                          <a:schemeClr val="accent1">
                            <a:tint val="23500"/>
                            <a:satMod val="160000"/>
                          </a:schemeClr>
                        </a:gs>
                      </a:gsLst>
                      <a:lin ang="5400000" scaled="1"/>
                      <a:tileRect/>
                    </a:gradFill>
                    <a:ln w="28575" algn="ctr">
                      <a:noFill/>
                      <a:miter lim="800000"/>
                      <a:headEnd/>
                      <a:tailEnd/>
                    </a:ln>
                  </p:spPr>
                  <p:txBody>
                    <a:bodyPr wrap="square" lIns="80147" tIns="40074" rIns="80147" bIns="40074" anchor="ctr">
                      <a:noAutofit/>
                    </a:bodyPr>
                    <a:lstStyle/>
                    <a:p>
                      <a:endParaRPr lang="en-US"/>
                    </a:p>
                  </p:txBody>
                </p:sp>
                <p:sp>
                  <p:nvSpPr>
                    <p:cNvPr id="2050" name="AutoShape 2"/>
                    <p:cNvSpPr>
                      <a:spLocks noChangeArrowheads="1"/>
                    </p:cNvSpPr>
                    <p:nvPr/>
                  </p:nvSpPr>
                  <p:spPr bwMode="auto">
                    <a:xfrm rot="13561166">
                      <a:off x="2083174" y="2116680"/>
                      <a:ext cx="3672456" cy="2155643"/>
                    </a:xfrm>
                    <a:prstGeom prst="rtTriangle">
                      <a:avLst/>
                    </a:prstGeom>
                    <a:gradFill flip="none" rotWithShape="1">
                      <a:gsLst>
                        <a:gs pos="0">
                          <a:srgbClr val="DFDFDF"/>
                        </a:gs>
                        <a:gs pos="100000">
                          <a:schemeClr val="accent3"/>
                        </a:gs>
                      </a:gsLst>
                      <a:lin ang="0" scaled="1"/>
                      <a:tileRect/>
                    </a:gradFill>
                    <a:ln w="28575" algn="ctr">
                      <a:noFill/>
                      <a:miter lim="800000"/>
                      <a:headEnd/>
                      <a:tailEnd/>
                    </a:ln>
                  </p:spPr>
                  <p:txBody>
                    <a:bodyPr wrap="square" lIns="80147" tIns="40074" rIns="80147" bIns="40074" anchor="ctr">
                      <a:noAutofit/>
                    </a:bodyPr>
                    <a:lstStyle/>
                    <a:p>
                      <a:endParaRPr lang="en-US"/>
                    </a:p>
                  </p:txBody>
                </p:sp>
                <p:sp>
                  <p:nvSpPr>
                    <p:cNvPr id="2065" name="Rectangle 29"/>
                    <p:cNvSpPr>
                      <a:spLocks noChangeArrowheads="1"/>
                    </p:cNvSpPr>
                    <p:nvPr/>
                  </p:nvSpPr>
                  <p:spPr bwMode="auto">
                    <a:xfrm rot="721166">
                      <a:off x="824920" y="5018855"/>
                      <a:ext cx="3791604" cy="545041"/>
                    </a:xfrm>
                    <a:prstGeom prst="rect">
                      <a:avLst/>
                    </a:prstGeom>
                    <a:noFill/>
                    <a:ln w="9525">
                      <a:noFill/>
                      <a:miter lim="800000"/>
                      <a:headEnd/>
                      <a:tailEnd/>
                    </a:ln>
                  </p:spPr>
                  <p:txBody>
                    <a:bodyPr wrap="square" lIns="80147" tIns="40074" rIns="80147" bIns="40074" anchor="ctr">
                      <a:noAutofit/>
                    </a:bodyPr>
                    <a:lstStyle/>
                    <a:p>
                      <a:endParaRPr lang="en-US"/>
                    </a:p>
                  </p:txBody>
                </p:sp>
                <p:sp>
                  <p:nvSpPr>
                    <p:cNvPr id="2066" name="Text Box 30"/>
                    <p:cNvSpPr txBox="1">
                      <a:spLocks noChangeArrowheads="1"/>
                    </p:cNvSpPr>
                    <p:nvPr/>
                  </p:nvSpPr>
                  <p:spPr bwMode="auto">
                    <a:xfrm rot="18879681">
                      <a:off x="4343824" y="4690729"/>
                      <a:ext cx="1867983" cy="341097"/>
                    </a:xfrm>
                    <a:prstGeom prst="rect">
                      <a:avLst/>
                    </a:prstGeom>
                    <a:noFill/>
                    <a:ln w="9525">
                      <a:noFill/>
                      <a:miter lim="800000"/>
                      <a:headEnd/>
                      <a:tailEnd/>
                    </a:ln>
                  </p:spPr>
                  <p:txBody>
                    <a:bodyPr wrap="square" lIns="80147" tIns="40074" rIns="80147" bIns="40074">
                      <a:noAutofit/>
                    </a:bodyPr>
                    <a:lstStyle/>
                    <a:p>
                      <a:pPr marL="229606" indent="-229606" algn="ctr" defTabSz="914400">
                        <a:lnSpc>
                          <a:spcPts val="1753"/>
                        </a:lnSpc>
                        <a:buNone/>
                      </a:pPr>
                      <a:r>
                        <a:rPr lang="en-US" sz="1600" b="1" i="0" dirty="0" err="1" smtClean="0">
                          <a:solidFill>
                            <a:srgbClr val="404040"/>
                          </a:solidFill>
                          <a:latin typeface="Arial"/>
                          <a:ea typeface="+mn-ea"/>
                          <a:cs typeface="+mn-cs"/>
                        </a:rPr>
                        <a:t>Rahmen</a:t>
                      </a:r>
                      <a:r>
                        <a:rPr lang="en-US" sz="1600" b="1" dirty="0">
                          <a:solidFill>
                            <a:srgbClr val="404040"/>
                          </a:solidFill>
                          <a:latin typeface="Arial"/>
                        </a:rPr>
                        <a:t> </a:t>
                      </a:r>
                      <a:r>
                        <a:rPr lang="en-US" sz="1600" b="1" i="0" dirty="0" err="1" smtClean="0">
                          <a:solidFill>
                            <a:srgbClr val="404040"/>
                          </a:solidFill>
                          <a:latin typeface="Arial"/>
                          <a:ea typeface="+mn-ea"/>
                          <a:cs typeface="+mn-cs"/>
                        </a:rPr>
                        <a:t>schaffen</a:t>
                      </a:r>
                      <a:endParaRPr lang="en-US" sz="1600" b="1" i="0" dirty="0">
                        <a:solidFill>
                          <a:srgbClr val="404040"/>
                        </a:solidFill>
                        <a:latin typeface="Arial"/>
                        <a:ea typeface="+mn-ea"/>
                        <a:cs typeface="+mn-cs"/>
                      </a:endParaRPr>
                    </a:p>
                  </p:txBody>
                </p:sp>
              </p:grpSp>
            </p:grpSp>
            <p:sp>
              <p:nvSpPr>
                <p:cNvPr id="2068" name="Rectangle 32"/>
                <p:cNvSpPr>
                  <a:spLocks noChangeArrowheads="1"/>
                </p:cNvSpPr>
                <p:nvPr/>
              </p:nvSpPr>
              <p:spPr bwMode="auto">
                <a:xfrm rot="18856750">
                  <a:off x="4248192" y="4992020"/>
                  <a:ext cx="2704690" cy="265597"/>
                </a:xfrm>
                <a:prstGeom prst="rect">
                  <a:avLst/>
                </a:prstGeom>
                <a:noFill/>
                <a:ln w="9525">
                  <a:noFill/>
                  <a:miter lim="800000"/>
                  <a:headEnd/>
                  <a:tailEnd/>
                </a:ln>
              </p:spPr>
              <p:txBody>
                <a:bodyPr wrap="square" lIns="80147" tIns="40074" rIns="80147" bIns="40074">
                  <a:noAutofit/>
                </a:bodyPr>
                <a:lstStyle/>
                <a:p>
                  <a:pPr algn="ctr" defTabSz="914400">
                    <a:buNone/>
                  </a:pPr>
                  <a:r>
                    <a:rPr lang="en-US" sz="1200" b="0" i="0" dirty="0">
                      <a:solidFill>
                        <a:schemeClr val="tx1"/>
                      </a:solidFill>
                      <a:latin typeface="Arial"/>
                      <a:ea typeface="+mn-ea"/>
                      <a:cs typeface="+mn-cs"/>
                    </a:rPr>
                    <a:t>(</a:t>
                  </a:r>
                  <a:r>
                    <a:rPr lang="en-US" sz="1200" b="0" i="0" dirty="0" err="1">
                      <a:solidFill>
                        <a:schemeClr val="tx1"/>
                      </a:solidFill>
                      <a:latin typeface="Arial"/>
                      <a:ea typeface="+mn-ea"/>
                      <a:cs typeface="+mn-cs"/>
                    </a:rPr>
                    <a:t>Systeme</a:t>
                  </a:r>
                  <a:r>
                    <a:rPr lang="en-US" sz="1200" b="0" i="0" dirty="0">
                      <a:solidFill>
                        <a:schemeClr val="tx1"/>
                      </a:solidFill>
                      <a:latin typeface="Arial"/>
                      <a:ea typeface="+mn-ea"/>
                      <a:cs typeface="+mn-cs"/>
                    </a:rPr>
                    <a:t>/Tools/</a:t>
                  </a:r>
                  <a:r>
                    <a:rPr lang="en-US" sz="1200" b="0" i="0" dirty="0" err="1">
                      <a:solidFill>
                        <a:schemeClr val="tx1"/>
                      </a:solidFill>
                      <a:latin typeface="Arial"/>
                      <a:ea typeface="+mn-ea"/>
                      <a:cs typeface="+mn-cs"/>
                    </a:rPr>
                    <a:t>Prozesse</a:t>
                  </a:r>
                  <a:r>
                    <a:rPr lang="en-US" sz="1200" b="0" i="0" dirty="0">
                      <a:solidFill>
                        <a:schemeClr val="tx1"/>
                      </a:solidFill>
                      <a:latin typeface="Arial"/>
                      <a:ea typeface="+mn-ea"/>
                      <a:cs typeface="+mn-cs"/>
                    </a:rPr>
                    <a:t>)</a:t>
                  </a:r>
                </a:p>
              </p:txBody>
            </p:sp>
          </p:grpSp>
          <p:grpSp>
            <p:nvGrpSpPr>
              <p:cNvPr id="41" name="Gruppieren 40"/>
              <p:cNvGrpSpPr/>
              <p:nvPr/>
            </p:nvGrpSpPr>
            <p:grpSpPr>
              <a:xfrm>
                <a:off x="858879" y="1200577"/>
                <a:ext cx="4894021" cy="3960395"/>
                <a:chOff x="858879" y="1200577"/>
                <a:chExt cx="4894021" cy="3960395"/>
              </a:xfrm>
            </p:grpSpPr>
            <p:sp>
              <p:nvSpPr>
                <p:cNvPr id="69676" name="Text Box 44"/>
                <p:cNvSpPr txBox="1">
                  <a:spLocks noChangeArrowheads="1"/>
                </p:cNvSpPr>
                <p:nvPr/>
              </p:nvSpPr>
              <p:spPr bwMode="auto">
                <a:xfrm rot="720000">
                  <a:off x="1191523" y="4626539"/>
                  <a:ext cx="3067467" cy="296374"/>
                </a:xfrm>
                <a:prstGeom prst="rect">
                  <a:avLst/>
                </a:prstGeom>
                <a:noFill/>
                <a:ln w="9525" algn="ctr">
                  <a:noFill/>
                  <a:miter lim="800000"/>
                  <a:headEnd/>
                  <a:tailEnd/>
                </a:ln>
                <a:effectLst/>
              </p:spPr>
              <p:txBody>
                <a:bodyPr wrap="square" lIns="80147" tIns="40074" rIns="80147" bIns="40074">
                  <a:noAutofit/>
                </a:bodyPr>
                <a:lstStyle/>
                <a:p>
                  <a:pPr algn="ctr" defTabSz="914400">
                    <a:buNone/>
                  </a:pPr>
                  <a:r>
                    <a:rPr lang="en-US" sz="1400" b="0" i="0" dirty="0" err="1">
                      <a:solidFill>
                        <a:srgbClr val="4D4D4D"/>
                      </a:solidFill>
                      <a:effectLst>
                        <a:outerShdw blurRad="38100" dist="38100" dir="2700000" algn="tl">
                          <a:srgbClr val="C0C0C0"/>
                        </a:outerShdw>
                      </a:effectLst>
                      <a:latin typeface="Arial"/>
                      <a:ea typeface="+mn-ea"/>
                      <a:cs typeface="+mn-cs"/>
                    </a:rPr>
                    <a:t>Divisionen</a:t>
                  </a:r>
                  <a:r>
                    <a:rPr lang="en-US" sz="1400" b="0" i="0" dirty="0">
                      <a:solidFill>
                        <a:srgbClr val="4D4D4D"/>
                      </a:solidFill>
                      <a:effectLst>
                        <a:outerShdw blurRad="38100" dist="38100" dir="2700000" algn="tl">
                          <a:srgbClr val="C0C0C0"/>
                        </a:outerShdw>
                      </a:effectLst>
                      <a:latin typeface="Arial"/>
                      <a:ea typeface="+mn-ea"/>
                      <a:cs typeface="+mn-cs"/>
                    </a:rPr>
                    <a:t>/</a:t>
                  </a:r>
                  <a:r>
                    <a:rPr lang="en-US" sz="1400" b="0" i="0" dirty="0" err="1">
                      <a:solidFill>
                        <a:srgbClr val="4D4D4D"/>
                      </a:solidFill>
                      <a:effectLst>
                        <a:outerShdw blurRad="38100" dist="38100" dir="2700000" algn="tl">
                          <a:srgbClr val="C0C0C0"/>
                        </a:outerShdw>
                      </a:effectLst>
                      <a:latin typeface="Arial"/>
                      <a:ea typeface="+mn-ea"/>
                      <a:cs typeface="+mn-cs"/>
                    </a:rPr>
                    <a:t>Geschäftsbereiche</a:t>
                  </a:r>
                  <a:endParaRPr lang="en-US" sz="1400" b="0" i="0" dirty="0">
                    <a:solidFill>
                      <a:srgbClr val="4D4D4D"/>
                    </a:solidFill>
                    <a:effectLst>
                      <a:outerShdw blurRad="38100" dist="38100" dir="2700000" algn="tl">
                        <a:srgbClr val="C0C0C0"/>
                      </a:outerShdw>
                    </a:effectLst>
                    <a:latin typeface="Arial"/>
                    <a:ea typeface="+mn-ea"/>
                    <a:cs typeface="+mn-cs"/>
                  </a:endParaRPr>
                </a:p>
              </p:txBody>
            </p:sp>
            <p:grpSp>
              <p:nvGrpSpPr>
                <p:cNvPr id="40" name="Gruppieren 39"/>
                <p:cNvGrpSpPr/>
                <p:nvPr/>
              </p:nvGrpSpPr>
              <p:grpSpPr>
                <a:xfrm>
                  <a:off x="858879" y="1200577"/>
                  <a:ext cx="4894021" cy="3960395"/>
                  <a:chOff x="858879" y="1200577"/>
                  <a:chExt cx="4894021" cy="3960395"/>
                </a:xfrm>
              </p:grpSpPr>
              <p:sp>
                <p:nvSpPr>
                  <p:cNvPr id="43" name="Freihandform 42"/>
                  <p:cNvSpPr/>
                  <p:nvPr/>
                </p:nvSpPr>
                <p:spPr bwMode="auto">
                  <a:xfrm>
                    <a:off x="1401838" y="2215849"/>
                    <a:ext cx="2598681" cy="2709234"/>
                  </a:xfrm>
                  <a:custGeom>
                    <a:avLst/>
                    <a:gdLst>
                      <a:gd name="connsiteX0" fmla="*/ 1667934 w 3056467"/>
                      <a:gd name="connsiteY0" fmla="*/ 0 h 2988733"/>
                      <a:gd name="connsiteX1" fmla="*/ 2463800 w 3056467"/>
                      <a:gd name="connsiteY1" fmla="*/ 143933 h 2988733"/>
                      <a:gd name="connsiteX2" fmla="*/ 3056467 w 3056467"/>
                      <a:gd name="connsiteY2" fmla="*/ 2988733 h 2988733"/>
                      <a:gd name="connsiteX3" fmla="*/ 0 w 3056467"/>
                      <a:gd name="connsiteY3" fmla="*/ 2345266 h 2988733"/>
                      <a:gd name="connsiteX4" fmla="*/ 1667934 w 3056467"/>
                      <a:gd name="connsiteY4" fmla="*/ 0 h 2988733"/>
                      <a:gd name="connsiteX0" fmla="*/ 1740323 w 3128856"/>
                      <a:gd name="connsiteY0" fmla="*/ 0 h 2988733"/>
                      <a:gd name="connsiteX1" fmla="*/ 2536189 w 3128856"/>
                      <a:gd name="connsiteY1" fmla="*/ 143933 h 2988733"/>
                      <a:gd name="connsiteX2" fmla="*/ 3128856 w 3128856"/>
                      <a:gd name="connsiteY2" fmla="*/ 2988733 h 2988733"/>
                      <a:gd name="connsiteX3" fmla="*/ 0 w 3128856"/>
                      <a:gd name="connsiteY3" fmla="*/ 2352180 h 2988733"/>
                      <a:gd name="connsiteX4" fmla="*/ 1740323 w 3128856"/>
                      <a:gd name="connsiteY4" fmla="*/ 0 h 2988733"/>
                      <a:gd name="connsiteX0" fmla="*/ 1740323 w 3150572"/>
                      <a:gd name="connsiteY0" fmla="*/ 0 h 3009471"/>
                      <a:gd name="connsiteX1" fmla="*/ 2536189 w 3150572"/>
                      <a:gd name="connsiteY1" fmla="*/ 143933 h 3009471"/>
                      <a:gd name="connsiteX2" fmla="*/ 3150572 w 3150572"/>
                      <a:gd name="connsiteY2" fmla="*/ 3009471 h 3009471"/>
                      <a:gd name="connsiteX3" fmla="*/ 0 w 3150572"/>
                      <a:gd name="connsiteY3" fmla="*/ 2352180 h 3009471"/>
                      <a:gd name="connsiteX4" fmla="*/ 1740323 w 3150572"/>
                      <a:gd name="connsiteY4" fmla="*/ 0 h 3009471"/>
                      <a:gd name="connsiteX0" fmla="*/ 1740323 w 3150572"/>
                      <a:gd name="connsiteY0" fmla="*/ 0 h 3009471"/>
                      <a:gd name="connsiteX1" fmla="*/ 2442084 w 3150572"/>
                      <a:gd name="connsiteY1" fmla="*/ 116281 h 3009471"/>
                      <a:gd name="connsiteX2" fmla="*/ 3150572 w 3150572"/>
                      <a:gd name="connsiteY2" fmla="*/ 3009471 h 3009471"/>
                      <a:gd name="connsiteX3" fmla="*/ 0 w 3150572"/>
                      <a:gd name="connsiteY3" fmla="*/ 2352180 h 3009471"/>
                      <a:gd name="connsiteX4" fmla="*/ 1740323 w 3150572"/>
                      <a:gd name="connsiteY4" fmla="*/ 0 h 3009471"/>
                      <a:gd name="connsiteX0" fmla="*/ 1790995 w 3150572"/>
                      <a:gd name="connsiteY0" fmla="*/ 0 h 3016384"/>
                      <a:gd name="connsiteX1" fmla="*/ 2442084 w 3150572"/>
                      <a:gd name="connsiteY1" fmla="*/ 123194 h 3016384"/>
                      <a:gd name="connsiteX2" fmla="*/ 3150572 w 3150572"/>
                      <a:gd name="connsiteY2" fmla="*/ 3016384 h 3016384"/>
                      <a:gd name="connsiteX3" fmla="*/ 0 w 3150572"/>
                      <a:gd name="connsiteY3" fmla="*/ 2359093 h 3016384"/>
                      <a:gd name="connsiteX4" fmla="*/ 1790995 w 3150572"/>
                      <a:gd name="connsiteY4" fmla="*/ 0 h 3016384"/>
                      <a:gd name="connsiteX0" fmla="*/ 1790995 w 3150572"/>
                      <a:gd name="connsiteY0" fmla="*/ 0 h 3016384"/>
                      <a:gd name="connsiteX1" fmla="*/ 2486543 w 3150572"/>
                      <a:gd name="connsiteY1" fmla="*/ 150212 h 3016384"/>
                      <a:gd name="connsiteX2" fmla="*/ 3150572 w 3150572"/>
                      <a:gd name="connsiteY2" fmla="*/ 3016384 h 3016384"/>
                      <a:gd name="connsiteX3" fmla="*/ 0 w 3150572"/>
                      <a:gd name="connsiteY3" fmla="*/ 2359093 h 3016384"/>
                      <a:gd name="connsiteX4" fmla="*/ 1790995 w 3150572"/>
                      <a:gd name="connsiteY4" fmla="*/ 0 h 3016384"/>
                      <a:gd name="connsiteX0" fmla="*/ 1859933 w 3219510"/>
                      <a:gd name="connsiteY0" fmla="*/ 0 h 3016384"/>
                      <a:gd name="connsiteX1" fmla="*/ 2555481 w 3219510"/>
                      <a:gd name="connsiteY1" fmla="*/ 150212 h 3016384"/>
                      <a:gd name="connsiteX2" fmla="*/ 3219510 w 3219510"/>
                      <a:gd name="connsiteY2" fmla="*/ 3016384 h 3016384"/>
                      <a:gd name="connsiteX3" fmla="*/ 0 w 3219510"/>
                      <a:gd name="connsiteY3" fmla="*/ 2378392 h 3016384"/>
                      <a:gd name="connsiteX4" fmla="*/ 1859933 w 3219510"/>
                      <a:gd name="connsiteY4" fmla="*/ 0 h 3016384"/>
                      <a:gd name="connsiteX0" fmla="*/ 1965993 w 3325570"/>
                      <a:gd name="connsiteY0" fmla="*/ 0 h 3016384"/>
                      <a:gd name="connsiteX1" fmla="*/ 2661541 w 3325570"/>
                      <a:gd name="connsiteY1" fmla="*/ 150212 h 3016384"/>
                      <a:gd name="connsiteX2" fmla="*/ 3325570 w 3325570"/>
                      <a:gd name="connsiteY2" fmla="*/ 3016384 h 3016384"/>
                      <a:gd name="connsiteX3" fmla="*/ 0 w 3325570"/>
                      <a:gd name="connsiteY3" fmla="*/ 2349444 h 3016384"/>
                      <a:gd name="connsiteX4" fmla="*/ 1965993 w 3325570"/>
                      <a:gd name="connsiteY4" fmla="*/ 0 h 3016384"/>
                      <a:gd name="connsiteX0" fmla="*/ 1965993 w 3330872"/>
                      <a:gd name="connsiteY0" fmla="*/ 0 h 3011560"/>
                      <a:gd name="connsiteX1" fmla="*/ 2661541 w 3330872"/>
                      <a:gd name="connsiteY1" fmla="*/ 150212 h 3011560"/>
                      <a:gd name="connsiteX2" fmla="*/ 3330872 w 3330872"/>
                      <a:gd name="connsiteY2" fmla="*/ 3011560 h 3011560"/>
                      <a:gd name="connsiteX3" fmla="*/ 0 w 3330872"/>
                      <a:gd name="connsiteY3" fmla="*/ 2349444 h 3011560"/>
                      <a:gd name="connsiteX4" fmla="*/ 1965993 w 3330872"/>
                      <a:gd name="connsiteY4" fmla="*/ 0 h 3011560"/>
                      <a:gd name="connsiteX0" fmla="*/ 1965993 w 3383902"/>
                      <a:gd name="connsiteY0" fmla="*/ 0 h 3026034"/>
                      <a:gd name="connsiteX1" fmla="*/ 2661541 w 3383902"/>
                      <a:gd name="connsiteY1" fmla="*/ 150212 h 3026034"/>
                      <a:gd name="connsiteX2" fmla="*/ 3383902 w 3383902"/>
                      <a:gd name="connsiteY2" fmla="*/ 3026034 h 3026034"/>
                      <a:gd name="connsiteX3" fmla="*/ 0 w 3383902"/>
                      <a:gd name="connsiteY3" fmla="*/ 2349444 h 3026034"/>
                      <a:gd name="connsiteX4" fmla="*/ 1965993 w 3383902"/>
                      <a:gd name="connsiteY4" fmla="*/ 0 h 30260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83902" h="3026034">
                        <a:moveTo>
                          <a:pt x="1965993" y="0"/>
                        </a:moveTo>
                        <a:lnTo>
                          <a:pt x="2661541" y="150212"/>
                        </a:lnTo>
                        <a:lnTo>
                          <a:pt x="3383902" y="3026034"/>
                        </a:lnTo>
                        <a:lnTo>
                          <a:pt x="0" y="2349444"/>
                        </a:lnTo>
                        <a:lnTo>
                          <a:pt x="1965993" y="0"/>
                        </a:lnTo>
                        <a:close/>
                      </a:path>
                    </a:pathLst>
                  </a:custGeom>
                  <a:gradFill flip="none" rotWithShape="1">
                    <a:gsLst>
                      <a:gs pos="0">
                        <a:schemeClr val="accent1"/>
                      </a:gs>
                      <a:gs pos="50000">
                        <a:schemeClr val="accent2">
                          <a:lumMod val="60000"/>
                          <a:lumOff val="40000"/>
                          <a:tint val="44500"/>
                          <a:satMod val="160000"/>
                        </a:schemeClr>
                      </a:gs>
                      <a:gs pos="100000">
                        <a:schemeClr val="accent2">
                          <a:lumMod val="60000"/>
                          <a:lumOff val="40000"/>
                          <a:tint val="23500"/>
                          <a:satMod val="160000"/>
                        </a:schemeClr>
                      </a:gs>
                    </a:gsLst>
                    <a:lin ang="16200000" scaled="1"/>
                    <a:tileRect/>
                  </a:gradFill>
                  <a:ln w="12700" cap="flat" cmpd="sng" algn="ctr">
                    <a:solidFill>
                      <a:schemeClr val="bg1"/>
                    </a:solidFill>
                    <a:prstDash val="solid"/>
                    <a:round/>
                    <a:headEnd type="none" w="med" len="med"/>
                    <a:tailEnd type="none" w="med" len="med"/>
                  </a:ln>
                  <a:effectLst/>
                </p:spPr>
                <p:txBody>
                  <a:bodyPr vert="horz" wrap="square" lIns="80147" tIns="40074" rIns="80147" bIns="40074" numCol="1" rtlCol="0" anchor="ctr" anchorCtr="0" compatLnSpc="1">
                    <a:prstTxWarp prst="textNoShape">
                      <a:avLst/>
                    </a:prstTxWarp>
                    <a:noAutofit/>
                  </a:bodyPr>
                  <a:lstStyle/>
                  <a:p>
                    <a:pPr algn="ctr" defTabSz="873827"/>
                    <a:endParaRPr lang="de-DE" sz="1400" dirty="0" smtClean="0">
                      <a:latin typeface="Arial" charset="0"/>
                    </a:endParaRPr>
                  </a:p>
                </p:txBody>
              </p:sp>
              <p:sp>
                <p:nvSpPr>
                  <p:cNvPr id="2053" name="Line 7"/>
                  <p:cNvSpPr>
                    <a:spLocks noChangeShapeType="1"/>
                  </p:cNvSpPr>
                  <p:nvPr/>
                </p:nvSpPr>
                <p:spPr bwMode="auto">
                  <a:xfrm rot="721166">
                    <a:off x="2654319" y="2047944"/>
                    <a:ext cx="1034885" cy="0"/>
                  </a:xfrm>
                  <a:prstGeom prst="line">
                    <a:avLst/>
                  </a:prstGeom>
                  <a:noFill/>
                  <a:ln w="38100">
                    <a:solidFill>
                      <a:schemeClr val="bg1"/>
                    </a:solidFill>
                    <a:round/>
                    <a:headEnd/>
                    <a:tailEnd/>
                  </a:ln>
                </p:spPr>
                <p:txBody>
                  <a:bodyPr wrap="square" lIns="80147" tIns="40074" rIns="80147" bIns="40074">
                    <a:noAutofit/>
                  </a:bodyPr>
                  <a:lstStyle/>
                  <a:p>
                    <a:endParaRPr lang="de-DE"/>
                  </a:p>
                </p:txBody>
              </p:sp>
              <p:sp>
                <p:nvSpPr>
                  <p:cNvPr id="2054" name="Line 8"/>
                  <p:cNvSpPr>
                    <a:spLocks noChangeShapeType="1"/>
                  </p:cNvSpPr>
                  <p:nvPr/>
                </p:nvSpPr>
                <p:spPr bwMode="auto">
                  <a:xfrm rot="721166" flipV="1">
                    <a:off x="3700427" y="1764352"/>
                    <a:ext cx="462640" cy="448804"/>
                  </a:xfrm>
                  <a:prstGeom prst="line">
                    <a:avLst/>
                  </a:prstGeom>
                  <a:noFill/>
                  <a:ln w="38100">
                    <a:solidFill>
                      <a:schemeClr val="bg1"/>
                    </a:solidFill>
                    <a:round/>
                    <a:headEnd/>
                    <a:tailEnd/>
                  </a:ln>
                </p:spPr>
                <p:txBody>
                  <a:bodyPr wrap="square" lIns="80147" tIns="40074" rIns="80147" bIns="40074">
                    <a:noAutofit/>
                  </a:bodyPr>
                  <a:lstStyle/>
                  <a:p>
                    <a:endParaRPr lang="de-DE"/>
                  </a:p>
                </p:txBody>
              </p:sp>
              <p:sp>
                <p:nvSpPr>
                  <p:cNvPr id="69645" name="Text Box 13"/>
                  <p:cNvSpPr txBox="1">
                    <a:spLocks noChangeArrowheads="1"/>
                  </p:cNvSpPr>
                  <p:nvPr/>
                </p:nvSpPr>
                <p:spPr bwMode="auto">
                  <a:xfrm rot="721166">
                    <a:off x="2824869" y="1599217"/>
                    <a:ext cx="833486" cy="597419"/>
                  </a:xfrm>
                  <a:prstGeom prst="rect">
                    <a:avLst/>
                  </a:prstGeom>
                  <a:noFill/>
                  <a:ln w="9525">
                    <a:noFill/>
                    <a:miter lim="800000"/>
                    <a:headEnd/>
                    <a:tailEnd/>
                  </a:ln>
                  <a:effectLst/>
                </p:spPr>
                <p:txBody>
                  <a:bodyPr wrap="square" lIns="80147" tIns="40074" rIns="80147" bIns="40074">
                    <a:noAutofit/>
                  </a:bodyPr>
                  <a:lstStyle/>
                  <a:p>
                    <a:pPr algn="ctr" defTabSz="914400">
                      <a:buNone/>
                    </a:pPr>
                    <a:r>
                      <a:rPr lang="en-US" sz="1200" b="1" i="0" dirty="0" err="1" smtClean="0">
                        <a:solidFill>
                          <a:schemeClr val="bg1"/>
                        </a:solidFill>
                        <a:latin typeface="Arial"/>
                        <a:ea typeface="+mn-ea"/>
                        <a:cs typeface="+mn-cs"/>
                      </a:rPr>
                      <a:t>Vor</a:t>
                    </a:r>
                    <a:r>
                      <a:rPr lang="en-US" sz="1200" b="1" i="0" dirty="0" smtClean="0">
                        <a:solidFill>
                          <a:schemeClr val="bg1"/>
                        </a:solidFill>
                        <a:latin typeface="Arial"/>
                        <a:ea typeface="+mn-ea"/>
                        <a:cs typeface="+mn-cs"/>
                      </a:rPr>
                      <a:t>-</a:t>
                    </a:r>
                    <a:br>
                      <a:rPr lang="en-US" sz="1200" b="1" i="0" dirty="0" smtClean="0">
                        <a:solidFill>
                          <a:schemeClr val="bg1"/>
                        </a:solidFill>
                        <a:latin typeface="Arial"/>
                        <a:ea typeface="+mn-ea"/>
                        <a:cs typeface="+mn-cs"/>
                      </a:rPr>
                    </a:br>
                    <a:r>
                      <a:rPr lang="en-US" sz="1200" b="1" i="0" dirty="0" smtClean="0">
                        <a:solidFill>
                          <a:schemeClr val="bg1"/>
                        </a:solidFill>
                        <a:latin typeface="Arial"/>
                        <a:ea typeface="+mn-ea"/>
                        <a:cs typeface="+mn-cs"/>
                      </a:rPr>
                      <a:t>stand</a:t>
                    </a:r>
                    <a:endParaRPr lang="en-US" sz="1200" b="1" dirty="0">
                      <a:solidFill>
                        <a:schemeClr val="bg1"/>
                      </a:solidFill>
                    </a:endParaRPr>
                  </a:p>
                </p:txBody>
              </p:sp>
              <p:sp>
                <p:nvSpPr>
                  <p:cNvPr id="69646" name="Text Box 14"/>
                  <p:cNvSpPr txBox="1">
                    <a:spLocks noChangeArrowheads="1"/>
                  </p:cNvSpPr>
                  <p:nvPr/>
                </p:nvSpPr>
                <p:spPr bwMode="auto">
                  <a:xfrm rot="19776637">
                    <a:off x="3540404" y="1565902"/>
                    <a:ext cx="534902" cy="476494"/>
                  </a:xfrm>
                  <a:prstGeom prst="rect">
                    <a:avLst/>
                  </a:prstGeom>
                  <a:noFill/>
                  <a:ln w="9525" algn="ctr">
                    <a:noFill/>
                    <a:miter lim="800000"/>
                    <a:headEnd/>
                    <a:tailEnd/>
                  </a:ln>
                  <a:effectLst/>
                </p:spPr>
                <p:txBody>
                  <a:bodyPr wrap="square" lIns="80147" tIns="40074" rIns="80147" bIns="40074">
                    <a:noAutofit/>
                  </a:bodyPr>
                  <a:lstStyle/>
                  <a:p>
                    <a:pPr algn="ctr" defTabSz="914400">
                      <a:buNone/>
                    </a:pPr>
                    <a:r>
                      <a:rPr lang="en-US" sz="1100" b="1" i="0" dirty="0" err="1" smtClean="0">
                        <a:solidFill>
                          <a:srgbClr val="EBEBEB"/>
                        </a:solidFill>
                        <a:latin typeface="Arial"/>
                        <a:ea typeface="+mn-ea"/>
                        <a:cs typeface="+mn-cs"/>
                      </a:rPr>
                      <a:t>Vor</a:t>
                    </a:r>
                    <a:r>
                      <a:rPr lang="en-US" sz="1100" b="1" i="0" dirty="0" smtClean="0">
                        <a:solidFill>
                          <a:srgbClr val="EBEBEB"/>
                        </a:solidFill>
                        <a:latin typeface="Arial"/>
                        <a:ea typeface="+mn-ea"/>
                        <a:cs typeface="+mn-cs"/>
                      </a:rPr>
                      <a:t>-stand</a:t>
                    </a:r>
                    <a:endParaRPr lang="en-US" sz="1100" b="1" dirty="0">
                      <a:solidFill>
                        <a:schemeClr val="bg2"/>
                      </a:solidFill>
                    </a:endParaRPr>
                  </a:p>
                </p:txBody>
              </p:sp>
              <p:sp>
                <p:nvSpPr>
                  <p:cNvPr id="2058" name="Line 22"/>
                  <p:cNvSpPr>
                    <a:spLocks noChangeShapeType="1"/>
                  </p:cNvSpPr>
                  <p:nvPr/>
                </p:nvSpPr>
                <p:spPr bwMode="auto">
                  <a:xfrm rot="721166">
                    <a:off x="3538677" y="2234780"/>
                    <a:ext cx="1537067" cy="2456156"/>
                  </a:xfrm>
                  <a:prstGeom prst="line">
                    <a:avLst/>
                  </a:prstGeom>
                  <a:noFill/>
                  <a:ln w="38100">
                    <a:solidFill>
                      <a:schemeClr val="bg1"/>
                    </a:solidFill>
                    <a:round/>
                    <a:headEnd/>
                    <a:tailEnd/>
                  </a:ln>
                </p:spPr>
                <p:txBody>
                  <a:bodyPr wrap="square" lIns="80147" tIns="40074" rIns="80147" bIns="40074">
                    <a:noAutofit/>
                  </a:bodyPr>
                  <a:lstStyle/>
                  <a:p>
                    <a:endParaRPr lang="de-DE"/>
                  </a:p>
                </p:txBody>
              </p:sp>
              <p:sp>
                <p:nvSpPr>
                  <p:cNvPr id="2059" name="Line 23"/>
                  <p:cNvSpPr>
                    <a:spLocks noChangeShapeType="1"/>
                  </p:cNvSpPr>
                  <p:nvPr/>
                </p:nvSpPr>
                <p:spPr bwMode="auto">
                  <a:xfrm rot="721166">
                    <a:off x="3690524" y="2192747"/>
                    <a:ext cx="1735197" cy="2076032"/>
                  </a:xfrm>
                  <a:prstGeom prst="line">
                    <a:avLst/>
                  </a:prstGeom>
                  <a:noFill/>
                  <a:ln w="38100">
                    <a:solidFill>
                      <a:schemeClr val="bg1"/>
                    </a:solidFill>
                    <a:round/>
                    <a:headEnd/>
                    <a:tailEnd/>
                  </a:ln>
                </p:spPr>
                <p:txBody>
                  <a:bodyPr wrap="square" lIns="80147" tIns="40074" rIns="80147" bIns="40074">
                    <a:noAutofit/>
                  </a:bodyPr>
                  <a:lstStyle/>
                  <a:p>
                    <a:endParaRPr lang="de-DE"/>
                  </a:p>
                </p:txBody>
              </p:sp>
              <p:sp>
                <p:nvSpPr>
                  <p:cNvPr id="2060" name="Line 24"/>
                  <p:cNvSpPr>
                    <a:spLocks noChangeShapeType="1"/>
                  </p:cNvSpPr>
                  <p:nvPr/>
                </p:nvSpPr>
                <p:spPr bwMode="auto">
                  <a:xfrm rot="721166">
                    <a:off x="3812650" y="2139048"/>
                    <a:ext cx="1940250" cy="1700672"/>
                  </a:xfrm>
                  <a:prstGeom prst="line">
                    <a:avLst/>
                  </a:prstGeom>
                  <a:noFill/>
                  <a:ln w="38100">
                    <a:solidFill>
                      <a:schemeClr val="bg1"/>
                    </a:solidFill>
                    <a:round/>
                    <a:headEnd/>
                    <a:tailEnd/>
                  </a:ln>
                </p:spPr>
                <p:txBody>
                  <a:bodyPr wrap="square" lIns="80147" tIns="40074" rIns="80147" bIns="40074">
                    <a:noAutofit/>
                  </a:bodyPr>
                  <a:lstStyle/>
                  <a:p>
                    <a:endParaRPr lang="de-DE"/>
                  </a:p>
                </p:txBody>
              </p:sp>
              <p:sp>
                <p:nvSpPr>
                  <p:cNvPr id="69657" name="Text Box 25"/>
                  <p:cNvSpPr txBox="1">
                    <a:spLocks noChangeArrowheads="1"/>
                  </p:cNvSpPr>
                  <p:nvPr/>
                </p:nvSpPr>
                <p:spPr bwMode="auto">
                  <a:xfrm rot="20628753">
                    <a:off x="4105275" y="2629167"/>
                    <a:ext cx="282084" cy="2374303"/>
                  </a:xfrm>
                  <a:prstGeom prst="rect">
                    <a:avLst/>
                  </a:prstGeom>
                  <a:noFill/>
                  <a:ln w="9525" algn="ctr">
                    <a:noFill/>
                    <a:miter lim="800000"/>
                    <a:headEnd/>
                    <a:tailEnd/>
                  </a:ln>
                  <a:effectLst/>
                </p:spPr>
                <p:txBody>
                  <a:bodyPr wrap="square" lIns="80147" tIns="40074" rIns="80147" bIns="40074">
                    <a:noAutofit/>
                  </a:bodyPr>
                  <a:lstStyle/>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K</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O</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M</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M</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U</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N</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I</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K</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A</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T</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I</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O</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N</a:t>
                    </a:r>
                  </a:p>
                </p:txBody>
              </p:sp>
              <p:sp>
                <p:nvSpPr>
                  <p:cNvPr id="69658" name="Text Box 26"/>
                  <p:cNvSpPr txBox="1">
                    <a:spLocks noChangeArrowheads="1"/>
                  </p:cNvSpPr>
                  <p:nvPr/>
                </p:nvSpPr>
                <p:spPr bwMode="auto">
                  <a:xfrm rot="20204677">
                    <a:off x="4435907" y="2913622"/>
                    <a:ext cx="262238" cy="1553111"/>
                  </a:xfrm>
                  <a:prstGeom prst="rect">
                    <a:avLst/>
                  </a:prstGeom>
                  <a:noFill/>
                  <a:ln w="9525" algn="ctr">
                    <a:noFill/>
                    <a:miter lim="800000"/>
                    <a:headEnd/>
                    <a:tailEnd/>
                  </a:ln>
                  <a:effectLst/>
                </p:spPr>
                <p:txBody>
                  <a:bodyPr wrap="square" lIns="80147" tIns="40074" rIns="80147" bIns="40074">
                    <a:noAutofit/>
                  </a:bodyPr>
                  <a:lstStyle/>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P</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E</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R</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S</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O</a:t>
                    </a:r>
                  </a:p>
                  <a:p>
                    <a:pPr algn="ctr" defTabSz="914400">
                      <a:buNone/>
                    </a:pPr>
                    <a:r>
                      <a:rPr lang="en-US" sz="1100" b="1" dirty="0" smtClean="0">
                        <a:solidFill>
                          <a:srgbClr val="404040"/>
                        </a:solidFill>
                        <a:effectLst>
                          <a:outerShdw blurRad="38100" dist="38100" dir="2700000" algn="tl">
                            <a:srgbClr val="C0C0C0"/>
                          </a:outerShdw>
                        </a:effectLst>
                      </a:rPr>
                      <a:t>N</a:t>
                    </a:r>
                    <a:endParaRPr lang="en-US" sz="1100" b="1" dirty="0">
                      <a:solidFill>
                        <a:srgbClr val="404040"/>
                      </a:solidFill>
                      <a:effectLst>
                        <a:outerShdw blurRad="38100" dist="38100" dir="2700000" algn="tl">
                          <a:srgbClr val="C0C0C0"/>
                        </a:outerShdw>
                      </a:effectLst>
                    </a:endParaRP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A</a:t>
                    </a:r>
                  </a:p>
                  <a:p>
                    <a:pPr algn="ctr" defTabSz="914400">
                      <a:buNone/>
                    </a:pPr>
                    <a:r>
                      <a:rPr lang="en-US" sz="1100" b="1" i="0" dirty="0" smtClean="0">
                        <a:solidFill>
                          <a:srgbClr val="404040"/>
                        </a:solidFill>
                        <a:effectLst>
                          <a:outerShdw blurRad="38100" dist="38100" dir="2700000" algn="tl">
                            <a:srgbClr val="C0C0C0"/>
                          </a:outerShdw>
                        </a:effectLst>
                        <a:latin typeface="Arial"/>
                        <a:ea typeface="+mn-ea"/>
                        <a:cs typeface="+mn-cs"/>
                      </a:rPr>
                      <a:t>L</a:t>
                    </a:r>
                    <a:r>
                      <a:rPr lang="en-US" sz="1100" b="1" i="0" dirty="0">
                        <a:solidFill>
                          <a:srgbClr val="404040"/>
                        </a:solidFill>
                        <a:effectLst>
                          <a:outerShdw blurRad="38100" dist="38100" dir="2700000" algn="tl">
                            <a:srgbClr val="C0C0C0"/>
                          </a:outerShdw>
                        </a:effectLst>
                        <a:latin typeface="Arial"/>
                        <a:ea typeface="+mn-ea"/>
                        <a:cs typeface="+mn-cs"/>
                      </a:rPr>
                      <a:t> </a:t>
                    </a:r>
                  </a:p>
                  <a:p>
                    <a:pPr algn="ctr" defTabSz="914400">
                      <a:buNone/>
                    </a:pPr>
                    <a:r>
                      <a:rPr lang="en-US" sz="1100" b="1" i="0" dirty="0">
                        <a:solidFill>
                          <a:srgbClr val="404040"/>
                        </a:solidFill>
                        <a:effectLst>
                          <a:outerShdw blurRad="38100" dist="38100" dir="2700000" algn="tl">
                            <a:srgbClr val="C0C0C0"/>
                          </a:outerShdw>
                        </a:effectLst>
                        <a:latin typeface="Arial"/>
                        <a:ea typeface="+mn-ea"/>
                        <a:cs typeface="+mn-cs"/>
                      </a:rPr>
                      <a:t> </a:t>
                    </a:r>
                  </a:p>
                </p:txBody>
              </p:sp>
              <p:sp>
                <p:nvSpPr>
                  <p:cNvPr id="69659" name="Text Box 27"/>
                  <p:cNvSpPr txBox="1">
                    <a:spLocks noChangeArrowheads="1"/>
                  </p:cNvSpPr>
                  <p:nvPr/>
                </p:nvSpPr>
                <p:spPr bwMode="auto">
                  <a:xfrm rot="19740278">
                    <a:off x="4669627" y="3102842"/>
                    <a:ext cx="256436" cy="450263"/>
                  </a:xfrm>
                  <a:prstGeom prst="rect">
                    <a:avLst/>
                  </a:prstGeom>
                  <a:noFill/>
                  <a:ln w="9525" algn="ctr">
                    <a:noFill/>
                    <a:miter lim="800000"/>
                    <a:headEnd/>
                    <a:tailEnd/>
                  </a:ln>
                  <a:effectLst/>
                </p:spPr>
                <p:txBody>
                  <a:bodyPr wrap="square" lIns="80147" tIns="40074" rIns="80147" bIns="40074">
                    <a:noAutofit/>
                  </a:bodyPr>
                  <a:lstStyle/>
                  <a:p>
                    <a:pPr algn="ctr" defTabSz="914400">
                      <a:buNone/>
                    </a:pPr>
                    <a:r>
                      <a:rPr lang="en-US" sz="1200" b="1" i="0" dirty="0">
                        <a:solidFill>
                          <a:srgbClr val="404040"/>
                        </a:solidFill>
                        <a:effectLst>
                          <a:outerShdw blurRad="38100" dist="38100" dir="2700000" algn="tl">
                            <a:srgbClr val="C0C0C0"/>
                          </a:outerShdw>
                        </a:effectLst>
                        <a:latin typeface="Arial"/>
                        <a:ea typeface="+mn-ea"/>
                        <a:cs typeface="+mn-cs"/>
                      </a:rPr>
                      <a:t>I</a:t>
                    </a:r>
                  </a:p>
                  <a:p>
                    <a:pPr algn="ctr" defTabSz="914400">
                      <a:buNone/>
                    </a:pPr>
                    <a:r>
                      <a:rPr lang="en-US" sz="1200" b="1" i="0" dirty="0">
                        <a:solidFill>
                          <a:srgbClr val="404040"/>
                        </a:solidFill>
                        <a:effectLst>
                          <a:outerShdw blurRad="38100" dist="38100" dir="2700000" algn="tl">
                            <a:srgbClr val="C0C0C0"/>
                          </a:outerShdw>
                        </a:effectLst>
                        <a:latin typeface="Arial"/>
                        <a:ea typeface="+mn-ea"/>
                        <a:cs typeface="+mn-cs"/>
                      </a:rPr>
                      <a:t>T</a:t>
                    </a:r>
                  </a:p>
                </p:txBody>
              </p:sp>
              <p:sp>
                <p:nvSpPr>
                  <p:cNvPr id="69660" name="Text Box 28"/>
                  <p:cNvSpPr txBox="1">
                    <a:spLocks noChangeArrowheads="1"/>
                  </p:cNvSpPr>
                  <p:nvPr/>
                </p:nvSpPr>
                <p:spPr bwMode="auto">
                  <a:xfrm rot="19228928">
                    <a:off x="4845079" y="1963603"/>
                    <a:ext cx="418340" cy="2259302"/>
                  </a:xfrm>
                  <a:prstGeom prst="rect">
                    <a:avLst/>
                  </a:prstGeom>
                  <a:noFill/>
                  <a:ln w="9525" algn="ctr">
                    <a:noFill/>
                    <a:miter lim="800000"/>
                    <a:headEnd/>
                    <a:tailEnd/>
                  </a:ln>
                  <a:effectLst/>
                </p:spPr>
                <p:txBody>
                  <a:bodyPr wrap="square" lIns="80147" tIns="40074" rIns="80147" bIns="40074">
                    <a:noAutofit/>
                  </a:bodyPr>
                  <a:lstStyle/>
                  <a:p>
                    <a:pPr algn="ctr" defTabSz="914400">
                      <a:buNone/>
                    </a:pPr>
                    <a:r>
                      <a:rPr lang="en-US" sz="1100" b="1" i="0" dirty="0" smtClean="0">
                        <a:solidFill>
                          <a:srgbClr val="404040"/>
                        </a:solidFill>
                        <a:effectLst>
                          <a:outerShdw blurRad="38100" dist="38100" dir="2700000" algn="tl">
                            <a:srgbClr val="C0C0C0"/>
                          </a:outerShdw>
                        </a:effectLst>
                        <a:latin typeface="Arial"/>
                        <a:ea typeface="+mn-ea"/>
                        <a:cs typeface="+mn-cs"/>
                      </a:rPr>
                      <a:t>K</a:t>
                    </a:r>
                    <a:br>
                      <a:rPr lang="en-US" sz="1100" b="1" i="0" dirty="0" smtClean="0">
                        <a:solidFill>
                          <a:srgbClr val="404040"/>
                        </a:solidFill>
                        <a:effectLst>
                          <a:outerShdw blurRad="38100" dist="38100" dir="2700000" algn="tl">
                            <a:srgbClr val="C0C0C0"/>
                          </a:outerShdw>
                        </a:effectLst>
                        <a:latin typeface="Arial"/>
                        <a:ea typeface="+mn-ea"/>
                        <a:cs typeface="+mn-cs"/>
                      </a:rPr>
                    </a:br>
                    <a:r>
                      <a:rPr lang="en-US" sz="1100" b="1" i="0" dirty="0" smtClean="0">
                        <a:solidFill>
                          <a:srgbClr val="404040"/>
                        </a:solidFill>
                        <a:effectLst>
                          <a:outerShdw blurRad="38100" dist="38100" dir="2700000" algn="tl">
                            <a:srgbClr val="C0C0C0"/>
                          </a:outerShdw>
                        </a:effectLst>
                        <a:latin typeface="Arial"/>
                        <a:ea typeface="+mn-ea"/>
                        <a:cs typeface="+mn-cs"/>
                      </a:rPr>
                      <a:t>N</a:t>
                    </a:r>
                    <a:br>
                      <a:rPr lang="en-US" sz="1100" b="1" i="0" dirty="0" smtClean="0">
                        <a:solidFill>
                          <a:srgbClr val="404040"/>
                        </a:solidFill>
                        <a:effectLst>
                          <a:outerShdw blurRad="38100" dist="38100" dir="2700000" algn="tl">
                            <a:srgbClr val="C0C0C0"/>
                          </a:outerShdw>
                        </a:effectLst>
                        <a:latin typeface="Arial"/>
                        <a:ea typeface="+mn-ea"/>
                        <a:cs typeface="+mn-cs"/>
                      </a:rPr>
                    </a:br>
                    <a:r>
                      <a:rPr lang="en-US" sz="1100" b="1" i="0" dirty="0" smtClean="0">
                        <a:solidFill>
                          <a:srgbClr val="404040"/>
                        </a:solidFill>
                        <a:effectLst>
                          <a:outerShdw blurRad="38100" dist="38100" dir="2700000" algn="tl">
                            <a:srgbClr val="C0C0C0"/>
                          </a:outerShdw>
                        </a:effectLst>
                        <a:latin typeface="Arial"/>
                        <a:ea typeface="+mn-ea"/>
                        <a:cs typeface="+mn-cs"/>
                      </a:rPr>
                      <a:t>O</a:t>
                    </a:r>
                    <a:br>
                      <a:rPr lang="en-US" sz="1100" b="1" i="0" dirty="0" smtClean="0">
                        <a:solidFill>
                          <a:srgbClr val="404040"/>
                        </a:solidFill>
                        <a:effectLst>
                          <a:outerShdw blurRad="38100" dist="38100" dir="2700000" algn="tl">
                            <a:srgbClr val="C0C0C0"/>
                          </a:outerShdw>
                        </a:effectLst>
                        <a:latin typeface="Arial"/>
                        <a:ea typeface="+mn-ea"/>
                        <a:cs typeface="+mn-cs"/>
                      </a:rPr>
                    </a:br>
                    <a:r>
                      <a:rPr lang="en-US" sz="1100" b="1" dirty="0" smtClean="0">
                        <a:solidFill>
                          <a:srgbClr val="404040"/>
                        </a:solidFill>
                        <a:effectLst>
                          <a:outerShdw blurRad="38100" dist="38100" dir="2700000" algn="tl">
                            <a:srgbClr val="C0C0C0"/>
                          </a:outerShdw>
                        </a:effectLst>
                        <a:latin typeface="Arial"/>
                      </a:rPr>
                      <a:t>W</a:t>
                    </a:r>
                    <a:br>
                      <a:rPr lang="en-US" sz="1100" b="1" dirty="0" smtClean="0">
                        <a:solidFill>
                          <a:srgbClr val="404040"/>
                        </a:solidFill>
                        <a:effectLst>
                          <a:outerShdw blurRad="38100" dist="38100" dir="2700000" algn="tl">
                            <a:srgbClr val="C0C0C0"/>
                          </a:outerShdw>
                        </a:effectLst>
                        <a:latin typeface="Arial"/>
                      </a:rPr>
                    </a:br>
                    <a:r>
                      <a:rPr lang="en-US" sz="1100" b="1" i="0" dirty="0" smtClean="0">
                        <a:solidFill>
                          <a:srgbClr val="404040"/>
                        </a:solidFill>
                        <a:effectLst>
                          <a:outerShdw blurRad="38100" dist="38100" dir="2700000" algn="tl">
                            <a:srgbClr val="C0C0C0"/>
                          </a:outerShdw>
                        </a:effectLst>
                        <a:latin typeface="Arial"/>
                        <a:ea typeface="+mn-ea"/>
                        <a:cs typeface="+mn-cs"/>
                      </a:rPr>
                      <a:t>L</a:t>
                    </a:r>
                    <a:br>
                      <a:rPr lang="en-US" sz="1100" b="1" i="0" dirty="0" smtClean="0">
                        <a:solidFill>
                          <a:srgbClr val="404040"/>
                        </a:solidFill>
                        <a:effectLst>
                          <a:outerShdw blurRad="38100" dist="38100" dir="2700000" algn="tl">
                            <a:srgbClr val="C0C0C0"/>
                          </a:outerShdw>
                        </a:effectLst>
                        <a:latin typeface="Arial"/>
                        <a:ea typeface="+mn-ea"/>
                        <a:cs typeface="+mn-cs"/>
                      </a:rPr>
                    </a:br>
                    <a:r>
                      <a:rPr lang="en-US" sz="1100" b="1" i="0" dirty="0" smtClean="0">
                        <a:solidFill>
                          <a:srgbClr val="404040"/>
                        </a:solidFill>
                        <a:effectLst>
                          <a:outerShdw blurRad="38100" dist="38100" dir="2700000" algn="tl">
                            <a:srgbClr val="C0C0C0"/>
                          </a:outerShdw>
                        </a:effectLst>
                        <a:latin typeface="Arial"/>
                        <a:ea typeface="+mn-ea"/>
                        <a:cs typeface="+mn-cs"/>
                      </a:rPr>
                      <a:t>D</a:t>
                    </a:r>
                    <a:br>
                      <a:rPr lang="en-US" sz="1100" b="1" i="0" dirty="0" smtClean="0">
                        <a:solidFill>
                          <a:srgbClr val="404040"/>
                        </a:solidFill>
                        <a:effectLst>
                          <a:outerShdw blurRad="38100" dist="38100" dir="2700000" algn="tl">
                            <a:srgbClr val="C0C0C0"/>
                          </a:outerShdw>
                        </a:effectLst>
                        <a:latin typeface="Arial"/>
                        <a:ea typeface="+mn-ea"/>
                        <a:cs typeface="+mn-cs"/>
                      </a:rPr>
                    </a:br>
                    <a:r>
                      <a:rPr lang="en-US" sz="1100" b="1" i="0" dirty="0" smtClean="0">
                        <a:solidFill>
                          <a:srgbClr val="404040"/>
                        </a:solidFill>
                        <a:effectLst>
                          <a:outerShdw blurRad="38100" dist="38100" dir="2700000" algn="tl">
                            <a:srgbClr val="C0C0C0"/>
                          </a:outerShdw>
                        </a:effectLst>
                        <a:latin typeface="Arial"/>
                        <a:ea typeface="+mn-ea"/>
                        <a:cs typeface="+mn-cs"/>
                      </a:rPr>
                      <a:t>G</a:t>
                    </a:r>
                    <a:br>
                      <a:rPr lang="en-US" sz="1100" b="1" i="0" dirty="0" smtClean="0">
                        <a:solidFill>
                          <a:srgbClr val="404040"/>
                        </a:solidFill>
                        <a:effectLst>
                          <a:outerShdw blurRad="38100" dist="38100" dir="2700000" algn="tl">
                            <a:srgbClr val="C0C0C0"/>
                          </a:outerShdw>
                        </a:effectLst>
                        <a:latin typeface="Arial"/>
                        <a:ea typeface="+mn-ea"/>
                        <a:cs typeface="+mn-cs"/>
                      </a:rPr>
                    </a:br>
                    <a:r>
                      <a:rPr lang="en-US" sz="1100" b="1" i="0" dirty="0" smtClean="0">
                        <a:solidFill>
                          <a:srgbClr val="404040"/>
                        </a:solidFill>
                        <a:effectLst>
                          <a:outerShdw blurRad="38100" dist="38100" dir="2700000" algn="tl">
                            <a:srgbClr val="C0C0C0"/>
                          </a:outerShdw>
                        </a:effectLst>
                        <a:latin typeface="Arial"/>
                        <a:ea typeface="+mn-ea"/>
                        <a:cs typeface="+mn-cs"/>
                      </a:rPr>
                      <a:t>E</a:t>
                    </a:r>
                    <a:br>
                      <a:rPr lang="en-US" sz="1100" b="1" i="0" dirty="0" smtClean="0">
                        <a:solidFill>
                          <a:srgbClr val="404040"/>
                        </a:solidFill>
                        <a:effectLst>
                          <a:outerShdw blurRad="38100" dist="38100" dir="2700000" algn="tl">
                            <a:srgbClr val="C0C0C0"/>
                          </a:outerShdw>
                        </a:effectLst>
                        <a:latin typeface="Arial"/>
                        <a:ea typeface="+mn-ea"/>
                        <a:cs typeface="+mn-cs"/>
                      </a:rPr>
                    </a:br>
                    <a:r>
                      <a:rPr lang="en-US" sz="1100" b="1" i="0" dirty="0" smtClean="0">
                        <a:solidFill>
                          <a:srgbClr val="404040"/>
                        </a:solidFill>
                        <a:effectLst>
                          <a:outerShdw blurRad="38100" dist="38100" dir="2700000" algn="tl">
                            <a:srgbClr val="C0C0C0"/>
                          </a:outerShdw>
                        </a:effectLst>
                        <a:latin typeface="Arial"/>
                        <a:ea typeface="+mn-ea"/>
                        <a:cs typeface="+mn-cs"/>
                      </a:rPr>
                      <a:t>M</a:t>
                    </a:r>
                    <a:br>
                      <a:rPr lang="en-US" sz="1100" b="1" i="0" dirty="0" smtClean="0">
                        <a:solidFill>
                          <a:srgbClr val="404040"/>
                        </a:solidFill>
                        <a:effectLst>
                          <a:outerShdw blurRad="38100" dist="38100" dir="2700000" algn="tl">
                            <a:srgbClr val="C0C0C0"/>
                          </a:outerShdw>
                        </a:effectLst>
                        <a:latin typeface="Arial"/>
                        <a:ea typeface="+mn-ea"/>
                        <a:cs typeface="+mn-cs"/>
                      </a:rPr>
                    </a:br>
                    <a:r>
                      <a:rPr lang="en-US" sz="1100" b="1" i="0" dirty="0" smtClean="0">
                        <a:solidFill>
                          <a:srgbClr val="404040"/>
                        </a:solidFill>
                        <a:effectLst>
                          <a:outerShdw blurRad="38100" dist="38100" dir="2700000" algn="tl">
                            <a:srgbClr val="C0C0C0"/>
                          </a:outerShdw>
                        </a:effectLst>
                        <a:latin typeface="Arial"/>
                        <a:ea typeface="+mn-ea"/>
                        <a:cs typeface="+mn-cs"/>
                      </a:rPr>
                      <a:t>N</a:t>
                    </a:r>
                    <a:br>
                      <a:rPr lang="en-US" sz="1100" b="1" i="0" dirty="0" smtClean="0">
                        <a:solidFill>
                          <a:srgbClr val="404040"/>
                        </a:solidFill>
                        <a:effectLst>
                          <a:outerShdw blurRad="38100" dist="38100" dir="2700000" algn="tl">
                            <a:srgbClr val="C0C0C0"/>
                          </a:outerShdw>
                        </a:effectLst>
                        <a:latin typeface="Arial"/>
                        <a:ea typeface="+mn-ea"/>
                        <a:cs typeface="+mn-cs"/>
                      </a:rPr>
                    </a:br>
                    <a:r>
                      <a:rPr lang="en-US" sz="1100" b="1" i="0" dirty="0" smtClean="0">
                        <a:solidFill>
                          <a:srgbClr val="404040"/>
                        </a:solidFill>
                        <a:effectLst>
                          <a:outerShdw blurRad="38100" dist="38100" dir="2700000" algn="tl">
                            <a:srgbClr val="C0C0C0"/>
                          </a:outerShdw>
                        </a:effectLst>
                        <a:latin typeface="Arial"/>
                        <a:ea typeface="+mn-ea"/>
                        <a:cs typeface="+mn-cs"/>
                      </a:rPr>
                      <a:t>G</a:t>
                    </a:r>
                    <a:br>
                      <a:rPr lang="en-US" sz="1100" b="1" i="0" dirty="0" smtClean="0">
                        <a:solidFill>
                          <a:srgbClr val="404040"/>
                        </a:solidFill>
                        <a:effectLst>
                          <a:outerShdw blurRad="38100" dist="38100" dir="2700000" algn="tl">
                            <a:srgbClr val="C0C0C0"/>
                          </a:outerShdw>
                        </a:effectLst>
                        <a:latin typeface="Arial"/>
                        <a:ea typeface="+mn-ea"/>
                        <a:cs typeface="+mn-cs"/>
                      </a:rPr>
                    </a:br>
                    <a:r>
                      <a:rPr lang="en-US" sz="1100" b="1" i="0" dirty="0" smtClean="0">
                        <a:solidFill>
                          <a:srgbClr val="404040"/>
                        </a:solidFill>
                        <a:effectLst>
                          <a:outerShdw blurRad="38100" dist="38100" dir="2700000" algn="tl">
                            <a:srgbClr val="C0C0C0"/>
                          </a:outerShdw>
                        </a:effectLst>
                        <a:latin typeface="Arial"/>
                        <a:ea typeface="+mn-ea"/>
                        <a:cs typeface="+mn-cs"/>
                      </a:rPr>
                      <a:t>M</a:t>
                    </a:r>
                    <a:br>
                      <a:rPr lang="en-US" sz="1100" b="1" i="0" dirty="0" smtClean="0">
                        <a:solidFill>
                          <a:srgbClr val="404040"/>
                        </a:solidFill>
                        <a:effectLst>
                          <a:outerShdw blurRad="38100" dist="38100" dir="2700000" algn="tl">
                            <a:srgbClr val="C0C0C0"/>
                          </a:outerShdw>
                        </a:effectLst>
                        <a:latin typeface="Arial"/>
                        <a:ea typeface="+mn-ea"/>
                        <a:cs typeface="+mn-cs"/>
                      </a:rPr>
                    </a:br>
                    <a:r>
                      <a:rPr lang="en-US" sz="1100" b="1" i="0" dirty="0" smtClean="0">
                        <a:solidFill>
                          <a:srgbClr val="404040"/>
                        </a:solidFill>
                        <a:effectLst>
                          <a:outerShdw blurRad="38100" dist="38100" dir="2700000" algn="tl">
                            <a:srgbClr val="C0C0C0"/>
                          </a:outerShdw>
                        </a:effectLst>
                        <a:latin typeface="Arial"/>
                        <a:ea typeface="+mn-ea"/>
                        <a:cs typeface="+mn-cs"/>
                      </a:rPr>
                      <a:t>T</a:t>
                    </a:r>
                    <a:endParaRPr lang="en-US" sz="1100" b="1" i="0" dirty="0">
                      <a:solidFill>
                        <a:srgbClr val="404040"/>
                      </a:solidFill>
                      <a:effectLst>
                        <a:outerShdw blurRad="38100" dist="38100" dir="2700000" algn="tl">
                          <a:srgbClr val="C0C0C0"/>
                        </a:outerShdw>
                      </a:effectLst>
                      <a:latin typeface="Arial"/>
                      <a:ea typeface="+mn-ea"/>
                      <a:cs typeface="+mn-cs"/>
                    </a:endParaRPr>
                  </a:p>
                </p:txBody>
              </p:sp>
              <p:sp>
                <p:nvSpPr>
                  <p:cNvPr id="69650" name="Text Box 18"/>
                  <p:cNvSpPr txBox="1">
                    <a:spLocks noChangeArrowheads="1"/>
                  </p:cNvSpPr>
                  <p:nvPr/>
                </p:nvSpPr>
                <p:spPr bwMode="auto">
                  <a:xfrm rot="721166">
                    <a:off x="2649566" y="2455513"/>
                    <a:ext cx="904050" cy="450263"/>
                  </a:xfrm>
                  <a:prstGeom prst="rect">
                    <a:avLst/>
                  </a:prstGeom>
                  <a:noFill/>
                  <a:ln w="9525" algn="ctr">
                    <a:noFill/>
                    <a:miter lim="800000"/>
                    <a:headEnd/>
                    <a:tailEnd/>
                  </a:ln>
                  <a:effectLst/>
                </p:spPr>
                <p:txBody>
                  <a:bodyPr wrap="square" lIns="80147" tIns="40074" rIns="80147" bIns="40074">
                    <a:noAutofit/>
                  </a:bodyPr>
                  <a:lstStyle/>
                  <a:p>
                    <a:pPr algn="ctr" defTabSz="914400">
                      <a:buNone/>
                    </a:pPr>
                    <a:r>
                      <a:rPr lang="en-US" sz="1200" i="0" dirty="0">
                        <a:solidFill>
                          <a:srgbClr val="4D4D4D"/>
                        </a:solidFill>
                        <a:latin typeface="Arial"/>
                        <a:ea typeface="+mn-ea"/>
                        <a:cs typeface="+mn-cs"/>
                      </a:rPr>
                      <a:t>Senior Executives</a:t>
                    </a:r>
                    <a:endParaRPr lang="en-US" sz="1200" dirty="0">
                      <a:solidFill>
                        <a:srgbClr val="4D4D4D"/>
                      </a:solidFill>
                    </a:endParaRPr>
                  </a:p>
                </p:txBody>
              </p:sp>
              <p:sp>
                <p:nvSpPr>
                  <p:cNvPr id="69651" name="Text Box 19"/>
                  <p:cNvSpPr txBox="1">
                    <a:spLocks noChangeArrowheads="1"/>
                  </p:cNvSpPr>
                  <p:nvPr/>
                </p:nvSpPr>
                <p:spPr bwMode="auto">
                  <a:xfrm rot="721166">
                    <a:off x="2519419" y="3014278"/>
                    <a:ext cx="904049" cy="437572"/>
                  </a:xfrm>
                  <a:prstGeom prst="rect">
                    <a:avLst/>
                  </a:prstGeom>
                  <a:noFill/>
                  <a:ln w="9525" algn="ctr">
                    <a:noFill/>
                    <a:miter lim="800000"/>
                    <a:headEnd/>
                    <a:tailEnd/>
                  </a:ln>
                  <a:effectLst/>
                </p:spPr>
                <p:txBody>
                  <a:bodyPr wrap="square" lIns="80147" tIns="40074" rIns="80147" bIns="40074">
                    <a:noAutofit/>
                  </a:bodyPr>
                  <a:lstStyle/>
                  <a:p>
                    <a:pPr algn="ctr" defTabSz="914400">
                      <a:buNone/>
                    </a:pPr>
                    <a:r>
                      <a:rPr lang="en-US" sz="1200" i="0" dirty="0" smtClean="0">
                        <a:solidFill>
                          <a:srgbClr val="4D4D4D"/>
                        </a:solidFill>
                        <a:latin typeface="Arial"/>
                        <a:ea typeface="+mn-ea"/>
                        <a:cs typeface="+mn-cs"/>
                      </a:rPr>
                      <a:t>Executives</a:t>
                    </a:r>
                    <a:endParaRPr lang="en-US" sz="1200" dirty="0">
                      <a:solidFill>
                        <a:srgbClr val="4D4D4D"/>
                      </a:solidFill>
                    </a:endParaRPr>
                  </a:p>
                  <a:p>
                    <a:pPr algn="ctr" defTabSz="914400">
                      <a:buNone/>
                    </a:pPr>
                    <a:r>
                      <a:rPr lang="en-US" sz="1100" i="0" dirty="0">
                        <a:solidFill>
                          <a:srgbClr val="4D4D4D"/>
                        </a:solidFill>
                        <a:latin typeface="Arial"/>
                        <a:ea typeface="+mn-ea"/>
                        <a:cs typeface="+mn-cs"/>
                      </a:rPr>
                      <a:t>SG </a:t>
                    </a:r>
                    <a:r>
                      <a:rPr lang="en-US" sz="1100" i="0" dirty="0" smtClean="0">
                        <a:solidFill>
                          <a:srgbClr val="4D4D4D"/>
                        </a:solidFill>
                        <a:latin typeface="Arial"/>
                        <a:ea typeface="+mn-ea"/>
                        <a:cs typeface="+mn-cs"/>
                      </a:rPr>
                      <a:t>13/14</a:t>
                    </a:r>
                    <a:endParaRPr lang="en-US" sz="1100" i="0" dirty="0">
                      <a:solidFill>
                        <a:srgbClr val="4D4D4D"/>
                      </a:solidFill>
                      <a:latin typeface="Arial"/>
                      <a:ea typeface="+mn-ea"/>
                      <a:cs typeface="+mn-cs"/>
                    </a:endParaRPr>
                  </a:p>
                </p:txBody>
              </p:sp>
              <p:sp>
                <p:nvSpPr>
                  <p:cNvPr id="69652" name="Text Box 20"/>
                  <p:cNvSpPr txBox="1">
                    <a:spLocks noChangeArrowheads="1"/>
                  </p:cNvSpPr>
                  <p:nvPr/>
                </p:nvSpPr>
                <p:spPr bwMode="auto">
                  <a:xfrm rot="721166">
                    <a:off x="2018441" y="3494475"/>
                    <a:ext cx="1665473" cy="645031"/>
                  </a:xfrm>
                  <a:prstGeom prst="rect">
                    <a:avLst/>
                  </a:prstGeom>
                  <a:noFill/>
                  <a:ln w="9525" algn="ctr">
                    <a:noFill/>
                    <a:miter lim="800000"/>
                    <a:headEnd/>
                    <a:tailEnd/>
                  </a:ln>
                  <a:effectLst/>
                </p:spPr>
                <p:txBody>
                  <a:bodyPr wrap="square" lIns="80147" tIns="40074" rIns="80147" bIns="40074">
                    <a:noAutofit/>
                  </a:bodyPr>
                  <a:lstStyle/>
                  <a:p>
                    <a:pPr algn="ctr" defTabSz="914400">
                      <a:buNone/>
                    </a:pPr>
                    <a:r>
                      <a:rPr lang="en-US" sz="1200" i="0" dirty="0" err="1">
                        <a:solidFill>
                          <a:srgbClr val="4D4D4D"/>
                        </a:solidFill>
                        <a:latin typeface="Arial"/>
                        <a:ea typeface="+mn-ea"/>
                        <a:cs typeface="+mn-cs"/>
                      </a:rPr>
                      <a:t>Einstiegsebene</a:t>
                    </a:r>
                    <a:r>
                      <a:rPr lang="en-US" sz="1200" i="0" dirty="0">
                        <a:solidFill>
                          <a:srgbClr val="4D4D4D"/>
                        </a:solidFill>
                        <a:latin typeface="Arial"/>
                        <a:ea typeface="+mn-ea"/>
                        <a:cs typeface="+mn-cs"/>
                      </a:rPr>
                      <a:t> </a:t>
                    </a:r>
                    <a:r>
                      <a:rPr lang="en-US" sz="1200" i="0" dirty="0" err="1">
                        <a:solidFill>
                          <a:srgbClr val="4D4D4D"/>
                        </a:solidFill>
                        <a:latin typeface="Arial"/>
                        <a:ea typeface="+mn-ea"/>
                        <a:cs typeface="+mn-cs"/>
                      </a:rPr>
                      <a:t>Mittleres</a:t>
                    </a:r>
                    <a:r>
                      <a:rPr lang="en-US" sz="1200" i="0" dirty="0">
                        <a:solidFill>
                          <a:srgbClr val="4D4D4D"/>
                        </a:solidFill>
                        <a:latin typeface="Arial"/>
                        <a:ea typeface="+mn-ea"/>
                        <a:cs typeface="+mn-cs"/>
                      </a:rPr>
                      <a:t> Management</a:t>
                    </a:r>
                    <a:br>
                      <a:rPr lang="en-US" sz="1200" i="0" dirty="0">
                        <a:solidFill>
                          <a:srgbClr val="4D4D4D"/>
                        </a:solidFill>
                        <a:latin typeface="Arial"/>
                        <a:ea typeface="+mn-ea"/>
                        <a:cs typeface="+mn-cs"/>
                      </a:rPr>
                    </a:br>
                    <a:r>
                      <a:rPr lang="en-US" sz="1200" i="0" dirty="0">
                        <a:solidFill>
                          <a:srgbClr val="4D4D4D"/>
                        </a:solidFill>
                        <a:latin typeface="Arial"/>
                        <a:ea typeface="+mn-ea"/>
                        <a:cs typeface="+mn-cs"/>
                      </a:rPr>
                      <a:t>SG 11/12</a:t>
                    </a:r>
                    <a:endParaRPr lang="en-US" sz="1200" dirty="0">
                      <a:solidFill>
                        <a:srgbClr val="4D4D4D"/>
                      </a:solidFill>
                    </a:endParaRPr>
                  </a:p>
                </p:txBody>
              </p:sp>
              <p:sp>
                <p:nvSpPr>
                  <p:cNvPr id="69653" name="Text Box 21"/>
                  <p:cNvSpPr txBox="1">
                    <a:spLocks noChangeArrowheads="1"/>
                  </p:cNvSpPr>
                  <p:nvPr/>
                </p:nvSpPr>
                <p:spPr bwMode="auto">
                  <a:xfrm rot="721166">
                    <a:off x="2143857" y="4218917"/>
                    <a:ext cx="1398138" cy="340511"/>
                  </a:xfrm>
                  <a:prstGeom prst="rect">
                    <a:avLst/>
                  </a:prstGeom>
                  <a:noFill/>
                  <a:ln w="9525" algn="ctr">
                    <a:noFill/>
                    <a:miter lim="800000"/>
                    <a:headEnd/>
                    <a:tailEnd/>
                  </a:ln>
                  <a:effectLst/>
                </p:spPr>
                <p:txBody>
                  <a:bodyPr wrap="square" lIns="80147" tIns="40074" rIns="80147" bIns="40074">
                    <a:noAutofit/>
                  </a:bodyPr>
                  <a:lstStyle/>
                  <a:p>
                    <a:pPr algn="l" defTabSz="914400">
                      <a:buNone/>
                    </a:pPr>
                    <a:r>
                      <a:rPr lang="en-US" sz="1200" b="1" i="0" dirty="0" err="1">
                        <a:solidFill>
                          <a:schemeClr val="tx1">
                            <a:lumMod val="50000"/>
                            <a:lumOff val="50000"/>
                          </a:schemeClr>
                        </a:solidFill>
                        <a:latin typeface="Arial"/>
                        <a:ea typeface="+mn-ea"/>
                        <a:cs typeface="+mn-cs"/>
                      </a:rPr>
                      <a:t>Mitarbeiterebene</a:t>
                    </a:r>
                    <a:endParaRPr lang="en-US" sz="1200" b="1" i="0" dirty="0">
                      <a:solidFill>
                        <a:schemeClr val="tx1">
                          <a:lumMod val="50000"/>
                          <a:lumOff val="50000"/>
                        </a:schemeClr>
                      </a:solidFill>
                      <a:latin typeface="Arial"/>
                      <a:ea typeface="+mn-ea"/>
                      <a:cs typeface="+mn-cs"/>
                    </a:endParaRPr>
                  </a:p>
                </p:txBody>
              </p:sp>
              <p:sp>
                <p:nvSpPr>
                  <p:cNvPr id="2077" name="Line 41"/>
                  <p:cNvSpPr>
                    <a:spLocks noChangeShapeType="1"/>
                  </p:cNvSpPr>
                  <p:nvPr/>
                </p:nvSpPr>
                <p:spPr bwMode="auto">
                  <a:xfrm rot="721166">
                    <a:off x="2105595" y="3457227"/>
                    <a:ext cx="1654255" cy="0"/>
                  </a:xfrm>
                  <a:prstGeom prst="line">
                    <a:avLst/>
                  </a:prstGeom>
                  <a:noFill/>
                  <a:ln w="12700">
                    <a:solidFill>
                      <a:schemeClr val="bg1"/>
                    </a:solidFill>
                    <a:round/>
                    <a:headEnd/>
                    <a:tailEnd/>
                  </a:ln>
                </p:spPr>
                <p:txBody>
                  <a:bodyPr wrap="square" lIns="80147" tIns="40074" rIns="80147" bIns="40074">
                    <a:noAutofit/>
                  </a:bodyPr>
                  <a:lstStyle/>
                  <a:p>
                    <a:endParaRPr lang="de-DE"/>
                  </a:p>
                </p:txBody>
              </p:sp>
              <p:sp>
                <p:nvSpPr>
                  <p:cNvPr id="69678" name="Text Box 46"/>
                  <p:cNvSpPr txBox="1">
                    <a:spLocks noChangeArrowheads="1"/>
                  </p:cNvSpPr>
                  <p:nvPr/>
                </p:nvSpPr>
                <p:spPr bwMode="auto">
                  <a:xfrm rot="4620000">
                    <a:off x="2595337" y="3485621"/>
                    <a:ext cx="2549532" cy="294407"/>
                  </a:xfrm>
                  <a:prstGeom prst="rect">
                    <a:avLst/>
                  </a:prstGeom>
                  <a:noFill/>
                  <a:ln w="9525" algn="ctr">
                    <a:noFill/>
                    <a:miter lim="800000"/>
                    <a:headEnd/>
                    <a:tailEnd/>
                  </a:ln>
                  <a:effectLst/>
                </p:spPr>
                <p:txBody>
                  <a:bodyPr wrap="square" lIns="80147" tIns="40074" rIns="80147" bIns="40074">
                    <a:noAutofit/>
                  </a:bodyPr>
                  <a:lstStyle/>
                  <a:p>
                    <a:pPr algn="ctr" defTabSz="914400">
                      <a:buNone/>
                    </a:pPr>
                    <a:r>
                      <a:rPr lang="en-US" sz="1200" b="1" i="0" dirty="0" err="1">
                        <a:solidFill>
                          <a:srgbClr val="4D4D4D"/>
                        </a:solidFill>
                        <a:latin typeface="Arial"/>
                        <a:ea typeface="+mn-ea"/>
                        <a:cs typeface="+mn-cs"/>
                      </a:rPr>
                      <a:t>Zentrale</a:t>
                    </a:r>
                    <a:r>
                      <a:rPr lang="en-US" sz="1200" b="1" i="0" dirty="0">
                        <a:solidFill>
                          <a:srgbClr val="4D4D4D"/>
                        </a:solidFill>
                        <a:latin typeface="Arial"/>
                        <a:ea typeface="+mn-ea"/>
                        <a:cs typeface="+mn-cs"/>
                      </a:rPr>
                      <a:t> </a:t>
                    </a:r>
                    <a:r>
                      <a:rPr lang="en-US" sz="1200" b="1" i="0" dirty="0" err="1">
                        <a:solidFill>
                          <a:srgbClr val="4D4D4D"/>
                        </a:solidFill>
                        <a:latin typeface="Arial"/>
                        <a:ea typeface="+mn-ea"/>
                        <a:cs typeface="+mn-cs"/>
                      </a:rPr>
                      <a:t>Funktionen</a:t>
                    </a:r>
                    <a:endParaRPr lang="en-US" sz="1200" b="1" i="0" dirty="0">
                      <a:solidFill>
                        <a:srgbClr val="4D4D4D"/>
                      </a:solidFill>
                      <a:latin typeface="Arial"/>
                      <a:ea typeface="+mn-ea"/>
                      <a:cs typeface="+mn-cs"/>
                    </a:endParaRPr>
                  </a:p>
                </p:txBody>
              </p:sp>
              <p:sp>
                <p:nvSpPr>
                  <p:cNvPr id="69679" name="Text Box 47"/>
                  <p:cNvSpPr txBox="1">
                    <a:spLocks noChangeArrowheads="1"/>
                  </p:cNvSpPr>
                  <p:nvPr/>
                </p:nvSpPr>
                <p:spPr bwMode="auto">
                  <a:xfrm rot="18421973">
                    <a:off x="1557620" y="2806656"/>
                    <a:ext cx="1318960" cy="296374"/>
                  </a:xfrm>
                  <a:prstGeom prst="rect">
                    <a:avLst/>
                  </a:prstGeom>
                  <a:noFill/>
                  <a:ln w="9525" algn="ctr">
                    <a:noFill/>
                    <a:miter lim="800000"/>
                    <a:headEnd/>
                    <a:tailEnd/>
                  </a:ln>
                  <a:effectLst/>
                </p:spPr>
                <p:txBody>
                  <a:bodyPr wrap="square" lIns="80147" tIns="40074" rIns="80147" bIns="40074">
                    <a:noAutofit/>
                  </a:bodyPr>
                  <a:lstStyle/>
                  <a:p>
                    <a:pPr algn="l" defTabSz="914400">
                      <a:buNone/>
                    </a:pPr>
                    <a:r>
                      <a:rPr lang="en-US" sz="1200" b="1" i="0" dirty="0" err="1">
                        <a:solidFill>
                          <a:srgbClr val="4D4D4D"/>
                        </a:solidFill>
                        <a:latin typeface="Arial"/>
                        <a:ea typeface="+mn-ea"/>
                        <a:cs typeface="+mn-cs"/>
                      </a:rPr>
                      <a:t>Regionen</a:t>
                    </a:r>
                    <a:endParaRPr lang="en-US" sz="1200" b="1" i="0" dirty="0">
                      <a:solidFill>
                        <a:srgbClr val="4D4D4D"/>
                      </a:solidFill>
                      <a:latin typeface="Arial"/>
                      <a:ea typeface="+mn-ea"/>
                      <a:cs typeface="+mn-cs"/>
                    </a:endParaRPr>
                  </a:p>
                </p:txBody>
              </p:sp>
              <p:sp>
                <p:nvSpPr>
                  <p:cNvPr id="44" name="Line 41"/>
                  <p:cNvSpPr>
                    <a:spLocks noChangeShapeType="1"/>
                  </p:cNvSpPr>
                  <p:nvPr/>
                </p:nvSpPr>
                <p:spPr bwMode="auto">
                  <a:xfrm rot="721166">
                    <a:off x="1700022" y="4119742"/>
                    <a:ext cx="2214547" cy="24614"/>
                  </a:xfrm>
                  <a:prstGeom prst="line">
                    <a:avLst/>
                  </a:prstGeom>
                  <a:noFill/>
                  <a:ln w="12700">
                    <a:solidFill>
                      <a:schemeClr val="bg1"/>
                    </a:solidFill>
                    <a:round/>
                    <a:headEnd/>
                    <a:tailEnd/>
                  </a:ln>
                </p:spPr>
                <p:txBody>
                  <a:bodyPr wrap="square" lIns="80147" tIns="40074" rIns="80147" bIns="40074">
                    <a:noAutofit/>
                  </a:bodyPr>
                  <a:lstStyle/>
                  <a:p>
                    <a:endParaRPr lang="de-DE"/>
                  </a:p>
                </p:txBody>
              </p:sp>
              <p:sp>
                <p:nvSpPr>
                  <p:cNvPr id="45" name="Line 41"/>
                  <p:cNvSpPr>
                    <a:spLocks noChangeShapeType="1"/>
                  </p:cNvSpPr>
                  <p:nvPr/>
                </p:nvSpPr>
                <p:spPr bwMode="auto">
                  <a:xfrm rot="721166" flipV="1">
                    <a:off x="2474029" y="2936601"/>
                    <a:ext cx="1132089" cy="0"/>
                  </a:xfrm>
                  <a:prstGeom prst="line">
                    <a:avLst/>
                  </a:prstGeom>
                  <a:noFill/>
                  <a:ln w="12700">
                    <a:solidFill>
                      <a:schemeClr val="bg1"/>
                    </a:solidFill>
                    <a:round/>
                    <a:headEnd/>
                    <a:tailEnd/>
                  </a:ln>
                </p:spPr>
                <p:txBody>
                  <a:bodyPr wrap="square" lIns="80147" tIns="40074" rIns="80147" bIns="40074">
                    <a:noAutofit/>
                  </a:bodyPr>
                  <a:lstStyle/>
                  <a:p>
                    <a:endParaRPr lang="de-DE"/>
                  </a:p>
                </p:txBody>
              </p:sp>
              <p:sp>
                <p:nvSpPr>
                  <p:cNvPr id="51" name="Line 22"/>
                  <p:cNvSpPr>
                    <a:spLocks noChangeShapeType="1"/>
                  </p:cNvSpPr>
                  <p:nvPr/>
                </p:nvSpPr>
                <p:spPr bwMode="auto">
                  <a:xfrm rot="721166">
                    <a:off x="2991649" y="1200577"/>
                    <a:ext cx="1800298" cy="3960395"/>
                  </a:xfrm>
                  <a:prstGeom prst="line">
                    <a:avLst/>
                  </a:prstGeom>
                  <a:noFill/>
                  <a:ln w="38100">
                    <a:solidFill>
                      <a:schemeClr val="bg1"/>
                    </a:solidFill>
                    <a:round/>
                    <a:headEnd/>
                    <a:tailEnd/>
                  </a:ln>
                </p:spPr>
                <p:txBody>
                  <a:bodyPr wrap="square" lIns="80147" tIns="40074" rIns="80147" bIns="40074">
                    <a:noAutofit/>
                  </a:bodyPr>
                  <a:lstStyle/>
                  <a:p>
                    <a:endParaRPr lang="de-DE"/>
                  </a:p>
                </p:txBody>
              </p:sp>
              <p:sp>
                <p:nvSpPr>
                  <p:cNvPr id="52" name="Line 22"/>
                  <p:cNvSpPr>
                    <a:spLocks noChangeShapeType="1"/>
                  </p:cNvSpPr>
                  <p:nvPr/>
                </p:nvSpPr>
                <p:spPr bwMode="auto">
                  <a:xfrm rot="721166">
                    <a:off x="858879" y="4881490"/>
                    <a:ext cx="3545557" cy="54954"/>
                  </a:xfrm>
                  <a:prstGeom prst="line">
                    <a:avLst/>
                  </a:prstGeom>
                  <a:noFill/>
                  <a:ln w="38100">
                    <a:solidFill>
                      <a:schemeClr val="bg1"/>
                    </a:solidFill>
                    <a:round/>
                    <a:headEnd/>
                    <a:tailEnd/>
                  </a:ln>
                </p:spPr>
                <p:txBody>
                  <a:bodyPr wrap="square" lIns="80147" tIns="40074" rIns="80147" bIns="40074">
                    <a:noAutofit/>
                  </a:bodyPr>
                  <a:lstStyle/>
                  <a:p>
                    <a:endParaRPr lang="de-DE"/>
                  </a:p>
                </p:txBody>
              </p:sp>
            </p:grpSp>
          </p:grpSp>
        </p:grpSp>
      </p:grpSp>
      <p:sp>
        <p:nvSpPr>
          <p:cNvPr id="37" name="Textfeld 36"/>
          <p:cNvSpPr txBox="1"/>
          <p:nvPr/>
        </p:nvSpPr>
        <p:spPr>
          <a:xfrm>
            <a:off x="323528" y="5589240"/>
            <a:ext cx="3073277" cy="246221"/>
          </a:xfrm>
          <a:prstGeom prst="rect">
            <a:avLst/>
          </a:prstGeom>
          <a:noFill/>
        </p:spPr>
        <p:txBody>
          <a:bodyPr wrap="square" rtlCol="0">
            <a:noAutofit/>
          </a:bodyPr>
          <a:lstStyle/>
          <a:p>
            <a:pPr algn="l" defTabSz="914400">
              <a:buNone/>
            </a:pPr>
            <a:r>
              <a:rPr lang="de-DE" sz="1000" b="0" i="0" dirty="0">
                <a:solidFill>
                  <a:schemeClr val="tx1"/>
                </a:solidFill>
                <a:latin typeface="Arial"/>
                <a:ea typeface="+mn-ea"/>
                <a:cs typeface="+mn-cs"/>
              </a:rPr>
              <a:t>Quelle: Unternehmenskommunikation/Personalwesen</a:t>
            </a:r>
            <a:endParaRPr lang="de-DE" sz="1000" dirty="0"/>
          </a:p>
        </p:txBody>
      </p:sp>
      <p:sp>
        <p:nvSpPr>
          <p:cNvPr id="39" name="Ovale Legende 38"/>
          <p:cNvSpPr/>
          <p:nvPr/>
        </p:nvSpPr>
        <p:spPr>
          <a:xfrm>
            <a:off x="5148064" y="1124744"/>
            <a:ext cx="3672408" cy="1512168"/>
          </a:xfrm>
          <a:prstGeom prst="wedgeEllipseCallout">
            <a:avLst/>
          </a:prstGeom>
          <a:ln/>
        </p:spPr>
        <p:style>
          <a:lnRef idx="3">
            <a:schemeClr val="lt1"/>
          </a:lnRef>
          <a:fillRef idx="1">
            <a:schemeClr val="accent4"/>
          </a:fillRef>
          <a:effectRef idx="1">
            <a:schemeClr val="accent4"/>
          </a:effectRef>
          <a:fontRef idx="minor">
            <a:schemeClr val="lt1"/>
          </a:fontRef>
        </p:style>
        <p:txBody>
          <a:bodyPr wrap="square" lIns="36000" rIns="36000" rtlCol="0" anchor="ctr">
            <a:noAutofit/>
          </a:bodyPr>
          <a:lstStyle/>
          <a:p>
            <a:pPr algn="ctr" defTabSz="995324">
              <a:buNone/>
            </a:pPr>
            <a:r>
              <a:rPr lang="en-US" sz="1300" b="0" i="0" dirty="0" smtClean="0">
                <a:solidFill>
                  <a:srgbClr val="000000"/>
                </a:solidFill>
                <a:ea typeface="+mn-ea"/>
                <a:cs typeface="+mn-cs"/>
              </a:rPr>
              <a:t> </a:t>
            </a:r>
            <a:r>
              <a:rPr lang="en-US" sz="1300" b="1" i="1" dirty="0" smtClean="0">
                <a:solidFill>
                  <a:schemeClr val="tx1">
                    <a:lumMod val="75000"/>
                    <a:lumOff val="25000"/>
                  </a:schemeClr>
                </a:solidFill>
                <a:ea typeface="+mn-ea"/>
                <a:cs typeface="+mn-cs"/>
              </a:rPr>
              <a:t>„</a:t>
            </a:r>
            <a:r>
              <a:rPr lang="en-US" sz="1300" b="1" i="1" dirty="0" err="1">
                <a:solidFill>
                  <a:schemeClr val="tx1">
                    <a:lumMod val="75000"/>
                    <a:lumOff val="25000"/>
                  </a:schemeClr>
                </a:solidFill>
                <a:ea typeface="+mn-ea"/>
                <a:cs typeface="+mn-cs"/>
              </a:rPr>
              <a:t>Mit</a:t>
            </a:r>
            <a:r>
              <a:rPr lang="en-US" sz="1300" b="1" i="1" dirty="0">
                <a:solidFill>
                  <a:schemeClr val="tx1">
                    <a:lumMod val="75000"/>
                    <a:lumOff val="25000"/>
                  </a:schemeClr>
                </a:solidFill>
                <a:ea typeface="+mn-ea"/>
                <a:cs typeface="+mn-cs"/>
              </a:rPr>
              <a:t> </a:t>
            </a:r>
            <a:r>
              <a:rPr lang="en-US" sz="1300" b="1" i="1" dirty="0" smtClean="0">
                <a:solidFill>
                  <a:schemeClr val="tx1">
                    <a:lumMod val="75000"/>
                    <a:lumOff val="25000"/>
                  </a:schemeClr>
                </a:solidFill>
              </a:rPr>
              <a:t>ConNext</a:t>
            </a:r>
            <a:r>
              <a:rPr lang="en-US" sz="1300" b="1" dirty="0" smtClean="0">
                <a:solidFill>
                  <a:schemeClr val="tx1">
                    <a:lumMod val="75000"/>
                    <a:lumOff val="25000"/>
                  </a:schemeClr>
                </a:solidFill>
              </a:rPr>
              <a:t> </a:t>
            </a:r>
            <a:r>
              <a:rPr lang="en-US" sz="1300" b="1" i="1" dirty="0" err="1" smtClean="0">
                <a:solidFill>
                  <a:schemeClr val="tx1">
                    <a:lumMod val="75000"/>
                    <a:lumOff val="25000"/>
                  </a:schemeClr>
                </a:solidFill>
                <a:ea typeface="+mn-ea"/>
                <a:cs typeface="+mn-cs"/>
              </a:rPr>
              <a:t>schaffen</a:t>
            </a:r>
            <a:r>
              <a:rPr lang="en-US" sz="1300" b="1" i="1" dirty="0" smtClean="0">
                <a:solidFill>
                  <a:schemeClr val="tx1">
                    <a:lumMod val="75000"/>
                    <a:lumOff val="25000"/>
                  </a:schemeClr>
                </a:solidFill>
                <a:ea typeface="+mn-ea"/>
                <a:cs typeface="+mn-cs"/>
              </a:rPr>
              <a:t> </a:t>
            </a:r>
            <a:r>
              <a:rPr lang="en-US" sz="1300" b="1" i="1" dirty="0" err="1">
                <a:solidFill>
                  <a:schemeClr val="tx1">
                    <a:lumMod val="75000"/>
                    <a:lumOff val="25000"/>
                  </a:schemeClr>
                </a:solidFill>
                <a:ea typeface="+mn-ea"/>
                <a:cs typeface="+mn-cs"/>
              </a:rPr>
              <a:t>wir</a:t>
            </a:r>
            <a:r>
              <a:rPr lang="en-US" sz="1300" b="1" i="1" dirty="0">
                <a:solidFill>
                  <a:schemeClr val="tx1">
                    <a:lumMod val="75000"/>
                    <a:lumOff val="25000"/>
                  </a:schemeClr>
                </a:solidFill>
                <a:ea typeface="+mn-ea"/>
                <a:cs typeface="+mn-cs"/>
              </a:rPr>
              <a:t> die </a:t>
            </a:r>
            <a:r>
              <a:rPr lang="en-US" sz="1300" b="1" i="1" dirty="0" err="1">
                <a:solidFill>
                  <a:schemeClr val="tx1">
                    <a:lumMod val="75000"/>
                    <a:lumOff val="25000"/>
                  </a:schemeClr>
                </a:solidFill>
                <a:ea typeface="+mn-ea"/>
                <a:cs typeface="+mn-cs"/>
              </a:rPr>
              <a:t>Rahmenbedingungen</a:t>
            </a:r>
            <a:r>
              <a:rPr lang="en-US" sz="1300" b="1" i="1" dirty="0">
                <a:solidFill>
                  <a:schemeClr val="tx1">
                    <a:lumMod val="75000"/>
                    <a:lumOff val="25000"/>
                  </a:schemeClr>
                </a:solidFill>
                <a:ea typeface="+mn-ea"/>
                <a:cs typeface="+mn-cs"/>
              </a:rPr>
              <a:t>, die </a:t>
            </a:r>
            <a:r>
              <a:rPr lang="en-US" sz="1300" b="1" i="1" dirty="0" err="1">
                <a:solidFill>
                  <a:schemeClr val="tx1">
                    <a:lumMod val="75000"/>
                    <a:lumOff val="25000"/>
                  </a:schemeClr>
                </a:solidFill>
                <a:ea typeface="+mn-ea"/>
                <a:cs typeface="+mn-cs"/>
              </a:rPr>
              <a:t>unsere</a:t>
            </a:r>
            <a:r>
              <a:rPr lang="en-US" sz="1300" b="1" i="1" dirty="0">
                <a:solidFill>
                  <a:schemeClr val="tx1">
                    <a:lumMod val="75000"/>
                    <a:lumOff val="25000"/>
                  </a:schemeClr>
                </a:solidFill>
                <a:ea typeface="+mn-ea"/>
                <a:cs typeface="+mn-cs"/>
              </a:rPr>
              <a:t> </a:t>
            </a:r>
            <a:r>
              <a:rPr lang="en-US" sz="1300" b="1" i="1" dirty="0" err="1">
                <a:solidFill>
                  <a:schemeClr val="tx1">
                    <a:lumMod val="75000"/>
                    <a:lumOff val="25000"/>
                  </a:schemeClr>
                </a:solidFill>
                <a:ea typeface="+mn-ea"/>
                <a:cs typeface="+mn-cs"/>
              </a:rPr>
              <a:t>Netzwerkkultur</a:t>
            </a:r>
            <a:r>
              <a:rPr lang="en-US" sz="1300" b="1" i="1" dirty="0">
                <a:solidFill>
                  <a:schemeClr val="tx1">
                    <a:lumMod val="75000"/>
                    <a:lumOff val="25000"/>
                  </a:schemeClr>
                </a:solidFill>
                <a:ea typeface="+mn-ea"/>
                <a:cs typeface="+mn-cs"/>
              </a:rPr>
              <a:t> </a:t>
            </a:r>
            <a:r>
              <a:rPr lang="en-US" sz="1300" b="1" i="1" dirty="0" err="1">
                <a:solidFill>
                  <a:schemeClr val="tx1">
                    <a:lumMod val="75000"/>
                    <a:lumOff val="25000"/>
                  </a:schemeClr>
                </a:solidFill>
                <a:ea typeface="+mn-ea"/>
                <a:cs typeface="+mn-cs"/>
              </a:rPr>
              <a:t>fördern</a:t>
            </a:r>
            <a:r>
              <a:rPr lang="en-US" sz="1300" b="1" i="1" dirty="0">
                <a:solidFill>
                  <a:schemeClr val="tx1">
                    <a:lumMod val="75000"/>
                    <a:lumOff val="25000"/>
                  </a:schemeClr>
                </a:solidFill>
                <a:ea typeface="+mn-ea"/>
                <a:cs typeface="+mn-cs"/>
              </a:rPr>
              <a:t> (</a:t>
            </a:r>
            <a:r>
              <a:rPr lang="en-US" sz="1300" b="1" i="1" dirty="0" err="1">
                <a:solidFill>
                  <a:schemeClr val="tx1">
                    <a:lumMod val="75000"/>
                    <a:lumOff val="25000"/>
                  </a:schemeClr>
                </a:solidFill>
                <a:ea typeface="+mn-ea"/>
                <a:cs typeface="+mn-cs"/>
              </a:rPr>
              <a:t>Systeme</a:t>
            </a:r>
            <a:r>
              <a:rPr lang="en-US" sz="1300" b="1" i="1" dirty="0">
                <a:solidFill>
                  <a:schemeClr val="tx1">
                    <a:lumMod val="75000"/>
                    <a:lumOff val="25000"/>
                  </a:schemeClr>
                </a:solidFill>
                <a:ea typeface="+mn-ea"/>
                <a:cs typeface="+mn-cs"/>
              </a:rPr>
              <a:t>, Tools, </a:t>
            </a:r>
            <a:r>
              <a:rPr lang="en-US" sz="1300" b="1" i="1" dirty="0" err="1">
                <a:solidFill>
                  <a:schemeClr val="tx1">
                    <a:lumMod val="75000"/>
                    <a:lumOff val="25000"/>
                  </a:schemeClr>
                </a:solidFill>
                <a:ea typeface="+mn-ea"/>
                <a:cs typeface="+mn-cs"/>
              </a:rPr>
              <a:t>Prozesse</a:t>
            </a:r>
            <a:r>
              <a:rPr lang="en-US" sz="1300" b="1" i="1" dirty="0">
                <a:solidFill>
                  <a:schemeClr val="tx1">
                    <a:lumMod val="75000"/>
                    <a:lumOff val="25000"/>
                  </a:schemeClr>
                </a:solidFill>
                <a:ea typeface="+mn-ea"/>
                <a:cs typeface="+mn-cs"/>
              </a:rPr>
              <a:t>).“</a:t>
            </a:r>
            <a:endParaRPr lang="en-US" sz="1300" b="1" dirty="0" smtClean="0">
              <a:solidFill>
                <a:schemeClr val="tx1">
                  <a:lumMod val="75000"/>
                  <a:lumOff val="25000"/>
                </a:schemeClr>
              </a:solidFill>
            </a:endParaRPr>
          </a:p>
        </p:txBody>
      </p:sp>
      <p:grpSp>
        <p:nvGrpSpPr>
          <p:cNvPr id="53" name="Gruppieren 34"/>
          <p:cNvGrpSpPr/>
          <p:nvPr>
            <p:custDataLst>
              <p:tags r:id="rId1"/>
            </p:custDataLst>
          </p:nvPr>
        </p:nvGrpSpPr>
        <p:grpSpPr>
          <a:xfrm>
            <a:off x="179512" y="3933056"/>
            <a:ext cx="2160240" cy="1728192"/>
            <a:chOff x="3128576" y="2564899"/>
            <a:chExt cx="2307520" cy="1920807"/>
          </a:xfrm>
        </p:grpSpPr>
        <p:grpSp>
          <p:nvGrpSpPr>
            <p:cNvPr id="54" name="Gruppieren 19"/>
            <p:cNvGrpSpPr/>
            <p:nvPr/>
          </p:nvGrpSpPr>
          <p:grpSpPr>
            <a:xfrm>
              <a:off x="3851921" y="2564899"/>
              <a:ext cx="446793" cy="731248"/>
              <a:chOff x="1037032" y="2818028"/>
              <a:chExt cx="719938" cy="1178299"/>
            </a:xfrm>
          </p:grpSpPr>
          <p:sp>
            <p:nvSpPr>
              <p:cNvPr id="63" name="Ellipse 4"/>
              <p:cNvSpPr/>
              <p:nvPr/>
            </p:nvSpPr>
            <p:spPr>
              <a:xfrm>
                <a:off x="1037032" y="3837847"/>
                <a:ext cx="719938" cy="158480"/>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9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4" name="Freeform 11"/>
              <p:cNvSpPr>
                <a:spLocks noEditPoints="1"/>
              </p:cNvSpPr>
              <p:nvPr/>
            </p:nvSpPr>
            <p:spPr bwMode="auto">
              <a:xfrm>
                <a:off x="1226786" y="2818028"/>
                <a:ext cx="318435" cy="1103859"/>
              </a:xfrm>
              <a:custGeom>
                <a:avLst/>
                <a:gdLst>
                  <a:gd name="T0" fmla="*/ 762 w 834"/>
                  <a:gd name="T1" fmla="*/ 549 h 2898"/>
                  <a:gd name="T2" fmla="*/ 651 w 834"/>
                  <a:gd name="T3" fmla="*/ 486 h 2898"/>
                  <a:gd name="T4" fmla="*/ 515 w 834"/>
                  <a:gd name="T5" fmla="*/ 358 h 2898"/>
                  <a:gd name="T6" fmla="*/ 539 w 834"/>
                  <a:gd name="T7" fmla="*/ 272 h 2898"/>
                  <a:gd name="T8" fmla="*/ 575 w 834"/>
                  <a:gd name="T9" fmla="*/ 211 h 2898"/>
                  <a:gd name="T10" fmla="*/ 555 w 834"/>
                  <a:gd name="T11" fmla="*/ 133 h 2898"/>
                  <a:gd name="T12" fmla="*/ 525 w 834"/>
                  <a:gd name="T13" fmla="*/ 38 h 2898"/>
                  <a:gd name="T14" fmla="*/ 405 w 834"/>
                  <a:gd name="T15" fmla="*/ 4 h 2898"/>
                  <a:gd name="T16" fmla="*/ 304 w 834"/>
                  <a:gd name="T17" fmla="*/ 77 h 2898"/>
                  <a:gd name="T18" fmla="*/ 302 w 834"/>
                  <a:gd name="T19" fmla="*/ 161 h 2898"/>
                  <a:gd name="T20" fmla="*/ 283 w 834"/>
                  <a:gd name="T21" fmla="*/ 182 h 2898"/>
                  <a:gd name="T22" fmla="*/ 317 w 834"/>
                  <a:gd name="T23" fmla="*/ 256 h 2898"/>
                  <a:gd name="T24" fmla="*/ 326 w 834"/>
                  <a:gd name="T25" fmla="*/ 315 h 2898"/>
                  <a:gd name="T26" fmla="*/ 336 w 834"/>
                  <a:gd name="T27" fmla="*/ 379 h 2898"/>
                  <a:gd name="T28" fmla="*/ 97 w 834"/>
                  <a:gd name="T29" fmla="*/ 544 h 2898"/>
                  <a:gd name="T30" fmla="*/ 49 w 834"/>
                  <a:gd name="T31" fmla="*/ 723 h 2898"/>
                  <a:gd name="T32" fmla="*/ 9 w 834"/>
                  <a:gd name="T33" fmla="*/ 1141 h 2898"/>
                  <a:gd name="T34" fmla="*/ 0 w 834"/>
                  <a:gd name="T35" fmla="*/ 1287 h 2898"/>
                  <a:gd name="T36" fmla="*/ 6 w 834"/>
                  <a:gd name="T37" fmla="*/ 1385 h 2898"/>
                  <a:gd name="T38" fmla="*/ 3 w 834"/>
                  <a:gd name="T39" fmla="*/ 1466 h 2898"/>
                  <a:gd name="T40" fmla="*/ 20 w 834"/>
                  <a:gd name="T41" fmla="*/ 1481 h 2898"/>
                  <a:gd name="T42" fmla="*/ 48 w 834"/>
                  <a:gd name="T43" fmla="*/ 1655 h 2898"/>
                  <a:gd name="T44" fmla="*/ 113 w 834"/>
                  <a:gd name="T45" fmla="*/ 1691 h 2898"/>
                  <a:gd name="T46" fmla="*/ 174 w 834"/>
                  <a:gd name="T47" fmla="*/ 1936 h 2898"/>
                  <a:gd name="T48" fmla="*/ 192 w 834"/>
                  <a:gd name="T49" fmla="*/ 2448 h 2898"/>
                  <a:gd name="T50" fmla="*/ 216 w 834"/>
                  <a:gd name="T51" fmla="*/ 2672 h 2898"/>
                  <a:gd name="T52" fmla="*/ 233 w 834"/>
                  <a:gd name="T53" fmla="*/ 2757 h 2898"/>
                  <a:gd name="T54" fmla="*/ 206 w 834"/>
                  <a:gd name="T55" fmla="*/ 2804 h 2898"/>
                  <a:gd name="T56" fmla="*/ 147 w 834"/>
                  <a:gd name="T57" fmla="*/ 2844 h 2898"/>
                  <a:gd name="T58" fmla="*/ 243 w 834"/>
                  <a:gd name="T59" fmla="*/ 2885 h 2898"/>
                  <a:gd name="T60" fmla="*/ 344 w 834"/>
                  <a:gd name="T61" fmla="*/ 2866 h 2898"/>
                  <a:gd name="T62" fmla="*/ 379 w 834"/>
                  <a:gd name="T63" fmla="*/ 2858 h 2898"/>
                  <a:gd name="T64" fmla="*/ 424 w 834"/>
                  <a:gd name="T65" fmla="*/ 2808 h 2898"/>
                  <a:gd name="T66" fmla="*/ 400 w 834"/>
                  <a:gd name="T67" fmla="*/ 2349 h 2898"/>
                  <a:gd name="T68" fmla="*/ 366 w 834"/>
                  <a:gd name="T69" fmla="*/ 2182 h 2898"/>
                  <a:gd name="T70" fmla="*/ 370 w 834"/>
                  <a:gd name="T71" fmla="*/ 1944 h 2898"/>
                  <a:gd name="T72" fmla="*/ 408 w 834"/>
                  <a:gd name="T73" fmla="*/ 1630 h 2898"/>
                  <a:gd name="T74" fmla="*/ 440 w 834"/>
                  <a:gd name="T75" fmla="*/ 1670 h 2898"/>
                  <a:gd name="T76" fmla="*/ 501 w 834"/>
                  <a:gd name="T77" fmla="*/ 2025 h 2898"/>
                  <a:gd name="T78" fmla="*/ 539 w 834"/>
                  <a:gd name="T79" fmla="*/ 2293 h 2898"/>
                  <a:gd name="T80" fmla="*/ 594 w 834"/>
                  <a:gd name="T81" fmla="*/ 2768 h 2898"/>
                  <a:gd name="T82" fmla="*/ 579 w 834"/>
                  <a:gd name="T83" fmla="*/ 2847 h 2898"/>
                  <a:gd name="T84" fmla="*/ 621 w 834"/>
                  <a:gd name="T85" fmla="*/ 2882 h 2898"/>
                  <a:gd name="T86" fmla="*/ 794 w 834"/>
                  <a:gd name="T87" fmla="*/ 2880 h 2898"/>
                  <a:gd name="T88" fmla="*/ 740 w 834"/>
                  <a:gd name="T89" fmla="*/ 2783 h 2898"/>
                  <a:gd name="T90" fmla="*/ 749 w 834"/>
                  <a:gd name="T91" fmla="*/ 2744 h 2898"/>
                  <a:gd name="T92" fmla="*/ 743 w 834"/>
                  <a:gd name="T93" fmla="*/ 2510 h 2898"/>
                  <a:gd name="T94" fmla="*/ 728 w 834"/>
                  <a:gd name="T95" fmla="*/ 2128 h 2898"/>
                  <a:gd name="T96" fmla="*/ 812 w 834"/>
                  <a:gd name="T97" fmla="*/ 1615 h 2898"/>
                  <a:gd name="T98" fmla="*/ 834 w 834"/>
                  <a:gd name="T99" fmla="*/ 1226 h 2898"/>
                  <a:gd name="T100" fmla="*/ 799 w 834"/>
                  <a:gd name="T101" fmla="*/ 712 h 2898"/>
                  <a:gd name="T102" fmla="*/ 123 w 834"/>
                  <a:gd name="T103" fmla="*/ 1615 h 2898"/>
                  <a:gd name="T104" fmla="*/ 169 w 834"/>
                  <a:gd name="T105" fmla="*/ 1207 h 2898"/>
                  <a:gd name="T106" fmla="*/ 128 w 834"/>
                  <a:gd name="T107" fmla="*/ 1418 h 2898"/>
                  <a:gd name="T108" fmla="*/ 125 w 834"/>
                  <a:gd name="T109" fmla="*/ 1327 h 2898"/>
                  <a:gd name="T110" fmla="*/ 168 w 834"/>
                  <a:gd name="T111" fmla="*/ 1015 h 2898"/>
                  <a:gd name="T112" fmla="*/ 181 w 834"/>
                  <a:gd name="T113" fmla="*/ 991 h 2898"/>
                  <a:gd name="T114" fmla="*/ 668 w 834"/>
                  <a:gd name="T115" fmla="*/ 1159 h 2898"/>
                  <a:gd name="T116" fmla="*/ 682 w 834"/>
                  <a:gd name="T117" fmla="*/ 920 h 2898"/>
                  <a:gd name="T118" fmla="*/ 719 w 834"/>
                  <a:gd name="T119" fmla="*/ 1402 h 2898"/>
                  <a:gd name="T120" fmla="*/ 679 w 834"/>
                  <a:gd name="T121" fmla="*/ 1260 h 2898"/>
                  <a:gd name="T122" fmla="*/ 712 w 834"/>
                  <a:gd name="T123" fmla="*/ 1551 h 289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34"/>
                  <a:gd name="T187" fmla="*/ 0 h 2898"/>
                  <a:gd name="T188" fmla="*/ 834 w 834"/>
                  <a:gd name="T189" fmla="*/ 2898 h 2898"/>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34" h="2898">
                    <a:moveTo>
                      <a:pt x="799" y="712"/>
                    </a:moveTo>
                    <a:lnTo>
                      <a:pt x="799" y="712"/>
                    </a:lnTo>
                    <a:lnTo>
                      <a:pt x="784" y="621"/>
                    </a:lnTo>
                    <a:lnTo>
                      <a:pt x="780" y="600"/>
                    </a:lnTo>
                    <a:lnTo>
                      <a:pt x="775" y="581"/>
                    </a:lnTo>
                    <a:lnTo>
                      <a:pt x="770" y="565"/>
                    </a:lnTo>
                    <a:lnTo>
                      <a:pt x="762" y="549"/>
                    </a:lnTo>
                    <a:lnTo>
                      <a:pt x="757" y="542"/>
                    </a:lnTo>
                    <a:lnTo>
                      <a:pt x="749" y="534"/>
                    </a:lnTo>
                    <a:lnTo>
                      <a:pt x="738" y="526"/>
                    </a:lnTo>
                    <a:lnTo>
                      <a:pt x="724" y="517"/>
                    </a:lnTo>
                    <a:lnTo>
                      <a:pt x="708" y="509"/>
                    </a:lnTo>
                    <a:lnTo>
                      <a:pt x="690" y="501"/>
                    </a:lnTo>
                    <a:lnTo>
                      <a:pt x="671" y="493"/>
                    </a:lnTo>
                    <a:lnTo>
                      <a:pt x="651" y="486"/>
                    </a:lnTo>
                    <a:lnTo>
                      <a:pt x="611" y="464"/>
                    </a:lnTo>
                    <a:lnTo>
                      <a:pt x="573" y="442"/>
                    </a:lnTo>
                    <a:lnTo>
                      <a:pt x="541" y="422"/>
                    </a:lnTo>
                    <a:lnTo>
                      <a:pt x="520" y="411"/>
                    </a:lnTo>
                    <a:lnTo>
                      <a:pt x="515" y="373"/>
                    </a:lnTo>
                    <a:lnTo>
                      <a:pt x="515" y="358"/>
                    </a:lnTo>
                    <a:lnTo>
                      <a:pt x="517" y="352"/>
                    </a:lnTo>
                    <a:lnTo>
                      <a:pt x="520" y="346"/>
                    </a:lnTo>
                    <a:lnTo>
                      <a:pt x="528" y="331"/>
                    </a:lnTo>
                    <a:lnTo>
                      <a:pt x="535" y="314"/>
                    </a:lnTo>
                    <a:lnTo>
                      <a:pt x="538" y="294"/>
                    </a:lnTo>
                    <a:lnTo>
                      <a:pt x="539" y="272"/>
                    </a:lnTo>
                    <a:lnTo>
                      <a:pt x="555" y="269"/>
                    </a:lnTo>
                    <a:lnTo>
                      <a:pt x="559" y="267"/>
                    </a:lnTo>
                    <a:lnTo>
                      <a:pt x="563" y="262"/>
                    </a:lnTo>
                    <a:lnTo>
                      <a:pt x="568" y="253"/>
                    </a:lnTo>
                    <a:lnTo>
                      <a:pt x="571" y="240"/>
                    </a:lnTo>
                    <a:lnTo>
                      <a:pt x="575" y="225"/>
                    </a:lnTo>
                    <a:lnTo>
                      <a:pt x="575" y="211"/>
                    </a:lnTo>
                    <a:lnTo>
                      <a:pt x="573" y="197"/>
                    </a:lnTo>
                    <a:lnTo>
                      <a:pt x="571" y="184"/>
                    </a:lnTo>
                    <a:lnTo>
                      <a:pt x="568" y="179"/>
                    </a:lnTo>
                    <a:lnTo>
                      <a:pt x="567" y="176"/>
                    </a:lnTo>
                    <a:lnTo>
                      <a:pt x="563" y="174"/>
                    </a:lnTo>
                    <a:lnTo>
                      <a:pt x="560" y="174"/>
                    </a:lnTo>
                    <a:lnTo>
                      <a:pt x="555" y="133"/>
                    </a:lnTo>
                    <a:lnTo>
                      <a:pt x="554" y="112"/>
                    </a:lnTo>
                    <a:lnTo>
                      <a:pt x="551" y="91"/>
                    </a:lnTo>
                    <a:lnTo>
                      <a:pt x="546" y="73"/>
                    </a:lnTo>
                    <a:lnTo>
                      <a:pt x="541" y="57"/>
                    </a:lnTo>
                    <a:lnTo>
                      <a:pt x="533" y="46"/>
                    </a:lnTo>
                    <a:lnTo>
                      <a:pt x="530" y="41"/>
                    </a:lnTo>
                    <a:lnTo>
                      <a:pt x="525" y="38"/>
                    </a:lnTo>
                    <a:lnTo>
                      <a:pt x="514" y="25"/>
                    </a:lnTo>
                    <a:lnTo>
                      <a:pt x="499" y="16"/>
                    </a:lnTo>
                    <a:lnTo>
                      <a:pt x="487" y="8"/>
                    </a:lnTo>
                    <a:lnTo>
                      <a:pt x="471" y="3"/>
                    </a:lnTo>
                    <a:lnTo>
                      <a:pt x="454" y="1"/>
                    </a:lnTo>
                    <a:lnTo>
                      <a:pt x="438" y="0"/>
                    </a:lnTo>
                    <a:lnTo>
                      <a:pt x="421" y="1"/>
                    </a:lnTo>
                    <a:lnTo>
                      <a:pt x="405" y="4"/>
                    </a:lnTo>
                    <a:lnTo>
                      <a:pt x="389" y="9"/>
                    </a:lnTo>
                    <a:lnTo>
                      <a:pt x="373" y="16"/>
                    </a:lnTo>
                    <a:lnTo>
                      <a:pt x="357" y="24"/>
                    </a:lnTo>
                    <a:lnTo>
                      <a:pt x="344" y="33"/>
                    </a:lnTo>
                    <a:lnTo>
                      <a:pt x="331" y="43"/>
                    </a:lnTo>
                    <a:lnTo>
                      <a:pt x="320" y="54"/>
                    </a:lnTo>
                    <a:lnTo>
                      <a:pt x="312" y="65"/>
                    </a:lnTo>
                    <a:lnTo>
                      <a:pt x="304" y="77"/>
                    </a:lnTo>
                    <a:lnTo>
                      <a:pt x="301" y="88"/>
                    </a:lnTo>
                    <a:lnTo>
                      <a:pt x="299" y="97"/>
                    </a:lnTo>
                    <a:lnTo>
                      <a:pt x="299" y="109"/>
                    </a:lnTo>
                    <a:lnTo>
                      <a:pt x="301" y="121"/>
                    </a:lnTo>
                    <a:lnTo>
                      <a:pt x="302" y="142"/>
                    </a:lnTo>
                    <a:lnTo>
                      <a:pt x="302" y="152"/>
                    </a:lnTo>
                    <a:lnTo>
                      <a:pt x="302" y="161"/>
                    </a:lnTo>
                    <a:lnTo>
                      <a:pt x="298" y="163"/>
                    </a:lnTo>
                    <a:lnTo>
                      <a:pt x="293" y="165"/>
                    </a:lnTo>
                    <a:lnTo>
                      <a:pt x="290" y="168"/>
                    </a:lnTo>
                    <a:lnTo>
                      <a:pt x="286" y="169"/>
                    </a:lnTo>
                    <a:lnTo>
                      <a:pt x="285" y="174"/>
                    </a:lnTo>
                    <a:lnTo>
                      <a:pt x="283" y="182"/>
                    </a:lnTo>
                    <a:lnTo>
                      <a:pt x="286" y="216"/>
                    </a:lnTo>
                    <a:lnTo>
                      <a:pt x="288" y="233"/>
                    </a:lnTo>
                    <a:lnTo>
                      <a:pt x="294" y="253"/>
                    </a:lnTo>
                    <a:lnTo>
                      <a:pt x="296" y="256"/>
                    </a:lnTo>
                    <a:lnTo>
                      <a:pt x="299" y="257"/>
                    </a:lnTo>
                    <a:lnTo>
                      <a:pt x="309" y="257"/>
                    </a:lnTo>
                    <a:lnTo>
                      <a:pt x="317" y="256"/>
                    </a:lnTo>
                    <a:lnTo>
                      <a:pt x="320" y="257"/>
                    </a:lnTo>
                    <a:lnTo>
                      <a:pt x="322" y="262"/>
                    </a:lnTo>
                    <a:lnTo>
                      <a:pt x="323" y="273"/>
                    </a:lnTo>
                    <a:lnTo>
                      <a:pt x="322" y="286"/>
                    </a:lnTo>
                    <a:lnTo>
                      <a:pt x="323" y="301"/>
                    </a:lnTo>
                    <a:lnTo>
                      <a:pt x="323" y="307"/>
                    </a:lnTo>
                    <a:lnTo>
                      <a:pt x="326" y="315"/>
                    </a:lnTo>
                    <a:lnTo>
                      <a:pt x="330" y="320"/>
                    </a:lnTo>
                    <a:lnTo>
                      <a:pt x="331" y="323"/>
                    </a:lnTo>
                    <a:lnTo>
                      <a:pt x="334" y="326"/>
                    </a:lnTo>
                    <a:lnTo>
                      <a:pt x="334" y="331"/>
                    </a:lnTo>
                    <a:lnTo>
                      <a:pt x="336" y="355"/>
                    </a:lnTo>
                    <a:lnTo>
                      <a:pt x="336" y="379"/>
                    </a:lnTo>
                    <a:lnTo>
                      <a:pt x="334" y="400"/>
                    </a:lnTo>
                    <a:lnTo>
                      <a:pt x="334" y="419"/>
                    </a:lnTo>
                    <a:lnTo>
                      <a:pt x="277" y="451"/>
                    </a:lnTo>
                    <a:lnTo>
                      <a:pt x="217" y="483"/>
                    </a:lnTo>
                    <a:lnTo>
                      <a:pt x="158" y="515"/>
                    </a:lnTo>
                    <a:lnTo>
                      <a:pt x="129" y="530"/>
                    </a:lnTo>
                    <a:lnTo>
                      <a:pt x="97" y="544"/>
                    </a:lnTo>
                    <a:lnTo>
                      <a:pt x="93" y="552"/>
                    </a:lnTo>
                    <a:lnTo>
                      <a:pt x="88" y="562"/>
                    </a:lnTo>
                    <a:lnTo>
                      <a:pt x="78" y="586"/>
                    </a:lnTo>
                    <a:lnTo>
                      <a:pt x="70" y="613"/>
                    </a:lnTo>
                    <a:lnTo>
                      <a:pt x="62" y="647"/>
                    </a:lnTo>
                    <a:lnTo>
                      <a:pt x="56" y="683"/>
                    </a:lnTo>
                    <a:lnTo>
                      <a:pt x="49" y="723"/>
                    </a:lnTo>
                    <a:lnTo>
                      <a:pt x="40" y="812"/>
                    </a:lnTo>
                    <a:lnTo>
                      <a:pt x="27" y="936"/>
                    </a:lnTo>
                    <a:lnTo>
                      <a:pt x="20" y="997"/>
                    </a:lnTo>
                    <a:lnTo>
                      <a:pt x="17" y="1057"/>
                    </a:lnTo>
                    <a:lnTo>
                      <a:pt x="14" y="1101"/>
                    </a:lnTo>
                    <a:lnTo>
                      <a:pt x="9" y="1141"/>
                    </a:lnTo>
                    <a:lnTo>
                      <a:pt x="4" y="1178"/>
                    </a:lnTo>
                    <a:lnTo>
                      <a:pt x="3" y="1209"/>
                    </a:lnTo>
                    <a:lnTo>
                      <a:pt x="3" y="1225"/>
                    </a:lnTo>
                    <a:lnTo>
                      <a:pt x="1" y="1244"/>
                    </a:lnTo>
                    <a:lnTo>
                      <a:pt x="0" y="1265"/>
                    </a:lnTo>
                    <a:lnTo>
                      <a:pt x="0" y="1287"/>
                    </a:lnTo>
                    <a:lnTo>
                      <a:pt x="3" y="1306"/>
                    </a:lnTo>
                    <a:lnTo>
                      <a:pt x="8" y="1324"/>
                    </a:lnTo>
                    <a:lnTo>
                      <a:pt x="12" y="1342"/>
                    </a:lnTo>
                    <a:lnTo>
                      <a:pt x="14" y="1361"/>
                    </a:lnTo>
                    <a:lnTo>
                      <a:pt x="12" y="1369"/>
                    </a:lnTo>
                    <a:lnTo>
                      <a:pt x="9" y="1377"/>
                    </a:lnTo>
                    <a:lnTo>
                      <a:pt x="6" y="1385"/>
                    </a:lnTo>
                    <a:lnTo>
                      <a:pt x="4" y="1391"/>
                    </a:lnTo>
                    <a:lnTo>
                      <a:pt x="4" y="1414"/>
                    </a:lnTo>
                    <a:lnTo>
                      <a:pt x="3" y="1433"/>
                    </a:lnTo>
                    <a:lnTo>
                      <a:pt x="1" y="1449"/>
                    </a:lnTo>
                    <a:lnTo>
                      <a:pt x="1" y="1463"/>
                    </a:lnTo>
                    <a:lnTo>
                      <a:pt x="3" y="1466"/>
                    </a:lnTo>
                    <a:lnTo>
                      <a:pt x="6" y="1470"/>
                    </a:lnTo>
                    <a:lnTo>
                      <a:pt x="12" y="1471"/>
                    </a:lnTo>
                    <a:lnTo>
                      <a:pt x="19" y="1473"/>
                    </a:lnTo>
                    <a:lnTo>
                      <a:pt x="22" y="1474"/>
                    </a:lnTo>
                    <a:lnTo>
                      <a:pt x="22" y="1476"/>
                    </a:lnTo>
                    <a:lnTo>
                      <a:pt x="22" y="1479"/>
                    </a:lnTo>
                    <a:lnTo>
                      <a:pt x="20" y="1481"/>
                    </a:lnTo>
                    <a:lnTo>
                      <a:pt x="19" y="1482"/>
                    </a:lnTo>
                    <a:lnTo>
                      <a:pt x="22" y="1535"/>
                    </a:lnTo>
                    <a:lnTo>
                      <a:pt x="25" y="1580"/>
                    </a:lnTo>
                    <a:lnTo>
                      <a:pt x="27" y="1601"/>
                    </a:lnTo>
                    <a:lnTo>
                      <a:pt x="32" y="1620"/>
                    </a:lnTo>
                    <a:lnTo>
                      <a:pt x="38" y="1638"/>
                    </a:lnTo>
                    <a:lnTo>
                      <a:pt x="48" y="1655"/>
                    </a:lnTo>
                    <a:lnTo>
                      <a:pt x="54" y="1665"/>
                    </a:lnTo>
                    <a:lnTo>
                      <a:pt x="61" y="1671"/>
                    </a:lnTo>
                    <a:lnTo>
                      <a:pt x="70" y="1678"/>
                    </a:lnTo>
                    <a:lnTo>
                      <a:pt x="78" y="1683"/>
                    </a:lnTo>
                    <a:lnTo>
                      <a:pt x="89" y="1686"/>
                    </a:lnTo>
                    <a:lnTo>
                      <a:pt x="101" y="1689"/>
                    </a:lnTo>
                    <a:lnTo>
                      <a:pt x="113" y="1691"/>
                    </a:lnTo>
                    <a:lnTo>
                      <a:pt x="128" y="1691"/>
                    </a:lnTo>
                    <a:lnTo>
                      <a:pt x="141" y="1737"/>
                    </a:lnTo>
                    <a:lnTo>
                      <a:pt x="152" y="1785"/>
                    </a:lnTo>
                    <a:lnTo>
                      <a:pt x="161" y="1835"/>
                    </a:lnTo>
                    <a:lnTo>
                      <a:pt x="169" y="1886"/>
                    </a:lnTo>
                    <a:lnTo>
                      <a:pt x="174" y="1936"/>
                    </a:lnTo>
                    <a:lnTo>
                      <a:pt x="177" y="1987"/>
                    </a:lnTo>
                    <a:lnTo>
                      <a:pt x="181" y="2091"/>
                    </a:lnTo>
                    <a:lnTo>
                      <a:pt x="184" y="2197"/>
                    </a:lnTo>
                    <a:lnTo>
                      <a:pt x="187" y="2302"/>
                    </a:lnTo>
                    <a:lnTo>
                      <a:pt x="189" y="2352"/>
                    </a:lnTo>
                    <a:lnTo>
                      <a:pt x="190" y="2400"/>
                    </a:lnTo>
                    <a:lnTo>
                      <a:pt x="192" y="2448"/>
                    </a:lnTo>
                    <a:lnTo>
                      <a:pt x="193" y="2470"/>
                    </a:lnTo>
                    <a:lnTo>
                      <a:pt x="197" y="2494"/>
                    </a:lnTo>
                    <a:lnTo>
                      <a:pt x="201" y="2533"/>
                    </a:lnTo>
                    <a:lnTo>
                      <a:pt x="206" y="2578"/>
                    </a:lnTo>
                    <a:lnTo>
                      <a:pt x="209" y="2626"/>
                    </a:lnTo>
                    <a:lnTo>
                      <a:pt x="216" y="2672"/>
                    </a:lnTo>
                    <a:lnTo>
                      <a:pt x="217" y="2696"/>
                    </a:lnTo>
                    <a:lnTo>
                      <a:pt x="217" y="2719"/>
                    </a:lnTo>
                    <a:lnTo>
                      <a:pt x="221" y="2739"/>
                    </a:lnTo>
                    <a:lnTo>
                      <a:pt x="224" y="2747"/>
                    </a:lnTo>
                    <a:lnTo>
                      <a:pt x="227" y="2754"/>
                    </a:lnTo>
                    <a:lnTo>
                      <a:pt x="230" y="2757"/>
                    </a:lnTo>
                    <a:lnTo>
                      <a:pt x="233" y="2757"/>
                    </a:lnTo>
                    <a:lnTo>
                      <a:pt x="238" y="2757"/>
                    </a:lnTo>
                    <a:lnTo>
                      <a:pt x="241" y="2757"/>
                    </a:lnTo>
                    <a:lnTo>
                      <a:pt x="235" y="2771"/>
                    </a:lnTo>
                    <a:lnTo>
                      <a:pt x="227" y="2784"/>
                    </a:lnTo>
                    <a:lnTo>
                      <a:pt x="217" y="2796"/>
                    </a:lnTo>
                    <a:lnTo>
                      <a:pt x="206" y="2804"/>
                    </a:lnTo>
                    <a:lnTo>
                      <a:pt x="195" y="2810"/>
                    </a:lnTo>
                    <a:lnTo>
                      <a:pt x="182" y="2815"/>
                    </a:lnTo>
                    <a:lnTo>
                      <a:pt x="169" y="2821"/>
                    </a:lnTo>
                    <a:lnTo>
                      <a:pt x="163" y="2824"/>
                    </a:lnTo>
                    <a:lnTo>
                      <a:pt x="158" y="2829"/>
                    </a:lnTo>
                    <a:lnTo>
                      <a:pt x="152" y="2836"/>
                    </a:lnTo>
                    <a:lnTo>
                      <a:pt x="147" y="2844"/>
                    </a:lnTo>
                    <a:lnTo>
                      <a:pt x="139" y="2861"/>
                    </a:lnTo>
                    <a:lnTo>
                      <a:pt x="137" y="2864"/>
                    </a:lnTo>
                    <a:lnTo>
                      <a:pt x="137" y="2869"/>
                    </a:lnTo>
                    <a:lnTo>
                      <a:pt x="137" y="2876"/>
                    </a:lnTo>
                    <a:lnTo>
                      <a:pt x="192" y="2882"/>
                    </a:lnTo>
                    <a:lnTo>
                      <a:pt x="243" y="2885"/>
                    </a:lnTo>
                    <a:lnTo>
                      <a:pt x="267" y="2885"/>
                    </a:lnTo>
                    <a:lnTo>
                      <a:pt x="291" y="2885"/>
                    </a:lnTo>
                    <a:lnTo>
                      <a:pt x="314" y="2882"/>
                    </a:lnTo>
                    <a:lnTo>
                      <a:pt x="336" y="2877"/>
                    </a:lnTo>
                    <a:lnTo>
                      <a:pt x="339" y="2876"/>
                    </a:lnTo>
                    <a:lnTo>
                      <a:pt x="341" y="2872"/>
                    </a:lnTo>
                    <a:lnTo>
                      <a:pt x="344" y="2866"/>
                    </a:lnTo>
                    <a:lnTo>
                      <a:pt x="349" y="2858"/>
                    </a:lnTo>
                    <a:lnTo>
                      <a:pt x="350" y="2855"/>
                    </a:lnTo>
                    <a:lnTo>
                      <a:pt x="352" y="2855"/>
                    </a:lnTo>
                    <a:lnTo>
                      <a:pt x="358" y="2855"/>
                    </a:lnTo>
                    <a:lnTo>
                      <a:pt x="366" y="2856"/>
                    </a:lnTo>
                    <a:lnTo>
                      <a:pt x="374" y="2858"/>
                    </a:lnTo>
                    <a:lnTo>
                      <a:pt x="379" y="2858"/>
                    </a:lnTo>
                    <a:lnTo>
                      <a:pt x="402" y="2853"/>
                    </a:lnTo>
                    <a:lnTo>
                      <a:pt x="411" y="2850"/>
                    </a:lnTo>
                    <a:lnTo>
                      <a:pt x="421" y="2847"/>
                    </a:lnTo>
                    <a:lnTo>
                      <a:pt x="422" y="2840"/>
                    </a:lnTo>
                    <a:lnTo>
                      <a:pt x="424" y="2832"/>
                    </a:lnTo>
                    <a:lnTo>
                      <a:pt x="424" y="2808"/>
                    </a:lnTo>
                    <a:lnTo>
                      <a:pt x="418" y="2735"/>
                    </a:lnTo>
                    <a:lnTo>
                      <a:pt x="410" y="2591"/>
                    </a:lnTo>
                    <a:lnTo>
                      <a:pt x="406" y="2523"/>
                    </a:lnTo>
                    <a:lnTo>
                      <a:pt x="405" y="2474"/>
                    </a:lnTo>
                    <a:lnTo>
                      <a:pt x="405" y="2410"/>
                    </a:lnTo>
                    <a:lnTo>
                      <a:pt x="400" y="2349"/>
                    </a:lnTo>
                    <a:lnTo>
                      <a:pt x="394" y="2291"/>
                    </a:lnTo>
                    <a:lnTo>
                      <a:pt x="390" y="2264"/>
                    </a:lnTo>
                    <a:lnTo>
                      <a:pt x="386" y="2238"/>
                    </a:lnTo>
                    <a:lnTo>
                      <a:pt x="381" y="2224"/>
                    </a:lnTo>
                    <a:lnTo>
                      <a:pt x="376" y="2209"/>
                    </a:lnTo>
                    <a:lnTo>
                      <a:pt x="370" y="2195"/>
                    </a:lnTo>
                    <a:lnTo>
                      <a:pt x="366" y="2182"/>
                    </a:lnTo>
                    <a:lnTo>
                      <a:pt x="363" y="2168"/>
                    </a:lnTo>
                    <a:lnTo>
                      <a:pt x="360" y="2153"/>
                    </a:lnTo>
                    <a:lnTo>
                      <a:pt x="358" y="2118"/>
                    </a:lnTo>
                    <a:lnTo>
                      <a:pt x="358" y="2080"/>
                    </a:lnTo>
                    <a:lnTo>
                      <a:pt x="362" y="2037"/>
                    </a:lnTo>
                    <a:lnTo>
                      <a:pt x="365" y="1992"/>
                    </a:lnTo>
                    <a:lnTo>
                      <a:pt x="370" y="1944"/>
                    </a:lnTo>
                    <a:lnTo>
                      <a:pt x="381" y="1846"/>
                    </a:lnTo>
                    <a:lnTo>
                      <a:pt x="387" y="1788"/>
                    </a:lnTo>
                    <a:lnTo>
                      <a:pt x="394" y="1731"/>
                    </a:lnTo>
                    <a:lnTo>
                      <a:pt x="398" y="1681"/>
                    </a:lnTo>
                    <a:lnTo>
                      <a:pt x="405" y="1638"/>
                    </a:lnTo>
                    <a:lnTo>
                      <a:pt x="408" y="1630"/>
                    </a:lnTo>
                    <a:lnTo>
                      <a:pt x="410" y="1623"/>
                    </a:lnTo>
                    <a:lnTo>
                      <a:pt x="413" y="1617"/>
                    </a:lnTo>
                    <a:lnTo>
                      <a:pt x="416" y="1611"/>
                    </a:lnTo>
                    <a:lnTo>
                      <a:pt x="426" y="1611"/>
                    </a:lnTo>
                    <a:lnTo>
                      <a:pt x="429" y="1631"/>
                    </a:lnTo>
                    <a:lnTo>
                      <a:pt x="435" y="1651"/>
                    </a:lnTo>
                    <a:lnTo>
                      <a:pt x="440" y="1670"/>
                    </a:lnTo>
                    <a:lnTo>
                      <a:pt x="443" y="1691"/>
                    </a:lnTo>
                    <a:lnTo>
                      <a:pt x="454" y="1761"/>
                    </a:lnTo>
                    <a:lnTo>
                      <a:pt x="464" y="1835"/>
                    </a:lnTo>
                    <a:lnTo>
                      <a:pt x="475" y="1912"/>
                    </a:lnTo>
                    <a:lnTo>
                      <a:pt x="487" y="1992"/>
                    </a:lnTo>
                    <a:lnTo>
                      <a:pt x="501" y="2025"/>
                    </a:lnTo>
                    <a:lnTo>
                      <a:pt x="512" y="2056"/>
                    </a:lnTo>
                    <a:lnTo>
                      <a:pt x="519" y="2086"/>
                    </a:lnTo>
                    <a:lnTo>
                      <a:pt x="525" y="2120"/>
                    </a:lnTo>
                    <a:lnTo>
                      <a:pt x="530" y="2163"/>
                    </a:lnTo>
                    <a:lnTo>
                      <a:pt x="533" y="2206"/>
                    </a:lnTo>
                    <a:lnTo>
                      <a:pt x="536" y="2251"/>
                    </a:lnTo>
                    <a:lnTo>
                      <a:pt x="539" y="2293"/>
                    </a:lnTo>
                    <a:lnTo>
                      <a:pt x="555" y="2411"/>
                    </a:lnTo>
                    <a:lnTo>
                      <a:pt x="567" y="2525"/>
                    </a:lnTo>
                    <a:lnTo>
                      <a:pt x="586" y="2741"/>
                    </a:lnTo>
                    <a:lnTo>
                      <a:pt x="587" y="2751"/>
                    </a:lnTo>
                    <a:lnTo>
                      <a:pt x="591" y="2759"/>
                    </a:lnTo>
                    <a:lnTo>
                      <a:pt x="594" y="2768"/>
                    </a:lnTo>
                    <a:lnTo>
                      <a:pt x="594" y="2776"/>
                    </a:lnTo>
                    <a:lnTo>
                      <a:pt x="594" y="2786"/>
                    </a:lnTo>
                    <a:lnTo>
                      <a:pt x="592" y="2794"/>
                    </a:lnTo>
                    <a:lnTo>
                      <a:pt x="587" y="2812"/>
                    </a:lnTo>
                    <a:lnTo>
                      <a:pt x="583" y="2829"/>
                    </a:lnTo>
                    <a:lnTo>
                      <a:pt x="579" y="2837"/>
                    </a:lnTo>
                    <a:lnTo>
                      <a:pt x="579" y="2847"/>
                    </a:lnTo>
                    <a:lnTo>
                      <a:pt x="586" y="2852"/>
                    </a:lnTo>
                    <a:lnTo>
                      <a:pt x="594" y="2855"/>
                    </a:lnTo>
                    <a:lnTo>
                      <a:pt x="603" y="2860"/>
                    </a:lnTo>
                    <a:lnTo>
                      <a:pt x="611" y="2866"/>
                    </a:lnTo>
                    <a:lnTo>
                      <a:pt x="618" y="2874"/>
                    </a:lnTo>
                    <a:lnTo>
                      <a:pt x="621" y="2882"/>
                    </a:lnTo>
                    <a:lnTo>
                      <a:pt x="624" y="2892"/>
                    </a:lnTo>
                    <a:lnTo>
                      <a:pt x="664" y="2896"/>
                    </a:lnTo>
                    <a:lnTo>
                      <a:pt x="709" y="2898"/>
                    </a:lnTo>
                    <a:lnTo>
                      <a:pt x="754" y="2898"/>
                    </a:lnTo>
                    <a:lnTo>
                      <a:pt x="797" y="2896"/>
                    </a:lnTo>
                    <a:lnTo>
                      <a:pt x="794" y="2880"/>
                    </a:lnTo>
                    <a:lnTo>
                      <a:pt x="789" y="2861"/>
                    </a:lnTo>
                    <a:lnTo>
                      <a:pt x="781" y="2844"/>
                    </a:lnTo>
                    <a:lnTo>
                      <a:pt x="770" y="2826"/>
                    </a:lnTo>
                    <a:lnTo>
                      <a:pt x="760" y="2813"/>
                    </a:lnTo>
                    <a:lnTo>
                      <a:pt x="749" y="2800"/>
                    </a:lnTo>
                    <a:lnTo>
                      <a:pt x="741" y="2789"/>
                    </a:lnTo>
                    <a:lnTo>
                      <a:pt x="740" y="2783"/>
                    </a:lnTo>
                    <a:lnTo>
                      <a:pt x="738" y="2776"/>
                    </a:lnTo>
                    <a:lnTo>
                      <a:pt x="738" y="2773"/>
                    </a:lnTo>
                    <a:lnTo>
                      <a:pt x="740" y="2768"/>
                    </a:lnTo>
                    <a:lnTo>
                      <a:pt x="743" y="2762"/>
                    </a:lnTo>
                    <a:lnTo>
                      <a:pt x="748" y="2754"/>
                    </a:lnTo>
                    <a:lnTo>
                      <a:pt x="749" y="2749"/>
                    </a:lnTo>
                    <a:lnTo>
                      <a:pt x="749" y="2744"/>
                    </a:lnTo>
                    <a:lnTo>
                      <a:pt x="746" y="2717"/>
                    </a:lnTo>
                    <a:lnTo>
                      <a:pt x="743" y="2687"/>
                    </a:lnTo>
                    <a:lnTo>
                      <a:pt x="740" y="2655"/>
                    </a:lnTo>
                    <a:lnTo>
                      <a:pt x="736" y="2623"/>
                    </a:lnTo>
                    <a:lnTo>
                      <a:pt x="738" y="2567"/>
                    </a:lnTo>
                    <a:lnTo>
                      <a:pt x="743" y="2510"/>
                    </a:lnTo>
                    <a:lnTo>
                      <a:pt x="746" y="2453"/>
                    </a:lnTo>
                    <a:lnTo>
                      <a:pt x="748" y="2395"/>
                    </a:lnTo>
                    <a:lnTo>
                      <a:pt x="748" y="2355"/>
                    </a:lnTo>
                    <a:lnTo>
                      <a:pt x="744" y="2317"/>
                    </a:lnTo>
                    <a:lnTo>
                      <a:pt x="738" y="2241"/>
                    </a:lnTo>
                    <a:lnTo>
                      <a:pt x="730" y="2166"/>
                    </a:lnTo>
                    <a:lnTo>
                      <a:pt x="728" y="2128"/>
                    </a:lnTo>
                    <a:lnTo>
                      <a:pt x="728" y="2089"/>
                    </a:lnTo>
                    <a:lnTo>
                      <a:pt x="730" y="1878"/>
                    </a:lnTo>
                    <a:lnTo>
                      <a:pt x="733" y="1665"/>
                    </a:lnTo>
                    <a:lnTo>
                      <a:pt x="756" y="1654"/>
                    </a:lnTo>
                    <a:lnTo>
                      <a:pt x="775" y="1643"/>
                    </a:lnTo>
                    <a:lnTo>
                      <a:pt x="812" y="1615"/>
                    </a:lnTo>
                    <a:lnTo>
                      <a:pt x="816" y="1595"/>
                    </a:lnTo>
                    <a:lnTo>
                      <a:pt x="818" y="1567"/>
                    </a:lnTo>
                    <a:lnTo>
                      <a:pt x="823" y="1508"/>
                    </a:lnTo>
                    <a:lnTo>
                      <a:pt x="829" y="1425"/>
                    </a:lnTo>
                    <a:lnTo>
                      <a:pt x="832" y="1329"/>
                    </a:lnTo>
                    <a:lnTo>
                      <a:pt x="834" y="1226"/>
                    </a:lnTo>
                    <a:lnTo>
                      <a:pt x="834" y="1119"/>
                    </a:lnTo>
                    <a:lnTo>
                      <a:pt x="829" y="1012"/>
                    </a:lnTo>
                    <a:lnTo>
                      <a:pt x="823" y="904"/>
                    </a:lnTo>
                    <a:lnTo>
                      <a:pt x="818" y="853"/>
                    </a:lnTo>
                    <a:lnTo>
                      <a:pt x="813" y="804"/>
                    </a:lnTo>
                    <a:lnTo>
                      <a:pt x="807" y="757"/>
                    </a:lnTo>
                    <a:lnTo>
                      <a:pt x="799" y="712"/>
                    </a:lnTo>
                    <a:close/>
                    <a:moveTo>
                      <a:pt x="123" y="1636"/>
                    </a:moveTo>
                    <a:lnTo>
                      <a:pt x="113" y="1636"/>
                    </a:lnTo>
                    <a:lnTo>
                      <a:pt x="107" y="1577"/>
                    </a:lnTo>
                    <a:lnTo>
                      <a:pt x="113" y="1585"/>
                    </a:lnTo>
                    <a:lnTo>
                      <a:pt x="117" y="1595"/>
                    </a:lnTo>
                    <a:lnTo>
                      <a:pt x="123" y="1615"/>
                    </a:lnTo>
                    <a:lnTo>
                      <a:pt x="123" y="1636"/>
                    </a:lnTo>
                    <a:close/>
                    <a:moveTo>
                      <a:pt x="181" y="1065"/>
                    </a:moveTo>
                    <a:lnTo>
                      <a:pt x="181" y="1065"/>
                    </a:lnTo>
                    <a:lnTo>
                      <a:pt x="179" y="1100"/>
                    </a:lnTo>
                    <a:lnTo>
                      <a:pt x="176" y="1135"/>
                    </a:lnTo>
                    <a:lnTo>
                      <a:pt x="174" y="1170"/>
                    </a:lnTo>
                    <a:lnTo>
                      <a:pt x="169" y="1207"/>
                    </a:lnTo>
                    <a:lnTo>
                      <a:pt x="161" y="1236"/>
                    </a:lnTo>
                    <a:lnTo>
                      <a:pt x="153" y="1265"/>
                    </a:lnTo>
                    <a:lnTo>
                      <a:pt x="145" y="1292"/>
                    </a:lnTo>
                    <a:lnTo>
                      <a:pt x="137" y="1319"/>
                    </a:lnTo>
                    <a:lnTo>
                      <a:pt x="133" y="1346"/>
                    </a:lnTo>
                    <a:lnTo>
                      <a:pt x="131" y="1372"/>
                    </a:lnTo>
                    <a:lnTo>
                      <a:pt x="128" y="1418"/>
                    </a:lnTo>
                    <a:lnTo>
                      <a:pt x="125" y="1412"/>
                    </a:lnTo>
                    <a:lnTo>
                      <a:pt x="121" y="1401"/>
                    </a:lnTo>
                    <a:lnTo>
                      <a:pt x="118" y="1385"/>
                    </a:lnTo>
                    <a:lnTo>
                      <a:pt x="118" y="1362"/>
                    </a:lnTo>
                    <a:lnTo>
                      <a:pt x="120" y="1345"/>
                    </a:lnTo>
                    <a:lnTo>
                      <a:pt x="125" y="1327"/>
                    </a:lnTo>
                    <a:lnTo>
                      <a:pt x="136" y="1285"/>
                    </a:lnTo>
                    <a:lnTo>
                      <a:pt x="141" y="1261"/>
                    </a:lnTo>
                    <a:lnTo>
                      <a:pt x="147" y="1237"/>
                    </a:lnTo>
                    <a:lnTo>
                      <a:pt x="150" y="1210"/>
                    </a:lnTo>
                    <a:lnTo>
                      <a:pt x="153" y="1180"/>
                    </a:lnTo>
                    <a:lnTo>
                      <a:pt x="160" y="1095"/>
                    </a:lnTo>
                    <a:lnTo>
                      <a:pt x="168" y="1015"/>
                    </a:lnTo>
                    <a:lnTo>
                      <a:pt x="176" y="951"/>
                    </a:lnTo>
                    <a:lnTo>
                      <a:pt x="182" y="911"/>
                    </a:lnTo>
                    <a:lnTo>
                      <a:pt x="185" y="920"/>
                    </a:lnTo>
                    <a:lnTo>
                      <a:pt x="185" y="930"/>
                    </a:lnTo>
                    <a:lnTo>
                      <a:pt x="185" y="949"/>
                    </a:lnTo>
                    <a:lnTo>
                      <a:pt x="181" y="991"/>
                    </a:lnTo>
                    <a:lnTo>
                      <a:pt x="181" y="1008"/>
                    </a:lnTo>
                    <a:lnTo>
                      <a:pt x="182" y="1026"/>
                    </a:lnTo>
                    <a:lnTo>
                      <a:pt x="182" y="1045"/>
                    </a:lnTo>
                    <a:lnTo>
                      <a:pt x="181" y="1065"/>
                    </a:lnTo>
                    <a:close/>
                    <a:moveTo>
                      <a:pt x="669" y="1193"/>
                    </a:moveTo>
                    <a:lnTo>
                      <a:pt x="669" y="1193"/>
                    </a:lnTo>
                    <a:lnTo>
                      <a:pt x="668" y="1159"/>
                    </a:lnTo>
                    <a:lnTo>
                      <a:pt x="666" y="1124"/>
                    </a:lnTo>
                    <a:lnTo>
                      <a:pt x="664" y="1047"/>
                    </a:lnTo>
                    <a:lnTo>
                      <a:pt x="668" y="887"/>
                    </a:lnTo>
                    <a:lnTo>
                      <a:pt x="671" y="892"/>
                    </a:lnTo>
                    <a:lnTo>
                      <a:pt x="674" y="900"/>
                    </a:lnTo>
                    <a:lnTo>
                      <a:pt x="679" y="909"/>
                    </a:lnTo>
                    <a:lnTo>
                      <a:pt x="682" y="920"/>
                    </a:lnTo>
                    <a:lnTo>
                      <a:pt x="685" y="941"/>
                    </a:lnTo>
                    <a:lnTo>
                      <a:pt x="690" y="968"/>
                    </a:lnTo>
                    <a:lnTo>
                      <a:pt x="696" y="1036"/>
                    </a:lnTo>
                    <a:lnTo>
                      <a:pt x="701" y="1113"/>
                    </a:lnTo>
                    <a:lnTo>
                      <a:pt x="706" y="1194"/>
                    </a:lnTo>
                    <a:lnTo>
                      <a:pt x="714" y="1345"/>
                    </a:lnTo>
                    <a:lnTo>
                      <a:pt x="719" y="1402"/>
                    </a:lnTo>
                    <a:lnTo>
                      <a:pt x="724" y="1438"/>
                    </a:lnTo>
                    <a:lnTo>
                      <a:pt x="708" y="1447"/>
                    </a:lnTo>
                    <a:lnTo>
                      <a:pt x="706" y="1417"/>
                    </a:lnTo>
                    <a:lnTo>
                      <a:pt x="701" y="1386"/>
                    </a:lnTo>
                    <a:lnTo>
                      <a:pt x="690" y="1324"/>
                    </a:lnTo>
                    <a:lnTo>
                      <a:pt x="679" y="1260"/>
                    </a:lnTo>
                    <a:lnTo>
                      <a:pt x="674" y="1226"/>
                    </a:lnTo>
                    <a:lnTo>
                      <a:pt x="669" y="1193"/>
                    </a:lnTo>
                    <a:close/>
                    <a:moveTo>
                      <a:pt x="724" y="1591"/>
                    </a:moveTo>
                    <a:lnTo>
                      <a:pt x="719" y="1591"/>
                    </a:lnTo>
                    <a:lnTo>
                      <a:pt x="712" y="1551"/>
                    </a:lnTo>
                    <a:lnTo>
                      <a:pt x="719" y="1559"/>
                    </a:lnTo>
                    <a:lnTo>
                      <a:pt x="722" y="1567"/>
                    </a:lnTo>
                    <a:lnTo>
                      <a:pt x="724" y="1577"/>
                    </a:lnTo>
                    <a:lnTo>
                      <a:pt x="724" y="1591"/>
                    </a:lnTo>
                    <a:close/>
                  </a:path>
                </a:pathLst>
              </a:custGeom>
              <a:solidFill>
                <a:schemeClr val="accent5"/>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55" name="Gruppieren 26"/>
            <p:cNvGrpSpPr/>
            <p:nvPr/>
          </p:nvGrpSpPr>
          <p:grpSpPr>
            <a:xfrm>
              <a:off x="4762134" y="2581487"/>
              <a:ext cx="673962" cy="1063529"/>
              <a:chOff x="1593782" y="3418618"/>
              <a:chExt cx="817978" cy="1290794"/>
            </a:xfrm>
          </p:grpSpPr>
          <p:sp>
            <p:nvSpPr>
              <p:cNvPr id="61" name="Ellipse 4"/>
              <p:cNvSpPr/>
              <p:nvPr/>
            </p:nvSpPr>
            <p:spPr>
              <a:xfrm>
                <a:off x="1593782" y="4482081"/>
                <a:ext cx="817978" cy="227331"/>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2" name="Freeform 13"/>
              <p:cNvSpPr>
                <a:spLocks noEditPoints="1"/>
              </p:cNvSpPr>
              <p:nvPr/>
            </p:nvSpPr>
            <p:spPr bwMode="auto">
              <a:xfrm>
                <a:off x="1854828" y="3418618"/>
                <a:ext cx="412915" cy="1206109"/>
              </a:xfrm>
              <a:custGeom>
                <a:avLst/>
                <a:gdLst>
                  <a:gd name="T0" fmla="*/ 887 w 1010"/>
                  <a:gd name="T1" fmla="*/ 661 h 2956"/>
                  <a:gd name="T2" fmla="*/ 812 w 1010"/>
                  <a:gd name="T3" fmla="*/ 535 h 2956"/>
                  <a:gd name="T4" fmla="*/ 685 w 1010"/>
                  <a:gd name="T5" fmla="*/ 421 h 2956"/>
                  <a:gd name="T6" fmla="*/ 676 w 1010"/>
                  <a:gd name="T7" fmla="*/ 149 h 2956"/>
                  <a:gd name="T8" fmla="*/ 583 w 1010"/>
                  <a:gd name="T9" fmla="*/ 13 h 2956"/>
                  <a:gd name="T10" fmla="*/ 431 w 1010"/>
                  <a:gd name="T11" fmla="*/ 56 h 2956"/>
                  <a:gd name="T12" fmla="*/ 371 w 1010"/>
                  <a:gd name="T13" fmla="*/ 259 h 2956"/>
                  <a:gd name="T14" fmla="*/ 355 w 1010"/>
                  <a:gd name="T15" fmla="*/ 440 h 2956"/>
                  <a:gd name="T16" fmla="*/ 206 w 1010"/>
                  <a:gd name="T17" fmla="*/ 514 h 2956"/>
                  <a:gd name="T18" fmla="*/ 134 w 1010"/>
                  <a:gd name="T19" fmla="*/ 639 h 2956"/>
                  <a:gd name="T20" fmla="*/ 146 w 1010"/>
                  <a:gd name="T21" fmla="*/ 769 h 2956"/>
                  <a:gd name="T22" fmla="*/ 158 w 1010"/>
                  <a:gd name="T23" fmla="*/ 991 h 2956"/>
                  <a:gd name="T24" fmla="*/ 141 w 1010"/>
                  <a:gd name="T25" fmla="*/ 1220 h 2956"/>
                  <a:gd name="T26" fmla="*/ 141 w 1010"/>
                  <a:gd name="T27" fmla="*/ 1422 h 2956"/>
                  <a:gd name="T28" fmla="*/ 125 w 1010"/>
                  <a:gd name="T29" fmla="*/ 1561 h 2956"/>
                  <a:gd name="T30" fmla="*/ 146 w 1010"/>
                  <a:gd name="T31" fmla="*/ 1686 h 2956"/>
                  <a:gd name="T32" fmla="*/ 184 w 1010"/>
                  <a:gd name="T33" fmla="*/ 1882 h 2956"/>
                  <a:gd name="T34" fmla="*/ 178 w 1010"/>
                  <a:gd name="T35" fmla="*/ 2034 h 2956"/>
                  <a:gd name="T36" fmla="*/ 158 w 1010"/>
                  <a:gd name="T37" fmla="*/ 2199 h 2956"/>
                  <a:gd name="T38" fmla="*/ 114 w 1010"/>
                  <a:gd name="T39" fmla="*/ 2765 h 2956"/>
                  <a:gd name="T40" fmla="*/ 85 w 1010"/>
                  <a:gd name="T41" fmla="*/ 2846 h 2956"/>
                  <a:gd name="T42" fmla="*/ 3 w 1010"/>
                  <a:gd name="T43" fmla="*/ 2922 h 2956"/>
                  <a:gd name="T44" fmla="*/ 178 w 1010"/>
                  <a:gd name="T45" fmla="*/ 2910 h 2956"/>
                  <a:gd name="T46" fmla="*/ 274 w 1010"/>
                  <a:gd name="T47" fmla="*/ 2858 h 2956"/>
                  <a:gd name="T48" fmla="*/ 291 w 1010"/>
                  <a:gd name="T49" fmla="*/ 2863 h 2956"/>
                  <a:gd name="T50" fmla="*/ 379 w 1010"/>
                  <a:gd name="T51" fmla="*/ 2812 h 2956"/>
                  <a:gd name="T52" fmla="*/ 363 w 1010"/>
                  <a:gd name="T53" fmla="*/ 2496 h 2956"/>
                  <a:gd name="T54" fmla="*/ 384 w 1010"/>
                  <a:gd name="T55" fmla="*/ 2064 h 2956"/>
                  <a:gd name="T56" fmla="*/ 437 w 1010"/>
                  <a:gd name="T57" fmla="*/ 1742 h 2956"/>
                  <a:gd name="T58" fmla="*/ 501 w 1010"/>
                  <a:gd name="T59" fmla="*/ 1563 h 2956"/>
                  <a:gd name="T60" fmla="*/ 525 w 1010"/>
                  <a:gd name="T61" fmla="*/ 1686 h 2956"/>
                  <a:gd name="T62" fmla="*/ 519 w 1010"/>
                  <a:gd name="T63" fmla="*/ 1955 h 2956"/>
                  <a:gd name="T64" fmla="*/ 516 w 1010"/>
                  <a:gd name="T65" fmla="*/ 2183 h 2956"/>
                  <a:gd name="T66" fmla="*/ 492 w 1010"/>
                  <a:gd name="T67" fmla="*/ 2649 h 2956"/>
                  <a:gd name="T68" fmla="*/ 496 w 1010"/>
                  <a:gd name="T69" fmla="*/ 2796 h 2956"/>
                  <a:gd name="T70" fmla="*/ 501 w 1010"/>
                  <a:gd name="T71" fmla="*/ 2927 h 2956"/>
                  <a:gd name="T72" fmla="*/ 608 w 1010"/>
                  <a:gd name="T73" fmla="*/ 2942 h 2956"/>
                  <a:gd name="T74" fmla="*/ 625 w 1010"/>
                  <a:gd name="T75" fmla="*/ 2874 h 2956"/>
                  <a:gd name="T76" fmla="*/ 685 w 1010"/>
                  <a:gd name="T77" fmla="*/ 2727 h 2956"/>
                  <a:gd name="T78" fmla="*/ 711 w 1010"/>
                  <a:gd name="T79" fmla="*/ 2354 h 2956"/>
                  <a:gd name="T80" fmla="*/ 738 w 1010"/>
                  <a:gd name="T81" fmla="*/ 2053 h 2956"/>
                  <a:gd name="T82" fmla="*/ 783 w 1010"/>
                  <a:gd name="T83" fmla="*/ 1675 h 2956"/>
                  <a:gd name="T84" fmla="*/ 817 w 1010"/>
                  <a:gd name="T85" fmla="*/ 1422 h 2956"/>
                  <a:gd name="T86" fmla="*/ 793 w 1010"/>
                  <a:gd name="T87" fmla="*/ 1244 h 2956"/>
                  <a:gd name="T88" fmla="*/ 874 w 1010"/>
                  <a:gd name="T89" fmla="*/ 1204 h 2956"/>
                  <a:gd name="T90" fmla="*/ 986 w 1010"/>
                  <a:gd name="T91" fmla="*/ 1044 h 2956"/>
                  <a:gd name="T92" fmla="*/ 962 w 1010"/>
                  <a:gd name="T93" fmla="*/ 826 h 2956"/>
                  <a:gd name="T94" fmla="*/ 178 w 1010"/>
                  <a:gd name="T95" fmla="*/ 1614 h 2956"/>
                  <a:gd name="T96" fmla="*/ 194 w 1010"/>
                  <a:gd name="T97" fmla="*/ 1678 h 2956"/>
                  <a:gd name="T98" fmla="*/ 243 w 1010"/>
                  <a:gd name="T99" fmla="*/ 1384 h 2956"/>
                  <a:gd name="T100" fmla="*/ 211 w 1010"/>
                  <a:gd name="T101" fmla="*/ 1416 h 2956"/>
                  <a:gd name="T102" fmla="*/ 250 w 1010"/>
                  <a:gd name="T103" fmla="*/ 1247 h 2956"/>
                  <a:gd name="T104" fmla="*/ 287 w 1010"/>
                  <a:gd name="T105" fmla="*/ 1092 h 2956"/>
                  <a:gd name="T106" fmla="*/ 263 w 1010"/>
                  <a:gd name="T107" fmla="*/ 1159 h 2956"/>
                  <a:gd name="T108" fmla="*/ 272 w 1010"/>
                  <a:gd name="T109" fmla="*/ 962 h 2956"/>
                  <a:gd name="T110" fmla="*/ 285 w 1010"/>
                  <a:gd name="T111" fmla="*/ 919 h 2956"/>
                  <a:gd name="T112" fmla="*/ 892 w 1010"/>
                  <a:gd name="T113" fmla="*/ 993 h 2956"/>
                  <a:gd name="T114" fmla="*/ 815 w 1010"/>
                  <a:gd name="T115" fmla="*/ 1142 h 2956"/>
                  <a:gd name="T116" fmla="*/ 749 w 1010"/>
                  <a:gd name="T117" fmla="*/ 1063 h 2956"/>
                  <a:gd name="T118" fmla="*/ 727 w 1010"/>
                  <a:gd name="T119" fmla="*/ 829 h 2956"/>
                  <a:gd name="T120" fmla="*/ 759 w 1010"/>
                  <a:gd name="T121" fmla="*/ 732 h 2956"/>
                  <a:gd name="T122" fmla="*/ 852 w 1010"/>
                  <a:gd name="T123" fmla="*/ 871 h 2956"/>
                  <a:gd name="T124" fmla="*/ 898 w 1010"/>
                  <a:gd name="T125" fmla="*/ 980 h 295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010"/>
                  <a:gd name="T190" fmla="*/ 0 h 2956"/>
                  <a:gd name="T191" fmla="*/ 1010 w 1010"/>
                  <a:gd name="T192" fmla="*/ 2956 h 295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010" h="2956">
                    <a:moveTo>
                      <a:pt x="962" y="826"/>
                    </a:moveTo>
                    <a:lnTo>
                      <a:pt x="962" y="826"/>
                    </a:lnTo>
                    <a:lnTo>
                      <a:pt x="950" y="796"/>
                    </a:lnTo>
                    <a:lnTo>
                      <a:pt x="945" y="781"/>
                    </a:lnTo>
                    <a:lnTo>
                      <a:pt x="937" y="767"/>
                    </a:lnTo>
                    <a:lnTo>
                      <a:pt x="921" y="738"/>
                    </a:lnTo>
                    <a:lnTo>
                      <a:pt x="913" y="724"/>
                    </a:lnTo>
                    <a:lnTo>
                      <a:pt x="906" y="708"/>
                    </a:lnTo>
                    <a:lnTo>
                      <a:pt x="887" y="661"/>
                    </a:lnTo>
                    <a:lnTo>
                      <a:pt x="870" y="618"/>
                    </a:lnTo>
                    <a:lnTo>
                      <a:pt x="868" y="604"/>
                    </a:lnTo>
                    <a:lnTo>
                      <a:pt x="858" y="592"/>
                    </a:lnTo>
                    <a:lnTo>
                      <a:pt x="850" y="581"/>
                    </a:lnTo>
                    <a:lnTo>
                      <a:pt x="841" y="570"/>
                    </a:lnTo>
                    <a:lnTo>
                      <a:pt x="831" y="560"/>
                    </a:lnTo>
                    <a:lnTo>
                      <a:pt x="820" y="543"/>
                    </a:lnTo>
                    <a:lnTo>
                      <a:pt x="812" y="535"/>
                    </a:lnTo>
                    <a:lnTo>
                      <a:pt x="804" y="527"/>
                    </a:lnTo>
                    <a:lnTo>
                      <a:pt x="793" y="520"/>
                    </a:lnTo>
                    <a:lnTo>
                      <a:pt x="781" y="514"/>
                    </a:lnTo>
                    <a:lnTo>
                      <a:pt x="757" y="504"/>
                    </a:lnTo>
                    <a:lnTo>
                      <a:pt x="730" y="495"/>
                    </a:lnTo>
                    <a:lnTo>
                      <a:pt x="701" y="487"/>
                    </a:lnTo>
                    <a:lnTo>
                      <a:pt x="695" y="469"/>
                    </a:lnTo>
                    <a:lnTo>
                      <a:pt x="690" y="445"/>
                    </a:lnTo>
                    <a:lnTo>
                      <a:pt x="685" y="421"/>
                    </a:lnTo>
                    <a:lnTo>
                      <a:pt x="685" y="410"/>
                    </a:lnTo>
                    <a:lnTo>
                      <a:pt x="685" y="399"/>
                    </a:lnTo>
                    <a:lnTo>
                      <a:pt x="690" y="349"/>
                    </a:lnTo>
                    <a:lnTo>
                      <a:pt x="692" y="323"/>
                    </a:lnTo>
                    <a:lnTo>
                      <a:pt x="690" y="309"/>
                    </a:lnTo>
                    <a:lnTo>
                      <a:pt x="689" y="296"/>
                    </a:lnTo>
                    <a:lnTo>
                      <a:pt x="684" y="202"/>
                    </a:lnTo>
                    <a:lnTo>
                      <a:pt x="676" y="149"/>
                    </a:lnTo>
                    <a:lnTo>
                      <a:pt x="669" y="122"/>
                    </a:lnTo>
                    <a:lnTo>
                      <a:pt x="666" y="110"/>
                    </a:lnTo>
                    <a:lnTo>
                      <a:pt x="663" y="102"/>
                    </a:lnTo>
                    <a:lnTo>
                      <a:pt x="653" y="83"/>
                    </a:lnTo>
                    <a:lnTo>
                      <a:pt x="641" y="66"/>
                    </a:lnTo>
                    <a:lnTo>
                      <a:pt x="626" y="48"/>
                    </a:lnTo>
                    <a:lnTo>
                      <a:pt x="610" y="32"/>
                    </a:lnTo>
                    <a:lnTo>
                      <a:pt x="602" y="26"/>
                    </a:lnTo>
                    <a:lnTo>
                      <a:pt x="592" y="19"/>
                    </a:lnTo>
                    <a:lnTo>
                      <a:pt x="583" y="13"/>
                    </a:lnTo>
                    <a:lnTo>
                      <a:pt x="572" y="8"/>
                    </a:lnTo>
                    <a:lnTo>
                      <a:pt x="559" y="5"/>
                    </a:lnTo>
                    <a:lnTo>
                      <a:pt x="548" y="2"/>
                    </a:lnTo>
                    <a:lnTo>
                      <a:pt x="533" y="0"/>
                    </a:lnTo>
                    <a:lnTo>
                      <a:pt x="519" y="0"/>
                    </a:lnTo>
                    <a:lnTo>
                      <a:pt x="479" y="13"/>
                    </a:lnTo>
                    <a:lnTo>
                      <a:pt x="463" y="26"/>
                    </a:lnTo>
                    <a:lnTo>
                      <a:pt x="447" y="40"/>
                    </a:lnTo>
                    <a:lnTo>
                      <a:pt x="431" y="56"/>
                    </a:lnTo>
                    <a:lnTo>
                      <a:pt x="418" y="72"/>
                    </a:lnTo>
                    <a:lnTo>
                      <a:pt x="405" y="90"/>
                    </a:lnTo>
                    <a:lnTo>
                      <a:pt x="394" y="109"/>
                    </a:lnTo>
                    <a:lnTo>
                      <a:pt x="384" y="130"/>
                    </a:lnTo>
                    <a:lnTo>
                      <a:pt x="376" y="151"/>
                    </a:lnTo>
                    <a:lnTo>
                      <a:pt x="373" y="168"/>
                    </a:lnTo>
                    <a:lnTo>
                      <a:pt x="370" y="184"/>
                    </a:lnTo>
                    <a:lnTo>
                      <a:pt x="370" y="203"/>
                    </a:lnTo>
                    <a:lnTo>
                      <a:pt x="368" y="223"/>
                    </a:lnTo>
                    <a:lnTo>
                      <a:pt x="371" y="259"/>
                    </a:lnTo>
                    <a:lnTo>
                      <a:pt x="376" y="295"/>
                    </a:lnTo>
                    <a:lnTo>
                      <a:pt x="371" y="331"/>
                    </a:lnTo>
                    <a:lnTo>
                      <a:pt x="368" y="360"/>
                    </a:lnTo>
                    <a:lnTo>
                      <a:pt x="367" y="386"/>
                    </a:lnTo>
                    <a:lnTo>
                      <a:pt x="365" y="412"/>
                    </a:lnTo>
                    <a:lnTo>
                      <a:pt x="362" y="424"/>
                    </a:lnTo>
                    <a:lnTo>
                      <a:pt x="359" y="436"/>
                    </a:lnTo>
                    <a:lnTo>
                      <a:pt x="355" y="440"/>
                    </a:lnTo>
                    <a:lnTo>
                      <a:pt x="352" y="445"/>
                    </a:lnTo>
                    <a:lnTo>
                      <a:pt x="347" y="447"/>
                    </a:lnTo>
                    <a:lnTo>
                      <a:pt x="343" y="450"/>
                    </a:lnTo>
                    <a:lnTo>
                      <a:pt x="331" y="452"/>
                    </a:lnTo>
                    <a:lnTo>
                      <a:pt x="320" y="456"/>
                    </a:lnTo>
                    <a:lnTo>
                      <a:pt x="283" y="487"/>
                    </a:lnTo>
                    <a:lnTo>
                      <a:pt x="227" y="498"/>
                    </a:lnTo>
                    <a:lnTo>
                      <a:pt x="206" y="514"/>
                    </a:lnTo>
                    <a:lnTo>
                      <a:pt x="186" y="532"/>
                    </a:lnTo>
                    <a:lnTo>
                      <a:pt x="176" y="541"/>
                    </a:lnTo>
                    <a:lnTo>
                      <a:pt x="168" y="552"/>
                    </a:lnTo>
                    <a:lnTo>
                      <a:pt x="162" y="564"/>
                    </a:lnTo>
                    <a:lnTo>
                      <a:pt x="155" y="575"/>
                    </a:lnTo>
                    <a:lnTo>
                      <a:pt x="150" y="617"/>
                    </a:lnTo>
                    <a:lnTo>
                      <a:pt x="136" y="634"/>
                    </a:lnTo>
                    <a:lnTo>
                      <a:pt x="134" y="639"/>
                    </a:lnTo>
                    <a:lnTo>
                      <a:pt x="136" y="642"/>
                    </a:lnTo>
                    <a:lnTo>
                      <a:pt x="141" y="650"/>
                    </a:lnTo>
                    <a:lnTo>
                      <a:pt x="144" y="658"/>
                    </a:lnTo>
                    <a:lnTo>
                      <a:pt x="146" y="663"/>
                    </a:lnTo>
                    <a:lnTo>
                      <a:pt x="146" y="669"/>
                    </a:lnTo>
                    <a:lnTo>
                      <a:pt x="142" y="693"/>
                    </a:lnTo>
                    <a:lnTo>
                      <a:pt x="142" y="719"/>
                    </a:lnTo>
                    <a:lnTo>
                      <a:pt x="144" y="745"/>
                    </a:lnTo>
                    <a:lnTo>
                      <a:pt x="146" y="769"/>
                    </a:lnTo>
                    <a:lnTo>
                      <a:pt x="149" y="786"/>
                    </a:lnTo>
                    <a:lnTo>
                      <a:pt x="149" y="804"/>
                    </a:lnTo>
                    <a:lnTo>
                      <a:pt x="147" y="839"/>
                    </a:lnTo>
                    <a:lnTo>
                      <a:pt x="147" y="873"/>
                    </a:lnTo>
                    <a:lnTo>
                      <a:pt x="147" y="890"/>
                    </a:lnTo>
                    <a:lnTo>
                      <a:pt x="149" y="906"/>
                    </a:lnTo>
                    <a:lnTo>
                      <a:pt x="154" y="929"/>
                    </a:lnTo>
                    <a:lnTo>
                      <a:pt x="157" y="954"/>
                    </a:lnTo>
                    <a:lnTo>
                      <a:pt x="158" y="980"/>
                    </a:lnTo>
                    <a:lnTo>
                      <a:pt x="158" y="991"/>
                    </a:lnTo>
                    <a:lnTo>
                      <a:pt x="157" y="1004"/>
                    </a:lnTo>
                    <a:lnTo>
                      <a:pt x="146" y="1082"/>
                    </a:lnTo>
                    <a:lnTo>
                      <a:pt x="144" y="1145"/>
                    </a:lnTo>
                    <a:lnTo>
                      <a:pt x="142" y="1163"/>
                    </a:lnTo>
                    <a:lnTo>
                      <a:pt x="139" y="1182"/>
                    </a:lnTo>
                    <a:lnTo>
                      <a:pt x="139" y="1201"/>
                    </a:lnTo>
                    <a:lnTo>
                      <a:pt x="141" y="1220"/>
                    </a:lnTo>
                    <a:lnTo>
                      <a:pt x="142" y="1241"/>
                    </a:lnTo>
                    <a:lnTo>
                      <a:pt x="142" y="1262"/>
                    </a:lnTo>
                    <a:lnTo>
                      <a:pt x="144" y="1284"/>
                    </a:lnTo>
                    <a:lnTo>
                      <a:pt x="146" y="1307"/>
                    </a:lnTo>
                    <a:lnTo>
                      <a:pt x="147" y="1327"/>
                    </a:lnTo>
                    <a:lnTo>
                      <a:pt x="149" y="1352"/>
                    </a:lnTo>
                    <a:lnTo>
                      <a:pt x="149" y="1377"/>
                    </a:lnTo>
                    <a:lnTo>
                      <a:pt x="146" y="1400"/>
                    </a:lnTo>
                    <a:lnTo>
                      <a:pt x="141" y="1422"/>
                    </a:lnTo>
                    <a:lnTo>
                      <a:pt x="136" y="1443"/>
                    </a:lnTo>
                    <a:lnTo>
                      <a:pt x="136" y="1451"/>
                    </a:lnTo>
                    <a:lnTo>
                      <a:pt x="136" y="1459"/>
                    </a:lnTo>
                    <a:lnTo>
                      <a:pt x="139" y="1473"/>
                    </a:lnTo>
                    <a:lnTo>
                      <a:pt x="141" y="1488"/>
                    </a:lnTo>
                    <a:lnTo>
                      <a:pt x="141" y="1494"/>
                    </a:lnTo>
                    <a:lnTo>
                      <a:pt x="139" y="1502"/>
                    </a:lnTo>
                    <a:lnTo>
                      <a:pt x="131" y="1532"/>
                    </a:lnTo>
                    <a:lnTo>
                      <a:pt x="125" y="1561"/>
                    </a:lnTo>
                    <a:lnTo>
                      <a:pt x="125" y="1577"/>
                    </a:lnTo>
                    <a:lnTo>
                      <a:pt x="123" y="1592"/>
                    </a:lnTo>
                    <a:lnTo>
                      <a:pt x="125" y="1608"/>
                    </a:lnTo>
                    <a:lnTo>
                      <a:pt x="126" y="1624"/>
                    </a:lnTo>
                    <a:lnTo>
                      <a:pt x="128" y="1665"/>
                    </a:lnTo>
                    <a:lnTo>
                      <a:pt x="131" y="1672"/>
                    </a:lnTo>
                    <a:lnTo>
                      <a:pt x="136" y="1677"/>
                    </a:lnTo>
                    <a:lnTo>
                      <a:pt x="141" y="1681"/>
                    </a:lnTo>
                    <a:lnTo>
                      <a:pt x="146" y="1686"/>
                    </a:lnTo>
                    <a:lnTo>
                      <a:pt x="154" y="1697"/>
                    </a:lnTo>
                    <a:lnTo>
                      <a:pt x="160" y="1710"/>
                    </a:lnTo>
                    <a:lnTo>
                      <a:pt x="166" y="1721"/>
                    </a:lnTo>
                    <a:lnTo>
                      <a:pt x="174" y="1734"/>
                    </a:lnTo>
                    <a:lnTo>
                      <a:pt x="187" y="1744"/>
                    </a:lnTo>
                    <a:lnTo>
                      <a:pt x="184" y="1872"/>
                    </a:lnTo>
                    <a:lnTo>
                      <a:pt x="184" y="1882"/>
                    </a:lnTo>
                    <a:lnTo>
                      <a:pt x="184" y="1891"/>
                    </a:lnTo>
                    <a:lnTo>
                      <a:pt x="179" y="1910"/>
                    </a:lnTo>
                    <a:lnTo>
                      <a:pt x="179" y="1918"/>
                    </a:lnTo>
                    <a:lnTo>
                      <a:pt x="179" y="1925"/>
                    </a:lnTo>
                    <a:lnTo>
                      <a:pt x="181" y="1942"/>
                    </a:lnTo>
                    <a:lnTo>
                      <a:pt x="182" y="1958"/>
                    </a:lnTo>
                    <a:lnTo>
                      <a:pt x="184" y="1968"/>
                    </a:lnTo>
                    <a:lnTo>
                      <a:pt x="182" y="1976"/>
                    </a:lnTo>
                    <a:lnTo>
                      <a:pt x="178" y="2034"/>
                    </a:lnTo>
                    <a:lnTo>
                      <a:pt x="171" y="2053"/>
                    </a:lnTo>
                    <a:lnTo>
                      <a:pt x="165" y="2072"/>
                    </a:lnTo>
                    <a:lnTo>
                      <a:pt x="162" y="2088"/>
                    </a:lnTo>
                    <a:lnTo>
                      <a:pt x="160" y="2104"/>
                    </a:lnTo>
                    <a:lnTo>
                      <a:pt x="160" y="2136"/>
                    </a:lnTo>
                    <a:lnTo>
                      <a:pt x="162" y="2168"/>
                    </a:lnTo>
                    <a:lnTo>
                      <a:pt x="160" y="2184"/>
                    </a:lnTo>
                    <a:lnTo>
                      <a:pt x="158" y="2199"/>
                    </a:lnTo>
                    <a:lnTo>
                      <a:pt x="154" y="2647"/>
                    </a:lnTo>
                    <a:lnTo>
                      <a:pt x="149" y="2673"/>
                    </a:lnTo>
                    <a:lnTo>
                      <a:pt x="142" y="2697"/>
                    </a:lnTo>
                    <a:lnTo>
                      <a:pt x="126" y="2743"/>
                    </a:lnTo>
                    <a:lnTo>
                      <a:pt x="123" y="2749"/>
                    </a:lnTo>
                    <a:lnTo>
                      <a:pt x="120" y="2754"/>
                    </a:lnTo>
                    <a:lnTo>
                      <a:pt x="117" y="2761"/>
                    </a:lnTo>
                    <a:lnTo>
                      <a:pt x="114" y="2765"/>
                    </a:lnTo>
                    <a:lnTo>
                      <a:pt x="117" y="2781"/>
                    </a:lnTo>
                    <a:lnTo>
                      <a:pt x="118" y="2794"/>
                    </a:lnTo>
                    <a:lnTo>
                      <a:pt x="115" y="2810"/>
                    </a:lnTo>
                    <a:lnTo>
                      <a:pt x="112" y="2825"/>
                    </a:lnTo>
                    <a:lnTo>
                      <a:pt x="107" y="2834"/>
                    </a:lnTo>
                    <a:lnTo>
                      <a:pt x="96" y="2838"/>
                    </a:lnTo>
                    <a:lnTo>
                      <a:pt x="85" y="2841"/>
                    </a:lnTo>
                    <a:lnTo>
                      <a:pt x="85" y="2846"/>
                    </a:lnTo>
                    <a:lnTo>
                      <a:pt x="82" y="2850"/>
                    </a:lnTo>
                    <a:lnTo>
                      <a:pt x="74" y="2860"/>
                    </a:lnTo>
                    <a:lnTo>
                      <a:pt x="62" y="2868"/>
                    </a:lnTo>
                    <a:lnTo>
                      <a:pt x="50" y="2878"/>
                    </a:lnTo>
                    <a:lnTo>
                      <a:pt x="21" y="2892"/>
                    </a:lnTo>
                    <a:lnTo>
                      <a:pt x="8" y="2898"/>
                    </a:lnTo>
                    <a:lnTo>
                      <a:pt x="0" y="2906"/>
                    </a:lnTo>
                    <a:lnTo>
                      <a:pt x="0" y="2916"/>
                    </a:lnTo>
                    <a:lnTo>
                      <a:pt x="1" y="2919"/>
                    </a:lnTo>
                    <a:lnTo>
                      <a:pt x="3" y="2922"/>
                    </a:lnTo>
                    <a:lnTo>
                      <a:pt x="6" y="2924"/>
                    </a:lnTo>
                    <a:lnTo>
                      <a:pt x="10" y="2926"/>
                    </a:lnTo>
                    <a:lnTo>
                      <a:pt x="21" y="2926"/>
                    </a:lnTo>
                    <a:lnTo>
                      <a:pt x="126" y="2916"/>
                    </a:lnTo>
                    <a:lnTo>
                      <a:pt x="139" y="2914"/>
                    </a:lnTo>
                    <a:lnTo>
                      <a:pt x="154" y="2914"/>
                    </a:lnTo>
                    <a:lnTo>
                      <a:pt x="166" y="2913"/>
                    </a:lnTo>
                    <a:lnTo>
                      <a:pt x="173" y="2911"/>
                    </a:lnTo>
                    <a:lnTo>
                      <a:pt x="178" y="2910"/>
                    </a:lnTo>
                    <a:lnTo>
                      <a:pt x="182" y="2906"/>
                    </a:lnTo>
                    <a:lnTo>
                      <a:pt x="187" y="2900"/>
                    </a:lnTo>
                    <a:lnTo>
                      <a:pt x="194" y="2887"/>
                    </a:lnTo>
                    <a:lnTo>
                      <a:pt x="200" y="2871"/>
                    </a:lnTo>
                    <a:lnTo>
                      <a:pt x="205" y="2860"/>
                    </a:lnTo>
                    <a:lnTo>
                      <a:pt x="245" y="2857"/>
                    </a:lnTo>
                    <a:lnTo>
                      <a:pt x="266" y="2855"/>
                    </a:lnTo>
                    <a:lnTo>
                      <a:pt x="272" y="2857"/>
                    </a:lnTo>
                    <a:lnTo>
                      <a:pt x="274" y="2858"/>
                    </a:lnTo>
                    <a:lnTo>
                      <a:pt x="274" y="2860"/>
                    </a:lnTo>
                    <a:lnTo>
                      <a:pt x="275" y="2878"/>
                    </a:lnTo>
                    <a:lnTo>
                      <a:pt x="279" y="2879"/>
                    </a:lnTo>
                    <a:lnTo>
                      <a:pt x="282" y="2881"/>
                    </a:lnTo>
                    <a:lnTo>
                      <a:pt x="285" y="2881"/>
                    </a:lnTo>
                    <a:lnTo>
                      <a:pt x="291" y="2878"/>
                    </a:lnTo>
                    <a:lnTo>
                      <a:pt x="291" y="2863"/>
                    </a:lnTo>
                    <a:lnTo>
                      <a:pt x="293" y="2857"/>
                    </a:lnTo>
                    <a:lnTo>
                      <a:pt x="295" y="2852"/>
                    </a:lnTo>
                    <a:lnTo>
                      <a:pt x="307" y="2847"/>
                    </a:lnTo>
                    <a:lnTo>
                      <a:pt x="319" y="2844"/>
                    </a:lnTo>
                    <a:lnTo>
                      <a:pt x="331" y="2841"/>
                    </a:lnTo>
                    <a:lnTo>
                      <a:pt x="341" y="2836"/>
                    </a:lnTo>
                    <a:lnTo>
                      <a:pt x="354" y="2821"/>
                    </a:lnTo>
                    <a:lnTo>
                      <a:pt x="379" y="2812"/>
                    </a:lnTo>
                    <a:lnTo>
                      <a:pt x="381" y="2805"/>
                    </a:lnTo>
                    <a:lnTo>
                      <a:pt x="381" y="2794"/>
                    </a:lnTo>
                    <a:lnTo>
                      <a:pt x="376" y="2761"/>
                    </a:lnTo>
                    <a:lnTo>
                      <a:pt x="373" y="2727"/>
                    </a:lnTo>
                    <a:lnTo>
                      <a:pt x="371" y="2705"/>
                    </a:lnTo>
                    <a:lnTo>
                      <a:pt x="360" y="2532"/>
                    </a:lnTo>
                    <a:lnTo>
                      <a:pt x="363" y="2496"/>
                    </a:lnTo>
                    <a:lnTo>
                      <a:pt x="360" y="2407"/>
                    </a:lnTo>
                    <a:lnTo>
                      <a:pt x="362" y="2336"/>
                    </a:lnTo>
                    <a:lnTo>
                      <a:pt x="363" y="2267"/>
                    </a:lnTo>
                    <a:lnTo>
                      <a:pt x="367" y="2202"/>
                    </a:lnTo>
                    <a:lnTo>
                      <a:pt x="370" y="2171"/>
                    </a:lnTo>
                    <a:lnTo>
                      <a:pt x="375" y="2141"/>
                    </a:lnTo>
                    <a:lnTo>
                      <a:pt x="381" y="2072"/>
                    </a:lnTo>
                    <a:lnTo>
                      <a:pt x="384" y="2064"/>
                    </a:lnTo>
                    <a:lnTo>
                      <a:pt x="389" y="2054"/>
                    </a:lnTo>
                    <a:lnTo>
                      <a:pt x="394" y="2046"/>
                    </a:lnTo>
                    <a:lnTo>
                      <a:pt x="397" y="2037"/>
                    </a:lnTo>
                    <a:lnTo>
                      <a:pt x="403" y="1970"/>
                    </a:lnTo>
                    <a:lnTo>
                      <a:pt x="426" y="1824"/>
                    </a:lnTo>
                    <a:lnTo>
                      <a:pt x="431" y="1795"/>
                    </a:lnTo>
                    <a:lnTo>
                      <a:pt x="434" y="1768"/>
                    </a:lnTo>
                    <a:lnTo>
                      <a:pt x="437" y="1742"/>
                    </a:lnTo>
                    <a:lnTo>
                      <a:pt x="445" y="1717"/>
                    </a:lnTo>
                    <a:lnTo>
                      <a:pt x="453" y="1693"/>
                    </a:lnTo>
                    <a:lnTo>
                      <a:pt x="463" y="1670"/>
                    </a:lnTo>
                    <a:lnTo>
                      <a:pt x="472" y="1648"/>
                    </a:lnTo>
                    <a:lnTo>
                      <a:pt x="480" y="1625"/>
                    </a:lnTo>
                    <a:lnTo>
                      <a:pt x="487" y="1605"/>
                    </a:lnTo>
                    <a:lnTo>
                      <a:pt x="493" y="1584"/>
                    </a:lnTo>
                    <a:lnTo>
                      <a:pt x="498" y="1572"/>
                    </a:lnTo>
                    <a:lnTo>
                      <a:pt x="501" y="1563"/>
                    </a:lnTo>
                    <a:lnTo>
                      <a:pt x="506" y="1553"/>
                    </a:lnTo>
                    <a:lnTo>
                      <a:pt x="512" y="1547"/>
                    </a:lnTo>
                    <a:lnTo>
                      <a:pt x="514" y="1560"/>
                    </a:lnTo>
                    <a:lnTo>
                      <a:pt x="516" y="1571"/>
                    </a:lnTo>
                    <a:lnTo>
                      <a:pt x="520" y="1588"/>
                    </a:lnTo>
                    <a:lnTo>
                      <a:pt x="519" y="1646"/>
                    </a:lnTo>
                    <a:lnTo>
                      <a:pt x="524" y="1672"/>
                    </a:lnTo>
                    <a:lnTo>
                      <a:pt x="525" y="1686"/>
                    </a:lnTo>
                    <a:lnTo>
                      <a:pt x="525" y="1701"/>
                    </a:lnTo>
                    <a:lnTo>
                      <a:pt x="522" y="1725"/>
                    </a:lnTo>
                    <a:lnTo>
                      <a:pt x="524" y="1779"/>
                    </a:lnTo>
                    <a:lnTo>
                      <a:pt x="524" y="1808"/>
                    </a:lnTo>
                    <a:lnTo>
                      <a:pt x="522" y="1835"/>
                    </a:lnTo>
                    <a:lnTo>
                      <a:pt x="522" y="1888"/>
                    </a:lnTo>
                    <a:lnTo>
                      <a:pt x="520" y="1933"/>
                    </a:lnTo>
                    <a:lnTo>
                      <a:pt x="519" y="1955"/>
                    </a:lnTo>
                    <a:lnTo>
                      <a:pt x="516" y="1974"/>
                    </a:lnTo>
                    <a:lnTo>
                      <a:pt x="514" y="1987"/>
                    </a:lnTo>
                    <a:lnTo>
                      <a:pt x="514" y="1998"/>
                    </a:lnTo>
                    <a:lnTo>
                      <a:pt x="514" y="2021"/>
                    </a:lnTo>
                    <a:lnTo>
                      <a:pt x="516" y="2042"/>
                    </a:lnTo>
                    <a:lnTo>
                      <a:pt x="516" y="2053"/>
                    </a:lnTo>
                    <a:lnTo>
                      <a:pt x="514" y="2062"/>
                    </a:lnTo>
                    <a:lnTo>
                      <a:pt x="514" y="2114"/>
                    </a:lnTo>
                    <a:lnTo>
                      <a:pt x="516" y="2183"/>
                    </a:lnTo>
                    <a:lnTo>
                      <a:pt x="514" y="2218"/>
                    </a:lnTo>
                    <a:lnTo>
                      <a:pt x="511" y="2250"/>
                    </a:lnTo>
                    <a:lnTo>
                      <a:pt x="500" y="2509"/>
                    </a:lnTo>
                    <a:lnTo>
                      <a:pt x="498" y="2525"/>
                    </a:lnTo>
                    <a:lnTo>
                      <a:pt x="496" y="2543"/>
                    </a:lnTo>
                    <a:lnTo>
                      <a:pt x="496" y="2578"/>
                    </a:lnTo>
                    <a:lnTo>
                      <a:pt x="495" y="2615"/>
                    </a:lnTo>
                    <a:lnTo>
                      <a:pt x="493" y="2633"/>
                    </a:lnTo>
                    <a:lnTo>
                      <a:pt x="492" y="2649"/>
                    </a:lnTo>
                    <a:lnTo>
                      <a:pt x="492" y="2698"/>
                    </a:lnTo>
                    <a:lnTo>
                      <a:pt x="488" y="2713"/>
                    </a:lnTo>
                    <a:lnTo>
                      <a:pt x="484" y="2730"/>
                    </a:lnTo>
                    <a:lnTo>
                      <a:pt x="480" y="2749"/>
                    </a:lnTo>
                    <a:lnTo>
                      <a:pt x="480" y="2759"/>
                    </a:lnTo>
                    <a:lnTo>
                      <a:pt x="482" y="2769"/>
                    </a:lnTo>
                    <a:lnTo>
                      <a:pt x="485" y="2777"/>
                    </a:lnTo>
                    <a:lnTo>
                      <a:pt x="492" y="2786"/>
                    </a:lnTo>
                    <a:lnTo>
                      <a:pt x="496" y="2796"/>
                    </a:lnTo>
                    <a:lnTo>
                      <a:pt x="501" y="2805"/>
                    </a:lnTo>
                    <a:lnTo>
                      <a:pt x="503" y="2818"/>
                    </a:lnTo>
                    <a:lnTo>
                      <a:pt x="503" y="2834"/>
                    </a:lnTo>
                    <a:lnTo>
                      <a:pt x="498" y="2868"/>
                    </a:lnTo>
                    <a:lnTo>
                      <a:pt x="495" y="2898"/>
                    </a:lnTo>
                    <a:lnTo>
                      <a:pt x="493" y="2911"/>
                    </a:lnTo>
                    <a:lnTo>
                      <a:pt x="496" y="2921"/>
                    </a:lnTo>
                    <a:lnTo>
                      <a:pt x="498" y="2924"/>
                    </a:lnTo>
                    <a:lnTo>
                      <a:pt x="501" y="2927"/>
                    </a:lnTo>
                    <a:lnTo>
                      <a:pt x="509" y="2932"/>
                    </a:lnTo>
                    <a:lnTo>
                      <a:pt x="530" y="2938"/>
                    </a:lnTo>
                    <a:lnTo>
                      <a:pt x="549" y="2948"/>
                    </a:lnTo>
                    <a:lnTo>
                      <a:pt x="560" y="2953"/>
                    </a:lnTo>
                    <a:lnTo>
                      <a:pt x="570" y="2956"/>
                    </a:lnTo>
                    <a:lnTo>
                      <a:pt x="578" y="2956"/>
                    </a:lnTo>
                    <a:lnTo>
                      <a:pt x="588" y="2954"/>
                    </a:lnTo>
                    <a:lnTo>
                      <a:pt x="599" y="2948"/>
                    </a:lnTo>
                    <a:lnTo>
                      <a:pt x="608" y="2942"/>
                    </a:lnTo>
                    <a:lnTo>
                      <a:pt x="618" y="2934"/>
                    </a:lnTo>
                    <a:lnTo>
                      <a:pt x="626" y="2926"/>
                    </a:lnTo>
                    <a:lnTo>
                      <a:pt x="631" y="2919"/>
                    </a:lnTo>
                    <a:lnTo>
                      <a:pt x="634" y="2914"/>
                    </a:lnTo>
                    <a:lnTo>
                      <a:pt x="636" y="2897"/>
                    </a:lnTo>
                    <a:lnTo>
                      <a:pt x="634" y="2887"/>
                    </a:lnTo>
                    <a:lnTo>
                      <a:pt x="634" y="2881"/>
                    </a:lnTo>
                    <a:lnTo>
                      <a:pt x="625" y="2874"/>
                    </a:lnTo>
                    <a:lnTo>
                      <a:pt x="623" y="2865"/>
                    </a:lnTo>
                    <a:lnTo>
                      <a:pt x="621" y="2847"/>
                    </a:lnTo>
                    <a:lnTo>
                      <a:pt x="620" y="2820"/>
                    </a:lnTo>
                    <a:lnTo>
                      <a:pt x="652" y="2812"/>
                    </a:lnTo>
                    <a:lnTo>
                      <a:pt x="668" y="2807"/>
                    </a:lnTo>
                    <a:lnTo>
                      <a:pt x="674" y="2804"/>
                    </a:lnTo>
                    <a:lnTo>
                      <a:pt x="681" y="2801"/>
                    </a:lnTo>
                    <a:lnTo>
                      <a:pt x="685" y="2727"/>
                    </a:lnTo>
                    <a:lnTo>
                      <a:pt x="681" y="2709"/>
                    </a:lnTo>
                    <a:lnTo>
                      <a:pt x="679" y="2700"/>
                    </a:lnTo>
                    <a:lnTo>
                      <a:pt x="681" y="2689"/>
                    </a:lnTo>
                    <a:lnTo>
                      <a:pt x="689" y="2604"/>
                    </a:lnTo>
                    <a:lnTo>
                      <a:pt x="689" y="2567"/>
                    </a:lnTo>
                    <a:lnTo>
                      <a:pt x="695" y="2532"/>
                    </a:lnTo>
                    <a:lnTo>
                      <a:pt x="698" y="2495"/>
                    </a:lnTo>
                    <a:lnTo>
                      <a:pt x="705" y="2424"/>
                    </a:lnTo>
                    <a:lnTo>
                      <a:pt x="711" y="2354"/>
                    </a:lnTo>
                    <a:lnTo>
                      <a:pt x="716" y="2317"/>
                    </a:lnTo>
                    <a:lnTo>
                      <a:pt x="721" y="2282"/>
                    </a:lnTo>
                    <a:lnTo>
                      <a:pt x="722" y="2258"/>
                    </a:lnTo>
                    <a:lnTo>
                      <a:pt x="724" y="2235"/>
                    </a:lnTo>
                    <a:lnTo>
                      <a:pt x="724" y="2213"/>
                    </a:lnTo>
                    <a:lnTo>
                      <a:pt x="727" y="2192"/>
                    </a:lnTo>
                    <a:lnTo>
                      <a:pt x="732" y="2107"/>
                    </a:lnTo>
                    <a:lnTo>
                      <a:pt x="738" y="2053"/>
                    </a:lnTo>
                    <a:lnTo>
                      <a:pt x="743" y="1998"/>
                    </a:lnTo>
                    <a:lnTo>
                      <a:pt x="748" y="1946"/>
                    </a:lnTo>
                    <a:lnTo>
                      <a:pt x="753" y="1920"/>
                    </a:lnTo>
                    <a:lnTo>
                      <a:pt x="757" y="1894"/>
                    </a:lnTo>
                    <a:lnTo>
                      <a:pt x="762" y="1838"/>
                    </a:lnTo>
                    <a:lnTo>
                      <a:pt x="769" y="1813"/>
                    </a:lnTo>
                    <a:lnTo>
                      <a:pt x="772" y="1785"/>
                    </a:lnTo>
                    <a:lnTo>
                      <a:pt x="778" y="1731"/>
                    </a:lnTo>
                    <a:lnTo>
                      <a:pt x="783" y="1675"/>
                    </a:lnTo>
                    <a:lnTo>
                      <a:pt x="786" y="1648"/>
                    </a:lnTo>
                    <a:lnTo>
                      <a:pt x="791" y="1619"/>
                    </a:lnTo>
                    <a:lnTo>
                      <a:pt x="809" y="1508"/>
                    </a:lnTo>
                    <a:lnTo>
                      <a:pt x="813" y="1489"/>
                    </a:lnTo>
                    <a:lnTo>
                      <a:pt x="817" y="1467"/>
                    </a:lnTo>
                    <a:lnTo>
                      <a:pt x="818" y="1444"/>
                    </a:lnTo>
                    <a:lnTo>
                      <a:pt x="818" y="1433"/>
                    </a:lnTo>
                    <a:lnTo>
                      <a:pt x="817" y="1422"/>
                    </a:lnTo>
                    <a:lnTo>
                      <a:pt x="807" y="1368"/>
                    </a:lnTo>
                    <a:lnTo>
                      <a:pt x="796" y="1318"/>
                    </a:lnTo>
                    <a:lnTo>
                      <a:pt x="794" y="1308"/>
                    </a:lnTo>
                    <a:lnTo>
                      <a:pt x="794" y="1300"/>
                    </a:lnTo>
                    <a:lnTo>
                      <a:pt x="794" y="1281"/>
                    </a:lnTo>
                    <a:lnTo>
                      <a:pt x="794" y="1262"/>
                    </a:lnTo>
                    <a:lnTo>
                      <a:pt x="793" y="1254"/>
                    </a:lnTo>
                    <a:lnTo>
                      <a:pt x="791" y="1246"/>
                    </a:lnTo>
                    <a:lnTo>
                      <a:pt x="793" y="1244"/>
                    </a:lnTo>
                    <a:lnTo>
                      <a:pt x="805" y="1254"/>
                    </a:lnTo>
                    <a:lnTo>
                      <a:pt x="823" y="1251"/>
                    </a:lnTo>
                    <a:lnTo>
                      <a:pt x="841" y="1246"/>
                    </a:lnTo>
                    <a:lnTo>
                      <a:pt x="855" y="1239"/>
                    </a:lnTo>
                    <a:lnTo>
                      <a:pt x="862" y="1235"/>
                    </a:lnTo>
                    <a:lnTo>
                      <a:pt x="865" y="1230"/>
                    </a:lnTo>
                    <a:lnTo>
                      <a:pt x="874" y="1204"/>
                    </a:lnTo>
                    <a:lnTo>
                      <a:pt x="879" y="1198"/>
                    </a:lnTo>
                    <a:lnTo>
                      <a:pt x="884" y="1191"/>
                    </a:lnTo>
                    <a:lnTo>
                      <a:pt x="894" y="1180"/>
                    </a:lnTo>
                    <a:lnTo>
                      <a:pt x="921" y="1139"/>
                    </a:lnTo>
                    <a:lnTo>
                      <a:pt x="934" y="1123"/>
                    </a:lnTo>
                    <a:lnTo>
                      <a:pt x="946" y="1107"/>
                    </a:lnTo>
                    <a:lnTo>
                      <a:pt x="961" y="1087"/>
                    </a:lnTo>
                    <a:lnTo>
                      <a:pt x="974" y="1065"/>
                    </a:lnTo>
                    <a:lnTo>
                      <a:pt x="986" y="1044"/>
                    </a:lnTo>
                    <a:lnTo>
                      <a:pt x="998" y="1020"/>
                    </a:lnTo>
                    <a:lnTo>
                      <a:pt x="1006" y="998"/>
                    </a:lnTo>
                    <a:lnTo>
                      <a:pt x="1010" y="975"/>
                    </a:lnTo>
                    <a:lnTo>
                      <a:pt x="1010" y="966"/>
                    </a:lnTo>
                    <a:lnTo>
                      <a:pt x="1010" y="958"/>
                    </a:lnTo>
                    <a:lnTo>
                      <a:pt x="1007" y="938"/>
                    </a:lnTo>
                    <a:lnTo>
                      <a:pt x="1001" y="918"/>
                    </a:lnTo>
                    <a:lnTo>
                      <a:pt x="993" y="897"/>
                    </a:lnTo>
                    <a:lnTo>
                      <a:pt x="975" y="857"/>
                    </a:lnTo>
                    <a:lnTo>
                      <a:pt x="962" y="826"/>
                    </a:lnTo>
                    <a:close/>
                    <a:moveTo>
                      <a:pt x="194" y="1678"/>
                    </a:moveTo>
                    <a:lnTo>
                      <a:pt x="194" y="1678"/>
                    </a:lnTo>
                    <a:lnTo>
                      <a:pt x="192" y="1680"/>
                    </a:lnTo>
                    <a:lnTo>
                      <a:pt x="189" y="1678"/>
                    </a:lnTo>
                    <a:lnTo>
                      <a:pt x="182" y="1654"/>
                    </a:lnTo>
                    <a:lnTo>
                      <a:pt x="179" y="1640"/>
                    </a:lnTo>
                    <a:lnTo>
                      <a:pt x="178" y="1627"/>
                    </a:lnTo>
                    <a:lnTo>
                      <a:pt x="178" y="1614"/>
                    </a:lnTo>
                    <a:lnTo>
                      <a:pt x="179" y="1601"/>
                    </a:lnTo>
                    <a:lnTo>
                      <a:pt x="184" y="1590"/>
                    </a:lnTo>
                    <a:lnTo>
                      <a:pt x="187" y="1585"/>
                    </a:lnTo>
                    <a:lnTo>
                      <a:pt x="192" y="1580"/>
                    </a:lnTo>
                    <a:lnTo>
                      <a:pt x="198" y="1580"/>
                    </a:lnTo>
                    <a:lnTo>
                      <a:pt x="202" y="1584"/>
                    </a:lnTo>
                    <a:lnTo>
                      <a:pt x="200" y="1630"/>
                    </a:lnTo>
                    <a:lnTo>
                      <a:pt x="198" y="1656"/>
                    </a:lnTo>
                    <a:lnTo>
                      <a:pt x="194" y="1678"/>
                    </a:lnTo>
                    <a:close/>
                    <a:moveTo>
                      <a:pt x="253" y="1355"/>
                    </a:moveTo>
                    <a:lnTo>
                      <a:pt x="253" y="1355"/>
                    </a:lnTo>
                    <a:lnTo>
                      <a:pt x="247" y="1356"/>
                    </a:lnTo>
                    <a:lnTo>
                      <a:pt x="242" y="1358"/>
                    </a:lnTo>
                    <a:lnTo>
                      <a:pt x="234" y="1366"/>
                    </a:lnTo>
                    <a:lnTo>
                      <a:pt x="235" y="1372"/>
                    </a:lnTo>
                    <a:lnTo>
                      <a:pt x="237" y="1376"/>
                    </a:lnTo>
                    <a:lnTo>
                      <a:pt x="243" y="1384"/>
                    </a:lnTo>
                    <a:lnTo>
                      <a:pt x="242" y="1395"/>
                    </a:lnTo>
                    <a:lnTo>
                      <a:pt x="237" y="1406"/>
                    </a:lnTo>
                    <a:lnTo>
                      <a:pt x="232" y="1416"/>
                    </a:lnTo>
                    <a:lnTo>
                      <a:pt x="229" y="1425"/>
                    </a:lnTo>
                    <a:lnTo>
                      <a:pt x="215" y="1484"/>
                    </a:lnTo>
                    <a:lnTo>
                      <a:pt x="213" y="1484"/>
                    </a:lnTo>
                    <a:lnTo>
                      <a:pt x="211" y="1467"/>
                    </a:lnTo>
                    <a:lnTo>
                      <a:pt x="210" y="1449"/>
                    </a:lnTo>
                    <a:lnTo>
                      <a:pt x="211" y="1416"/>
                    </a:lnTo>
                    <a:lnTo>
                      <a:pt x="218" y="1382"/>
                    </a:lnTo>
                    <a:lnTo>
                      <a:pt x="224" y="1348"/>
                    </a:lnTo>
                    <a:lnTo>
                      <a:pt x="240" y="1283"/>
                    </a:lnTo>
                    <a:lnTo>
                      <a:pt x="248" y="1251"/>
                    </a:lnTo>
                    <a:lnTo>
                      <a:pt x="255" y="1217"/>
                    </a:lnTo>
                    <a:lnTo>
                      <a:pt x="256" y="1220"/>
                    </a:lnTo>
                    <a:lnTo>
                      <a:pt x="256" y="1225"/>
                    </a:lnTo>
                    <a:lnTo>
                      <a:pt x="253" y="1233"/>
                    </a:lnTo>
                    <a:lnTo>
                      <a:pt x="250" y="1243"/>
                    </a:lnTo>
                    <a:lnTo>
                      <a:pt x="250" y="1247"/>
                    </a:lnTo>
                    <a:lnTo>
                      <a:pt x="251" y="1252"/>
                    </a:lnTo>
                    <a:lnTo>
                      <a:pt x="256" y="1257"/>
                    </a:lnTo>
                    <a:lnTo>
                      <a:pt x="255" y="1305"/>
                    </a:lnTo>
                    <a:lnTo>
                      <a:pt x="253" y="1355"/>
                    </a:lnTo>
                    <a:close/>
                    <a:moveTo>
                      <a:pt x="303" y="1033"/>
                    </a:moveTo>
                    <a:lnTo>
                      <a:pt x="303" y="1033"/>
                    </a:lnTo>
                    <a:lnTo>
                      <a:pt x="295" y="1063"/>
                    </a:lnTo>
                    <a:lnTo>
                      <a:pt x="287" y="1092"/>
                    </a:lnTo>
                    <a:lnTo>
                      <a:pt x="279" y="1119"/>
                    </a:lnTo>
                    <a:lnTo>
                      <a:pt x="271" y="1147"/>
                    </a:lnTo>
                    <a:lnTo>
                      <a:pt x="271" y="1179"/>
                    </a:lnTo>
                    <a:lnTo>
                      <a:pt x="261" y="1201"/>
                    </a:lnTo>
                    <a:lnTo>
                      <a:pt x="258" y="1201"/>
                    </a:lnTo>
                    <a:lnTo>
                      <a:pt x="258" y="1195"/>
                    </a:lnTo>
                    <a:lnTo>
                      <a:pt x="261" y="1183"/>
                    </a:lnTo>
                    <a:lnTo>
                      <a:pt x="263" y="1172"/>
                    </a:lnTo>
                    <a:lnTo>
                      <a:pt x="263" y="1159"/>
                    </a:lnTo>
                    <a:lnTo>
                      <a:pt x="266" y="1148"/>
                    </a:lnTo>
                    <a:lnTo>
                      <a:pt x="272" y="1119"/>
                    </a:lnTo>
                    <a:lnTo>
                      <a:pt x="275" y="1089"/>
                    </a:lnTo>
                    <a:lnTo>
                      <a:pt x="277" y="1073"/>
                    </a:lnTo>
                    <a:lnTo>
                      <a:pt x="277" y="1057"/>
                    </a:lnTo>
                    <a:lnTo>
                      <a:pt x="277" y="1041"/>
                    </a:lnTo>
                    <a:lnTo>
                      <a:pt x="274" y="1025"/>
                    </a:lnTo>
                    <a:lnTo>
                      <a:pt x="272" y="962"/>
                    </a:lnTo>
                    <a:lnTo>
                      <a:pt x="269" y="938"/>
                    </a:lnTo>
                    <a:lnTo>
                      <a:pt x="269" y="914"/>
                    </a:lnTo>
                    <a:lnTo>
                      <a:pt x="269" y="865"/>
                    </a:lnTo>
                    <a:lnTo>
                      <a:pt x="269" y="834"/>
                    </a:lnTo>
                    <a:lnTo>
                      <a:pt x="272" y="842"/>
                    </a:lnTo>
                    <a:lnTo>
                      <a:pt x="275" y="852"/>
                    </a:lnTo>
                    <a:lnTo>
                      <a:pt x="280" y="873"/>
                    </a:lnTo>
                    <a:lnTo>
                      <a:pt x="282" y="897"/>
                    </a:lnTo>
                    <a:lnTo>
                      <a:pt x="285" y="919"/>
                    </a:lnTo>
                    <a:lnTo>
                      <a:pt x="291" y="945"/>
                    </a:lnTo>
                    <a:lnTo>
                      <a:pt x="299" y="974"/>
                    </a:lnTo>
                    <a:lnTo>
                      <a:pt x="301" y="988"/>
                    </a:lnTo>
                    <a:lnTo>
                      <a:pt x="303" y="1002"/>
                    </a:lnTo>
                    <a:lnTo>
                      <a:pt x="304" y="1018"/>
                    </a:lnTo>
                    <a:lnTo>
                      <a:pt x="303" y="1033"/>
                    </a:lnTo>
                    <a:close/>
                    <a:moveTo>
                      <a:pt x="898" y="980"/>
                    </a:moveTo>
                    <a:lnTo>
                      <a:pt x="898" y="980"/>
                    </a:lnTo>
                    <a:lnTo>
                      <a:pt x="895" y="986"/>
                    </a:lnTo>
                    <a:lnTo>
                      <a:pt x="892" y="993"/>
                    </a:lnTo>
                    <a:lnTo>
                      <a:pt x="886" y="1004"/>
                    </a:lnTo>
                    <a:lnTo>
                      <a:pt x="876" y="1015"/>
                    </a:lnTo>
                    <a:lnTo>
                      <a:pt x="870" y="1028"/>
                    </a:lnTo>
                    <a:lnTo>
                      <a:pt x="857" y="1063"/>
                    </a:lnTo>
                    <a:lnTo>
                      <a:pt x="847" y="1086"/>
                    </a:lnTo>
                    <a:lnTo>
                      <a:pt x="836" y="1110"/>
                    </a:lnTo>
                    <a:lnTo>
                      <a:pt x="829" y="1123"/>
                    </a:lnTo>
                    <a:lnTo>
                      <a:pt x="823" y="1134"/>
                    </a:lnTo>
                    <a:lnTo>
                      <a:pt x="815" y="1142"/>
                    </a:lnTo>
                    <a:lnTo>
                      <a:pt x="809" y="1147"/>
                    </a:lnTo>
                    <a:lnTo>
                      <a:pt x="805" y="1139"/>
                    </a:lnTo>
                    <a:lnTo>
                      <a:pt x="802" y="1131"/>
                    </a:lnTo>
                    <a:lnTo>
                      <a:pt x="789" y="1113"/>
                    </a:lnTo>
                    <a:lnTo>
                      <a:pt x="764" y="1084"/>
                    </a:lnTo>
                    <a:lnTo>
                      <a:pt x="757" y="1070"/>
                    </a:lnTo>
                    <a:lnTo>
                      <a:pt x="754" y="1065"/>
                    </a:lnTo>
                    <a:lnTo>
                      <a:pt x="749" y="1063"/>
                    </a:lnTo>
                    <a:lnTo>
                      <a:pt x="745" y="1062"/>
                    </a:lnTo>
                    <a:lnTo>
                      <a:pt x="740" y="1058"/>
                    </a:lnTo>
                    <a:lnTo>
                      <a:pt x="730" y="1033"/>
                    </a:lnTo>
                    <a:lnTo>
                      <a:pt x="722" y="1006"/>
                    </a:lnTo>
                    <a:lnTo>
                      <a:pt x="717" y="978"/>
                    </a:lnTo>
                    <a:lnTo>
                      <a:pt x="714" y="950"/>
                    </a:lnTo>
                    <a:lnTo>
                      <a:pt x="714" y="919"/>
                    </a:lnTo>
                    <a:lnTo>
                      <a:pt x="716" y="889"/>
                    </a:lnTo>
                    <a:lnTo>
                      <a:pt x="721" y="860"/>
                    </a:lnTo>
                    <a:lnTo>
                      <a:pt x="727" y="829"/>
                    </a:lnTo>
                    <a:lnTo>
                      <a:pt x="732" y="796"/>
                    </a:lnTo>
                    <a:lnTo>
                      <a:pt x="738" y="775"/>
                    </a:lnTo>
                    <a:lnTo>
                      <a:pt x="741" y="764"/>
                    </a:lnTo>
                    <a:lnTo>
                      <a:pt x="745" y="754"/>
                    </a:lnTo>
                    <a:lnTo>
                      <a:pt x="753" y="745"/>
                    </a:lnTo>
                    <a:lnTo>
                      <a:pt x="756" y="740"/>
                    </a:lnTo>
                    <a:lnTo>
                      <a:pt x="759" y="732"/>
                    </a:lnTo>
                    <a:lnTo>
                      <a:pt x="764" y="737"/>
                    </a:lnTo>
                    <a:lnTo>
                      <a:pt x="769" y="743"/>
                    </a:lnTo>
                    <a:lnTo>
                      <a:pt x="780" y="764"/>
                    </a:lnTo>
                    <a:lnTo>
                      <a:pt x="801" y="801"/>
                    </a:lnTo>
                    <a:lnTo>
                      <a:pt x="810" y="815"/>
                    </a:lnTo>
                    <a:lnTo>
                      <a:pt x="821" y="826"/>
                    </a:lnTo>
                    <a:lnTo>
                      <a:pt x="833" y="839"/>
                    </a:lnTo>
                    <a:lnTo>
                      <a:pt x="842" y="852"/>
                    </a:lnTo>
                    <a:lnTo>
                      <a:pt x="852" y="871"/>
                    </a:lnTo>
                    <a:lnTo>
                      <a:pt x="860" y="889"/>
                    </a:lnTo>
                    <a:lnTo>
                      <a:pt x="868" y="908"/>
                    </a:lnTo>
                    <a:lnTo>
                      <a:pt x="878" y="926"/>
                    </a:lnTo>
                    <a:lnTo>
                      <a:pt x="884" y="937"/>
                    </a:lnTo>
                    <a:lnTo>
                      <a:pt x="892" y="950"/>
                    </a:lnTo>
                    <a:lnTo>
                      <a:pt x="895" y="956"/>
                    </a:lnTo>
                    <a:lnTo>
                      <a:pt x="898" y="964"/>
                    </a:lnTo>
                    <a:lnTo>
                      <a:pt x="898" y="972"/>
                    </a:lnTo>
                    <a:lnTo>
                      <a:pt x="898" y="980"/>
                    </a:lnTo>
                    <a:close/>
                  </a:path>
                </a:pathLst>
              </a:custGeom>
              <a:solidFill>
                <a:schemeClr val="accent5"/>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grpSp>
          <p:nvGrpSpPr>
            <p:cNvPr id="56" name="Gruppieren 33"/>
            <p:cNvGrpSpPr/>
            <p:nvPr/>
          </p:nvGrpSpPr>
          <p:grpSpPr>
            <a:xfrm>
              <a:off x="3128576" y="2594981"/>
              <a:ext cx="939368" cy="1409690"/>
              <a:chOff x="3506739" y="2431056"/>
              <a:chExt cx="939368" cy="1409690"/>
            </a:xfrm>
          </p:grpSpPr>
          <p:sp>
            <p:nvSpPr>
              <p:cNvPr id="59" name="Ellipse 4"/>
              <p:cNvSpPr/>
              <p:nvPr/>
            </p:nvSpPr>
            <p:spPr>
              <a:xfrm>
                <a:off x="3506739" y="3579680"/>
                <a:ext cx="939368" cy="261066"/>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Freeform 10"/>
              <p:cNvSpPr>
                <a:spLocks noEditPoints="1"/>
              </p:cNvSpPr>
              <p:nvPr/>
            </p:nvSpPr>
            <p:spPr bwMode="auto">
              <a:xfrm rot="21317180">
                <a:off x="3760248" y="2431056"/>
                <a:ext cx="427798" cy="1291552"/>
              </a:xfrm>
              <a:custGeom>
                <a:avLst/>
                <a:gdLst>
                  <a:gd name="T0" fmla="*/ 879 w 943"/>
                  <a:gd name="T1" fmla="*/ 962 h 2850"/>
                  <a:gd name="T2" fmla="*/ 897 w 943"/>
                  <a:gd name="T3" fmla="*/ 760 h 2850"/>
                  <a:gd name="T4" fmla="*/ 881 w 943"/>
                  <a:gd name="T5" fmla="*/ 603 h 2850"/>
                  <a:gd name="T6" fmla="*/ 796 w 943"/>
                  <a:gd name="T7" fmla="*/ 525 h 2850"/>
                  <a:gd name="T8" fmla="*/ 679 w 943"/>
                  <a:gd name="T9" fmla="*/ 443 h 2850"/>
                  <a:gd name="T10" fmla="*/ 696 w 943"/>
                  <a:gd name="T11" fmla="*/ 371 h 2850"/>
                  <a:gd name="T12" fmla="*/ 740 w 943"/>
                  <a:gd name="T13" fmla="*/ 282 h 2850"/>
                  <a:gd name="T14" fmla="*/ 720 w 943"/>
                  <a:gd name="T15" fmla="*/ 136 h 2850"/>
                  <a:gd name="T16" fmla="*/ 685 w 943"/>
                  <a:gd name="T17" fmla="*/ 65 h 2850"/>
                  <a:gd name="T18" fmla="*/ 652 w 943"/>
                  <a:gd name="T19" fmla="*/ 16 h 2850"/>
                  <a:gd name="T20" fmla="*/ 533 w 943"/>
                  <a:gd name="T21" fmla="*/ 6 h 2850"/>
                  <a:gd name="T22" fmla="*/ 431 w 943"/>
                  <a:gd name="T23" fmla="*/ 61 h 2850"/>
                  <a:gd name="T24" fmla="*/ 418 w 943"/>
                  <a:gd name="T25" fmla="*/ 205 h 2850"/>
                  <a:gd name="T26" fmla="*/ 493 w 943"/>
                  <a:gd name="T27" fmla="*/ 350 h 2850"/>
                  <a:gd name="T28" fmla="*/ 455 w 943"/>
                  <a:gd name="T29" fmla="*/ 419 h 2850"/>
                  <a:gd name="T30" fmla="*/ 416 w 943"/>
                  <a:gd name="T31" fmla="*/ 440 h 2850"/>
                  <a:gd name="T32" fmla="*/ 320 w 943"/>
                  <a:gd name="T33" fmla="*/ 483 h 2850"/>
                  <a:gd name="T34" fmla="*/ 218 w 943"/>
                  <a:gd name="T35" fmla="*/ 551 h 2850"/>
                  <a:gd name="T36" fmla="*/ 163 w 943"/>
                  <a:gd name="T37" fmla="*/ 722 h 2850"/>
                  <a:gd name="T38" fmla="*/ 150 w 943"/>
                  <a:gd name="T39" fmla="*/ 922 h 2850"/>
                  <a:gd name="T40" fmla="*/ 136 w 943"/>
                  <a:gd name="T41" fmla="*/ 1266 h 2850"/>
                  <a:gd name="T42" fmla="*/ 141 w 943"/>
                  <a:gd name="T43" fmla="*/ 1473 h 2850"/>
                  <a:gd name="T44" fmla="*/ 149 w 943"/>
                  <a:gd name="T45" fmla="*/ 1604 h 2850"/>
                  <a:gd name="T46" fmla="*/ 197 w 943"/>
                  <a:gd name="T47" fmla="*/ 1934 h 2850"/>
                  <a:gd name="T48" fmla="*/ 133 w 943"/>
                  <a:gd name="T49" fmla="*/ 2190 h 2850"/>
                  <a:gd name="T50" fmla="*/ 53 w 943"/>
                  <a:gd name="T51" fmla="*/ 2663 h 2850"/>
                  <a:gd name="T52" fmla="*/ 14 w 943"/>
                  <a:gd name="T53" fmla="*/ 2796 h 2850"/>
                  <a:gd name="T54" fmla="*/ 94 w 943"/>
                  <a:gd name="T55" fmla="*/ 2850 h 2850"/>
                  <a:gd name="T56" fmla="*/ 179 w 943"/>
                  <a:gd name="T57" fmla="*/ 2812 h 2850"/>
                  <a:gd name="T58" fmla="*/ 243 w 943"/>
                  <a:gd name="T59" fmla="*/ 2720 h 2850"/>
                  <a:gd name="T60" fmla="*/ 266 w 943"/>
                  <a:gd name="T61" fmla="*/ 2616 h 2850"/>
                  <a:gd name="T62" fmla="*/ 399 w 943"/>
                  <a:gd name="T63" fmla="*/ 2099 h 2850"/>
                  <a:gd name="T64" fmla="*/ 472 w 943"/>
                  <a:gd name="T65" fmla="*/ 1776 h 2850"/>
                  <a:gd name="T66" fmla="*/ 523 w 943"/>
                  <a:gd name="T67" fmla="*/ 1691 h 2850"/>
                  <a:gd name="T68" fmla="*/ 519 w 943"/>
                  <a:gd name="T69" fmla="*/ 1878 h 2850"/>
                  <a:gd name="T70" fmla="*/ 483 w 943"/>
                  <a:gd name="T71" fmla="*/ 2217 h 2850"/>
                  <a:gd name="T72" fmla="*/ 443 w 943"/>
                  <a:gd name="T73" fmla="*/ 2507 h 2850"/>
                  <a:gd name="T74" fmla="*/ 413 w 943"/>
                  <a:gd name="T75" fmla="*/ 2765 h 2850"/>
                  <a:gd name="T76" fmla="*/ 499 w 943"/>
                  <a:gd name="T77" fmla="*/ 2791 h 2850"/>
                  <a:gd name="T78" fmla="*/ 576 w 943"/>
                  <a:gd name="T79" fmla="*/ 2837 h 2850"/>
                  <a:gd name="T80" fmla="*/ 671 w 943"/>
                  <a:gd name="T81" fmla="*/ 2799 h 2850"/>
                  <a:gd name="T82" fmla="*/ 615 w 943"/>
                  <a:gd name="T83" fmla="*/ 2696 h 2850"/>
                  <a:gd name="T84" fmla="*/ 666 w 943"/>
                  <a:gd name="T85" fmla="*/ 2445 h 2850"/>
                  <a:gd name="T86" fmla="*/ 696 w 943"/>
                  <a:gd name="T87" fmla="*/ 2192 h 2850"/>
                  <a:gd name="T88" fmla="*/ 829 w 943"/>
                  <a:gd name="T89" fmla="*/ 1580 h 2850"/>
                  <a:gd name="T90" fmla="*/ 841 w 943"/>
                  <a:gd name="T91" fmla="*/ 1345 h 2850"/>
                  <a:gd name="T92" fmla="*/ 858 w 943"/>
                  <a:gd name="T93" fmla="*/ 1436 h 2850"/>
                  <a:gd name="T94" fmla="*/ 857 w 943"/>
                  <a:gd name="T95" fmla="*/ 1507 h 2850"/>
                  <a:gd name="T96" fmla="*/ 876 w 943"/>
                  <a:gd name="T97" fmla="*/ 1585 h 2850"/>
                  <a:gd name="T98" fmla="*/ 841 w 943"/>
                  <a:gd name="T99" fmla="*/ 1659 h 2850"/>
                  <a:gd name="T100" fmla="*/ 927 w 943"/>
                  <a:gd name="T101" fmla="*/ 1599 h 2850"/>
                  <a:gd name="T102" fmla="*/ 937 w 943"/>
                  <a:gd name="T103" fmla="*/ 1442 h 2850"/>
                  <a:gd name="T104" fmla="*/ 259 w 943"/>
                  <a:gd name="T105" fmla="*/ 1295 h 2850"/>
                  <a:gd name="T106" fmla="*/ 245 w 943"/>
                  <a:gd name="T107" fmla="*/ 1402 h 2850"/>
                  <a:gd name="T108" fmla="*/ 240 w 943"/>
                  <a:gd name="T109" fmla="*/ 1390 h 2850"/>
                  <a:gd name="T110" fmla="*/ 290 w 943"/>
                  <a:gd name="T111" fmla="*/ 888 h 2850"/>
                  <a:gd name="T112" fmla="*/ 315 w 943"/>
                  <a:gd name="T113" fmla="*/ 1015 h 2850"/>
                  <a:gd name="T114" fmla="*/ 310 w 943"/>
                  <a:gd name="T115" fmla="*/ 1119 h 285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943"/>
                  <a:gd name="T175" fmla="*/ 0 h 2850"/>
                  <a:gd name="T176" fmla="*/ 943 w 943"/>
                  <a:gd name="T177" fmla="*/ 2850 h 285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943" h="2850">
                    <a:moveTo>
                      <a:pt x="937" y="1442"/>
                    </a:moveTo>
                    <a:lnTo>
                      <a:pt x="937" y="1442"/>
                    </a:lnTo>
                    <a:lnTo>
                      <a:pt x="916" y="1241"/>
                    </a:lnTo>
                    <a:lnTo>
                      <a:pt x="911" y="1141"/>
                    </a:lnTo>
                    <a:lnTo>
                      <a:pt x="895" y="1055"/>
                    </a:lnTo>
                    <a:lnTo>
                      <a:pt x="887" y="1010"/>
                    </a:lnTo>
                    <a:lnTo>
                      <a:pt x="879" y="962"/>
                    </a:lnTo>
                    <a:lnTo>
                      <a:pt x="874" y="914"/>
                    </a:lnTo>
                    <a:lnTo>
                      <a:pt x="873" y="866"/>
                    </a:lnTo>
                    <a:lnTo>
                      <a:pt x="873" y="842"/>
                    </a:lnTo>
                    <a:lnTo>
                      <a:pt x="874" y="816"/>
                    </a:lnTo>
                    <a:lnTo>
                      <a:pt x="877" y="792"/>
                    </a:lnTo>
                    <a:lnTo>
                      <a:pt x="881" y="770"/>
                    </a:lnTo>
                    <a:lnTo>
                      <a:pt x="889" y="765"/>
                    </a:lnTo>
                    <a:lnTo>
                      <a:pt x="897" y="760"/>
                    </a:lnTo>
                    <a:lnTo>
                      <a:pt x="905" y="754"/>
                    </a:lnTo>
                    <a:lnTo>
                      <a:pt x="906" y="751"/>
                    </a:lnTo>
                    <a:lnTo>
                      <a:pt x="908" y="746"/>
                    </a:lnTo>
                    <a:lnTo>
                      <a:pt x="901" y="723"/>
                    </a:lnTo>
                    <a:lnTo>
                      <a:pt x="897" y="701"/>
                    </a:lnTo>
                    <a:lnTo>
                      <a:pt x="889" y="651"/>
                    </a:lnTo>
                    <a:lnTo>
                      <a:pt x="885" y="627"/>
                    </a:lnTo>
                    <a:lnTo>
                      <a:pt x="881" y="603"/>
                    </a:lnTo>
                    <a:lnTo>
                      <a:pt x="874" y="583"/>
                    </a:lnTo>
                    <a:lnTo>
                      <a:pt x="869" y="575"/>
                    </a:lnTo>
                    <a:lnTo>
                      <a:pt x="863" y="565"/>
                    </a:lnTo>
                    <a:lnTo>
                      <a:pt x="853" y="555"/>
                    </a:lnTo>
                    <a:lnTo>
                      <a:pt x="844" y="546"/>
                    </a:lnTo>
                    <a:lnTo>
                      <a:pt x="833" y="539"/>
                    </a:lnTo>
                    <a:lnTo>
                      <a:pt x="821" y="533"/>
                    </a:lnTo>
                    <a:lnTo>
                      <a:pt x="796" y="525"/>
                    </a:lnTo>
                    <a:lnTo>
                      <a:pt x="770" y="519"/>
                    </a:lnTo>
                    <a:lnTo>
                      <a:pt x="745" y="509"/>
                    </a:lnTo>
                    <a:lnTo>
                      <a:pt x="732" y="503"/>
                    </a:lnTo>
                    <a:lnTo>
                      <a:pt x="720" y="496"/>
                    </a:lnTo>
                    <a:lnTo>
                      <a:pt x="708" y="486"/>
                    </a:lnTo>
                    <a:lnTo>
                      <a:pt x="698" y="475"/>
                    </a:lnTo>
                    <a:lnTo>
                      <a:pt x="687" y="461"/>
                    </a:lnTo>
                    <a:lnTo>
                      <a:pt x="679" y="443"/>
                    </a:lnTo>
                    <a:lnTo>
                      <a:pt x="674" y="432"/>
                    </a:lnTo>
                    <a:lnTo>
                      <a:pt x="671" y="416"/>
                    </a:lnTo>
                    <a:lnTo>
                      <a:pt x="669" y="400"/>
                    </a:lnTo>
                    <a:lnTo>
                      <a:pt x="671" y="392"/>
                    </a:lnTo>
                    <a:lnTo>
                      <a:pt x="672" y="384"/>
                    </a:lnTo>
                    <a:lnTo>
                      <a:pt x="677" y="379"/>
                    </a:lnTo>
                    <a:lnTo>
                      <a:pt x="684" y="376"/>
                    </a:lnTo>
                    <a:lnTo>
                      <a:pt x="696" y="371"/>
                    </a:lnTo>
                    <a:lnTo>
                      <a:pt x="703" y="368"/>
                    </a:lnTo>
                    <a:lnTo>
                      <a:pt x="709" y="365"/>
                    </a:lnTo>
                    <a:lnTo>
                      <a:pt x="716" y="362"/>
                    </a:lnTo>
                    <a:lnTo>
                      <a:pt x="719" y="355"/>
                    </a:lnTo>
                    <a:lnTo>
                      <a:pt x="725" y="342"/>
                    </a:lnTo>
                    <a:lnTo>
                      <a:pt x="730" y="325"/>
                    </a:lnTo>
                    <a:lnTo>
                      <a:pt x="735" y="304"/>
                    </a:lnTo>
                    <a:lnTo>
                      <a:pt x="740" y="282"/>
                    </a:lnTo>
                    <a:lnTo>
                      <a:pt x="741" y="261"/>
                    </a:lnTo>
                    <a:lnTo>
                      <a:pt x="741" y="238"/>
                    </a:lnTo>
                    <a:lnTo>
                      <a:pt x="741" y="219"/>
                    </a:lnTo>
                    <a:lnTo>
                      <a:pt x="736" y="203"/>
                    </a:lnTo>
                    <a:lnTo>
                      <a:pt x="716" y="171"/>
                    </a:lnTo>
                    <a:lnTo>
                      <a:pt x="720" y="136"/>
                    </a:lnTo>
                    <a:lnTo>
                      <a:pt x="719" y="129"/>
                    </a:lnTo>
                    <a:lnTo>
                      <a:pt x="714" y="123"/>
                    </a:lnTo>
                    <a:lnTo>
                      <a:pt x="704" y="107"/>
                    </a:lnTo>
                    <a:lnTo>
                      <a:pt x="695" y="93"/>
                    </a:lnTo>
                    <a:lnTo>
                      <a:pt x="687" y="80"/>
                    </a:lnTo>
                    <a:lnTo>
                      <a:pt x="685" y="77"/>
                    </a:lnTo>
                    <a:lnTo>
                      <a:pt x="685" y="73"/>
                    </a:lnTo>
                    <a:lnTo>
                      <a:pt x="685" y="65"/>
                    </a:lnTo>
                    <a:lnTo>
                      <a:pt x="687" y="59"/>
                    </a:lnTo>
                    <a:lnTo>
                      <a:pt x="687" y="54"/>
                    </a:lnTo>
                    <a:lnTo>
                      <a:pt x="685" y="49"/>
                    </a:lnTo>
                    <a:lnTo>
                      <a:pt x="680" y="43"/>
                    </a:lnTo>
                    <a:lnTo>
                      <a:pt x="676" y="35"/>
                    </a:lnTo>
                    <a:lnTo>
                      <a:pt x="671" y="30"/>
                    </a:lnTo>
                    <a:lnTo>
                      <a:pt x="664" y="24"/>
                    </a:lnTo>
                    <a:lnTo>
                      <a:pt x="652" y="16"/>
                    </a:lnTo>
                    <a:lnTo>
                      <a:pt x="634" y="9"/>
                    </a:lnTo>
                    <a:lnTo>
                      <a:pt x="616" y="4"/>
                    </a:lnTo>
                    <a:lnTo>
                      <a:pt x="596" y="1"/>
                    </a:lnTo>
                    <a:lnTo>
                      <a:pt x="575" y="0"/>
                    </a:lnTo>
                    <a:lnTo>
                      <a:pt x="551" y="0"/>
                    </a:lnTo>
                    <a:lnTo>
                      <a:pt x="548" y="3"/>
                    </a:lnTo>
                    <a:lnTo>
                      <a:pt x="543" y="4"/>
                    </a:lnTo>
                    <a:lnTo>
                      <a:pt x="533" y="6"/>
                    </a:lnTo>
                    <a:lnTo>
                      <a:pt x="523" y="6"/>
                    </a:lnTo>
                    <a:lnTo>
                      <a:pt x="512" y="9"/>
                    </a:lnTo>
                    <a:lnTo>
                      <a:pt x="491" y="17"/>
                    </a:lnTo>
                    <a:lnTo>
                      <a:pt x="467" y="30"/>
                    </a:lnTo>
                    <a:lnTo>
                      <a:pt x="456" y="37"/>
                    </a:lnTo>
                    <a:lnTo>
                      <a:pt x="447" y="45"/>
                    </a:lnTo>
                    <a:lnTo>
                      <a:pt x="437" y="53"/>
                    </a:lnTo>
                    <a:lnTo>
                      <a:pt x="431" y="61"/>
                    </a:lnTo>
                    <a:lnTo>
                      <a:pt x="424" y="73"/>
                    </a:lnTo>
                    <a:lnTo>
                      <a:pt x="419" y="86"/>
                    </a:lnTo>
                    <a:lnTo>
                      <a:pt x="416" y="99"/>
                    </a:lnTo>
                    <a:lnTo>
                      <a:pt x="413" y="113"/>
                    </a:lnTo>
                    <a:lnTo>
                      <a:pt x="413" y="128"/>
                    </a:lnTo>
                    <a:lnTo>
                      <a:pt x="411" y="144"/>
                    </a:lnTo>
                    <a:lnTo>
                      <a:pt x="413" y="174"/>
                    </a:lnTo>
                    <a:lnTo>
                      <a:pt x="418" y="205"/>
                    </a:lnTo>
                    <a:lnTo>
                      <a:pt x="426" y="233"/>
                    </a:lnTo>
                    <a:lnTo>
                      <a:pt x="435" y="259"/>
                    </a:lnTo>
                    <a:lnTo>
                      <a:pt x="447" y="280"/>
                    </a:lnTo>
                    <a:lnTo>
                      <a:pt x="477" y="312"/>
                    </a:lnTo>
                    <a:lnTo>
                      <a:pt x="483" y="323"/>
                    </a:lnTo>
                    <a:lnTo>
                      <a:pt x="488" y="338"/>
                    </a:lnTo>
                    <a:lnTo>
                      <a:pt x="493" y="350"/>
                    </a:lnTo>
                    <a:lnTo>
                      <a:pt x="499" y="362"/>
                    </a:lnTo>
                    <a:lnTo>
                      <a:pt x="488" y="405"/>
                    </a:lnTo>
                    <a:lnTo>
                      <a:pt x="482" y="408"/>
                    </a:lnTo>
                    <a:lnTo>
                      <a:pt x="477" y="411"/>
                    </a:lnTo>
                    <a:lnTo>
                      <a:pt x="474" y="414"/>
                    </a:lnTo>
                    <a:lnTo>
                      <a:pt x="471" y="419"/>
                    </a:lnTo>
                    <a:lnTo>
                      <a:pt x="455" y="419"/>
                    </a:lnTo>
                    <a:lnTo>
                      <a:pt x="451" y="422"/>
                    </a:lnTo>
                    <a:lnTo>
                      <a:pt x="450" y="427"/>
                    </a:lnTo>
                    <a:lnTo>
                      <a:pt x="448" y="430"/>
                    </a:lnTo>
                    <a:lnTo>
                      <a:pt x="447" y="435"/>
                    </a:lnTo>
                    <a:lnTo>
                      <a:pt x="443" y="437"/>
                    </a:lnTo>
                    <a:lnTo>
                      <a:pt x="416" y="440"/>
                    </a:lnTo>
                    <a:lnTo>
                      <a:pt x="405" y="448"/>
                    </a:lnTo>
                    <a:lnTo>
                      <a:pt x="392" y="458"/>
                    </a:lnTo>
                    <a:lnTo>
                      <a:pt x="381" y="467"/>
                    </a:lnTo>
                    <a:lnTo>
                      <a:pt x="368" y="475"/>
                    </a:lnTo>
                    <a:lnTo>
                      <a:pt x="367" y="477"/>
                    </a:lnTo>
                    <a:lnTo>
                      <a:pt x="320" y="483"/>
                    </a:lnTo>
                    <a:lnTo>
                      <a:pt x="302" y="490"/>
                    </a:lnTo>
                    <a:lnTo>
                      <a:pt x="286" y="494"/>
                    </a:lnTo>
                    <a:lnTo>
                      <a:pt x="272" y="501"/>
                    </a:lnTo>
                    <a:lnTo>
                      <a:pt x="259" y="509"/>
                    </a:lnTo>
                    <a:lnTo>
                      <a:pt x="248" y="517"/>
                    </a:lnTo>
                    <a:lnTo>
                      <a:pt x="237" y="527"/>
                    </a:lnTo>
                    <a:lnTo>
                      <a:pt x="227" y="538"/>
                    </a:lnTo>
                    <a:lnTo>
                      <a:pt x="218" y="551"/>
                    </a:lnTo>
                    <a:lnTo>
                      <a:pt x="208" y="565"/>
                    </a:lnTo>
                    <a:lnTo>
                      <a:pt x="200" y="583"/>
                    </a:lnTo>
                    <a:lnTo>
                      <a:pt x="192" y="602"/>
                    </a:lnTo>
                    <a:lnTo>
                      <a:pt x="186" y="623"/>
                    </a:lnTo>
                    <a:lnTo>
                      <a:pt x="174" y="664"/>
                    </a:lnTo>
                    <a:lnTo>
                      <a:pt x="166" y="704"/>
                    </a:lnTo>
                    <a:lnTo>
                      <a:pt x="163" y="722"/>
                    </a:lnTo>
                    <a:lnTo>
                      <a:pt x="165" y="739"/>
                    </a:lnTo>
                    <a:lnTo>
                      <a:pt x="165" y="759"/>
                    </a:lnTo>
                    <a:lnTo>
                      <a:pt x="163" y="778"/>
                    </a:lnTo>
                    <a:lnTo>
                      <a:pt x="160" y="796"/>
                    </a:lnTo>
                    <a:lnTo>
                      <a:pt x="158" y="816"/>
                    </a:lnTo>
                    <a:lnTo>
                      <a:pt x="155" y="858"/>
                    </a:lnTo>
                    <a:lnTo>
                      <a:pt x="152" y="901"/>
                    </a:lnTo>
                    <a:lnTo>
                      <a:pt x="150" y="922"/>
                    </a:lnTo>
                    <a:lnTo>
                      <a:pt x="147" y="943"/>
                    </a:lnTo>
                    <a:lnTo>
                      <a:pt x="141" y="986"/>
                    </a:lnTo>
                    <a:lnTo>
                      <a:pt x="134" y="1031"/>
                    </a:lnTo>
                    <a:lnTo>
                      <a:pt x="131" y="1077"/>
                    </a:lnTo>
                    <a:lnTo>
                      <a:pt x="128" y="1125"/>
                    </a:lnTo>
                    <a:lnTo>
                      <a:pt x="128" y="1173"/>
                    </a:lnTo>
                    <a:lnTo>
                      <a:pt x="131" y="1221"/>
                    </a:lnTo>
                    <a:lnTo>
                      <a:pt x="136" y="1266"/>
                    </a:lnTo>
                    <a:lnTo>
                      <a:pt x="142" y="1310"/>
                    </a:lnTo>
                    <a:lnTo>
                      <a:pt x="146" y="1338"/>
                    </a:lnTo>
                    <a:lnTo>
                      <a:pt x="147" y="1382"/>
                    </a:lnTo>
                    <a:lnTo>
                      <a:pt x="149" y="1422"/>
                    </a:lnTo>
                    <a:lnTo>
                      <a:pt x="149" y="1438"/>
                    </a:lnTo>
                    <a:lnTo>
                      <a:pt x="147" y="1447"/>
                    </a:lnTo>
                    <a:lnTo>
                      <a:pt x="141" y="1473"/>
                    </a:lnTo>
                    <a:lnTo>
                      <a:pt x="133" y="1510"/>
                    </a:lnTo>
                    <a:lnTo>
                      <a:pt x="130" y="1529"/>
                    </a:lnTo>
                    <a:lnTo>
                      <a:pt x="128" y="1548"/>
                    </a:lnTo>
                    <a:lnTo>
                      <a:pt x="130" y="1566"/>
                    </a:lnTo>
                    <a:lnTo>
                      <a:pt x="131" y="1574"/>
                    </a:lnTo>
                    <a:lnTo>
                      <a:pt x="134" y="1582"/>
                    </a:lnTo>
                    <a:lnTo>
                      <a:pt x="141" y="1593"/>
                    </a:lnTo>
                    <a:lnTo>
                      <a:pt x="149" y="1604"/>
                    </a:lnTo>
                    <a:lnTo>
                      <a:pt x="158" y="1615"/>
                    </a:lnTo>
                    <a:lnTo>
                      <a:pt x="168" y="1625"/>
                    </a:lnTo>
                    <a:lnTo>
                      <a:pt x="190" y="1646"/>
                    </a:lnTo>
                    <a:lnTo>
                      <a:pt x="210" y="1663"/>
                    </a:lnTo>
                    <a:lnTo>
                      <a:pt x="194" y="1852"/>
                    </a:lnTo>
                    <a:lnTo>
                      <a:pt x="197" y="1934"/>
                    </a:lnTo>
                    <a:lnTo>
                      <a:pt x="178" y="1964"/>
                    </a:lnTo>
                    <a:lnTo>
                      <a:pt x="174" y="1990"/>
                    </a:lnTo>
                    <a:lnTo>
                      <a:pt x="152" y="2032"/>
                    </a:lnTo>
                    <a:lnTo>
                      <a:pt x="147" y="2123"/>
                    </a:lnTo>
                    <a:lnTo>
                      <a:pt x="133" y="2190"/>
                    </a:lnTo>
                    <a:lnTo>
                      <a:pt x="120" y="2261"/>
                    </a:lnTo>
                    <a:lnTo>
                      <a:pt x="94" y="2402"/>
                    </a:lnTo>
                    <a:lnTo>
                      <a:pt x="85" y="2451"/>
                    </a:lnTo>
                    <a:lnTo>
                      <a:pt x="78" y="2501"/>
                    </a:lnTo>
                    <a:lnTo>
                      <a:pt x="72" y="2551"/>
                    </a:lnTo>
                    <a:lnTo>
                      <a:pt x="64" y="2603"/>
                    </a:lnTo>
                    <a:lnTo>
                      <a:pt x="53" y="2663"/>
                    </a:lnTo>
                    <a:lnTo>
                      <a:pt x="75" y="2691"/>
                    </a:lnTo>
                    <a:lnTo>
                      <a:pt x="64" y="2725"/>
                    </a:lnTo>
                    <a:lnTo>
                      <a:pt x="56" y="2736"/>
                    </a:lnTo>
                    <a:lnTo>
                      <a:pt x="46" y="2749"/>
                    </a:lnTo>
                    <a:lnTo>
                      <a:pt x="24" y="2780"/>
                    </a:lnTo>
                    <a:lnTo>
                      <a:pt x="14" y="2796"/>
                    </a:lnTo>
                    <a:lnTo>
                      <a:pt x="5" y="2812"/>
                    </a:lnTo>
                    <a:lnTo>
                      <a:pt x="3" y="2820"/>
                    </a:lnTo>
                    <a:lnTo>
                      <a:pt x="1" y="2828"/>
                    </a:lnTo>
                    <a:lnTo>
                      <a:pt x="0" y="2836"/>
                    </a:lnTo>
                    <a:lnTo>
                      <a:pt x="1" y="2844"/>
                    </a:lnTo>
                    <a:lnTo>
                      <a:pt x="46" y="2848"/>
                    </a:lnTo>
                    <a:lnTo>
                      <a:pt x="70" y="2850"/>
                    </a:lnTo>
                    <a:lnTo>
                      <a:pt x="94" y="2850"/>
                    </a:lnTo>
                    <a:lnTo>
                      <a:pt x="118" y="2850"/>
                    </a:lnTo>
                    <a:lnTo>
                      <a:pt x="141" y="2848"/>
                    </a:lnTo>
                    <a:lnTo>
                      <a:pt x="162" y="2844"/>
                    </a:lnTo>
                    <a:lnTo>
                      <a:pt x="181" y="2839"/>
                    </a:lnTo>
                    <a:lnTo>
                      <a:pt x="179" y="2826"/>
                    </a:lnTo>
                    <a:lnTo>
                      <a:pt x="178" y="2813"/>
                    </a:lnTo>
                    <a:lnTo>
                      <a:pt x="179" y="2812"/>
                    </a:lnTo>
                    <a:lnTo>
                      <a:pt x="202" y="2810"/>
                    </a:lnTo>
                    <a:lnTo>
                      <a:pt x="222" y="2807"/>
                    </a:lnTo>
                    <a:lnTo>
                      <a:pt x="230" y="2804"/>
                    </a:lnTo>
                    <a:lnTo>
                      <a:pt x="238" y="2800"/>
                    </a:lnTo>
                    <a:lnTo>
                      <a:pt x="246" y="2796"/>
                    </a:lnTo>
                    <a:lnTo>
                      <a:pt x="254" y="2789"/>
                    </a:lnTo>
                    <a:lnTo>
                      <a:pt x="243" y="2720"/>
                    </a:lnTo>
                    <a:lnTo>
                      <a:pt x="259" y="2701"/>
                    </a:lnTo>
                    <a:lnTo>
                      <a:pt x="262" y="2690"/>
                    </a:lnTo>
                    <a:lnTo>
                      <a:pt x="264" y="2679"/>
                    </a:lnTo>
                    <a:lnTo>
                      <a:pt x="264" y="2658"/>
                    </a:lnTo>
                    <a:lnTo>
                      <a:pt x="264" y="2637"/>
                    </a:lnTo>
                    <a:lnTo>
                      <a:pt x="264" y="2626"/>
                    </a:lnTo>
                    <a:lnTo>
                      <a:pt x="266" y="2616"/>
                    </a:lnTo>
                    <a:lnTo>
                      <a:pt x="283" y="2536"/>
                    </a:lnTo>
                    <a:lnTo>
                      <a:pt x="301" y="2454"/>
                    </a:lnTo>
                    <a:lnTo>
                      <a:pt x="318" y="2374"/>
                    </a:lnTo>
                    <a:lnTo>
                      <a:pt x="336" y="2299"/>
                    </a:lnTo>
                    <a:lnTo>
                      <a:pt x="367" y="2166"/>
                    </a:lnTo>
                    <a:lnTo>
                      <a:pt x="399" y="2099"/>
                    </a:lnTo>
                    <a:lnTo>
                      <a:pt x="413" y="2064"/>
                    </a:lnTo>
                    <a:lnTo>
                      <a:pt x="419" y="2045"/>
                    </a:lnTo>
                    <a:lnTo>
                      <a:pt x="426" y="2025"/>
                    </a:lnTo>
                    <a:lnTo>
                      <a:pt x="440" y="1905"/>
                    </a:lnTo>
                    <a:lnTo>
                      <a:pt x="455" y="1843"/>
                    </a:lnTo>
                    <a:lnTo>
                      <a:pt x="463" y="1809"/>
                    </a:lnTo>
                    <a:lnTo>
                      <a:pt x="472" y="1776"/>
                    </a:lnTo>
                    <a:lnTo>
                      <a:pt x="482" y="1742"/>
                    </a:lnTo>
                    <a:lnTo>
                      <a:pt x="493" y="1711"/>
                    </a:lnTo>
                    <a:lnTo>
                      <a:pt x="506" y="1684"/>
                    </a:lnTo>
                    <a:lnTo>
                      <a:pt x="514" y="1671"/>
                    </a:lnTo>
                    <a:lnTo>
                      <a:pt x="520" y="1662"/>
                    </a:lnTo>
                    <a:lnTo>
                      <a:pt x="523" y="1663"/>
                    </a:lnTo>
                    <a:lnTo>
                      <a:pt x="523" y="1691"/>
                    </a:lnTo>
                    <a:lnTo>
                      <a:pt x="522" y="1721"/>
                    </a:lnTo>
                    <a:lnTo>
                      <a:pt x="517" y="1750"/>
                    </a:lnTo>
                    <a:lnTo>
                      <a:pt x="512" y="1777"/>
                    </a:lnTo>
                    <a:lnTo>
                      <a:pt x="511" y="1792"/>
                    </a:lnTo>
                    <a:lnTo>
                      <a:pt x="511" y="1806"/>
                    </a:lnTo>
                    <a:lnTo>
                      <a:pt x="515" y="1833"/>
                    </a:lnTo>
                    <a:lnTo>
                      <a:pt x="519" y="1862"/>
                    </a:lnTo>
                    <a:lnTo>
                      <a:pt x="519" y="1878"/>
                    </a:lnTo>
                    <a:lnTo>
                      <a:pt x="517" y="1892"/>
                    </a:lnTo>
                    <a:lnTo>
                      <a:pt x="506" y="2051"/>
                    </a:lnTo>
                    <a:lnTo>
                      <a:pt x="506" y="2099"/>
                    </a:lnTo>
                    <a:lnTo>
                      <a:pt x="491" y="2150"/>
                    </a:lnTo>
                    <a:lnTo>
                      <a:pt x="487" y="2184"/>
                    </a:lnTo>
                    <a:lnTo>
                      <a:pt x="483" y="2217"/>
                    </a:lnTo>
                    <a:lnTo>
                      <a:pt x="479" y="2285"/>
                    </a:lnTo>
                    <a:lnTo>
                      <a:pt x="475" y="2318"/>
                    </a:lnTo>
                    <a:lnTo>
                      <a:pt x="472" y="2350"/>
                    </a:lnTo>
                    <a:lnTo>
                      <a:pt x="467" y="2382"/>
                    </a:lnTo>
                    <a:lnTo>
                      <a:pt x="461" y="2411"/>
                    </a:lnTo>
                    <a:lnTo>
                      <a:pt x="453" y="2442"/>
                    </a:lnTo>
                    <a:lnTo>
                      <a:pt x="448" y="2474"/>
                    </a:lnTo>
                    <a:lnTo>
                      <a:pt x="443" y="2507"/>
                    </a:lnTo>
                    <a:lnTo>
                      <a:pt x="440" y="2541"/>
                    </a:lnTo>
                    <a:lnTo>
                      <a:pt x="437" y="2610"/>
                    </a:lnTo>
                    <a:lnTo>
                      <a:pt x="431" y="2672"/>
                    </a:lnTo>
                    <a:lnTo>
                      <a:pt x="426" y="2693"/>
                    </a:lnTo>
                    <a:lnTo>
                      <a:pt x="419" y="2720"/>
                    </a:lnTo>
                    <a:lnTo>
                      <a:pt x="413" y="2746"/>
                    </a:lnTo>
                    <a:lnTo>
                      <a:pt x="413" y="2757"/>
                    </a:lnTo>
                    <a:lnTo>
                      <a:pt x="413" y="2765"/>
                    </a:lnTo>
                    <a:lnTo>
                      <a:pt x="416" y="2768"/>
                    </a:lnTo>
                    <a:lnTo>
                      <a:pt x="419" y="2773"/>
                    </a:lnTo>
                    <a:lnTo>
                      <a:pt x="427" y="2778"/>
                    </a:lnTo>
                    <a:lnTo>
                      <a:pt x="439" y="2781"/>
                    </a:lnTo>
                    <a:lnTo>
                      <a:pt x="451" y="2784"/>
                    </a:lnTo>
                    <a:lnTo>
                      <a:pt x="475" y="2788"/>
                    </a:lnTo>
                    <a:lnTo>
                      <a:pt x="488" y="2789"/>
                    </a:lnTo>
                    <a:lnTo>
                      <a:pt x="499" y="2791"/>
                    </a:lnTo>
                    <a:lnTo>
                      <a:pt x="496" y="2802"/>
                    </a:lnTo>
                    <a:lnTo>
                      <a:pt x="496" y="2813"/>
                    </a:lnTo>
                    <a:lnTo>
                      <a:pt x="504" y="2818"/>
                    </a:lnTo>
                    <a:lnTo>
                      <a:pt x="512" y="2823"/>
                    </a:lnTo>
                    <a:lnTo>
                      <a:pt x="531" y="2829"/>
                    </a:lnTo>
                    <a:lnTo>
                      <a:pt x="552" y="2834"/>
                    </a:lnTo>
                    <a:lnTo>
                      <a:pt x="576" y="2837"/>
                    </a:lnTo>
                    <a:lnTo>
                      <a:pt x="600" y="2837"/>
                    </a:lnTo>
                    <a:lnTo>
                      <a:pt x="624" y="2836"/>
                    </a:lnTo>
                    <a:lnTo>
                      <a:pt x="648" y="2834"/>
                    </a:lnTo>
                    <a:lnTo>
                      <a:pt x="671" y="2829"/>
                    </a:lnTo>
                    <a:lnTo>
                      <a:pt x="676" y="2820"/>
                    </a:lnTo>
                    <a:lnTo>
                      <a:pt x="674" y="2808"/>
                    </a:lnTo>
                    <a:lnTo>
                      <a:pt x="671" y="2799"/>
                    </a:lnTo>
                    <a:lnTo>
                      <a:pt x="663" y="2781"/>
                    </a:lnTo>
                    <a:lnTo>
                      <a:pt x="653" y="2765"/>
                    </a:lnTo>
                    <a:lnTo>
                      <a:pt x="644" y="2751"/>
                    </a:lnTo>
                    <a:lnTo>
                      <a:pt x="632" y="2738"/>
                    </a:lnTo>
                    <a:lnTo>
                      <a:pt x="624" y="2725"/>
                    </a:lnTo>
                    <a:lnTo>
                      <a:pt x="618" y="2711"/>
                    </a:lnTo>
                    <a:lnTo>
                      <a:pt x="615" y="2703"/>
                    </a:lnTo>
                    <a:lnTo>
                      <a:pt x="615" y="2696"/>
                    </a:lnTo>
                    <a:lnTo>
                      <a:pt x="624" y="2691"/>
                    </a:lnTo>
                    <a:lnTo>
                      <a:pt x="634" y="2688"/>
                    </a:lnTo>
                    <a:lnTo>
                      <a:pt x="629" y="2615"/>
                    </a:lnTo>
                    <a:lnTo>
                      <a:pt x="637" y="2573"/>
                    </a:lnTo>
                    <a:lnTo>
                      <a:pt x="647" y="2530"/>
                    </a:lnTo>
                    <a:lnTo>
                      <a:pt x="656" y="2488"/>
                    </a:lnTo>
                    <a:lnTo>
                      <a:pt x="666" y="2445"/>
                    </a:lnTo>
                    <a:lnTo>
                      <a:pt x="671" y="2413"/>
                    </a:lnTo>
                    <a:lnTo>
                      <a:pt x="674" y="2381"/>
                    </a:lnTo>
                    <a:lnTo>
                      <a:pt x="679" y="2317"/>
                    </a:lnTo>
                    <a:lnTo>
                      <a:pt x="680" y="2285"/>
                    </a:lnTo>
                    <a:lnTo>
                      <a:pt x="684" y="2253"/>
                    </a:lnTo>
                    <a:lnTo>
                      <a:pt x="688" y="2222"/>
                    </a:lnTo>
                    <a:lnTo>
                      <a:pt x="696" y="2192"/>
                    </a:lnTo>
                    <a:lnTo>
                      <a:pt x="762" y="2054"/>
                    </a:lnTo>
                    <a:lnTo>
                      <a:pt x="765" y="1998"/>
                    </a:lnTo>
                    <a:lnTo>
                      <a:pt x="793" y="1758"/>
                    </a:lnTo>
                    <a:lnTo>
                      <a:pt x="805" y="1700"/>
                    </a:lnTo>
                    <a:lnTo>
                      <a:pt x="818" y="1641"/>
                    </a:lnTo>
                    <a:lnTo>
                      <a:pt x="829" y="1580"/>
                    </a:lnTo>
                    <a:lnTo>
                      <a:pt x="842" y="1521"/>
                    </a:lnTo>
                    <a:lnTo>
                      <a:pt x="844" y="1447"/>
                    </a:lnTo>
                    <a:lnTo>
                      <a:pt x="845" y="1422"/>
                    </a:lnTo>
                    <a:lnTo>
                      <a:pt x="845" y="1396"/>
                    </a:lnTo>
                    <a:lnTo>
                      <a:pt x="844" y="1370"/>
                    </a:lnTo>
                    <a:lnTo>
                      <a:pt x="839" y="1348"/>
                    </a:lnTo>
                    <a:lnTo>
                      <a:pt x="841" y="1345"/>
                    </a:lnTo>
                    <a:lnTo>
                      <a:pt x="844" y="1346"/>
                    </a:lnTo>
                    <a:lnTo>
                      <a:pt x="861" y="1394"/>
                    </a:lnTo>
                    <a:lnTo>
                      <a:pt x="863" y="1406"/>
                    </a:lnTo>
                    <a:lnTo>
                      <a:pt x="863" y="1417"/>
                    </a:lnTo>
                    <a:lnTo>
                      <a:pt x="861" y="1426"/>
                    </a:lnTo>
                    <a:lnTo>
                      <a:pt x="858" y="1436"/>
                    </a:lnTo>
                    <a:lnTo>
                      <a:pt x="852" y="1454"/>
                    </a:lnTo>
                    <a:lnTo>
                      <a:pt x="850" y="1462"/>
                    </a:lnTo>
                    <a:lnTo>
                      <a:pt x="847" y="1471"/>
                    </a:lnTo>
                    <a:lnTo>
                      <a:pt x="847" y="1478"/>
                    </a:lnTo>
                    <a:lnTo>
                      <a:pt x="849" y="1482"/>
                    </a:lnTo>
                    <a:lnTo>
                      <a:pt x="850" y="1490"/>
                    </a:lnTo>
                    <a:lnTo>
                      <a:pt x="855" y="1499"/>
                    </a:lnTo>
                    <a:lnTo>
                      <a:pt x="857" y="1507"/>
                    </a:lnTo>
                    <a:lnTo>
                      <a:pt x="850" y="1545"/>
                    </a:lnTo>
                    <a:lnTo>
                      <a:pt x="858" y="1580"/>
                    </a:lnTo>
                    <a:lnTo>
                      <a:pt x="866" y="1583"/>
                    </a:lnTo>
                    <a:lnTo>
                      <a:pt x="871" y="1585"/>
                    </a:lnTo>
                    <a:lnTo>
                      <a:pt x="876" y="1585"/>
                    </a:lnTo>
                    <a:lnTo>
                      <a:pt x="871" y="1593"/>
                    </a:lnTo>
                    <a:lnTo>
                      <a:pt x="865" y="1601"/>
                    </a:lnTo>
                    <a:lnTo>
                      <a:pt x="847" y="1619"/>
                    </a:lnTo>
                    <a:lnTo>
                      <a:pt x="841" y="1627"/>
                    </a:lnTo>
                    <a:lnTo>
                      <a:pt x="836" y="1636"/>
                    </a:lnTo>
                    <a:lnTo>
                      <a:pt x="834" y="1641"/>
                    </a:lnTo>
                    <a:lnTo>
                      <a:pt x="836" y="1647"/>
                    </a:lnTo>
                    <a:lnTo>
                      <a:pt x="837" y="1652"/>
                    </a:lnTo>
                    <a:lnTo>
                      <a:pt x="841" y="1659"/>
                    </a:lnTo>
                    <a:lnTo>
                      <a:pt x="842" y="1659"/>
                    </a:lnTo>
                    <a:lnTo>
                      <a:pt x="858" y="1655"/>
                    </a:lnTo>
                    <a:lnTo>
                      <a:pt x="874" y="1652"/>
                    </a:lnTo>
                    <a:lnTo>
                      <a:pt x="889" y="1644"/>
                    </a:lnTo>
                    <a:lnTo>
                      <a:pt x="900" y="1636"/>
                    </a:lnTo>
                    <a:lnTo>
                      <a:pt x="911" y="1627"/>
                    </a:lnTo>
                    <a:lnTo>
                      <a:pt x="919" y="1614"/>
                    </a:lnTo>
                    <a:lnTo>
                      <a:pt x="927" y="1599"/>
                    </a:lnTo>
                    <a:lnTo>
                      <a:pt x="933" y="1585"/>
                    </a:lnTo>
                    <a:lnTo>
                      <a:pt x="938" y="1569"/>
                    </a:lnTo>
                    <a:lnTo>
                      <a:pt x="941" y="1551"/>
                    </a:lnTo>
                    <a:lnTo>
                      <a:pt x="943" y="1534"/>
                    </a:lnTo>
                    <a:lnTo>
                      <a:pt x="943" y="1516"/>
                    </a:lnTo>
                    <a:lnTo>
                      <a:pt x="943" y="1497"/>
                    </a:lnTo>
                    <a:lnTo>
                      <a:pt x="943" y="1479"/>
                    </a:lnTo>
                    <a:lnTo>
                      <a:pt x="937" y="1442"/>
                    </a:lnTo>
                    <a:close/>
                    <a:moveTo>
                      <a:pt x="310" y="1119"/>
                    </a:moveTo>
                    <a:lnTo>
                      <a:pt x="310" y="1119"/>
                    </a:lnTo>
                    <a:lnTo>
                      <a:pt x="290" y="1220"/>
                    </a:lnTo>
                    <a:lnTo>
                      <a:pt x="283" y="1237"/>
                    </a:lnTo>
                    <a:lnTo>
                      <a:pt x="274" y="1257"/>
                    </a:lnTo>
                    <a:lnTo>
                      <a:pt x="266" y="1274"/>
                    </a:lnTo>
                    <a:lnTo>
                      <a:pt x="259" y="1295"/>
                    </a:lnTo>
                    <a:lnTo>
                      <a:pt x="258" y="1310"/>
                    </a:lnTo>
                    <a:lnTo>
                      <a:pt x="256" y="1324"/>
                    </a:lnTo>
                    <a:lnTo>
                      <a:pt x="256" y="1348"/>
                    </a:lnTo>
                    <a:lnTo>
                      <a:pt x="254" y="1361"/>
                    </a:lnTo>
                    <a:lnTo>
                      <a:pt x="253" y="1372"/>
                    </a:lnTo>
                    <a:lnTo>
                      <a:pt x="248" y="1383"/>
                    </a:lnTo>
                    <a:lnTo>
                      <a:pt x="242" y="1396"/>
                    </a:lnTo>
                    <a:lnTo>
                      <a:pt x="245" y="1402"/>
                    </a:lnTo>
                    <a:lnTo>
                      <a:pt x="248" y="1406"/>
                    </a:lnTo>
                    <a:lnTo>
                      <a:pt x="253" y="1409"/>
                    </a:lnTo>
                    <a:lnTo>
                      <a:pt x="254" y="1415"/>
                    </a:lnTo>
                    <a:lnTo>
                      <a:pt x="250" y="1426"/>
                    </a:lnTo>
                    <a:lnTo>
                      <a:pt x="245" y="1423"/>
                    </a:lnTo>
                    <a:lnTo>
                      <a:pt x="240" y="1390"/>
                    </a:lnTo>
                    <a:lnTo>
                      <a:pt x="237" y="1356"/>
                    </a:lnTo>
                    <a:lnTo>
                      <a:pt x="235" y="1321"/>
                    </a:lnTo>
                    <a:lnTo>
                      <a:pt x="234" y="1286"/>
                    </a:lnTo>
                    <a:lnTo>
                      <a:pt x="235" y="1252"/>
                    </a:lnTo>
                    <a:lnTo>
                      <a:pt x="237" y="1217"/>
                    </a:lnTo>
                    <a:lnTo>
                      <a:pt x="243" y="1146"/>
                    </a:lnTo>
                    <a:lnTo>
                      <a:pt x="253" y="1079"/>
                    </a:lnTo>
                    <a:lnTo>
                      <a:pt x="266" y="1012"/>
                    </a:lnTo>
                    <a:lnTo>
                      <a:pt x="290" y="888"/>
                    </a:lnTo>
                    <a:lnTo>
                      <a:pt x="293" y="893"/>
                    </a:lnTo>
                    <a:lnTo>
                      <a:pt x="298" y="903"/>
                    </a:lnTo>
                    <a:lnTo>
                      <a:pt x="307" y="930"/>
                    </a:lnTo>
                    <a:lnTo>
                      <a:pt x="315" y="959"/>
                    </a:lnTo>
                    <a:lnTo>
                      <a:pt x="320" y="978"/>
                    </a:lnTo>
                    <a:lnTo>
                      <a:pt x="315" y="1015"/>
                    </a:lnTo>
                    <a:lnTo>
                      <a:pt x="326" y="1041"/>
                    </a:lnTo>
                    <a:lnTo>
                      <a:pt x="328" y="1052"/>
                    </a:lnTo>
                    <a:lnTo>
                      <a:pt x="326" y="1063"/>
                    </a:lnTo>
                    <a:lnTo>
                      <a:pt x="325" y="1074"/>
                    </a:lnTo>
                    <a:lnTo>
                      <a:pt x="323" y="1084"/>
                    </a:lnTo>
                    <a:lnTo>
                      <a:pt x="317" y="1103"/>
                    </a:lnTo>
                    <a:lnTo>
                      <a:pt x="310" y="1119"/>
                    </a:lnTo>
                    <a:close/>
                  </a:path>
                </a:pathLst>
              </a:custGeom>
              <a:solidFill>
                <a:schemeClr val="accent5"/>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de-DE"/>
              </a:p>
            </p:txBody>
          </p:sp>
        </p:grpSp>
        <p:sp>
          <p:nvSpPr>
            <p:cNvPr id="57" name="Ellipse 4"/>
            <p:cNvSpPr/>
            <p:nvPr/>
          </p:nvSpPr>
          <p:spPr>
            <a:xfrm>
              <a:off x="3955139" y="4156053"/>
              <a:ext cx="1186156" cy="329653"/>
            </a:xfrm>
            <a:custGeom>
              <a:avLst/>
              <a:gdLst/>
              <a:ahLst/>
              <a:cxnLst/>
              <a:rect l="l" t="t" r="r" b="b"/>
              <a:pathLst>
                <a:path w="3528392" h="3096344">
                  <a:moveTo>
                    <a:pt x="1764196" y="152400"/>
                  </a:moveTo>
                  <a:cubicBezTo>
                    <a:pt x="1028471" y="152400"/>
                    <a:pt x="432048" y="675792"/>
                    <a:pt x="432048" y="1321428"/>
                  </a:cubicBezTo>
                  <a:cubicBezTo>
                    <a:pt x="432048" y="1967064"/>
                    <a:pt x="1028471" y="2490456"/>
                    <a:pt x="1764196" y="2490456"/>
                  </a:cubicBezTo>
                  <a:cubicBezTo>
                    <a:pt x="2499921" y="2490456"/>
                    <a:pt x="3096344" y="1967064"/>
                    <a:pt x="3096344" y="1321428"/>
                  </a:cubicBezTo>
                  <a:cubicBezTo>
                    <a:pt x="3096344" y="675792"/>
                    <a:pt x="2499921" y="152400"/>
                    <a:pt x="1764196" y="152400"/>
                  </a:cubicBezTo>
                  <a:close/>
                  <a:moveTo>
                    <a:pt x="1764196" y="0"/>
                  </a:moveTo>
                  <a:cubicBezTo>
                    <a:pt x="2738535" y="0"/>
                    <a:pt x="3528392" y="693140"/>
                    <a:pt x="3528392" y="1548172"/>
                  </a:cubicBezTo>
                  <a:cubicBezTo>
                    <a:pt x="3528392" y="2403204"/>
                    <a:pt x="2738535" y="3096344"/>
                    <a:pt x="1764196" y="3096344"/>
                  </a:cubicBezTo>
                  <a:cubicBezTo>
                    <a:pt x="789857" y="3096344"/>
                    <a:pt x="0" y="2403204"/>
                    <a:pt x="0" y="1548172"/>
                  </a:cubicBezTo>
                  <a:cubicBezTo>
                    <a:pt x="0" y="693140"/>
                    <a:pt x="789857" y="0"/>
                    <a:pt x="1764196" y="0"/>
                  </a:cubicBezTo>
                  <a:close/>
                </a:path>
              </a:pathLst>
            </a:custGeom>
            <a:solidFill>
              <a:srgbClr val="FFFFFF">
                <a:lumMod val="85000"/>
              </a:srgbClr>
            </a:solidFill>
            <a:ln w="25400" cap="flat" cmpd="sng" algn="ctr">
              <a:noFill/>
              <a:prstDash val="solid"/>
            </a:ln>
            <a:effectLst>
              <a:outerShdw blurRad="50800" dist="38100" dir="2700000" algn="tl" rotWithShape="0">
                <a:prstClr val="black">
                  <a:alpha val="40000"/>
                </a:prstClr>
              </a:outerShdw>
            </a:effec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a:ea typeface="+mn-ea"/>
                <a:cs typeface="+mn-cs"/>
              </a:endParaRPr>
            </a:p>
          </p:txBody>
        </p:sp>
        <p:sp>
          <p:nvSpPr>
            <p:cNvPr id="58" name="Freeform 25"/>
            <p:cNvSpPr>
              <a:spLocks noEditPoints="1"/>
            </p:cNvSpPr>
            <p:nvPr>
              <p:custDataLst>
                <p:tags r:id="rId2"/>
              </p:custDataLst>
            </p:nvPr>
          </p:nvSpPr>
          <p:spPr bwMode="auto">
            <a:xfrm>
              <a:off x="4267023" y="2571877"/>
              <a:ext cx="540104" cy="1759694"/>
            </a:xfrm>
            <a:custGeom>
              <a:avLst/>
              <a:gdLst/>
              <a:ahLst/>
              <a:cxnLst>
                <a:cxn ang="0">
                  <a:pos x="267" y="1065"/>
                </a:cxn>
                <a:cxn ang="0">
                  <a:pos x="262" y="1226"/>
                </a:cxn>
                <a:cxn ang="0">
                  <a:pos x="272" y="1322"/>
                </a:cxn>
                <a:cxn ang="0">
                  <a:pos x="287" y="1437"/>
                </a:cxn>
                <a:cxn ang="0">
                  <a:pos x="295" y="1219"/>
                </a:cxn>
                <a:cxn ang="0">
                  <a:pos x="292" y="5"/>
                </a:cxn>
                <a:cxn ang="0">
                  <a:pos x="353" y="91"/>
                </a:cxn>
                <a:cxn ang="0">
                  <a:pos x="352" y="154"/>
                </a:cxn>
                <a:cxn ang="0">
                  <a:pos x="330" y="188"/>
                </a:cxn>
                <a:cxn ang="0">
                  <a:pos x="327" y="247"/>
                </a:cxn>
                <a:cxn ang="0">
                  <a:pos x="368" y="289"/>
                </a:cxn>
                <a:cxn ang="0">
                  <a:pos x="468" y="321"/>
                </a:cxn>
                <a:cxn ang="0">
                  <a:pos x="482" y="366"/>
                </a:cxn>
                <a:cxn ang="0">
                  <a:pos x="499" y="495"/>
                </a:cxn>
                <a:cxn ang="0">
                  <a:pos x="514" y="635"/>
                </a:cxn>
                <a:cxn ang="0">
                  <a:pos x="525" y="807"/>
                </a:cxn>
                <a:cxn ang="0">
                  <a:pos x="513" y="916"/>
                </a:cxn>
                <a:cxn ang="0">
                  <a:pos x="490" y="965"/>
                </a:cxn>
                <a:cxn ang="0">
                  <a:pos x="444" y="962"/>
                </a:cxn>
                <a:cxn ang="0">
                  <a:pos x="454" y="870"/>
                </a:cxn>
                <a:cxn ang="0">
                  <a:pos x="428" y="606"/>
                </a:cxn>
                <a:cxn ang="0">
                  <a:pos x="418" y="572"/>
                </a:cxn>
                <a:cxn ang="0">
                  <a:pos x="407" y="636"/>
                </a:cxn>
                <a:cxn ang="0">
                  <a:pos x="430" y="775"/>
                </a:cxn>
                <a:cxn ang="0">
                  <a:pos x="428" y="922"/>
                </a:cxn>
                <a:cxn ang="0">
                  <a:pos x="418" y="1017"/>
                </a:cxn>
                <a:cxn ang="0">
                  <a:pos x="407" y="1440"/>
                </a:cxn>
                <a:cxn ang="0">
                  <a:pos x="391" y="1600"/>
                </a:cxn>
                <a:cxn ang="0">
                  <a:pos x="398" y="1667"/>
                </a:cxn>
                <a:cxn ang="0">
                  <a:pos x="410" y="1709"/>
                </a:cxn>
                <a:cxn ang="0">
                  <a:pos x="310" y="1703"/>
                </a:cxn>
                <a:cxn ang="0">
                  <a:pos x="301" y="1680"/>
                </a:cxn>
                <a:cxn ang="0">
                  <a:pos x="242" y="1652"/>
                </a:cxn>
                <a:cxn ang="0">
                  <a:pos x="127" y="1664"/>
                </a:cxn>
                <a:cxn ang="0">
                  <a:pos x="119" y="1652"/>
                </a:cxn>
                <a:cxn ang="0">
                  <a:pos x="139" y="1632"/>
                </a:cxn>
                <a:cxn ang="0">
                  <a:pos x="198" y="1584"/>
                </a:cxn>
                <a:cxn ang="0">
                  <a:pos x="176" y="1391"/>
                </a:cxn>
                <a:cxn ang="0">
                  <a:pos x="167" y="1311"/>
                </a:cxn>
                <a:cxn ang="0">
                  <a:pos x="152" y="1185"/>
                </a:cxn>
                <a:cxn ang="0">
                  <a:pos x="122" y="999"/>
                </a:cxn>
                <a:cxn ang="0">
                  <a:pos x="99" y="950"/>
                </a:cxn>
                <a:cxn ang="0">
                  <a:pos x="103" y="758"/>
                </a:cxn>
                <a:cxn ang="0">
                  <a:pos x="84" y="799"/>
                </a:cxn>
                <a:cxn ang="0">
                  <a:pos x="66" y="874"/>
                </a:cxn>
                <a:cxn ang="0">
                  <a:pos x="56" y="944"/>
                </a:cxn>
                <a:cxn ang="0">
                  <a:pos x="67" y="962"/>
                </a:cxn>
                <a:cxn ang="0">
                  <a:pos x="12" y="888"/>
                </a:cxn>
                <a:cxn ang="0">
                  <a:pos x="4" y="839"/>
                </a:cxn>
                <a:cxn ang="0">
                  <a:pos x="23" y="704"/>
                </a:cxn>
                <a:cxn ang="0">
                  <a:pos x="36" y="582"/>
                </a:cxn>
                <a:cxn ang="0">
                  <a:pos x="52" y="464"/>
                </a:cxn>
                <a:cxn ang="0">
                  <a:pos x="61" y="343"/>
                </a:cxn>
                <a:cxn ang="0">
                  <a:pos x="98" y="326"/>
                </a:cxn>
                <a:cxn ang="0">
                  <a:pos x="179" y="289"/>
                </a:cxn>
                <a:cxn ang="0">
                  <a:pos x="213" y="251"/>
                </a:cxn>
                <a:cxn ang="0">
                  <a:pos x="198" y="181"/>
                </a:cxn>
                <a:cxn ang="0">
                  <a:pos x="181" y="132"/>
                </a:cxn>
                <a:cxn ang="0">
                  <a:pos x="181" y="63"/>
                </a:cxn>
                <a:cxn ang="0">
                  <a:pos x="262" y="0"/>
                </a:cxn>
              </a:cxnLst>
              <a:rect l="0" t="0" r="r" b="b"/>
              <a:pathLst>
                <a:path w="527" h="1717">
                  <a:moveTo>
                    <a:pt x="272" y="1011"/>
                  </a:moveTo>
                  <a:lnTo>
                    <a:pt x="270" y="1014"/>
                  </a:lnTo>
                  <a:lnTo>
                    <a:pt x="267" y="1019"/>
                  </a:lnTo>
                  <a:lnTo>
                    <a:pt x="265" y="1028"/>
                  </a:lnTo>
                  <a:lnTo>
                    <a:pt x="265" y="1044"/>
                  </a:lnTo>
                  <a:lnTo>
                    <a:pt x="267" y="1065"/>
                  </a:lnTo>
                  <a:lnTo>
                    <a:pt x="270" y="1094"/>
                  </a:lnTo>
                  <a:lnTo>
                    <a:pt x="273" y="1133"/>
                  </a:lnTo>
                  <a:lnTo>
                    <a:pt x="273" y="1165"/>
                  </a:lnTo>
                  <a:lnTo>
                    <a:pt x="270" y="1193"/>
                  </a:lnTo>
                  <a:lnTo>
                    <a:pt x="265" y="1213"/>
                  </a:lnTo>
                  <a:lnTo>
                    <a:pt x="262" y="1226"/>
                  </a:lnTo>
                  <a:lnTo>
                    <a:pt x="259" y="1234"/>
                  </a:lnTo>
                  <a:lnTo>
                    <a:pt x="259" y="1239"/>
                  </a:lnTo>
                  <a:lnTo>
                    <a:pt x="262" y="1251"/>
                  </a:lnTo>
                  <a:lnTo>
                    <a:pt x="265" y="1269"/>
                  </a:lnTo>
                  <a:lnTo>
                    <a:pt x="269" y="1292"/>
                  </a:lnTo>
                  <a:lnTo>
                    <a:pt x="272" y="1322"/>
                  </a:lnTo>
                  <a:lnTo>
                    <a:pt x="272" y="1355"/>
                  </a:lnTo>
                  <a:lnTo>
                    <a:pt x="270" y="1394"/>
                  </a:lnTo>
                  <a:lnTo>
                    <a:pt x="275" y="1403"/>
                  </a:lnTo>
                  <a:lnTo>
                    <a:pt x="279" y="1414"/>
                  </a:lnTo>
                  <a:lnTo>
                    <a:pt x="284" y="1426"/>
                  </a:lnTo>
                  <a:lnTo>
                    <a:pt x="287" y="1437"/>
                  </a:lnTo>
                  <a:lnTo>
                    <a:pt x="288" y="1448"/>
                  </a:lnTo>
                  <a:lnTo>
                    <a:pt x="288" y="1431"/>
                  </a:lnTo>
                  <a:lnTo>
                    <a:pt x="290" y="1405"/>
                  </a:lnTo>
                  <a:lnTo>
                    <a:pt x="292" y="1372"/>
                  </a:lnTo>
                  <a:lnTo>
                    <a:pt x="295" y="1296"/>
                  </a:lnTo>
                  <a:lnTo>
                    <a:pt x="295" y="1219"/>
                  </a:lnTo>
                  <a:lnTo>
                    <a:pt x="293" y="1185"/>
                  </a:lnTo>
                  <a:lnTo>
                    <a:pt x="292" y="1160"/>
                  </a:lnTo>
                  <a:lnTo>
                    <a:pt x="272" y="1011"/>
                  </a:lnTo>
                  <a:close/>
                  <a:moveTo>
                    <a:pt x="262" y="0"/>
                  </a:moveTo>
                  <a:lnTo>
                    <a:pt x="281" y="0"/>
                  </a:lnTo>
                  <a:lnTo>
                    <a:pt x="292" y="5"/>
                  </a:lnTo>
                  <a:lnTo>
                    <a:pt x="305" y="12"/>
                  </a:lnTo>
                  <a:lnTo>
                    <a:pt x="321" y="23"/>
                  </a:lnTo>
                  <a:lnTo>
                    <a:pt x="335" y="37"/>
                  </a:lnTo>
                  <a:lnTo>
                    <a:pt x="345" y="54"/>
                  </a:lnTo>
                  <a:lnTo>
                    <a:pt x="352" y="72"/>
                  </a:lnTo>
                  <a:lnTo>
                    <a:pt x="353" y="91"/>
                  </a:lnTo>
                  <a:lnTo>
                    <a:pt x="353" y="106"/>
                  </a:lnTo>
                  <a:lnTo>
                    <a:pt x="350" y="118"/>
                  </a:lnTo>
                  <a:lnTo>
                    <a:pt x="348" y="128"/>
                  </a:lnTo>
                  <a:lnTo>
                    <a:pt x="347" y="131"/>
                  </a:lnTo>
                  <a:lnTo>
                    <a:pt x="352" y="137"/>
                  </a:lnTo>
                  <a:lnTo>
                    <a:pt x="352" y="154"/>
                  </a:lnTo>
                  <a:lnTo>
                    <a:pt x="348" y="166"/>
                  </a:lnTo>
                  <a:lnTo>
                    <a:pt x="344" y="174"/>
                  </a:lnTo>
                  <a:lnTo>
                    <a:pt x="339" y="178"/>
                  </a:lnTo>
                  <a:lnTo>
                    <a:pt x="336" y="180"/>
                  </a:lnTo>
                  <a:lnTo>
                    <a:pt x="332" y="180"/>
                  </a:lnTo>
                  <a:lnTo>
                    <a:pt x="330" y="188"/>
                  </a:lnTo>
                  <a:lnTo>
                    <a:pt x="327" y="197"/>
                  </a:lnTo>
                  <a:lnTo>
                    <a:pt x="322" y="204"/>
                  </a:lnTo>
                  <a:lnTo>
                    <a:pt x="321" y="207"/>
                  </a:lnTo>
                  <a:lnTo>
                    <a:pt x="321" y="238"/>
                  </a:lnTo>
                  <a:lnTo>
                    <a:pt x="322" y="241"/>
                  </a:lnTo>
                  <a:lnTo>
                    <a:pt x="327" y="247"/>
                  </a:lnTo>
                  <a:lnTo>
                    <a:pt x="335" y="255"/>
                  </a:lnTo>
                  <a:lnTo>
                    <a:pt x="342" y="266"/>
                  </a:lnTo>
                  <a:lnTo>
                    <a:pt x="350" y="275"/>
                  </a:lnTo>
                  <a:lnTo>
                    <a:pt x="358" y="281"/>
                  </a:lnTo>
                  <a:lnTo>
                    <a:pt x="362" y="286"/>
                  </a:lnTo>
                  <a:lnTo>
                    <a:pt x="368" y="289"/>
                  </a:lnTo>
                  <a:lnTo>
                    <a:pt x="382" y="292"/>
                  </a:lnTo>
                  <a:lnTo>
                    <a:pt x="399" y="298"/>
                  </a:lnTo>
                  <a:lnTo>
                    <a:pt x="436" y="310"/>
                  </a:lnTo>
                  <a:lnTo>
                    <a:pt x="453" y="317"/>
                  </a:lnTo>
                  <a:lnTo>
                    <a:pt x="464" y="320"/>
                  </a:lnTo>
                  <a:lnTo>
                    <a:pt x="468" y="321"/>
                  </a:lnTo>
                  <a:lnTo>
                    <a:pt x="476" y="324"/>
                  </a:lnTo>
                  <a:lnTo>
                    <a:pt x="481" y="330"/>
                  </a:lnTo>
                  <a:lnTo>
                    <a:pt x="482" y="341"/>
                  </a:lnTo>
                  <a:lnTo>
                    <a:pt x="484" y="350"/>
                  </a:lnTo>
                  <a:lnTo>
                    <a:pt x="482" y="358"/>
                  </a:lnTo>
                  <a:lnTo>
                    <a:pt x="482" y="366"/>
                  </a:lnTo>
                  <a:lnTo>
                    <a:pt x="484" y="377"/>
                  </a:lnTo>
                  <a:lnTo>
                    <a:pt x="485" y="392"/>
                  </a:lnTo>
                  <a:lnTo>
                    <a:pt x="490" y="452"/>
                  </a:lnTo>
                  <a:lnTo>
                    <a:pt x="493" y="467"/>
                  </a:lnTo>
                  <a:lnTo>
                    <a:pt x="496" y="480"/>
                  </a:lnTo>
                  <a:lnTo>
                    <a:pt x="499" y="495"/>
                  </a:lnTo>
                  <a:lnTo>
                    <a:pt x="499" y="516"/>
                  </a:lnTo>
                  <a:lnTo>
                    <a:pt x="501" y="539"/>
                  </a:lnTo>
                  <a:lnTo>
                    <a:pt x="502" y="566"/>
                  </a:lnTo>
                  <a:lnTo>
                    <a:pt x="505" y="593"/>
                  </a:lnTo>
                  <a:lnTo>
                    <a:pt x="511" y="618"/>
                  </a:lnTo>
                  <a:lnTo>
                    <a:pt x="514" y="635"/>
                  </a:lnTo>
                  <a:lnTo>
                    <a:pt x="517" y="658"/>
                  </a:lnTo>
                  <a:lnTo>
                    <a:pt x="521" y="685"/>
                  </a:lnTo>
                  <a:lnTo>
                    <a:pt x="522" y="715"/>
                  </a:lnTo>
                  <a:lnTo>
                    <a:pt x="524" y="747"/>
                  </a:lnTo>
                  <a:lnTo>
                    <a:pt x="525" y="778"/>
                  </a:lnTo>
                  <a:lnTo>
                    <a:pt x="525" y="807"/>
                  </a:lnTo>
                  <a:lnTo>
                    <a:pt x="527" y="833"/>
                  </a:lnTo>
                  <a:lnTo>
                    <a:pt x="527" y="871"/>
                  </a:lnTo>
                  <a:lnTo>
                    <a:pt x="519" y="871"/>
                  </a:lnTo>
                  <a:lnTo>
                    <a:pt x="517" y="884"/>
                  </a:lnTo>
                  <a:lnTo>
                    <a:pt x="514" y="882"/>
                  </a:lnTo>
                  <a:lnTo>
                    <a:pt x="513" y="916"/>
                  </a:lnTo>
                  <a:lnTo>
                    <a:pt x="507" y="922"/>
                  </a:lnTo>
                  <a:lnTo>
                    <a:pt x="502" y="931"/>
                  </a:lnTo>
                  <a:lnTo>
                    <a:pt x="498" y="944"/>
                  </a:lnTo>
                  <a:lnTo>
                    <a:pt x="493" y="954"/>
                  </a:lnTo>
                  <a:lnTo>
                    <a:pt x="491" y="962"/>
                  </a:lnTo>
                  <a:lnTo>
                    <a:pt x="490" y="965"/>
                  </a:lnTo>
                  <a:lnTo>
                    <a:pt x="482" y="968"/>
                  </a:lnTo>
                  <a:lnTo>
                    <a:pt x="470" y="970"/>
                  </a:lnTo>
                  <a:lnTo>
                    <a:pt x="458" y="970"/>
                  </a:lnTo>
                  <a:lnTo>
                    <a:pt x="448" y="967"/>
                  </a:lnTo>
                  <a:lnTo>
                    <a:pt x="445" y="965"/>
                  </a:lnTo>
                  <a:lnTo>
                    <a:pt x="444" y="962"/>
                  </a:lnTo>
                  <a:lnTo>
                    <a:pt x="444" y="961"/>
                  </a:lnTo>
                  <a:lnTo>
                    <a:pt x="445" y="957"/>
                  </a:lnTo>
                  <a:lnTo>
                    <a:pt x="445" y="956"/>
                  </a:lnTo>
                  <a:lnTo>
                    <a:pt x="447" y="954"/>
                  </a:lnTo>
                  <a:lnTo>
                    <a:pt x="448" y="887"/>
                  </a:lnTo>
                  <a:lnTo>
                    <a:pt x="454" y="870"/>
                  </a:lnTo>
                  <a:lnTo>
                    <a:pt x="451" y="865"/>
                  </a:lnTo>
                  <a:lnTo>
                    <a:pt x="442" y="861"/>
                  </a:lnTo>
                  <a:lnTo>
                    <a:pt x="444" y="719"/>
                  </a:lnTo>
                  <a:lnTo>
                    <a:pt x="441" y="699"/>
                  </a:lnTo>
                  <a:lnTo>
                    <a:pt x="431" y="626"/>
                  </a:lnTo>
                  <a:lnTo>
                    <a:pt x="428" y="606"/>
                  </a:lnTo>
                  <a:lnTo>
                    <a:pt x="427" y="592"/>
                  </a:lnTo>
                  <a:lnTo>
                    <a:pt x="427" y="581"/>
                  </a:lnTo>
                  <a:lnTo>
                    <a:pt x="424" y="575"/>
                  </a:lnTo>
                  <a:lnTo>
                    <a:pt x="422" y="573"/>
                  </a:lnTo>
                  <a:lnTo>
                    <a:pt x="419" y="572"/>
                  </a:lnTo>
                  <a:lnTo>
                    <a:pt x="418" y="572"/>
                  </a:lnTo>
                  <a:lnTo>
                    <a:pt x="416" y="573"/>
                  </a:lnTo>
                  <a:lnTo>
                    <a:pt x="415" y="573"/>
                  </a:lnTo>
                  <a:lnTo>
                    <a:pt x="411" y="584"/>
                  </a:lnTo>
                  <a:lnTo>
                    <a:pt x="408" y="601"/>
                  </a:lnTo>
                  <a:lnTo>
                    <a:pt x="408" y="618"/>
                  </a:lnTo>
                  <a:lnTo>
                    <a:pt x="407" y="636"/>
                  </a:lnTo>
                  <a:lnTo>
                    <a:pt x="407" y="667"/>
                  </a:lnTo>
                  <a:lnTo>
                    <a:pt x="408" y="682"/>
                  </a:lnTo>
                  <a:lnTo>
                    <a:pt x="422" y="742"/>
                  </a:lnTo>
                  <a:lnTo>
                    <a:pt x="425" y="759"/>
                  </a:lnTo>
                  <a:lnTo>
                    <a:pt x="428" y="770"/>
                  </a:lnTo>
                  <a:lnTo>
                    <a:pt x="430" y="775"/>
                  </a:lnTo>
                  <a:lnTo>
                    <a:pt x="419" y="778"/>
                  </a:lnTo>
                  <a:lnTo>
                    <a:pt x="421" y="784"/>
                  </a:lnTo>
                  <a:lnTo>
                    <a:pt x="421" y="799"/>
                  </a:lnTo>
                  <a:lnTo>
                    <a:pt x="422" y="819"/>
                  </a:lnTo>
                  <a:lnTo>
                    <a:pt x="427" y="898"/>
                  </a:lnTo>
                  <a:lnTo>
                    <a:pt x="428" y="922"/>
                  </a:lnTo>
                  <a:lnTo>
                    <a:pt x="428" y="942"/>
                  </a:lnTo>
                  <a:lnTo>
                    <a:pt x="430" y="956"/>
                  </a:lnTo>
                  <a:lnTo>
                    <a:pt x="430" y="961"/>
                  </a:lnTo>
                  <a:lnTo>
                    <a:pt x="424" y="967"/>
                  </a:lnTo>
                  <a:lnTo>
                    <a:pt x="418" y="971"/>
                  </a:lnTo>
                  <a:lnTo>
                    <a:pt x="418" y="1017"/>
                  </a:lnTo>
                  <a:lnTo>
                    <a:pt x="416" y="1048"/>
                  </a:lnTo>
                  <a:lnTo>
                    <a:pt x="416" y="1309"/>
                  </a:lnTo>
                  <a:lnTo>
                    <a:pt x="415" y="1337"/>
                  </a:lnTo>
                  <a:lnTo>
                    <a:pt x="413" y="1369"/>
                  </a:lnTo>
                  <a:lnTo>
                    <a:pt x="410" y="1403"/>
                  </a:lnTo>
                  <a:lnTo>
                    <a:pt x="407" y="1440"/>
                  </a:lnTo>
                  <a:lnTo>
                    <a:pt x="404" y="1475"/>
                  </a:lnTo>
                  <a:lnTo>
                    <a:pt x="401" y="1509"/>
                  </a:lnTo>
                  <a:lnTo>
                    <a:pt x="398" y="1540"/>
                  </a:lnTo>
                  <a:lnTo>
                    <a:pt x="396" y="1566"/>
                  </a:lnTo>
                  <a:lnTo>
                    <a:pt x="393" y="1586"/>
                  </a:lnTo>
                  <a:lnTo>
                    <a:pt x="391" y="1600"/>
                  </a:lnTo>
                  <a:lnTo>
                    <a:pt x="391" y="1604"/>
                  </a:lnTo>
                  <a:lnTo>
                    <a:pt x="370" y="1608"/>
                  </a:lnTo>
                  <a:lnTo>
                    <a:pt x="373" y="1624"/>
                  </a:lnTo>
                  <a:lnTo>
                    <a:pt x="381" y="1640"/>
                  </a:lnTo>
                  <a:lnTo>
                    <a:pt x="390" y="1655"/>
                  </a:lnTo>
                  <a:lnTo>
                    <a:pt x="398" y="1667"/>
                  </a:lnTo>
                  <a:lnTo>
                    <a:pt x="404" y="1675"/>
                  </a:lnTo>
                  <a:lnTo>
                    <a:pt x="405" y="1678"/>
                  </a:lnTo>
                  <a:lnTo>
                    <a:pt x="411" y="1692"/>
                  </a:lnTo>
                  <a:lnTo>
                    <a:pt x="413" y="1701"/>
                  </a:lnTo>
                  <a:lnTo>
                    <a:pt x="411" y="1707"/>
                  </a:lnTo>
                  <a:lnTo>
                    <a:pt x="410" y="1709"/>
                  </a:lnTo>
                  <a:lnTo>
                    <a:pt x="391" y="1715"/>
                  </a:lnTo>
                  <a:lnTo>
                    <a:pt x="371" y="1717"/>
                  </a:lnTo>
                  <a:lnTo>
                    <a:pt x="353" y="1715"/>
                  </a:lnTo>
                  <a:lnTo>
                    <a:pt x="336" y="1712"/>
                  </a:lnTo>
                  <a:lnTo>
                    <a:pt x="313" y="1704"/>
                  </a:lnTo>
                  <a:lnTo>
                    <a:pt x="310" y="1703"/>
                  </a:lnTo>
                  <a:lnTo>
                    <a:pt x="307" y="1700"/>
                  </a:lnTo>
                  <a:lnTo>
                    <a:pt x="307" y="1694"/>
                  </a:lnTo>
                  <a:lnTo>
                    <a:pt x="308" y="1686"/>
                  </a:lnTo>
                  <a:lnTo>
                    <a:pt x="312" y="1680"/>
                  </a:lnTo>
                  <a:lnTo>
                    <a:pt x="313" y="1678"/>
                  </a:lnTo>
                  <a:lnTo>
                    <a:pt x="301" y="1680"/>
                  </a:lnTo>
                  <a:lnTo>
                    <a:pt x="292" y="1669"/>
                  </a:lnTo>
                  <a:lnTo>
                    <a:pt x="292" y="1646"/>
                  </a:lnTo>
                  <a:lnTo>
                    <a:pt x="264" y="1649"/>
                  </a:lnTo>
                  <a:lnTo>
                    <a:pt x="265" y="1638"/>
                  </a:lnTo>
                  <a:lnTo>
                    <a:pt x="261" y="1640"/>
                  </a:lnTo>
                  <a:lnTo>
                    <a:pt x="242" y="1652"/>
                  </a:lnTo>
                  <a:lnTo>
                    <a:pt x="235" y="1658"/>
                  </a:lnTo>
                  <a:lnTo>
                    <a:pt x="232" y="1660"/>
                  </a:lnTo>
                  <a:lnTo>
                    <a:pt x="218" y="1663"/>
                  </a:lnTo>
                  <a:lnTo>
                    <a:pt x="198" y="1666"/>
                  </a:lnTo>
                  <a:lnTo>
                    <a:pt x="139" y="1666"/>
                  </a:lnTo>
                  <a:lnTo>
                    <a:pt x="127" y="1664"/>
                  </a:lnTo>
                  <a:lnTo>
                    <a:pt x="122" y="1664"/>
                  </a:lnTo>
                  <a:lnTo>
                    <a:pt x="118" y="1661"/>
                  </a:lnTo>
                  <a:lnTo>
                    <a:pt x="115" y="1660"/>
                  </a:lnTo>
                  <a:lnTo>
                    <a:pt x="115" y="1655"/>
                  </a:lnTo>
                  <a:lnTo>
                    <a:pt x="118" y="1652"/>
                  </a:lnTo>
                  <a:lnTo>
                    <a:pt x="119" y="1652"/>
                  </a:lnTo>
                  <a:lnTo>
                    <a:pt x="121" y="1651"/>
                  </a:lnTo>
                  <a:lnTo>
                    <a:pt x="121" y="1641"/>
                  </a:lnTo>
                  <a:lnTo>
                    <a:pt x="122" y="1638"/>
                  </a:lnTo>
                  <a:lnTo>
                    <a:pt x="126" y="1635"/>
                  </a:lnTo>
                  <a:lnTo>
                    <a:pt x="132" y="1632"/>
                  </a:lnTo>
                  <a:lnTo>
                    <a:pt x="139" y="1632"/>
                  </a:lnTo>
                  <a:lnTo>
                    <a:pt x="155" y="1626"/>
                  </a:lnTo>
                  <a:lnTo>
                    <a:pt x="170" y="1618"/>
                  </a:lnTo>
                  <a:lnTo>
                    <a:pt x="182" y="1609"/>
                  </a:lnTo>
                  <a:lnTo>
                    <a:pt x="192" y="1601"/>
                  </a:lnTo>
                  <a:lnTo>
                    <a:pt x="201" y="1592"/>
                  </a:lnTo>
                  <a:lnTo>
                    <a:pt x="198" y="1584"/>
                  </a:lnTo>
                  <a:lnTo>
                    <a:pt x="195" y="1568"/>
                  </a:lnTo>
                  <a:lnTo>
                    <a:pt x="192" y="1545"/>
                  </a:lnTo>
                  <a:lnTo>
                    <a:pt x="189" y="1517"/>
                  </a:lnTo>
                  <a:lnTo>
                    <a:pt x="186" y="1486"/>
                  </a:lnTo>
                  <a:lnTo>
                    <a:pt x="179" y="1422"/>
                  </a:lnTo>
                  <a:lnTo>
                    <a:pt x="176" y="1391"/>
                  </a:lnTo>
                  <a:lnTo>
                    <a:pt x="175" y="1365"/>
                  </a:lnTo>
                  <a:lnTo>
                    <a:pt x="173" y="1343"/>
                  </a:lnTo>
                  <a:lnTo>
                    <a:pt x="172" y="1329"/>
                  </a:lnTo>
                  <a:lnTo>
                    <a:pt x="172" y="1325"/>
                  </a:lnTo>
                  <a:lnTo>
                    <a:pt x="170" y="1322"/>
                  </a:lnTo>
                  <a:lnTo>
                    <a:pt x="167" y="1311"/>
                  </a:lnTo>
                  <a:lnTo>
                    <a:pt x="162" y="1269"/>
                  </a:lnTo>
                  <a:lnTo>
                    <a:pt x="161" y="1259"/>
                  </a:lnTo>
                  <a:lnTo>
                    <a:pt x="161" y="1256"/>
                  </a:lnTo>
                  <a:lnTo>
                    <a:pt x="156" y="1203"/>
                  </a:lnTo>
                  <a:lnTo>
                    <a:pt x="155" y="1199"/>
                  </a:lnTo>
                  <a:lnTo>
                    <a:pt x="152" y="1185"/>
                  </a:lnTo>
                  <a:lnTo>
                    <a:pt x="147" y="1165"/>
                  </a:lnTo>
                  <a:lnTo>
                    <a:pt x="144" y="1140"/>
                  </a:lnTo>
                  <a:lnTo>
                    <a:pt x="135" y="1082"/>
                  </a:lnTo>
                  <a:lnTo>
                    <a:pt x="130" y="1051"/>
                  </a:lnTo>
                  <a:lnTo>
                    <a:pt x="127" y="1024"/>
                  </a:lnTo>
                  <a:lnTo>
                    <a:pt x="122" y="999"/>
                  </a:lnTo>
                  <a:lnTo>
                    <a:pt x="121" y="979"/>
                  </a:lnTo>
                  <a:lnTo>
                    <a:pt x="118" y="965"/>
                  </a:lnTo>
                  <a:lnTo>
                    <a:pt x="118" y="961"/>
                  </a:lnTo>
                  <a:lnTo>
                    <a:pt x="115" y="959"/>
                  </a:lnTo>
                  <a:lnTo>
                    <a:pt x="101" y="959"/>
                  </a:lnTo>
                  <a:lnTo>
                    <a:pt x="99" y="950"/>
                  </a:lnTo>
                  <a:lnTo>
                    <a:pt x="98" y="933"/>
                  </a:lnTo>
                  <a:lnTo>
                    <a:pt x="98" y="881"/>
                  </a:lnTo>
                  <a:lnTo>
                    <a:pt x="99" y="848"/>
                  </a:lnTo>
                  <a:lnTo>
                    <a:pt x="99" y="816"/>
                  </a:lnTo>
                  <a:lnTo>
                    <a:pt x="101" y="785"/>
                  </a:lnTo>
                  <a:lnTo>
                    <a:pt x="103" y="758"/>
                  </a:lnTo>
                  <a:lnTo>
                    <a:pt x="103" y="735"/>
                  </a:lnTo>
                  <a:lnTo>
                    <a:pt x="104" y="721"/>
                  </a:lnTo>
                  <a:lnTo>
                    <a:pt x="104" y="715"/>
                  </a:lnTo>
                  <a:lnTo>
                    <a:pt x="96" y="742"/>
                  </a:lnTo>
                  <a:lnTo>
                    <a:pt x="89" y="772"/>
                  </a:lnTo>
                  <a:lnTo>
                    <a:pt x="84" y="799"/>
                  </a:lnTo>
                  <a:lnTo>
                    <a:pt x="79" y="824"/>
                  </a:lnTo>
                  <a:lnTo>
                    <a:pt x="76" y="844"/>
                  </a:lnTo>
                  <a:lnTo>
                    <a:pt x="75" y="858"/>
                  </a:lnTo>
                  <a:lnTo>
                    <a:pt x="75" y="862"/>
                  </a:lnTo>
                  <a:lnTo>
                    <a:pt x="67" y="864"/>
                  </a:lnTo>
                  <a:lnTo>
                    <a:pt x="66" y="874"/>
                  </a:lnTo>
                  <a:lnTo>
                    <a:pt x="56" y="871"/>
                  </a:lnTo>
                  <a:lnTo>
                    <a:pt x="56" y="876"/>
                  </a:lnTo>
                  <a:lnTo>
                    <a:pt x="58" y="893"/>
                  </a:lnTo>
                  <a:lnTo>
                    <a:pt x="58" y="913"/>
                  </a:lnTo>
                  <a:lnTo>
                    <a:pt x="56" y="917"/>
                  </a:lnTo>
                  <a:lnTo>
                    <a:pt x="56" y="944"/>
                  </a:lnTo>
                  <a:lnTo>
                    <a:pt x="55" y="954"/>
                  </a:lnTo>
                  <a:lnTo>
                    <a:pt x="55" y="959"/>
                  </a:lnTo>
                  <a:lnTo>
                    <a:pt x="61" y="954"/>
                  </a:lnTo>
                  <a:lnTo>
                    <a:pt x="66" y="954"/>
                  </a:lnTo>
                  <a:lnTo>
                    <a:pt x="67" y="956"/>
                  </a:lnTo>
                  <a:lnTo>
                    <a:pt x="67" y="962"/>
                  </a:lnTo>
                  <a:lnTo>
                    <a:pt x="55" y="976"/>
                  </a:lnTo>
                  <a:lnTo>
                    <a:pt x="24" y="974"/>
                  </a:lnTo>
                  <a:lnTo>
                    <a:pt x="0" y="937"/>
                  </a:lnTo>
                  <a:lnTo>
                    <a:pt x="7" y="919"/>
                  </a:lnTo>
                  <a:lnTo>
                    <a:pt x="10" y="904"/>
                  </a:lnTo>
                  <a:lnTo>
                    <a:pt x="12" y="888"/>
                  </a:lnTo>
                  <a:lnTo>
                    <a:pt x="12" y="871"/>
                  </a:lnTo>
                  <a:lnTo>
                    <a:pt x="7" y="873"/>
                  </a:lnTo>
                  <a:lnTo>
                    <a:pt x="7" y="858"/>
                  </a:lnTo>
                  <a:lnTo>
                    <a:pt x="3" y="854"/>
                  </a:lnTo>
                  <a:lnTo>
                    <a:pt x="3" y="850"/>
                  </a:lnTo>
                  <a:lnTo>
                    <a:pt x="4" y="839"/>
                  </a:lnTo>
                  <a:lnTo>
                    <a:pt x="7" y="822"/>
                  </a:lnTo>
                  <a:lnTo>
                    <a:pt x="9" y="802"/>
                  </a:lnTo>
                  <a:lnTo>
                    <a:pt x="15" y="756"/>
                  </a:lnTo>
                  <a:lnTo>
                    <a:pt x="18" y="736"/>
                  </a:lnTo>
                  <a:lnTo>
                    <a:pt x="21" y="718"/>
                  </a:lnTo>
                  <a:lnTo>
                    <a:pt x="23" y="704"/>
                  </a:lnTo>
                  <a:lnTo>
                    <a:pt x="24" y="698"/>
                  </a:lnTo>
                  <a:lnTo>
                    <a:pt x="26" y="687"/>
                  </a:lnTo>
                  <a:lnTo>
                    <a:pt x="27" y="669"/>
                  </a:lnTo>
                  <a:lnTo>
                    <a:pt x="30" y="642"/>
                  </a:lnTo>
                  <a:lnTo>
                    <a:pt x="33" y="613"/>
                  </a:lnTo>
                  <a:lnTo>
                    <a:pt x="36" y="582"/>
                  </a:lnTo>
                  <a:lnTo>
                    <a:pt x="43" y="530"/>
                  </a:lnTo>
                  <a:lnTo>
                    <a:pt x="46" y="506"/>
                  </a:lnTo>
                  <a:lnTo>
                    <a:pt x="49" y="487"/>
                  </a:lnTo>
                  <a:lnTo>
                    <a:pt x="50" y="473"/>
                  </a:lnTo>
                  <a:lnTo>
                    <a:pt x="52" y="469"/>
                  </a:lnTo>
                  <a:lnTo>
                    <a:pt x="52" y="464"/>
                  </a:lnTo>
                  <a:lnTo>
                    <a:pt x="53" y="452"/>
                  </a:lnTo>
                  <a:lnTo>
                    <a:pt x="53" y="435"/>
                  </a:lnTo>
                  <a:lnTo>
                    <a:pt x="56" y="392"/>
                  </a:lnTo>
                  <a:lnTo>
                    <a:pt x="58" y="372"/>
                  </a:lnTo>
                  <a:lnTo>
                    <a:pt x="59" y="355"/>
                  </a:lnTo>
                  <a:lnTo>
                    <a:pt x="61" y="343"/>
                  </a:lnTo>
                  <a:lnTo>
                    <a:pt x="66" y="334"/>
                  </a:lnTo>
                  <a:lnTo>
                    <a:pt x="72" y="329"/>
                  </a:lnTo>
                  <a:lnTo>
                    <a:pt x="84" y="329"/>
                  </a:lnTo>
                  <a:lnTo>
                    <a:pt x="86" y="330"/>
                  </a:lnTo>
                  <a:lnTo>
                    <a:pt x="89" y="329"/>
                  </a:lnTo>
                  <a:lnTo>
                    <a:pt x="98" y="326"/>
                  </a:lnTo>
                  <a:lnTo>
                    <a:pt x="110" y="320"/>
                  </a:lnTo>
                  <a:lnTo>
                    <a:pt x="124" y="314"/>
                  </a:lnTo>
                  <a:lnTo>
                    <a:pt x="141" y="306"/>
                  </a:lnTo>
                  <a:lnTo>
                    <a:pt x="156" y="300"/>
                  </a:lnTo>
                  <a:lnTo>
                    <a:pt x="169" y="294"/>
                  </a:lnTo>
                  <a:lnTo>
                    <a:pt x="179" y="289"/>
                  </a:lnTo>
                  <a:lnTo>
                    <a:pt x="184" y="286"/>
                  </a:lnTo>
                  <a:lnTo>
                    <a:pt x="189" y="281"/>
                  </a:lnTo>
                  <a:lnTo>
                    <a:pt x="195" y="274"/>
                  </a:lnTo>
                  <a:lnTo>
                    <a:pt x="202" y="264"/>
                  </a:lnTo>
                  <a:lnTo>
                    <a:pt x="209" y="257"/>
                  </a:lnTo>
                  <a:lnTo>
                    <a:pt x="213" y="251"/>
                  </a:lnTo>
                  <a:lnTo>
                    <a:pt x="215" y="247"/>
                  </a:lnTo>
                  <a:lnTo>
                    <a:pt x="215" y="209"/>
                  </a:lnTo>
                  <a:lnTo>
                    <a:pt x="209" y="206"/>
                  </a:lnTo>
                  <a:lnTo>
                    <a:pt x="204" y="198"/>
                  </a:lnTo>
                  <a:lnTo>
                    <a:pt x="199" y="189"/>
                  </a:lnTo>
                  <a:lnTo>
                    <a:pt x="198" y="181"/>
                  </a:lnTo>
                  <a:lnTo>
                    <a:pt x="196" y="178"/>
                  </a:lnTo>
                  <a:lnTo>
                    <a:pt x="187" y="171"/>
                  </a:lnTo>
                  <a:lnTo>
                    <a:pt x="182" y="161"/>
                  </a:lnTo>
                  <a:lnTo>
                    <a:pt x="181" y="149"/>
                  </a:lnTo>
                  <a:lnTo>
                    <a:pt x="179" y="140"/>
                  </a:lnTo>
                  <a:lnTo>
                    <a:pt x="181" y="132"/>
                  </a:lnTo>
                  <a:lnTo>
                    <a:pt x="181" y="129"/>
                  </a:lnTo>
                  <a:lnTo>
                    <a:pt x="179" y="126"/>
                  </a:lnTo>
                  <a:lnTo>
                    <a:pt x="178" y="117"/>
                  </a:lnTo>
                  <a:lnTo>
                    <a:pt x="176" y="101"/>
                  </a:lnTo>
                  <a:lnTo>
                    <a:pt x="176" y="85"/>
                  </a:lnTo>
                  <a:lnTo>
                    <a:pt x="181" y="63"/>
                  </a:lnTo>
                  <a:lnTo>
                    <a:pt x="190" y="42"/>
                  </a:lnTo>
                  <a:lnTo>
                    <a:pt x="202" y="25"/>
                  </a:lnTo>
                  <a:lnTo>
                    <a:pt x="218" y="14"/>
                  </a:lnTo>
                  <a:lnTo>
                    <a:pt x="235" y="6"/>
                  </a:lnTo>
                  <a:lnTo>
                    <a:pt x="250" y="2"/>
                  </a:lnTo>
                  <a:lnTo>
                    <a:pt x="262" y="0"/>
                  </a:lnTo>
                  <a:close/>
                </a:path>
              </a:pathLst>
            </a:custGeom>
            <a:solidFill>
              <a:schemeClr val="accent1"/>
            </a:solidFill>
            <a:ln w="0">
              <a:noFill/>
              <a:prstDash val="solid"/>
              <a:round/>
              <a:headEnd/>
              <a:tailEnd/>
            </a:ln>
            <a:effectLst>
              <a:outerShdw blurRad="76200" dir="18900000" sy="23000" kx="-1200000" algn="bl" rotWithShape="0">
                <a:prstClr val="black">
                  <a:alpha val="20000"/>
                </a:prstClr>
              </a:outerShdw>
            </a:effectLst>
          </p:spPr>
          <p:txBody>
            <a:bodyPr vert="horz" wrap="square" lIns="91440" tIns="45720" rIns="91440" bIns="45720" numCol="1" anchor="t" anchorCtr="0" compatLnSpc="1">
              <a:prstTxWarp prst="textNoShape">
                <a:avLst/>
              </a:prstTxWarp>
            </a:bodyPr>
            <a:lstStyle/>
            <a:p>
              <a:endParaRPr lang="de-DE"/>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MIO_AGENDA_HASAGENDA" val="True"/>
</p:tagLst>
</file>

<file path=ppt/tags/tag10.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Lst>
</file>

<file path=ppt/tags/tag11.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Lst>
</file>

<file path=ppt/tags/tag12.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Lst>
</file>

<file path=ppt/tags/tag13.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nxuaMc1b0yY5_1lHYyYO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8wnuHzOlr0ihTm5buiaWf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CSjrr5wSkW1aWF3HRGn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Xj8DjG7ECJw0zyjVQ5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PT99Aweh0UaEGxmk9ct1q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qOWQI8D9UyypzOsxLMDtA"/>
</p:tagLst>
</file>

<file path=ppt/tags/tag2.xml><?xml version="1.0" encoding="utf-8"?>
<p:tagLst xmlns:a="http://schemas.openxmlformats.org/drawingml/2006/main" xmlns:r="http://schemas.openxmlformats.org/officeDocument/2006/relationships" xmlns:p="http://schemas.openxmlformats.org/presentationml/2006/main">
  <p:tag name="MIO_AGENDA_ELEMENTNAME" val="MIO_OVERVIEW_SLIDE"/>
  <p:tag name="MIO_EK" val="421"/>
  <p:tag name="MIO_VERSION" val="31.12.9999 23:59:59"/>
  <p:tag name="MIO_DBID" val="ED9FF2F2-6643-46BA-B685-7D49126FFAFF"/>
  <p:tag name="MIO_UPDATE" val="Fals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OcZllcmm0ubk3JsOEdpU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qMG.ZX8XUqHL83AVdTgMw"/>
</p:tagLst>
</file>

<file path=ppt/tags/tag22.xml><?xml version="1.0" encoding="utf-8"?>
<p:tagLst xmlns:a="http://schemas.openxmlformats.org/drawingml/2006/main" xmlns:r="http://schemas.openxmlformats.org/officeDocument/2006/relationships" xmlns:p="http://schemas.openxmlformats.org/presentationml/2006/main">
  <p:tag name="MIO_GUID" val="b855a544-e9fc-40be-86c2-1bec6b2c64ff"/>
  <p:tag name="MIO_EK" val="287"/>
  <p:tag name="MIO_UPDATE" val="True"/>
  <p:tag name="MIO_VERSION" val="28.11.2011 17:16:43"/>
  <p:tag name="MIO_DBID" val="ED9FF2F2-6643-46BA-B685-7D49126FFAFF"/>
</p:tagLst>
</file>

<file path=ppt/tags/tag23.xml><?xml version="1.0" encoding="utf-8"?>
<p:tagLst xmlns:a="http://schemas.openxmlformats.org/drawingml/2006/main" xmlns:r="http://schemas.openxmlformats.org/officeDocument/2006/relationships" xmlns:p="http://schemas.openxmlformats.org/presentationml/2006/main">
  <p:tag name="MIO_GUID" val="290d8835-4d26-42b4-8ddc-1222e33a02fe"/>
  <p:tag name="MIO_EK" val="339"/>
  <p:tag name="MIO_UPDATE" val="True"/>
  <p:tag name="MIO_VERSION" val="29.11.2011 11:33:32"/>
  <p:tag name="MIO_DBID" val="ED9FF2F2-6643-46BA-B685-7D49126FFAFF"/>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WpFv7sjdlUaZDw_0Ssda8A"/>
</p:tagLst>
</file>

<file path=ppt/tags/tag25.xml><?xml version="1.0" encoding="utf-8"?>
<p:tagLst xmlns:a="http://schemas.openxmlformats.org/drawingml/2006/main" xmlns:r="http://schemas.openxmlformats.org/officeDocument/2006/relationships" xmlns:p="http://schemas.openxmlformats.org/presentationml/2006/main">
  <p:tag name="MIO_GUID" val="290d8835-4d26-42b4-8ddc-1222e33a02fe"/>
  <p:tag name="MIO_EK" val="339"/>
  <p:tag name="MIO_UPDATE" val="True"/>
  <p:tag name="MIO_VERSION" val="29.11.2011 11:33:32"/>
  <p:tag name="MIO_DBID" val="ED9FF2F2-6643-46BA-B685-7D49126FFAFF"/>
</p:tagLst>
</file>

<file path=ppt/tags/tag26.xml><?xml version="1.0" encoding="utf-8"?>
<p:tagLst xmlns:a="http://schemas.openxmlformats.org/drawingml/2006/main" xmlns:r="http://schemas.openxmlformats.org/officeDocument/2006/relationships" xmlns:p="http://schemas.openxmlformats.org/presentationml/2006/main">
  <p:tag name="MIO_GUID" val="290d8835-4d26-42b4-8ddc-1222e33a02fe"/>
  <p:tag name="MIO_EK" val="339"/>
  <p:tag name="MIO_UPDATE" val="True"/>
  <p:tag name="MIO_VERSION" val="29.11.2011 11:33:32"/>
  <p:tag name="MIO_DBID" val="ED9FF2F2-6643-46BA-B685-7D49126FFAFF"/>
</p:tagLst>
</file>

<file path=ppt/tags/tag27.xml><?xml version="1.0" encoding="utf-8"?>
<p:tagLst xmlns:a="http://schemas.openxmlformats.org/drawingml/2006/main" xmlns:r="http://schemas.openxmlformats.org/officeDocument/2006/relationships" xmlns:p="http://schemas.openxmlformats.org/presentationml/2006/main">
  <p:tag name="MIO_GUID" val="290d8835-4d26-42b4-8ddc-1222e33a02fe"/>
  <p:tag name="MIO_EK" val="339"/>
  <p:tag name="MIO_UPDATE" val="True"/>
  <p:tag name="MIO_VERSION" val="29.11.2011 11:33:32"/>
  <p:tag name="MIO_DBID" val="ED9FF2F2-6643-46BA-B685-7D49126FFAFF"/>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WpFv7sjdlUaZDw_0Ssda8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pFv7sjdlUaZDw_0Ssda8A"/>
</p:tagLst>
</file>

<file path=ppt/tags/tag3.xml><?xml version="1.0" encoding="utf-8"?>
<p:tagLst xmlns:a="http://schemas.openxmlformats.org/drawingml/2006/main" xmlns:r="http://schemas.openxmlformats.org/officeDocument/2006/relationships" xmlns:p="http://schemas.openxmlformats.org/presentationml/2006/main">
  <p:tag name="MIO_SHAPETYPES_AGENDA" val="MIO_AGENDA_TITL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WpFv7sjdlUaZDw_0Ssda8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07CNbWnK0yl0_g3GtKQag"/>
</p:tagLst>
</file>

<file path=ppt/tags/tag32.xml><?xml version="1.0" encoding="utf-8"?>
<p:tagLst xmlns:a="http://schemas.openxmlformats.org/drawingml/2006/main" xmlns:r="http://schemas.openxmlformats.org/officeDocument/2006/relationships" xmlns:p="http://schemas.openxmlformats.org/presentationml/2006/main">
  <p:tag name="MIO_GUID" val="290d8835-4d26-42b4-8ddc-1222e33a02fe"/>
  <p:tag name="MIO_EK" val="339"/>
  <p:tag name="MIO_UPDATE" val="True"/>
  <p:tag name="MIO_VERSION" val="29.11.2011 11:33:32"/>
  <p:tag name="MIO_DBID" val="ED9FF2F2-6643-46BA-B685-7D49126FFAFF"/>
</p:tagLst>
</file>

<file path=ppt/tags/tag33.xml><?xml version="1.0" encoding="utf-8"?>
<p:tagLst xmlns:a="http://schemas.openxmlformats.org/drawingml/2006/main" xmlns:r="http://schemas.openxmlformats.org/officeDocument/2006/relationships" xmlns:p="http://schemas.openxmlformats.org/presentationml/2006/main">
  <p:tag name="MIO_GUID" val="290d8835-4d26-42b4-8ddc-1222e33a02fe"/>
  <p:tag name="MIO_EK" val="339"/>
  <p:tag name="MIO_UPDATE" val="True"/>
  <p:tag name="MIO_VERSION" val="29.11.2011 11:33:32"/>
  <p:tag name="MIO_DBID" val="ED9FF2F2-6643-46BA-B685-7D49126FFAFF"/>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WpFv7sjdlUaZDw_0Ssda8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WpFv7sjdlUaZDw_0Ssda8A"/>
</p:tagLst>
</file>

<file path=ppt/tags/tag36.xml><?xml version="1.0" encoding="utf-8"?>
<p:tagLst xmlns:a="http://schemas.openxmlformats.org/drawingml/2006/main" xmlns:r="http://schemas.openxmlformats.org/officeDocument/2006/relationships" xmlns:p="http://schemas.openxmlformats.org/presentationml/2006/main">
  <p:tag name="MIO_GUID" val="0862a137-868d-4bb0-a05a-639f42f28029"/>
  <p:tag name="MIO_EK" val="291"/>
  <p:tag name="MIO_UPDATE" val="True"/>
  <p:tag name="MIO_VERSION" val="28.11.2011 17:17:53"/>
  <p:tag name="MIO_DBID" val="ED9FF2F2-6643-46BA-B685-7D49126FFAFF"/>
</p:tagLst>
</file>

<file path=ppt/tags/tag37.xml><?xml version="1.0" encoding="utf-8"?>
<p:tagLst xmlns:a="http://schemas.openxmlformats.org/drawingml/2006/main" xmlns:r="http://schemas.openxmlformats.org/officeDocument/2006/relationships" xmlns:p="http://schemas.openxmlformats.org/presentationml/2006/main">
  <p:tag name="MIO_GUID" val="b855a544-e9fc-40be-86c2-1bec6b2c64ff"/>
  <p:tag name="MIO_EK" val="287"/>
  <p:tag name="MIO_UPDATE" val="True"/>
  <p:tag name="MIO_VERSION" val="28.11.2011 17:16:43"/>
  <p:tag name="MIO_DBID" val="ED9FF2F2-6643-46BA-B685-7D49126FFAFF"/>
</p:tagLst>
</file>

<file path=ppt/tags/tag38.xml><?xml version="1.0" encoding="utf-8"?>
<p:tagLst xmlns:a="http://schemas.openxmlformats.org/drawingml/2006/main" xmlns:r="http://schemas.openxmlformats.org/officeDocument/2006/relationships" xmlns:p="http://schemas.openxmlformats.org/presentationml/2006/main">
  <p:tag name="MIO_GUID" val="219fafe3-059a-461e-a4e7-daf95aa239ae"/>
  <p:tag name="MIO_EK" val="356"/>
  <p:tag name="MIO_UPDATE" val="True"/>
  <p:tag name="MIO_VERSION" val="02.01.2012 15:09:56"/>
  <p:tag name="MIO_DBID" val="ED9FF2F2-6643-46BA-B685-7D49126FFAFF"/>
</p:tagLst>
</file>

<file path=ppt/tags/tag39.xml><?xml version="1.0" encoding="utf-8"?>
<p:tagLst xmlns:a="http://schemas.openxmlformats.org/drawingml/2006/main" xmlns:r="http://schemas.openxmlformats.org/officeDocument/2006/relationships" xmlns:p="http://schemas.openxmlformats.org/presentationml/2006/main">
  <p:tag name="MIO_GUID" val="290d8835-4d26-42b4-8ddc-1222e33a02fe"/>
  <p:tag name="MIO_EK" val="339"/>
  <p:tag name="MIO_UPDATE" val="True"/>
  <p:tag name="MIO_VERSION" val="29.11.2011 11:33:32"/>
  <p:tag name="MIO_DBID" val="ED9FF2F2-6643-46BA-B685-7D49126FFAFF"/>
</p:tagLst>
</file>

<file path=ppt/tags/tag4.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WpFv7sjdlUaZDw_0Ssda8A"/>
</p:tagLst>
</file>

<file path=ppt/tags/tag5.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Lst>
</file>

<file path=ppt/tags/tag6.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Lst>
</file>

<file path=ppt/tags/tag7.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Lst>
</file>

<file path=ppt/tags/tag8.xml><?xml version="1.0" encoding="utf-8"?>
<p:tagLst xmlns:a="http://schemas.openxmlformats.org/drawingml/2006/main" xmlns:r="http://schemas.openxmlformats.org/officeDocument/2006/relationships" xmlns:p="http://schemas.openxmlformats.org/presentationml/2006/main">
  <p:tag name="MIO_GUID" val="3E68A340-5BD0-4700-AED2-997E3B6077F9"/>
  <p:tag name="MIO_SHAPETYPES_AGENDA" val="MIO_AGENDA_FIRSTELEMENT"/>
</p:tagLst>
</file>

<file path=ppt/tags/tag9.xml><?xml version="1.0" encoding="utf-8"?>
<p:tagLst xmlns:a="http://schemas.openxmlformats.org/drawingml/2006/main" xmlns:r="http://schemas.openxmlformats.org/officeDocument/2006/relationships" xmlns:p="http://schemas.openxmlformats.org/presentationml/2006/main">
  <p:tag name="MIO_GUID" val="95DCBD3B-C156-4A29-95CB-86E9C4C16193"/>
  <p:tag name="MIO_SHAPETYPES_AGENDA" val="MIO_AGENDA_FIRSTELEMENT_NUMBER"/>
</p:tagLst>
</file>

<file path=ppt/theme/theme1.xml><?xml version="1.0" encoding="utf-8"?>
<a:theme xmlns:a="http://schemas.openxmlformats.org/drawingml/2006/main" name="ConNextmg">
  <a:themeElements>
    <a:clrScheme name="Continental AG - NEW">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fontScheme name="Continental 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tx1"/>
          </a:solidFill>
        </a:ln>
      </a:spPr>
      <a:bodyPr rtlCol="0" anchor="ctr"/>
      <a:lstStyle>
        <a:defPPr algn="ctr">
          <a:defRPr sz="160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ontinental Screen">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
      <a:clrScheme name="Continental Print">
        <a:dk1>
          <a:srgbClr val="000000"/>
        </a:dk1>
        <a:lt1>
          <a:srgbClr val="FFFFFF"/>
        </a:lt1>
        <a:dk2>
          <a:srgbClr val="000000"/>
        </a:dk2>
        <a:lt2>
          <a:srgbClr val="FFFFFF"/>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extraClrScheme>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Continental AG - NEW">
      <a:dk1>
        <a:srgbClr val="000000"/>
      </a:dk1>
      <a:lt1>
        <a:srgbClr val="FFFFFF"/>
      </a:lt1>
      <a:dk2>
        <a:srgbClr val="FFFFFF"/>
      </a:dk2>
      <a:lt2>
        <a:srgbClr val="EBEBEB"/>
      </a:lt2>
      <a:accent1>
        <a:srgbClr val="FF9900"/>
      </a:accent1>
      <a:accent2>
        <a:srgbClr val="BF7300"/>
      </a:accent2>
      <a:accent3>
        <a:srgbClr val="E28700"/>
      </a:accent3>
      <a:accent4>
        <a:srgbClr val="FFC266"/>
      </a:accent4>
      <a:accent5>
        <a:srgbClr val="5F5F5F"/>
      </a:accent5>
      <a:accent6>
        <a:srgbClr val="262626"/>
      </a:accent6>
      <a:hlink>
        <a:srgbClr val="FF9900"/>
      </a:hlink>
      <a:folHlink>
        <a:srgbClr val="777777"/>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41C0F72A2B3E9E4BA46824F14CCED173" ma:contentTypeVersion="2" ma:contentTypeDescription="Create a new document." ma:contentTypeScope="" ma:versionID="b495632fdbd0d751fdd1e8581b84967c">
  <xsd:schema xmlns:xsd="http://www.w3.org/2001/XMLSchema" xmlns:p="http://schemas.microsoft.com/office/2006/metadata/properties" xmlns:ns2="d864b83d-d8e0-4bf1-8844-df216f6c5139" targetNamespace="http://schemas.microsoft.com/office/2006/metadata/properties" ma:root="true" ma:fieldsID="f9c3a62289308619e02a390b349a6507" ns2:_="">
    <xsd:import namespace="d864b83d-d8e0-4bf1-8844-df216f6c5139"/>
    <xsd:element name="properties">
      <xsd:complexType>
        <xsd:sequence>
          <xsd:element name="documentManagement">
            <xsd:complexType>
              <xsd:all>
                <xsd:element ref="ns2:OrgFileExt" minOccurs="0"/>
                <xsd:element ref="ns2:CurItemExt" minOccurs="0"/>
              </xsd:all>
            </xsd:complexType>
          </xsd:element>
        </xsd:sequence>
      </xsd:complexType>
    </xsd:element>
  </xsd:schema>
  <xsd:schema xmlns:xsd="http://www.w3.org/2001/XMLSchema" xmlns:dms="http://schemas.microsoft.com/office/2006/documentManagement/types" targetNamespace="d864b83d-d8e0-4bf1-8844-df216f6c5139" elementFormDefault="qualified">
    <xsd:import namespace="http://schemas.microsoft.com/office/2006/documentManagement/types"/>
    <xsd:element name="OrgFileExt" ma:index="8" nillable="true" ma:displayName="Orginal Ext" ma:internalName="OrgFileExt" ma:readOnly="true">
      <xsd:simpleType>
        <xsd:restriction base="dms:Text"/>
      </xsd:simpleType>
    </xsd:element>
    <xsd:element name="CurItemExt" ma:index="9" nillable="true" ma:displayName="Current Ext" ma:internalName="CurItemExt"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Props1.xml><?xml version="1.0" encoding="utf-8"?>
<ds:datastoreItem xmlns:ds="http://schemas.openxmlformats.org/officeDocument/2006/customXml" ds:itemID="{7880DC1F-1798-46CD-A061-7CBC0F71AEBA}">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d864b83d-d8e0-4bf1-8844-df216f6c5139"/>
    <ds:schemaRef ds:uri="http://schemas.openxmlformats.org/package/2006/metadata/core-properties"/>
  </ds:schemaRefs>
</ds:datastoreItem>
</file>

<file path=customXml/itemProps2.xml><?xml version="1.0" encoding="utf-8"?>
<ds:datastoreItem xmlns:ds="http://schemas.openxmlformats.org/officeDocument/2006/customXml" ds:itemID="{F183DB06-DB47-4558-8347-1BD7D80007F1}">
  <ds:schemaRefs>
    <ds:schemaRef ds:uri="http://schemas.microsoft.com/sharepoint/v3/contenttype/forms"/>
  </ds:schemaRefs>
</ds:datastoreItem>
</file>

<file path=customXml/itemProps3.xml><?xml version="1.0" encoding="utf-8"?>
<ds:datastoreItem xmlns:ds="http://schemas.openxmlformats.org/officeDocument/2006/customXml" ds:itemID="{7F36C472-A5B2-45F7-B7A2-053B7CC9B9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864b83d-d8e0-4bf1-8844-df216f6c5139"/>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docProps/app.xml><?xml version="1.0" encoding="utf-8"?>
<Properties xmlns="http://schemas.openxmlformats.org/officeDocument/2006/extended-properties" xmlns:vt="http://schemas.openxmlformats.org/officeDocument/2006/docPropsVTypes">
  <Template>continental_farbig_office2007_4_3_en</Template>
  <TotalTime>0</TotalTime>
  <Words>1242</Words>
  <Application>Microsoft Office PowerPoint</Application>
  <PresentationFormat>Bildschirmpräsentation (4:3)</PresentationFormat>
  <Paragraphs>345</Paragraphs>
  <Slides>16</Slides>
  <Notes>15</Notes>
  <HiddenSlides>0</HiddenSlides>
  <MMClips>0</MMClips>
  <ScaleCrop>false</ScaleCrop>
  <HeadingPairs>
    <vt:vector size="4" baseType="variant">
      <vt:variant>
        <vt:lpstr>Design</vt:lpstr>
      </vt:variant>
      <vt:variant>
        <vt:i4>1</vt:i4>
      </vt:variant>
      <vt:variant>
        <vt:lpstr>Folientitel</vt:lpstr>
      </vt:variant>
      <vt:variant>
        <vt:i4>16</vt:i4>
      </vt:variant>
    </vt:vector>
  </HeadingPairs>
  <TitlesOfParts>
    <vt:vector size="17" baseType="lpstr">
      <vt:lpstr>ConNextmg</vt:lpstr>
      <vt:lpstr>Förderung der Netzwerkkultur bei Continental -  Erfahrungen und Einsichten aus dem Projekt "ConNext“  von Monika Andrae</vt:lpstr>
      <vt:lpstr>Folie 2</vt:lpstr>
      <vt:lpstr> Continental-Konzern Überblick 2011</vt:lpstr>
      <vt:lpstr>Continental-Konzern Fünf starke Divisionen</vt:lpstr>
      <vt:lpstr>Continental-Konzern 269 Standorte für Produktion und F&amp;E in 46 Ländern</vt:lpstr>
      <vt:lpstr>Folie 6</vt:lpstr>
      <vt:lpstr>Folie 7</vt:lpstr>
      <vt:lpstr>Folie 8</vt:lpstr>
      <vt:lpstr>Die Rolle von ConNext in Continentals Kulturentwicklungsinitiative</vt:lpstr>
      <vt:lpstr>Eine neue Ära des Networking:  Unsere interne Social Media-Plattform</vt:lpstr>
      <vt:lpstr>Das Konzept “User Feedback Gruppe”</vt:lpstr>
      <vt:lpstr>Das Konzept “User Feedback Gruppe”</vt:lpstr>
      <vt:lpstr>Und was ist mit Training und Kommunikation?</vt:lpstr>
      <vt:lpstr>Das GUIDE Netzwerk</vt:lpstr>
      <vt:lpstr>Frühe Einbindung von Netzwerken für hochwertigen Wissensaufbau</vt:lpstr>
      <vt:lpstr>Vielen Dank für Ihre Aufmerksamkeit!</vt:lpstr>
    </vt:vector>
  </TitlesOfParts>
  <Company>Continental A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Next_DE</dc:title>
  <dc:creator>connext3</dc:creator>
  <cp:lastModifiedBy>andraem</cp:lastModifiedBy>
  <cp:revision>409</cp:revision>
  <dcterms:created xsi:type="dcterms:W3CDTF">2011-06-23T07:56:06Z</dcterms:created>
  <dcterms:modified xsi:type="dcterms:W3CDTF">2012-10-09T13:35:40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1C0F72A2B3E9E4BA46824F14CCED173</vt:lpwstr>
  </property>
  <property fmtid="{D5CDD505-2E9C-101B-9397-08002B2CF9AE}" pid="3" name="SCCoverageSpatialOrgUnit">
    <vt:lpwstr>Continental AG</vt:lpwstr>
  </property>
  <property fmtid="{D5CDD505-2E9C-101B-9397-08002B2CF9AE}" pid="4" name="Language">
    <vt:lpwstr>English (en)</vt:lpwstr>
  </property>
  <property fmtid="{D5CDD505-2E9C-101B-9397-08002B2CF9AE}" pid="5" name="ContinentalSecurityClass">
    <vt:lpwstr>For internal use only</vt:lpwstr>
  </property>
</Properties>
</file>

<file path=userCustomization/customUI.xml><?xml version="1.0" encoding="utf-8"?>
<mso:customUI xmlns:doc="http://schemas.microsoft.com/office/2006/01/customui/currentDocument" xmlns:mso="http://schemas.microsoft.com/office/2006/01/customui">
  <mso:ribbon>
    <mso:qat>
      <mso:documentControls>
        <mso:control idQ="mso:ObjectsGroup" visible="true"/>
        <mso:control idQ="mso:ObjectsUngroup" visible="true"/>
        <mso:control idQ="mso:ObjectBringToFront" visible="true"/>
        <mso:control idQ="mso:ObjectSendToBack" visible="true"/>
        <mso:control idQ="mso:ObjectBringForward" visible="true"/>
        <mso:control idQ="mso:ObjectSendBackward" visible="true"/>
        <mso:separator idQ="doc:sep1" visible="true"/>
        <mso:control idQ="mso:ObjectsAlignLeftSmart" visible="true"/>
        <mso:control idQ="mso:ObjectsAlignRightSmart" visible="true"/>
        <mso:control idQ="mso:ObjectsAlignTopSmart" visible="true"/>
        <mso:control idQ="mso:ObjectsAlignBottomSmart" visible="true"/>
        <mso:control idQ="mso:ObjectsAlignCenterHorizontalSmart" visible="true"/>
        <mso:control idQ="mso:ObjectsAlignMiddleVerticalSmart" visible="true"/>
        <mso:control idQ="mso:AlignDistributeHorizontally" visible="true"/>
        <mso:control idQ="mso:AlignDistributeVertically" visible="true"/>
        <mso:separator idQ="doc:sep2" visible="true"/>
        <mso:control idQ="mso:ObjectRotateRight90" visible="true"/>
        <mso:control idQ="mso:SnapToGrid" visible="true"/>
      </mso:documentControls>
    </mso:qat>
  </mso:ribbon>
</mso:customUI>
</file>